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5" Type="http://schemas.openxmlformats.org/officeDocument/2006/relationships/custom-properties" Target="docProps/custom.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3" r:id="rId4"/>
  </p:sldMasterIdLst>
  <p:notesMasterIdLst>
    <p:notesMasterId r:id="rId20"/>
  </p:notesMasterIdLst>
  <p:handoutMasterIdLst>
    <p:handoutMasterId r:id="rId21"/>
  </p:handoutMasterIdLst>
  <p:sldIdLst>
    <p:sldId id="256" r:id="rId5"/>
    <p:sldId id="258" r:id="rId6"/>
    <p:sldId id="264" r:id="rId7"/>
    <p:sldId id="358" r:id="rId8"/>
    <p:sldId id="360" r:id="rId9"/>
    <p:sldId id="357" r:id="rId10"/>
    <p:sldId id="367" r:id="rId11"/>
    <p:sldId id="578" r:id="rId12"/>
    <p:sldId id="571" r:id="rId13"/>
    <p:sldId id="572" r:id="rId14"/>
    <p:sldId id="577" r:id="rId15"/>
    <p:sldId id="364" r:id="rId16"/>
    <p:sldId id="365" r:id="rId17"/>
    <p:sldId id="576" r:id="rId18"/>
    <p:sldId id="260" r:id="rId19"/>
  </p:sldIdLst>
  <p:sldSz cx="9144000" cy="5143500" type="screen16x9"/>
  <p:notesSz cx="6669088" cy="9926638"/>
  <p:custDataLst>
    <p:tags r:id="rId22"/>
  </p:custDataLst>
  <p:defaultTex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7" orient="horz" pos="1620">
          <p15:clr>
            <a:srgbClr val="A4A3A4"/>
          </p15:clr>
        </p15:guide>
        <p15:guide id="8"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uizebelt, MH (Margreet)" initials="MM(" lastIdx="1" clrIdx="0">
    <p:extLst>
      <p:ext uri="{19B8F6BF-5375-455C-9EA6-DF929625EA0E}">
        <p15:presenceInfo xmlns:p15="http://schemas.microsoft.com/office/powerpoint/2012/main" userId="S-1-5-21-1214440339-329068152-725345543-685219" providerId="AD"/>
      </p:ext>
    </p:extLst>
  </p:cmAuthor>
  <p:cmAuthor id="2" name="Berkelmans, M (Max)" initials="BM(" lastIdx="21" clrIdx="1">
    <p:extLst>
      <p:ext uri="{19B8F6BF-5375-455C-9EA6-DF929625EA0E}">
        <p15:presenceInfo xmlns:p15="http://schemas.microsoft.com/office/powerpoint/2012/main" userId="S-1-5-21-1214440339-329068152-725345543-631106" providerId="AD"/>
      </p:ext>
    </p:extLst>
  </p:cmAuthor>
  <p:cmAuthor id="3" name="Nielsen, KJN (Kyle)" initials="N(" lastIdx="3" clrIdx="2">
    <p:extLst>
      <p:ext uri="{19B8F6BF-5375-455C-9EA6-DF929625EA0E}">
        <p15:presenceInfo xmlns:p15="http://schemas.microsoft.com/office/powerpoint/2012/main" userId="S::kyle.nielsen01@rabobank.com::bec6bd83-89a1-4f84-9aca-614b778a681e" providerId="AD"/>
      </p:ext>
    </p:extLst>
  </p:cmAuthor>
  <p:cmAuthor id="4" name="Berkelmans, M (Max)" initials="B(" lastIdx="11" clrIdx="3">
    <p:extLst>
      <p:ext uri="{19B8F6BF-5375-455C-9EA6-DF929625EA0E}">
        <p15:presenceInfo xmlns:p15="http://schemas.microsoft.com/office/powerpoint/2012/main" userId="S::max.berkelmans@rabobank.com::2ba151ee-fe59-4763-9ea1-d0e6d9397a49" providerId="AD"/>
      </p:ext>
    </p:extLst>
  </p:cmAuthor>
  <p:cmAuthor id="5" name="Muizebelt, MH (Margreet)" initials="MM( [2]" lastIdx="15" clrIdx="4">
    <p:extLst>
      <p:ext uri="{19B8F6BF-5375-455C-9EA6-DF929625EA0E}">
        <p15:presenceInfo xmlns:p15="http://schemas.microsoft.com/office/powerpoint/2012/main" userId="S::Margreet.Muizebelt@rabobank.com::4db6fc3b-1710-4206-b8f6-51dd7564769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9"/>
    <a:srgbClr val="993300"/>
    <a:srgbClr val="4E772D"/>
    <a:srgbClr val="BFBFBF"/>
    <a:srgbClr val="5E6A71"/>
    <a:srgbClr val="FD6400"/>
    <a:srgbClr val="2D482C"/>
    <a:srgbClr val="3D9F36"/>
    <a:srgbClr val="FFCCCC"/>
    <a:srgbClr val="D608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Stijl, gemiddeld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660B408-B3CF-4A94-85FC-2B1E0A45F4A2}" styleName="Stijl, donker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Stijl, gemiddeld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E3FDE45-AF77-4B5C-9715-49D594BDF05E}" styleName="Stijl, licht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E9639D4-E3E2-4D34-9284-5A2195B3D0D7}" styleName="Stijl, licht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Stijl, licht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16DA210-FB5B-4158-B5E0-FEB733F419BA}" styleName="Stijl, licht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8D230F3-CF80-4859-8CE7-A43EE81993B5}" styleName="Stijl, licht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2DE63D5-997A-4646-A377-4702673A728D}" styleName="Stijl, licht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Stijl, licht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Stijl, licht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E8B1032C-EA38-4F05-BA0D-38AFFFC7BED3}" styleName="Stijl, licht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284E427A-3D55-4303-BF80-6455036E1DE7}" styleName="Stijl, thema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Stijl, thema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113A9D2-9D6B-4929-AA2D-F23B5EE8CBE7}" styleName="Stijl, thema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Stijl, thema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Stijl, licht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DA37D80-6434-44D0-A028-1B22A696006F}" styleName="Stijl, licht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1FECB4D8-DB02-4DC6-A0A2-4F2EBAE1DC90}" styleName="Stijl, gemiddeld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DBED569-4797-4DF1-A0F4-6AAB3CD982D8}" styleName="Stijl, licht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93D81CF-94F2-401A-BA57-92F5A7B2D0C5}" styleName="Stijl, gemiddeld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D7B26C5-4107-4FEC-AEDC-1716B250A1EF}" styleName="Stijl, licht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034E78-7F5D-4C2E-B375-FC64B27BC917}" styleName="Stijl, donker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2C8C85-51F0-491E-9774-3900AFEF0FD7}" styleName="Stijl, licht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3360" autoAdjust="0"/>
  </p:normalViewPr>
  <p:slideViewPr>
    <p:cSldViewPr snapToGrid="0">
      <p:cViewPr varScale="1">
        <p:scale>
          <a:sx n="104" d="100"/>
          <a:sy n="104" d="100"/>
        </p:scale>
        <p:origin x="878" y="72"/>
      </p:cViewPr>
      <p:guideLst>
        <p:guide orient="horz" pos="162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guide orient="horz" pos="3127"/>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 /><Relationship Id="rId13" Type="http://schemas.openxmlformats.org/officeDocument/2006/relationships/slide" Target="slides/slide9.xml" /><Relationship Id="rId18" Type="http://schemas.openxmlformats.org/officeDocument/2006/relationships/slide" Target="slides/slide14.xml" /><Relationship Id="rId26" Type="http://schemas.openxmlformats.org/officeDocument/2006/relationships/theme" Target="theme/theme1.xml" /><Relationship Id="rId3" Type="http://schemas.openxmlformats.org/officeDocument/2006/relationships/customXml" Target="../customXml/item3.xml" /><Relationship Id="rId21" Type="http://schemas.openxmlformats.org/officeDocument/2006/relationships/handoutMaster" Target="handoutMasters/handoutMaster1.xml" /><Relationship Id="rId7" Type="http://schemas.openxmlformats.org/officeDocument/2006/relationships/slide" Target="slides/slide3.xml" /><Relationship Id="rId12" Type="http://schemas.openxmlformats.org/officeDocument/2006/relationships/slide" Target="slides/slide8.xml" /><Relationship Id="rId17" Type="http://schemas.openxmlformats.org/officeDocument/2006/relationships/slide" Target="slides/slide13.xml" /><Relationship Id="rId25" Type="http://schemas.openxmlformats.org/officeDocument/2006/relationships/viewProps" Target="viewProps.xml" /><Relationship Id="rId2" Type="http://schemas.openxmlformats.org/officeDocument/2006/relationships/customXml" Target="../customXml/item2.xml" /><Relationship Id="rId16" Type="http://schemas.openxmlformats.org/officeDocument/2006/relationships/slide" Target="slides/slide12.xml" /><Relationship Id="rId20" Type="http://schemas.openxmlformats.org/officeDocument/2006/relationships/notesMaster" Target="notesMasters/notesMaster1.xml" /><Relationship Id="rId1" Type="http://schemas.openxmlformats.org/officeDocument/2006/relationships/customXml" Target="../customXml/item1.xml" /><Relationship Id="rId6" Type="http://schemas.openxmlformats.org/officeDocument/2006/relationships/slide" Target="slides/slide2.xml" /><Relationship Id="rId11" Type="http://schemas.openxmlformats.org/officeDocument/2006/relationships/slide" Target="slides/slide7.xml" /><Relationship Id="rId24" Type="http://schemas.openxmlformats.org/officeDocument/2006/relationships/presProps" Target="presProps.xml" /><Relationship Id="rId5" Type="http://schemas.openxmlformats.org/officeDocument/2006/relationships/slide" Target="slides/slide1.xml" /><Relationship Id="rId15" Type="http://schemas.openxmlformats.org/officeDocument/2006/relationships/slide" Target="slides/slide11.xml" /><Relationship Id="rId23" Type="http://schemas.openxmlformats.org/officeDocument/2006/relationships/commentAuthors" Target="commentAuthors.xml" /><Relationship Id="rId10" Type="http://schemas.openxmlformats.org/officeDocument/2006/relationships/slide" Target="slides/slide6.xml" /><Relationship Id="rId19" Type="http://schemas.openxmlformats.org/officeDocument/2006/relationships/slide" Target="slides/slide15.xml" /><Relationship Id="rId4" Type="http://schemas.openxmlformats.org/officeDocument/2006/relationships/slideMaster" Target="slideMasters/slideMaster1.xml" /><Relationship Id="rId9" Type="http://schemas.openxmlformats.org/officeDocument/2006/relationships/slide" Target="slides/slide5.xml" /><Relationship Id="rId14" Type="http://schemas.openxmlformats.org/officeDocument/2006/relationships/slide" Target="slides/slide10.xml" /><Relationship Id="rId22" Type="http://schemas.openxmlformats.org/officeDocument/2006/relationships/tags" Target="tags/tag1.xml" /><Relationship Id="rId27" Type="http://schemas.openxmlformats.org/officeDocument/2006/relationships/tableStyles" Target="tableStyles.xml" /></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 /></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 /></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 /></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 /></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 /></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 /></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4769728" cy="496332"/>
          </a:xfrm>
          <a:prstGeom prst="rect">
            <a:avLst/>
          </a:prstGeom>
        </p:spPr>
        <p:txBody>
          <a:bodyPr vert="horz" lIns="91440" tIns="45720" rIns="91440" bIns="45720" rtlCol="0"/>
          <a:lstStyle>
            <a:lvl1pPr algn="l">
              <a:defRPr sz="1200"/>
            </a:lvl1pPr>
          </a:lstStyle>
          <a:p>
            <a:endParaRPr lang="nl-NL" b="1">
              <a:latin typeface="Corbel"/>
              <a:cs typeface="Corbel"/>
            </a:endParaRPr>
          </a:p>
        </p:txBody>
      </p:sp>
      <p:sp>
        <p:nvSpPr>
          <p:cNvPr id="3" name="Tijdelijke aanduiding voor datum 2"/>
          <p:cNvSpPr>
            <a:spLocks noGrp="1"/>
          </p:cNvSpPr>
          <p:nvPr>
            <p:ph type="dt" sz="quarter" idx="1"/>
          </p:nvPr>
        </p:nvSpPr>
        <p:spPr>
          <a:xfrm>
            <a:off x="5224762" y="0"/>
            <a:ext cx="1442783" cy="496332"/>
          </a:xfrm>
          <a:prstGeom prst="rect">
            <a:avLst/>
          </a:prstGeom>
        </p:spPr>
        <p:txBody>
          <a:bodyPr vert="horz" lIns="91440" tIns="45720" rIns="91440" bIns="45720" rtlCol="0"/>
          <a:lstStyle>
            <a:lvl1pPr algn="r">
              <a:defRPr sz="1200"/>
            </a:lvl1pPr>
          </a:lstStyle>
          <a:p>
            <a:fld id="{1DFF1D61-6A12-B148-B795-5CBE2F827FD7}" type="datetime3">
              <a:rPr lang="nl-NL">
                <a:latin typeface="Corbel"/>
                <a:cs typeface="Corbel"/>
              </a:rPr>
              <a:t>5/7/23</a:t>
            </a:fld>
            <a:endParaRPr lang="nl-NL">
              <a:latin typeface="Corbel"/>
              <a:cs typeface="Corbel"/>
            </a:endParaRPr>
          </a:p>
        </p:txBody>
      </p:sp>
      <p:sp>
        <p:nvSpPr>
          <p:cNvPr id="4" name="Tijdelijke aanduiding voor voettekst 3"/>
          <p:cNvSpPr>
            <a:spLocks noGrp="1"/>
          </p:cNvSpPr>
          <p:nvPr>
            <p:ph type="ftr" sz="quarter" idx="2"/>
          </p:nvPr>
        </p:nvSpPr>
        <p:spPr>
          <a:xfrm>
            <a:off x="0" y="9428583"/>
            <a:ext cx="5582288" cy="496332"/>
          </a:xfrm>
          <a:prstGeom prst="rect">
            <a:avLst/>
          </a:prstGeom>
        </p:spPr>
        <p:txBody>
          <a:bodyPr vert="horz" lIns="91440" tIns="45720" rIns="91440" bIns="45720" rtlCol="0" anchor="b"/>
          <a:lstStyle>
            <a:lvl1pPr algn="l">
              <a:defRPr sz="1200"/>
            </a:lvl1pPr>
          </a:lstStyle>
          <a:p>
            <a:endParaRPr lang="nl-NL">
              <a:latin typeface="Corbel"/>
              <a:cs typeface="Corbel"/>
            </a:endParaRPr>
          </a:p>
        </p:txBody>
      </p:sp>
      <p:sp>
        <p:nvSpPr>
          <p:cNvPr id="5" name="Tijdelijke aanduiding voor dianummer 4"/>
          <p:cNvSpPr>
            <a:spLocks noGrp="1"/>
          </p:cNvSpPr>
          <p:nvPr>
            <p:ph type="sldNum" sz="quarter" idx="3"/>
          </p:nvPr>
        </p:nvSpPr>
        <p:spPr>
          <a:xfrm>
            <a:off x="5923563" y="9428583"/>
            <a:ext cx="743981" cy="496332"/>
          </a:xfrm>
          <a:prstGeom prst="rect">
            <a:avLst/>
          </a:prstGeom>
        </p:spPr>
        <p:txBody>
          <a:bodyPr vert="horz" lIns="91440" tIns="45720" rIns="91440" bIns="45720" rtlCol="0" anchor="b"/>
          <a:lstStyle>
            <a:lvl1pPr algn="r">
              <a:defRPr sz="1200"/>
            </a:lvl1pPr>
          </a:lstStyle>
          <a:p>
            <a:fld id="{59E047AC-04BA-824E-9526-AEF0380CB1CE}" type="slidenum">
              <a:rPr>
                <a:latin typeface="Corbel"/>
                <a:cs typeface="Corbel"/>
              </a:rPr>
              <a:pPr/>
              <a:t>‹#›</a:t>
            </a:fld>
            <a:endParaRPr lang="nl-NL">
              <a:latin typeface="Corbel"/>
              <a:cs typeface="Corbel"/>
            </a:endParaRPr>
          </a:p>
        </p:txBody>
      </p:sp>
    </p:spTree>
    <p:extLst>
      <p:ext uri="{BB962C8B-B14F-4D97-AF65-F5344CB8AC3E}">
        <p14:creationId xmlns:p14="http://schemas.microsoft.com/office/powerpoint/2010/main" val="170181909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4919614" cy="496332"/>
          </a:xfrm>
          <a:prstGeom prst="rect">
            <a:avLst/>
          </a:prstGeom>
        </p:spPr>
        <p:txBody>
          <a:bodyPr vert="horz" lIns="91440" tIns="45720" rIns="91440" bIns="45720" rtlCol="0"/>
          <a:lstStyle>
            <a:lvl1pPr algn="l">
              <a:defRPr sz="1200" b="1" i="0">
                <a:latin typeface="Corbel"/>
                <a:cs typeface="Corbel"/>
              </a:defRPr>
            </a:lvl1pPr>
          </a:lstStyle>
          <a:p>
            <a:endParaRPr lang="nl-NL"/>
          </a:p>
        </p:txBody>
      </p:sp>
      <p:sp>
        <p:nvSpPr>
          <p:cNvPr id="3" name="Tijdelijke aanduiding voor datum 2"/>
          <p:cNvSpPr>
            <a:spLocks noGrp="1"/>
          </p:cNvSpPr>
          <p:nvPr>
            <p:ph type="dt" idx="1"/>
          </p:nvPr>
        </p:nvSpPr>
        <p:spPr>
          <a:xfrm>
            <a:off x="5210774" y="0"/>
            <a:ext cx="1456771" cy="496332"/>
          </a:xfrm>
          <a:prstGeom prst="rect">
            <a:avLst/>
          </a:prstGeom>
        </p:spPr>
        <p:txBody>
          <a:bodyPr vert="horz" lIns="91440" tIns="45720" rIns="91440" bIns="45720" rtlCol="0"/>
          <a:lstStyle>
            <a:lvl1pPr algn="r">
              <a:defRPr sz="1200">
                <a:latin typeface="Corbel"/>
                <a:cs typeface="Corbel"/>
              </a:defRPr>
            </a:lvl1pPr>
          </a:lstStyle>
          <a:p>
            <a:fld id="{301EDAA2-3DF6-7940-91E3-A225DE787136}" type="datetime3">
              <a:t>5 July 2023</a:t>
            </a:fld>
            <a:endParaRPr lang="nl-NL"/>
          </a:p>
        </p:txBody>
      </p:sp>
      <p:sp>
        <p:nvSpPr>
          <p:cNvPr id="4" name="Tijdelijke aanduiding voor dia-afbeelding 3"/>
          <p:cNvSpPr>
            <a:spLocks noGrp="1" noRot="1" noChangeAspect="1"/>
          </p:cNvSpPr>
          <p:nvPr>
            <p:ph type="sldImg" idx="2"/>
          </p:nvPr>
        </p:nvSpPr>
        <p:spPr>
          <a:xfrm>
            <a:off x="26988" y="744538"/>
            <a:ext cx="6615112" cy="3722687"/>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66909" y="4715153"/>
            <a:ext cx="5335270" cy="4466987"/>
          </a:xfrm>
          <a:prstGeom prst="rect">
            <a:avLst/>
          </a:prstGeom>
        </p:spPr>
        <p:txBody>
          <a:bodyPr vert="horz" lIns="91440" tIns="45720" rIns="91440" bIns="45720" rtlCol="0"/>
          <a:lstStyle/>
          <a:p>
            <a:pPr lvl="0"/>
            <a:r>
              <a:rPr lang="en-US"/>
              <a:t>Klik om de tekststijl van het model te bewerken</a:t>
            </a:r>
          </a:p>
          <a:p>
            <a:pPr lvl="1"/>
            <a:r>
              <a:rPr lang="en-US"/>
              <a:t>Tweede niveau</a:t>
            </a:r>
          </a:p>
          <a:p>
            <a:pPr lvl="2"/>
            <a:r>
              <a:rPr lang="en-US"/>
              <a:t>Derde niveau</a:t>
            </a:r>
          </a:p>
          <a:p>
            <a:pPr lvl="3"/>
            <a:r>
              <a:rPr lang="en-US"/>
              <a:t>Vierde niveau</a:t>
            </a:r>
          </a:p>
          <a:p>
            <a:pPr lvl="4"/>
            <a:r>
              <a:rPr lang="en-US"/>
              <a:t>Vijfde niveau</a:t>
            </a:r>
            <a:endParaRPr lang="nl-NL"/>
          </a:p>
        </p:txBody>
      </p:sp>
      <p:sp>
        <p:nvSpPr>
          <p:cNvPr id="6" name="Tijdelijke aanduiding voor voettekst 5"/>
          <p:cNvSpPr>
            <a:spLocks noGrp="1"/>
          </p:cNvSpPr>
          <p:nvPr>
            <p:ph type="ftr" sz="quarter" idx="4"/>
          </p:nvPr>
        </p:nvSpPr>
        <p:spPr>
          <a:xfrm>
            <a:off x="0" y="9428583"/>
            <a:ext cx="5557573" cy="496332"/>
          </a:xfrm>
          <a:prstGeom prst="rect">
            <a:avLst/>
          </a:prstGeom>
        </p:spPr>
        <p:txBody>
          <a:bodyPr vert="horz" lIns="91440" tIns="45720" rIns="91440" bIns="45720" rtlCol="0" anchor="b"/>
          <a:lstStyle>
            <a:lvl1pPr algn="l">
              <a:defRPr sz="1200">
                <a:latin typeface="Corbel"/>
                <a:cs typeface="Corbel"/>
              </a:defRPr>
            </a:lvl1pPr>
          </a:lstStyle>
          <a:p>
            <a:endParaRPr lang="nl-NL"/>
          </a:p>
        </p:txBody>
      </p:sp>
      <p:sp>
        <p:nvSpPr>
          <p:cNvPr id="7" name="Tijdelijke aanduiding voor dianummer 6"/>
          <p:cNvSpPr>
            <a:spLocks noGrp="1"/>
          </p:cNvSpPr>
          <p:nvPr>
            <p:ph type="sldNum" sz="quarter" idx="5"/>
          </p:nvPr>
        </p:nvSpPr>
        <p:spPr>
          <a:xfrm>
            <a:off x="5903537" y="9428583"/>
            <a:ext cx="764008" cy="496332"/>
          </a:xfrm>
          <a:prstGeom prst="rect">
            <a:avLst/>
          </a:prstGeom>
        </p:spPr>
        <p:txBody>
          <a:bodyPr vert="horz" lIns="91440" tIns="45720" rIns="91440" bIns="45720" rtlCol="0" anchor="b"/>
          <a:lstStyle>
            <a:lvl1pPr algn="r">
              <a:defRPr sz="1200">
                <a:latin typeface="Corbel"/>
                <a:cs typeface="Corbel"/>
              </a:defRPr>
            </a:lvl1pPr>
          </a:lstStyle>
          <a:p>
            <a:fld id="{1CB5D99F-C216-8C4C-B398-F06F7517D80F}" type="slidenum">
              <a:rPr lang="nl-NL"/>
              <a:pPr/>
              <a:t>‹#›</a:t>
            </a:fld>
            <a:endParaRPr lang="nl-NL"/>
          </a:p>
        </p:txBody>
      </p:sp>
    </p:spTree>
    <p:extLst>
      <p:ext uri="{BB962C8B-B14F-4D97-AF65-F5344CB8AC3E}">
        <p14:creationId xmlns:p14="http://schemas.microsoft.com/office/powerpoint/2010/main" val="3286188434"/>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lnSpc>
        <a:spcPct val="100000"/>
      </a:lnSpc>
      <a:defRPr sz="1200" kern="1200">
        <a:solidFill>
          <a:schemeClr val="tx1"/>
        </a:solidFill>
        <a:latin typeface="Corbel"/>
        <a:ea typeface="+mn-ea"/>
        <a:cs typeface="Corbel"/>
      </a:defRPr>
    </a:lvl1pPr>
    <a:lvl2pPr marL="176213" indent="-176213" algn="l" defTabSz="457200" rtl="0" eaLnBrk="1" latinLnBrk="0" hangingPunct="1">
      <a:lnSpc>
        <a:spcPct val="100000"/>
      </a:lnSpc>
      <a:buFont typeface="Arial"/>
      <a:buChar char="•"/>
      <a:defRPr sz="1200" kern="1200">
        <a:solidFill>
          <a:schemeClr val="tx1"/>
        </a:solidFill>
        <a:latin typeface="Corbel"/>
        <a:ea typeface="+mn-ea"/>
        <a:cs typeface="Corbel"/>
      </a:defRPr>
    </a:lvl2pPr>
    <a:lvl3pPr marL="361950" indent="-185738" algn="l" defTabSz="457200" rtl="0" eaLnBrk="1" latinLnBrk="0" hangingPunct="1">
      <a:lnSpc>
        <a:spcPct val="100000"/>
      </a:lnSpc>
      <a:buFont typeface="Arial"/>
      <a:buChar char="•"/>
      <a:defRPr sz="1100" kern="1200">
        <a:solidFill>
          <a:schemeClr val="tx1"/>
        </a:solidFill>
        <a:latin typeface="Corbel"/>
        <a:ea typeface="+mn-ea"/>
        <a:cs typeface="Corbel"/>
      </a:defRPr>
    </a:lvl3pPr>
    <a:lvl4pPr marL="536575" indent="-174625" algn="l" defTabSz="457200" rtl="0" eaLnBrk="1" latinLnBrk="0" hangingPunct="1">
      <a:lnSpc>
        <a:spcPct val="100000"/>
      </a:lnSpc>
      <a:buFont typeface="Arial"/>
      <a:buChar char="•"/>
      <a:defRPr sz="1000" kern="1200">
        <a:solidFill>
          <a:schemeClr val="tx1"/>
        </a:solidFill>
        <a:latin typeface="Corbel"/>
        <a:ea typeface="+mn-ea"/>
        <a:cs typeface="Corbel"/>
      </a:defRPr>
    </a:lvl4pPr>
    <a:lvl5pPr marL="712788" indent="-176213" algn="l" defTabSz="457200" rtl="0" eaLnBrk="1" latinLnBrk="0" hangingPunct="1">
      <a:lnSpc>
        <a:spcPct val="100000"/>
      </a:lnSpc>
      <a:buFont typeface="Arial"/>
      <a:buChar char="•"/>
      <a:defRPr sz="1000" kern="1200">
        <a:solidFill>
          <a:schemeClr val="tx1"/>
        </a:solidFill>
        <a:latin typeface="Corbel"/>
        <a:ea typeface="+mn-ea"/>
        <a:cs typeface="Corbel"/>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Us = </a:t>
            </a:r>
            <a:r>
              <a:rPr lang="en-US" dirty="0" err="1"/>
              <a:t>Unidades</a:t>
            </a:r>
            <a:r>
              <a:rPr lang="en-US" dirty="0"/>
              <a:t> de carbono </a:t>
            </a:r>
            <a:r>
              <a:rPr lang="en-US" dirty="0" err="1"/>
              <a:t>removidos</a:t>
            </a:r>
            <a:r>
              <a:rPr lang="en-US" dirty="0"/>
              <a:t> x SAF con café.</a:t>
            </a:r>
          </a:p>
          <a:p>
            <a:endParaRPr lang="en-GB"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10446A19-CE88-4DD5-9760-5C008F905D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7/5/2023 9:47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830713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1CB5D99F-C216-8C4C-B398-F06F7517D80F}" type="slidenum">
              <a:rPr lang="nl-NL" smtClean="0"/>
              <a:pPr/>
              <a:t>6</a:t>
            </a:fld>
            <a:endParaRPr lang="nl-NL"/>
          </a:p>
        </p:txBody>
      </p:sp>
    </p:spTree>
    <p:extLst>
      <p:ext uri="{BB962C8B-B14F-4D97-AF65-F5344CB8AC3E}">
        <p14:creationId xmlns:p14="http://schemas.microsoft.com/office/powerpoint/2010/main" val="2208910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1CB5D99F-C216-8C4C-B398-F06F7517D80F}" type="slidenum">
              <a:rPr lang="nl-NL" smtClean="0"/>
              <a:pPr/>
              <a:t>12</a:t>
            </a:fld>
            <a:endParaRPr lang="nl-NL"/>
          </a:p>
        </p:txBody>
      </p:sp>
    </p:spTree>
    <p:extLst>
      <p:ext uri="{BB962C8B-B14F-4D97-AF65-F5344CB8AC3E}">
        <p14:creationId xmlns:p14="http://schemas.microsoft.com/office/powerpoint/2010/main" val="37495097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 /><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 /><Relationship Id="rId1" Type="http://schemas.openxmlformats.org/officeDocument/2006/relationships/slideMaster" Target="../slideMasters/slideMaster1.xml" /></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2.png" /><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 /><Relationship Id="rId1" Type="http://schemas.openxmlformats.org/officeDocument/2006/relationships/slideMaster" Target="../slideMasters/slideMaster1.xml" /></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image" Target="../media/image5.emf" /><Relationship Id="rId1" Type="http://schemas.openxmlformats.org/officeDocument/2006/relationships/slideMaster" Target="../slideMasters/slideMaster1.xml" /><Relationship Id="rId4" Type="http://schemas.openxmlformats.org/officeDocument/2006/relationships/image" Target="../media/image3.png" /></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 /><Relationship Id="rId1" Type="http://schemas.openxmlformats.org/officeDocument/2006/relationships/slideMaster" Target="../slideMasters/slideMaster1.xml" /></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image" Target="../media/image5.emf" /><Relationship Id="rId1" Type="http://schemas.openxmlformats.org/officeDocument/2006/relationships/slideMaster" Target="../slideMasters/slideMaster1.xml" /><Relationship Id="rId4" Type="http://schemas.openxmlformats.org/officeDocument/2006/relationships/image" Target="../media/image3.png"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xml" /><Relationship Id="rId1" Type="http://schemas.openxmlformats.org/officeDocument/2006/relationships/vmlDrawing" Target="../drawings/vmlDrawing1.vml" /><Relationship Id="rId5" Type="http://schemas.openxmlformats.org/officeDocument/2006/relationships/image" Target="../media/image6.emf" /><Relationship Id="rId4" Type="http://schemas.openxmlformats.org/officeDocument/2006/relationships/oleObject" Target="../embeddings/oleObject1.bin" /></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2.png" /><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xml" /><Relationship Id="rId2" Type="http://schemas.openxmlformats.org/officeDocument/2006/relationships/tags" Target="../tags/tag3.xml" /><Relationship Id="rId1" Type="http://schemas.openxmlformats.org/officeDocument/2006/relationships/vmlDrawing" Target="../drawings/vmlDrawing2.vml" /><Relationship Id="rId6" Type="http://schemas.openxmlformats.org/officeDocument/2006/relationships/image" Target="../media/image7.emf" /><Relationship Id="rId5" Type="http://schemas.openxmlformats.org/officeDocument/2006/relationships/oleObject" Target="../embeddings/oleObject2.bin" /><Relationship Id="rId4" Type="http://schemas.openxmlformats.org/officeDocument/2006/relationships/slideMaster" Target="../slideMasters/slideMaster1.xml" /></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xml" /><Relationship Id="rId2" Type="http://schemas.openxmlformats.org/officeDocument/2006/relationships/tags" Target="../tags/tag5.xml" /><Relationship Id="rId1" Type="http://schemas.openxmlformats.org/officeDocument/2006/relationships/vmlDrawing" Target="../drawings/vmlDrawing3.vml" /><Relationship Id="rId6" Type="http://schemas.openxmlformats.org/officeDocument/2006/relationships/image" Target="../media/image7.emf" /><Relationship Id="rId5" Type="http://schemas.openxmlformats.org/officeDocument/2006/relationships/oleObject" Target="../embeddings/oleObject3.bin" /><Relationship Id="rId4" Type="http://schemas.openxmlformats.org/officeDocument/2006/relationships/slideMaster" Target="../slideMasters/slideMaster1.xml" /></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 /><Relationship Id="rId7" Type="http://schemas.openxmlformats.org/officeDocument/2006/relationships/image" Target="../media/image9.png" /><Relationship Id="rId2" Type="http://schemas.openxmlformats.org/officeDocument/2006/relationships/tags" Target="../tags/tag7.xml" /><Relationship Id="rId1" Type="http://schemas.openxmlformats.org/officeDocument/2006/relationships/vmlDrawing" Target="../drawings/vmlDrawing4.vml" /><Relationship Id="rId6" Type="http://schemas.openxmlformats.org/officeDocument/2006/relationships/image" Target="../media/image8.jpeg" /><Relationship Id="rId5" Type="http://schemas.openxmlformats.org/officeDocument/2006/relationships/image" Target="../media/image6.emf" /><Relationship Id="rId4" Type="http://schemas.openxmlformats.org/officeDocument/2006/relationships/oleObject" Target="../embeddings/oleObject4.bin" /></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 /><Relationship Id="rId1" Type="http://schemas.openxmlformats.org/officeDocument/2006/relationships/slideMaster" Target="../slideMasters/slideMaster1.xml" /></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 /><Relationship Id="rId2" Type="http://schemas.openxmlformats.org/officeDocument/2006/relationships/image" Target="../media/image11.png" /><Relationship Id="rId1" Type="http://schemas.openxmlformats.org/officeDocument/2006/relationships/slideMaster" Target="../slideMasters/slideMaster1.xml" /><Relationship Id="rId5" Type="http://schemas.openxmlformats.org/officeDocument/2006/relationships/image" Target="../media/image14.png" /><Relationship Id="rId4" Type="http://schemas.openxmlformats.org/officeDocument/2006/relationships/image" Target="../media/image13.png" /></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2.png" /><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2.png" /><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2.png" /><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2.png" /><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 /><Relationship Id="rId2" Type="http://schemas.openxmlformats.org/officeDocument/2006/relationships/image" Target="../media/image2.png" /><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1 rg / Subtitel 1 rg">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D610352D-C874-4128-8C1F-1DE276BBCF6D}"/>
              </a:ext>
            </a:extLst>
          </p:cNvPr>
          <p:cNvSpPr>
            <a:spLocks noGrp="1"/>
          </p:cNvSpPr>
          <p:nvPr>
            <p:ph type="pic" sz="quarter" idx="10" hasCustomPrompt="1"/>
          </p:nvPr>
        </p:nvSpPr>
        <p:spPr>
          <a:xfrm>
            <a:off x="0" y="0"/>
            <a:ext cx="9144000" cy="5143500"/>
          </a:xfrm>
        </p:spPr>
        <p:txBody>
          <a:bodyPr/>
          <a:lstStyle>
            <a:lvl1pPr marL="0" indent="0" algn="ctr">
              <a:lnSpc>
                <a:spcPct val="100000"/>
              </a:lnSpc>
              <a:spcBef>
                <a:spcPts val="0"/>
              </a:spcBef>
              <a:buNone/>
              <a:defRPr sz="1200">
                <a:solidFill>
                  <a:schemeClr val="bg1">
                    <a:lumMod val="65000"/>
                  </a:schemeClr>
                </a:solidFill>
              </a:defRPr>
            </a:lvl1pPr>
          </a:lstStyle>
          <a:p>
            <a:r>
              <a:rPr lang="nl-NL"/>
              <a:t>Klik op het pictogram om een afbeelding in te voegen</a:t>
            </a:r>
          </a:p>
        </p:txBody>
      </p:sp>
      <p:sp>
        <p:nvSpPr>
          <p:cNvPr id="12" name="Ondertitel">
            <a:extLst>
              <a:ext uri="{FF2B5EF4-FFF2-40B4-BE49-F238E27FC236}">
                <a16:creationId xmlns:a16="http://schemas.microsoft.com/office/drawing/2014/main" id="{37F370EF-1164-4406-A176-36939987E745}"/>
              </a:ext>
            </a:extLst>
          </p:cNvPr>
          <p:cNvSpPr>
            <a:spLocks noGrp="1"/>
          </p:cNvSpPr>
          <p:nvPr>
            <p:ph type="subTitle" idx="1" hasCustomPrompt="1"/>
          </p:nvPr>
        </p:nvSpPr>
        <p:spPr>
          <a:xfrm>
            <a:off x="2" y="846000"/>
            <a:ext cx="4212000" cy="540000"/>
          </a:xfrm>
          <a:custGeom>
            <a:avLst/>
            <a:gdLst>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180985 w 4207670"/>
              <a:gd name="connsiteY8" fmla="*/ 173138 h 461138"/>
              <a:gd name="connsiteX9" fmla="*/ 4207670 w 4207670"/>
              <a:gd name="connsiteY9" fmla="*/ 173138 h 461138"/>
              <a:gd name="connsiteX10" fmla="*/ 3977712 w 4207670"/>
              <a:gd name="connsiteY10" fmla="*/ 455287 h 461138"/>
              <a:gd name="connsiteX11" fmla="*/ 3960295 w 4207670"/>
              <a:gd name="connsiteY11" fmla="*/ 457043 h 461138"/>
              <a:gd name="connsiteX12" fmla="*/ 3958936 w 4207670"/>
              <a:gd name="connsiteY12" fmla="*/ 458756 h 461138"/>
              <a:gd name="connsiteX13" fmla="*/ 3958926 w 4207670"/>
              <a:gd name="connsiteY13" fmla="*/ 458757 h 461138"/>
              <a:gd name="connsiteX14" fmla="*/ 3943289 w 4207670"/>
              <a:gd name="connsiteY14" fmla="*/ 458757 h 461138"/>
              <a:gd name="connsiteX15" fmla="*/ 3919670 w 4207670"/>
              <a:gd name="connsiteY15" fmla="*/ 461138 h 461138"/>
              <a:gd name="connsiteX16" fmla="*/ 3919670 w 4207670"/>
              <a:gd name="connsiteY16" fmla="*/ 458757 h 461138"/>
              <a:gd name="connsiteX17" fmla="*/ 0 w 4207670"/>
              <a:gd name="connsiteY17" fmla="*/ 458756 h 461138"/>
              <a:gd name="connsiteX18" fmla="*/ 0 w 4207670"/>
              <a:gd name="connsiteY18" fmla="*/ 229379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207670 w 4207670"/>
              <a:gd name="connsiteY8" fmla="*/ 173138 h 461138"/>
              <a:gd name="connsiteX9" fmla="*/ 3977712 w 4207670"/>
              <a:gd name="connsiteY9" fmla="*/ 455287 h 461138"/>
              <a:gd name="connsiteX10" fmla="*/ 3960295 w 4207670"/>
              <a:gd name="connsiteY10" fmla="*/ 457043 h 461138"/>
              <a:gd name="connsiteX11" fmla="*/ 3958936 w 4207670"/>
              <a:gd name="connsiteY11" fmla="*/ 458756 h 461138"/>
              <a:gd name="connsiteX12" fmla="*/ 3958926 w 4207670"/>
              <a:gd name="connsiteY12" fmla="*/ 458757 h 461138"/>
              <a:gd name="connsiteX13" fmla="*/ 3943289 w 4207670"/>
              <a:gd name="connsiteY13" fmla="*/ 458757 h 461138"/>
              <a:gd name="connsiteX14" fmla="*/ 3919670 w 4207670"/>
              <a:gd name="connsiteY14" fmla="*/ 461138 h 461138"/>
              <a:gd name="connsiteX15" fmla="*/ 3919670 w 4207670"/>
              <a:gd name="connsiteY15" fmla="*/ 458757 h 461138"/>
              <a:gd name="connsiteX16" fmla="*/ 0 w 4207670"/>
              <a:gd name="connsiteY16" fmla="*/ 458756 h 461138"/>
              <a:gd name="connsiteX17" fmla="*/ 0 w 4207670"/>
              <a:gd name="connsiteY17" fmla="*/ 229379 h 461138"/>
              <a:gd name="connsiteX18" fmla="*/ 0 w 4207670"/>
              <a:gd name="connsiteY18"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77712 w 4207670"/>
              <a:gd name="connsiteY8" fmla="*/ 455287 h 461138"/>
              <a:gd name="connsiteX9" fmla="*/ 3960295 w 4207670"/>
              <a:gd name="connsiteY9" fmla="*/ 457043 h 461138"/>
              <a:gd name="connsiteX10" fmla="*/ 3958936 w 4207670"/>
              <a:gd name="connsiteY10" fmla="*/ 458756 h 461138"/>
              <a:gd name="connsiteX11" fmla="*/ 3958926 w 4207670"/>
              <a:gd name="connsiteY11" fmla="*/ 458757 h 461138"/>
              <a:gd name="connsiteX12" fmla="*/ 3943289 w 4207670"/>
              <a:gd name="connsiteY12" fmla="*/ 458757 h 461138"/>
              <a:gd name="connsiteX13" fmla="*/ 3919670 w 4207670"/>
              <a:gd name="connsiteY13" fmla="*/ 461138 h 461138"/>
              <a:gd name="connsiteX14" fmla="*/ 3919670 w 4207670"/>
              <a:gd name="connsiteY14" fmla="*/ 458757 h 461138"/>
              <a:gd name="connsiteX15" fmla="*/ 0 w 4207670"/>
              <a:gd name="connsiteY15" fmla="*/ 458756 h 461138"/>
              <a:gd name="connsiteX16" fmla="*/ 0 w 4207670"/>
              <a:gd name="connsiteY16" fmla="*/ 229379 h 461138"/>
              <a:gd name="connsiteX17" fmla="*/ 0 w 4207670"/>
              <a:gd name="connsiteY17"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58926 w 4207670"/>
              <a:gd name="connsiteY10" fmla="*/ 458757 h 461138"/>
              <a:gd name="connsiteX11" fmla="*/ 3943289 w 4207670"/>
              <a:gd name="connsiteY11" fmla="*/ 458757 h 461138"/>
              <a:gd name="connsiteX12" fmla="*/ 3919670 w 4207670"/>
              <a:gd name="connsiteY12" fmla="*/ 461138 h 461138"/>
              <a:gd name="connsiteX13" fmla="*/ 3919670 w 4207670"/>
              <a:gd name="connsiteY13" fmla="*/ 458757 h 461138"/>
              <a:gd name="connsiteX14" fmla="*/ 0 w 4207670"/>
              <a:gd name="connsiteY14" fmla="*/ 458756 h 461138"/>
              <a:gd name="connsiteX15" fmla="*/ 0 w 4207670"/>
              <a:gd name="connsiteY15" fmla="*/ 229379 h 461138"/>
              <a:gd name="connsiteX16" fmla="*/ 0 w 4207670"/>
              <a:gd name="connsiteY16"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43289 w 4207670"/>
              <a:gd name="connsiteY10" fmla="*/ 458757 h 461138"/>
              <a:gd name="connsiteX11" fmla="*/ 3919670 w 4207670"/>
              <a:gd name="connsiteY11" fmla="*/ 461138 h 461138"/>
              <a:gd name="connsiteX12" fmla="*/ 3919670 w 4207670"/>
              <a:gd name="connsiteY12" fmla="*/ 458757 h 461138"/>
              <a:gd name="connsiteX13" fmla="*/ 0 w 4207670"/>
              <a:gd name="connsiteY13" fmla="*/ 458756 h 461138"/>
              <a:gd name="connsiteX14" fmla="*/ 0 w 4207670"/>
              <a:gd name="connsiteY14" fmla="*/ 229379 h 461138"/>
              <a:gd name="connsiteX15" fmla="*/ 0 w 4207670"/>
              <a:gd name="connsiteY15"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43289 w 4207670"/>
              <a:gd name="connsiteY9" fmla="*/ 458757 h 461138"/>
              <a:gd name="connsiteX10" fmla="*/ 3919670 w 4207670"/>
              <a:gd name="connsiteY10" fmla="*/ 461138 h 461138"/>
              <a:gd name="connsiteX11" fmla="*/ 3919670 w 4207670"/>
              <a:gd name="connsiteY11" fmla="*/ 458757 h 461138"/>
              <a:gd name="connsiteX12" fmla="*/ 0 w 4207670"/>
              <a:gd name="connsiteY12" fmla="*/ 458756 h 461138"/>
              <a:gd name="connsiteX13" fmla="*/ 0 w 4207670"/>
              <a:gd name="connsiteY13" fmla="*/ 229379 h 461138"/>
              <a:gd name="connsiteX14" fmla="*/ 0 w 4207670"/>
              <a:gd name="connsiteY14"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43289 w 4207670"/>
              <a:gd name="connsiteY8" fmla="*/ 458757 h 461138"/>
              <a:gd name="connsiteX9" fmla="*/ 3919670 w 4207670"/>
              <a:gd name="connsiteY9" fmla="*/ 461138 h 461138"/>
              <a:gd name="connsiteX10" fmla="*/ 3919670 w 4207670"/>
              <a:gd name="connsiteY10" fmla="*/ 458757 h 461138"/>
              <a:gd name="connsiteX11" fmla="*/ 0 w 4207670"/>
              <a:gd name="connsiteY11" fmla="*/ 458756 h 461138"/>
              <a:gd name="connsiteX12" fmla="*/ 0 w 4207670"/>
              <a:gd name="connsiteY12" fmla="*/ 229379 h 461138"/>
              <a:gd name="connsiteX13" fmla="*/ 0 w 4207670"/>
              <a:gd name="connsiteY13"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3919670 w 4207670"/>
              <a:gd name="connsiteY9" fmla="*/ 458757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58756"/>
              <a:gd name="connsiteX1" fmla="*/ 245874 w 4207670"/>
              <a:gd name="connsiteY1" fmla="*/ 0 h 458756"/>
              <a:gd name="connsiteX2" fmla="*/ 3919668 w 4207670"/>
              <a:gd name="connsiteY2" fmla="*/ 0 h 458756"/>
              <a:gd name="connsiteX3" fmla="*/ 4004235 w 4207670"/>
              <a:gd name="connsiteY3" fmla="*/ 0 h 458756"/>
              <a:gd name="connsiteX4" fmla="*/ 4204800 w 4207670"/>
              <a:gd name="connsiteY4" fmla="*/ 0 h 458756"/>
              <a:gd name="connsiteX5" fmla="*/ 4207669 w 4207670"/>
              <a:gd name="connsiteY5" fmla="*/ 0 h 458756"/>
              <a:gd name="connsiteX6" fmla="*/ 4207669 w 4207670"/>
              <a:gd name="connsiteY6" fmla="*/ 172615 h 458756"/>
              <a:gd name="connsiteX7" fmla="*/ 4207670 w 4207670"/>
              <a:gd name="connsiteY7" fmla="*/ 173138 h 458756"/>
              <a:gd name="connsiteX8" fmla="*/ 4086357 w 4207670"/>
              <a:gd name="connsiteY8" fmla="*/ 456376 h 458756"/>
              <a:gd name="connsiteX9" fmla="*/ 0 w 4207670"/>
              <a:gd name="connsiteY9" fmla="*/ 458756 h 458756"/>
              <a:gd name="connsiteX10" fmla="*/ 0 w 4207670"/>
              <a:gd name="connsiteY10" fmla="*/ 229379 h 458756"/>
              <a:gd name="connsiteX11" fmla="*/ 0 w 4207670"/>
              <a:gd name="connsiteY11" fmla="*/ 0 h 458756"/>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14354"/>
              <a:gd name="connsiteY0" fmla="*/ 0 h 458757"/>
              <a:gd name="connsiteX1" fmla="*/ 245874 w 4214354"/>
              <a:gd name="connsiteY1" fmla="*/ 0 h 458757"/>
              <a:gd name="connsiteX2" fmla="*/ 3919668 w 4214354"/>
              <a:gd name="connsiteY2" fmla="*/ 0 h 458757"/>
              <a:gd name="connsiteX3" fmla="*/ 4004235 w 4214354"/>
              <a:gd name="connsiteY3" fmla="*/ 0 h 458757"/>
              <a:gd name="connsiteX4" fmla="*/ 4204800 w 4214354"/>
              <a:gd name="connsiteY4" fmla="*/ 0 h 458757"/>
              <a:gd name="connsiteX5" fmla="*/ 4207669 w 4214354"/>
              <a:gd name="connsiteY5" fmla="*/ 0 h 458757"/>
              <a:gd name="connsiteX6" fmla="*/ 4207669 w 4214354"/>
              <a:gd name="connsiteY6" fmla="*/ 172615 h 458757"/>
              <a:gd name="connsiteX7" fmla="*/ 4207670 w 4214354"/>
              <a:gd name="connsiteY7" fmla="*/ 173138 h 458757"/>
              <a:gd name="connsiteX8" fmla="*/ 4086357 w 4214354"/>
              <a:gd name="connsiteY8" fmla="*/ 458757 h 458757"/>
              <a:gd name="connsiteX9" fmla="*/ 0 w 4214354"/>
              <a:gd name="connsiteY9" fmla="*/ 458756 h 458757"/>
              <a:gd name="connsiteX10" fmla="*/ 0 w 4214354"/>
              <a:gd name="connsiteY10" fmla="*/ 229379 h 458757"/>
              <a:gd name="connsiteX11" fmla="*/ 0 w 4214354"/>
              <a:gd name="connsiteY11" fmla="*/ 0 h 458757"/>
              <a:gd name="connsiteX0" fmla="*/ 0 w 4217545"/>
              <a:gd name="connsiteY0" fmla="*/ 0 h 458757"/>
              <a:gd name="connsiteX1" fmla="*/ 245874 w 4217545"/>
              <a:gd name="connsiteY1" fmla="*/ 0 h 458757"/>
              <a:gd name="connsiteX2" fmla="*/ 3919668 w 4217545"/>
              <a:gd name="connsiteY2" fmla="*/ 0 h 458757"/>
              <a:gd name="connsiteX3" fmla="*/ 4004235 w 4217545"/>
              <a:gd name="connsiteY3" fmla="*/ 0 h 458757"/>
              <a:gd name="connsiteX4" fmla="*/ 4204800 w 4217545"/>
              <a:gd name="connsiteY4" fmla="*/ 0 h 458757"/>
              <a:gd name="connsiteX5" fmla="*/ 4207669 w 4217545"/>
              <a:gd name="connsiteY5" fmla="*/ 0 h 458757"/>
              <a:gd name="connsiteX6" fmla="*/ 4207669 w 4217545"/>
              <a:gd name="connsiteY6" fmla="*/ 172615 h 458757"/>
              <a:gd name="connsiteX7" fmla="*/ 4212432 w 4217545"/>
              <a:gd name="connsiteY7" fmla="*/ 292201 h 458757"/>
              <a:gd name="connsiteX8" fmla="*/ 4086357 w 4217545"/>
              <a:gd name="connsiteY8" fmla="*/ 458757 h 458757"/>
              <a:gd name="connsiteX9" fmla="*/ 0 w 4217545"/>
              <a:gd name="connsiteY9" fmla="*/ 458756 h 458757"/>
              <a:gd name="connsiteX10" fmla="*/ 0 w 4217545"/>
              <a:gd name="connsiteY10" fmla="*/ 229379 h 458757"/>
              <a:gd name="connsiteX11" fmla="*/ 0 w 4217545"/>
              <a:gd name="connsiteY11" fmla="*/ 0 h 458757"/>
              <a:gd name="connsiteX0" fmla="*/ 0 w 4216499"/>
              <a:gd name="connsiteY0" fmla="*/ 0 h 458757"/>
              <a:gd name="connsiteX1" fmla="*/ 245874 w 4216499"/>
              <a:gd name="connsiteY1" fmla="*/ 0 h 458757"/>
              <a:gd name="connsiteX2" fmla="*/ 3919668 w 4216499"/>
              <a:gd name="connsiteY2" fmla="*/ 0 h 458757"/>
              <a:gd name="connsiteX3" fmla="*/ 4004235 w 4216499"/>
              <a:gd name="connsiteY3" fmla="*/ 0 h 458757"/>
              <a:gd name="connsiteX4" fmla="*/ 4204800 w 4216499"/>
              <a:gd name="connsiteY4" fmla="*/ 0 h 458757"/>
              <a:gd name="connsiteX5" fmla="*/ 4207669 w 4216499"/>
              <a:gd name="connsiteY5" fmla="*/ 0 h 458757"/>
              <a:gd name="connsiteX6" fmla="*/ 4207669 w 4216499"/>
              <a:gd name="connsiteY6" fmla="*/ 172615 h 458757"/>
              <a:gd name="connsiteX7" fmla="*/ 4212432 w 4216499"/>
              <a:gd name="connsiteY7" fmla="*/ 292201 h 458757"/>
              <a:gd name="connsiteX8" fmla="*/ 4086357 w 4216499"/>
              <a:gd name="connsiteY8" fmla="*/ 458757 h 458757"/>
              <a:gd name="connsiteX9" fmla="*/ 0 w 4216499"/>
              <a:gd name="connsiteY9" fmla="*/ 458756 h 458757"/>
              <a:gd name="connsiteX10" fmla="*/ 0 w 4216499"/>
              <a:gd name="connsiteY10" fmla="*/ 229379 h 458757"/>
              <a:gd name="connsiteX11" fmla="*/ 0 w 4216499"/>
              <a:gd name="connsiteY11" fmla="*/ 0 h 458757"/>
              <a:gd name="connsiteX0" fmla="*/ 0 w 4218593"/>
              <a:gd name="connsiteY0" fmla="*/ 0 h 458757"/>
              <a:gd name="connsiteX1" fmla="*/ 245874 w 4218593"/>
              <a:gd name="connsiteY1" fmla="*/ 0 h 458757"/>
              <a:gd name="connsiteX2" fmla="*/ 3919668 w 4218593"/>
              <a:gd name="connsiteY2" fmla="*/ 0 h 458757"/>
              <a:gd name="connsiteX3" fmla="*/ 4004235 w 4218593"/>
              <a:gd name="connsiteY3" fmla="*/ 0 h 458757"/>
              <a:gd name="connsiteX4" fmla="*/ 4204800 w 4218593"/>
              <a:gd name="connsiteY4" fmla="*/ 0 h 458757"/>
              <a:gd name="connsiteX5" fmla="*/ 4207669 w 4218593"/>
              <a:gd name="connsiteY5" fmla="*/ 0 h 458757"/>
              <a:gd name="connsiteX6" fmla="*/ 4207669 w 4218593"/>
              <a:gd name="connsiteY6" fmla="*/ 172615 h 458757"/>
              <a:gd name="connsiteX7" fmla="*/ 4212432 w 4218593"/>
              <a:gd name="connsiteY7" fmla="*/ 292201 h 458757"/>
              <a:gd name="connsiteX8" fmla="*/ 4086357 w 4218593"/>
              <a:gd name="connsiteY8" fmla="*/ 458757 h 458757"/>
              <a:gd name="connsiteX9" fmla="*/ 0 w 4218593"/>
              <a:gd name="connsiteY9" fmla="*/ 458756 h 458757"/>
              <a:gd name="connsiteX10" fmla="*/ 0 w 4218593"/>
              <a:gd name="connsiteY10" fmla="*/ 229379 h 458757"/>
              <a:gd name="connsiteX11" fmla="*/ 0 w 42185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292201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3903"/>
              <a:gd name="connsiteY0" fmla="*/ 0 h 462682"/>
              <a:gd name="connsiteX1" fmla="*/ 245874 w 4213903"/>
              <a:gd name="connsiteY1" fmla="*/ 0 h 462682"/>
              <a:gd name="connsiteX2" fmla="*/ 3919668 w 4213903"/>
              <a:gd name="connsiteY2" fmla="*/ 0 h 462682"/>
              <a:gd name="connsiteX3" fmla="*/ 4004235 w 4213903"/>
              <a:gd name="connsiteY3" fmla="*/ 0 h 462682"/>
              <a:gd name="connsiteX4" fmla="*/ 4204800 w 4213903"/>
              <a:gd name="connsiteY4" fmla="*/ 0 h 462682"/>
              <a:gd name="connsiteX5" fmla="*/ 4207669 w 4213903"/>
              <a:gd name="connsiteY5" fmla="*/ 0 h 462682"/>
              <a:gd name="connsiteX6" fmla="*/ 4207669 w 4213903"/>
              <a:gd name="connsiteY6" fmla="*/ 172615 h 462682"/>
              <a:gd name="connsiteX7" fmla="*/ 4212432 w 4213903"/>
              <a:gd name="connsiteY7" fmla="*/ 320776 h 462682"/>
              <a:gd name="connsiteX8" fmla="*/ 4086357 w 4213903"/>
              <a:gd name="connsiteY8" fmla="*/ 458757 h 462682"/>
              <a:gd name="connsiteX9" fmla="*/ 0 w 4213903"/>
              <a:gd name="connsiteY9" fmla="*/ 458756 h 462682"/>
              <a:gd name="connsiteX10" fmla="*/ 0 w 4213903"/>
              <a:gd name="connsiteY10" fmla="*/ 229379 h 462682"/>
              <a:gd name="connsiteX11" fmla="*/ 0 w 4213903"/>
              <a:gd name="connsiteY11" fmla="*/ 0 h 462682"/>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320776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4812"/>
              <a:gd name="connsiteY0" fmla="*/ 0 h 458757"/>
              <a:gd name="connsiteX1" fmla="*/ 245874 w 4214812"/>
              <a:gd name="connsiteY1" fmla="*/ 0 h 458757"/>
              <a:gd name="connsiteX2" fmla="*/ 3919668 w 4214812"/>
              <a:gd name="connsiteY2" fmla="*/ 0 h 458757"/>
              <a:gd name="connsiteX3" fmla="*/ 4004235 w 4214812"/>
              <a:gd name="connsiteY3" fmla="*/ 0 h 458757"/>
              <a:gd name="connsiteX4" fmla="*/ 4204800 w 4214812"/>
              <a:gd name="connsiteY4" fmla="*/ 0 h 458757"/>
              <a:gd name="connsiteX5" fmla="*/ 4207669 w 4214812"/>
              <a:gd name="connsiteY5" fmla="*/ 0 h 458757"/>
              <a:gd name="connsiteX6" fmla="*/ 4214812 w 4214812"/>
              <a:gd name="connsiteY6" fmla="*/ 70221 h 458757"/>
              <a:gd name="connsiteX7" fmla="*/ 4212432 w 4214812"/>
              <a:gd name="connsiteY7" fmla="*/ 320776 h 458757"/>
              <a:gd name="connsiteX8" fmla="*/ 4086357 w 4214812"/>
              <a:gd name="connsiteY8" fmla="*/ 458757 h 458757"/>
              <a:gd name="connsiteX9" fmla="*/ 0 w 4214812"/>
              <a:gd name="connsiteY9" fmla="*/ 458756 h 458757"/>
              <a:gd name="connsiteX10" fmla="*/ 0 w 4214812"/>
              <a:gd name="connsiteY10" fmla="*/ 229379 h 458757"/>
              <a:gd name="connsiteX11" fmla="*/ 0 w 4214812"/>
              <a:gd name="connsiteY11" fmla="*/ 0 h 458757"/>
              <a:gd name="connsiteX0" fmla="*/ 0 w 4255293"/>
              <a:gd name="connsiteY0" fmla="*/ 0 h 458757"/>
              <a:gd name="connsiteX1" fmla="*/ 245874 w 4255293"/>
              <a:gd name="connsiteY1" fmla="*/ 0 h 458757"/>
              <a:gd name="connsiteX2" fmla="*/ 3919668 w 4255293"/>
              <a:gd name="connsiteY2" fmla="*/ 0 h 458757"/>
              <a:gd name="connsiteX3" fmla="*/ 4004235 w 4255293"/>
              <a:gd name="connsiteY3" fmla="*/ 0 h 458757"/>
              <a:gd name="connsiteX4" fmla="*/ 4204800 w 4255293"/>
              <a:gd name="connsiteY4" fmla="*/ 0 h 458757"/>
              <a:gd name="connsiteX5" fmla="*/ 4207669 w 4255293"/>
              <a:gd name="connsiteY5" fmla="*/ 0 h 458757"/>
              <a:gd name="connsiteX6" fmla="*/ 4255293 w 4255293"/>
              <a:gd name="connsiteY6" fmla="*/ 117846 h 458757"/>
              <a:gd name="connsiteX7" fmla="*/ 4212432 w 4255293"/>
              <a:gd name="connsiteY7" fmla="*/ 320776 h 458757"/>
              <a:gd name="connsiteX8" fmla="*/ 4086357 w 4255293"/>
              <a:gd name="connsiteY8" fmla="*/ 458757 h 458757"/>
              <a:gd name="connsiteX9" fmla="*/ 0 w 4255293"/>
              <a:gd name="connsiteY9" fmla="*/ 458756 h 458757"/>
              <a:gd name="connsiteX10" fmla="*/ 0 w 4255293"/>
              <a:gd name="connsiteY10" fmla="*/ 229379 h 458757"/>
              <a:gd name="connsiteX11" fmla="*/ 0 w 42552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12432 w 4213903"/>
              <a:gd name="connsiteY6" fmla="*/ 320776 h 458757"/>
              <a:gd name="connsiteX7" fmla="*/ 4086357 w 4213903"/>
              <a:gd name="connsiteY7" fmla="*/ 458757 h 458757"/>
              <a:gd name="connsiteX8" fmla="*/ 0 w 4213903"/>
              <a:gd name="connsiteY8" fmla="*/ 458756 h 458757"/>
              <a:gd name="connsiteX9" fmla="*/ 0 w 4213903"/>
              <a:gd name="connsiteY9" fmla="*/ 229379 h 458757"/>
              <a:gd name="connsiteX10" fmla="*/ 0 w 4213903"/>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7205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1490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4907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38720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2526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08127"/>
              <a:gd name="connsiteY0" fmla="*/ 0 h 459153"/>
              <a:gd name="connsiteX1" fmla="*/ 245874 w 4208127"/>
              <a:gd name="connsiteY1" fmla="*/ 0 h 459153"/>
              <a:gd name="connsiteX2" fmla="*/ 3919668 w 4208127"/>
              <a:gd name="connsiteY2" fmla="*/ 0 h 459153"/>
              <a:gd name="connsiteX3" fmla="*/ 4004235 w 4208127"/>
              <a:gd name="connsiteY3" fmla="*/ 0 h 459153"/>
              <a:gd name="connsiteX4" fmla="*/ 4204800 w 4208127"/>
              <a:gd name="connsiteY4" fmla="*/ 0 h 459153"/>
              <a:gd name="connsiteX5" fmla="*/ 4207669 w 4208127"/>
              <a:gd name="connsiteY5" fmla="*/ 0 h 459153"/>
              <a:gd name="connsiteX6" fmla="*/ 4207670 w 4208127"/>
              <a:gd name="connsiteY6" fmla="*/ 325539 h 459153"/>
              <a:gd name="connsiteX7" fmla="*/ 3912526 w 4208127"/>
              <a:gd name="connsiteY7" fmla="*/ 458757 h 459153"/>
              <a:gd name="connsiteX8" fmla="*/ 0 w 4208127"/>
              <a:gd name="connsiteY8" fmla="*/ 458756 h 459153"/>
              <a:gd name="connsiteX9" fmla="*/ 0 w 4208127"/>
              <a:gd name="connsiteY9" fmla="*/ 229379 h 459153"/>
              <a:gd name="connsiteX10" fmla="*/ 0 w 4208127"/>
              <a:gd name="connsiteY10" fmla="*/ 0 h 459153"/>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204800 w 4212432"/>
              <a:gd name="connsiteY3" fmla="*/ 0 h 459346"/>
              <a:gd name="connsiteX4" fmla="*/ 4207669 w 4212432"/>
              <a:gd name="connsiteY4" fmla="*/ 0 h 459346"/>
              <a:gd name="connsiteX5" fmla="*/ 4212432 w 4212432"/>
              <a:gd name="connsiteY5" fmla="*/ 327921 h 459346"/>
              <a:gd name="connsiteX6" fmla="*/ 3912526 w 4212432"/>
              <a:gd name="connsiteY6" fmla="*/ 458757 h 459346"/>
              <a:gd name="connsiteX7" fmla="*/ 0 w 4212432"/>
              <a:gd name="connsiteY7" fmla="*/ 458756 h 459346"/>
              <a:gd name="connsiteX8" fmla="*/ 0 w 4212432"/>
              <a:gd name="connsiteY8" fmla="*/ 229379 h 459346"/>
              <a:gd name="connsiteX9" fmla="*/ 0 w 4212432"/>
              <a:gd name="connsiteY9" fmla="*/ 0 h 459346"/>
              <a:gd name="connsiteX0" fmla="*/ 0 w 4212432"/>
              <a:gd name="connsiteY0" fmla="*/ 0 h 459346"/>
              <a:gd name="connsiteX1" fmla="*/ 245874 w 4212432"/>
              <a:gd name="connsiteY1" fmla="*/ 0 h 459346"/>
              <a:gd name="connsiteX2" fmla="*/ 4204800 w 4212432"/>
              <a:gd name="connsiteY2" fmla="*/ 0 h 459346"/>
              <a:gd name="connsiteX3" fmla="*/ 4207669 w 4212432"/>
              <a:gd name="connsiteY3" fmla="*/ 0 h 459346"/>
              <a:gd name="connsiteX4" fmla="*/ 4212432 w 4212432"/>
              <a:gd name="connsiteY4" fmla="*/ 327921 h 459346"/>
              <a:gd name="connsiteX5" fmla="*/ 3912526 w 4212432"/>
              <a:gd name="connsiteY5" fmla="*/ 458757 h 459346"/>
              <a:gd name="connsiteX6" fmla="*/ 0 w 4212432"/>
              <a:gd name="connsiteY6" fmla="*/ 458756 h 459346"/>
              <a:gd name="connsiteX7" fmla="*/ 0 w 4212432"/>
              <a:gd name="connsiteY7" fmla="*/ 229379 h 459346"/>
              <a:gd name="connsiteX8" fmla="*/ 0 w 4212432"/>
              <a:gd name="connsiteY8" fmla="*/ 0 h 459346"/>
              <a:gd name="connsiteX0" fmla="*/ 0 w 4212432"/>
              <a:gd name="connsiteY0" fmla="*/ 0 h 459346"/>
              <a:gd name="connsiteX1" fmla="*/ 245874 w 4212432"/>
              <a:gd name="connsiteY1" fmla="*/ 0 h 459346"/>
              <a:gd name="connsiteX2" fmla="*/ 4204800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9346"/>
              <a:gd name="connsiteX1" fmla="*/ 245874 w 4212432"/>
              <a:gd name="connsiteY1" fmla="*/ 0 h 459346"/>
              <a:gd name="connsiteX2" fmla="*/ 4209575 w 4212432"/>
              <a:gd name="connsiteY2" fmla="*/ 2381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28712"/>
              <a:gd name="connsiteY0" fmla="*/ 0 h 459346"/>
              <a:gd name="connsiteX1" fmla="*/ 245874 w 4228712"/>
              <a:gd name="connsiteY1" fmla="*/ 0 h 459346"/>
              <a:gd name="connsiteX2" fmla="*/ 4228676 w 4228712"/>
              <a:gd name="connsiteY2" fmla="*/ 2381 h 459346"/>
              <a:gd name="connsiteX3" fmla="*/ 4212432 w 4228712"/>
              <a:gd name="connsiteY3" fmla="*/ 327921 h 459346"/>
              <a:gd name="connsiteX4" fmla="*/ 3912526 w 4228712"/>
              <a:gd name="connsiteY4" fmla="*/ 458757 h 459346"/>
              <a:gd name="connsiteX5" fmla="*/ 0 w 4228712"/>
              <a:gd name="connsiteY5" fmla="*/ 458756 h 459346"/>
              <a:gd name="connsiteX6" fmla="*/ 0 w 4228712"/>
              <a:gd name="connsiteY6" fmla="*/ 229379 h 459346"/>
              <a:gd name="connsiteX7" fmla="*/ 0 w 4228712"/>
              <a:gd name="connsiteY7" fmla="*/ 0 h 459346"/>
              <a:gd name="connsiteX0" fmla="*/ 0 w 4212432"/>
              <a:gd name="connsiteY0" fmla="*/ 0 h 459346"/>
              <a:gd name="connsiteX1" fmla="*/ 245874 w 4212432"/>
              <a:gd name="connsiteY1" fmla="*/ 0 h 459346"/>
              <a:gd name="connsiteX2" fmla="*/ 4211962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1 h 458757"/>
              <a:gd name="connsiteX4" fmla="*/ 3912526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879"/>
              <a:gd name="connsiteX1" fmla="*/ 245874 w 4212432"/>
              <a:gd name="connsiteY1" fmla="*/ 0 h 458879"/>
              <a:gd name="connsiteX2" fmla="*/ 4211962 w 4212432"/>
              <a:gd name="connsiteY2" fmla="*/ 0 h 458879"/>
              <a:gd name="connsiteX3" fmla="*/ 4212432 w 4212432"/>
              <a:gd name="connsiteY3" fmla="*/ 308871 h 458879"/>
              <a:gd name="connsiteX4" fmla="*/ 3912526 w 4212432"/>
              <a:gd name="connsiteY4" fmla="*/ 458757 h 458879"/>
              <a:gd name="connsiteX5" fmla="*/ 0 w 4212432"/>
              <a:gd name="connsiteY5" fmla="*/ 458756 h 458879"/>
              <a:gd name="connsiteX6" fmla="*/ 0 w 4212432"/>
              <a:gd name="connsiteY6" fmla="*/ 229379 h 458879"/>
              <a:gd name="connsiteX7" fmla="*/ 0 w 4212432"/>
              <a:gd name="connsiteY7" fmla="*/ 0 h 458879"/>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308871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287440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287440 h 458757"/>
              <a:gd name="connsiteX4" fmla="*/ 3969829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65017 h 523774"/>
              <a:gd name="connsiteX1" fmla="*/ 245874 w 4212432"/>
              <a:gd name="connsiteY1" fmla="*/ 65017 h 523774"/>
              <a:gd name="connsiteX2" fmla="*/ 4211962 w 4212432"/>
              <a:gd name="connsiteY2" fmla="*/ 65017 h 523774"/>
              <a:gd name="connsiteX3" fmla="*/ 4212432 w 4212432"/>
              <a:gd name="connsiteY3" fmla="*/ 352457 h 523774"/>
              <a:gd name="connsiteX4" fmla="*/ 3969829 w 4212432"/>
              <a:gd name="connsiteY4" fmla="*/ 523774 h 523774"/>
              <a:gd name="connsiteX5" fmla="*/ 0 w 4212432"/>
              <a:gd name="connsiteY5" fmla="*/ 523773 h 523774"/>
              <a:gd name="connsiteX6" fmla="*/ 0 w 4212432"/>
              <a:gd name="connsiteY6" fmla="*/ 294396 h 523774"/>
              <a:gd name="connsiteX7" fmla="*/ 0 w 4212432"/>
              <a:gd name="connsiteY7" fmla="*/ 65017 h 523774"/>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783"/>
              <a:gd name="connsiteY0" fmla="*/ 65017 h 526518"/>
              <a:gd name="connsiteX1" fmla="*/ 245874 w 4212783"/>
              <a:gd name="connsiteY1" fmla="*/ 65017 h 526518"/>
              <a:gd name="connsiteX2" fmla="*/ 4211962 w 4212783"/>
              <a:gd name="connsiteY2" fmla="*/ 65017 h 526518"/>
              <a:gd name="connsiteX3" fmla="*/ 4212432 w 4212783"/>
              <a:gd name="connsiteY3" fmla="*/ 352457 h 526518"/>
              <a:gd name="connsiteX4" fmla="*/ 3969829 w 4212783"/>
              <a:gd name="connsiteY4" fmla="*/ 523774 h 526518"/>
              <a:gd name="connsiteX5" fmla="*/ 0 w 4212783"/>
              <a:gd name="connsiteY5" fmla="*/ 523773 h 526518"/>
              <a:gd name="connsiteX6" fmla="*/ 0 w 4212783"/>
              <a:gd name="connsiteY6" fmla="*/ 294396 h 526518"/>
              <a:gd name="connsiteX7" fmla="*/ 0 w 4212783"/>
              <a:gd name="connsiteY7" fmla="*/ 65017 h 526518"/>
              <a:gd name="connsiteX0" fmla="*/ 0 w 4212806"/>
              <a:gd name="connsiteY0" fmla="*/ 65017 h 526518"/>
              <a:gd name="connsiteX1" fmla="*/ 245874 w 4212806"/>
              <a:gd name="connsiteY1" fmla="*/ 65017 h 526518"/>
              <a:gd name="connsiteX2" fmla="*/ 4211962 w 4212806"/>
              <a:gd name="connsiteY2" fmla="*/ 65017 h 526518"/>
              <a:gd name="connsiteX3" fmla="*/ 4212432 w 4212806"/>
              <a:gd name="connsiteY3" fmla="*/ 352457 h 526518"/>
              <a:gd name="connsiteX4" fmla="*/ 3976992 w 4212806"/>
              <a:gd name="connsiteY4" fmla="*/ 523774 h 526518"/>
              <a:gd name="connsiteX5" fmla="*/ 0 w 4212806"/>
              <a:gd name="connsiteY5" fmla="*/ 523773 h 526518"/>
              <a:gd name="connsiteX6" fmla="*/ 0 w 4212806"/>
              <a:gd name="connsiteY6" fmla="*/ 294396 h 526518"/>
              <a:gd name="connsiteX7" fmla="*/ 0 w 4212806"/>
              <a:gd name="connsiteY7" fmla="*/ 65017 h 526518"/>
              <a:gd name="connsiteX0" fmla="*/ 0 w 4212707"/>
              <a:gd name="connsiteY0" fmla="*/ 65017 h 526518"/>
              <a:gd name="connsiteX1" fmla="*/ 245874 w 4212707"/>
              <a:gd name="connsiteY1" fmla="*/ 65017 h 526518"/>
              <a:gd name="connsiteX2" fmla="*/ 4211962 w 4212707"/>
              <a:gd name="connsiteY2" fmla="*/ 65017 h 526518"/>
              <a:gd name="connsiteX3" fmla="*/ 4212432 w 4212707"/>
              <a:gd name="connsiteY3" fmla="*/ 352457 h 526518"/>
              <a:gd name="connsiteX4" fmla="*/ 3976992 w 4212707"/>
              <a:gd name="connsiteY4" fmla="*/ 523774 h 526518"/>
              <a:gd name="connsiteX5" fmla="*/ 0 w 4212707"/>
              <a:gd name="connsiteY5" fmla="*/ 523773 h 526518"/>
              <a:gd name="connsiteX6" fmla="*/ 0 w 4212707"/>
              <a:gd name="connsiteY6" fmla="*/ 294396 h 526518"/>
              <a:gd name="connsiteX7" fmla="*/ 0 w 4212707"/>
              <a:gd name="connsiteY7" fmla="*/ 65017 h 526518"/>
              <a:gd name="connsiteX0" fmla="*/ 0 w 4212432"/>
              <a:gd name="connsiteY0" fmla="*/ 65017 h 527310"/>
              <a:gd name="connsiteX1" fmla="*/ 245874 w 4212432"/>
              <a:gd name="connsiteY1" fmla="*/ 65017 h 527310"/>
              <a:gd name="connsiteX2" fmla="*/ 4211962 w 4212432"/>
              <a:gd name="connsiteY2" fmla="*/ 65017 h 527310"/>
              <a:gd name="connsiteX3" fmla="*/ 4212432 w 4212432"/>
              <a:gd name="connsiteY3" fmla="*/ 352457 h 527310"/>
              <a:gd name="connsiteX4" fmla="*/ 3976992 w 4212432"/>
              <a:gd name="connsiteY4" fmla="*/ 523774 h 527310"/>
              <a:gd name="connsiteX5" fmla="*/ 0 w 4212432"/>
              <a:gd name="connsiteY5" fmla="*/ 523773 h 527310"/>
              <a:gd name="connsiteX6" fmla="*/ 0 w 4212432"/>
              <a:gd name="connsiteY6" fmla="*/ 294396 h 527310"/>
              <a:gd name="connsiteX7" fmla="*/ 0 w 4212432"/>
              <a:gd name="connsiteY7" fmla="*/ 65017 h 527310"/>
              <a:gd name="connsiteX0" fmla="*/ 0 w 4212432"/>
              <a:gd name="connsiteY0" fmla="*/ 254931 h 717224"/>
              <a:gd name="connsiteX1" fmla="*/ 245874 w 4212432"/>
              <a:gd name="connsiteY1" fmla="*/ 254931 h 717224"/>
              <a:gd name="connsiteX2" fmla="*/ 4211962 w 4212432"/>
              <a:gd name="connsiteY2" fmla="*/ 254931 h 717224"/>
              <a:gd name="connsiteX3" fmla="*/ 4212432 w 4212432"/>
              <a:gd name="connsiteY3" fmla="*/ 542371 h 717224"/>
              <a:gd name="connsiteX4" fmla="*/ 3976992 w 4212432"/>
              <a:gd name="connsiteY4" fmla="*/ 713688 h 717224"/>
              <a:gd name="connsiteX5" fmla="*/ 0 w 4212432"/>
              <a:gd name="connsiteY5" fmla="*/ 713687 h 717224"/>
              <a:gd name="connsiteX6" fmla="*/ 0 w 4212432"/>
              <a:gd name="connsiteY6" fmla="*/ 484310 h 717224"/>
              <a:gd name="connsiteX7" fmla="*/ 0 w 4212432"/>
              <a:gd name="connsiteY7" fmla="*/ 254931 h 717224"/>
              <a:gd name="connsiteX0" fmla="*/ 0 w 4212432"/>
              <a:gd name="connsiteY0" fmla="*/ 254931 h 714629"/>
              <a:gd name="connsiteX1" fmla="*/ 245874 w 4212432"/>
              <a:gd name="connsiteY1" fmla="*/ 254931 h 714629"/>
              <a:gd name="connsiteX2" fmla="*/ 4211962 w 4212432"/>
              <a:gd name="connsiteY2" fmla="*/ 254931 h 714629"/>
              <a:gd name="connsiteX3" fmla="*/ 4212432 w 4212432"/>
              <a:gd name="connsiteY3" fmla="*/ 542371 h 714629"/>
              <a:gd name="connsiteX4" fmla="*/ 3976992 w 4212432"/>
              <a:gd name="connsiteY4" fmla="*/ 713688 h 714629"/>
              <a:gd name="connsiteX5" fmla="*/ 0 w 4212432"/>
              <a:gd name="connsiteY5" fmla="*/ 713687 h 714629"/>
              <a:gd name="connsiteX6" fmla="*/ 0 w 4212432"/>
              <a:gd name="connsiteY6" fmla="*/ 484310 h 714629"/>
              <a:gd name="connsiteX7" fmla="*/ 0 w 4212432"/>
              <a:gd name="connsiteY7" fmla="*/ 254931 h 714629"/>
              <a:gd name="connsiteX0" fmla="*/ 0 w 4212432"/>
              <a:gd name="connsiteY0" fmla="*/ 242199 h 704985"/>
              <a:gd name="connsiteX1" fmla="*/ 245874 w 4212432"/>
              <a:gd name="connsiteY1" fmla="*/ 242199 h 704985"/>
              <a:gd name="connsiteX2" fmla="*/ 4211962 w 4212432"/>
              <a:gd name="connsiteY2" fmla="*/ 242199 h 704985"/>
              <a:gd name="connsiteX3" fmla="*/ 4212432 w 4212432"/>
              <a:gd name="connsiteY3" fmla="*/ 548689 h 704985"/>
              <a:gd name="connsiteX4" fmla="*/ 3976992 w 4212432"/>
              <a:gd name="connsiteY4" fmla="*/ 700956 h 704985"/>
              <a:gd name="connsiteX5" fmla="*/ 0 w 4212432"/>
              <a:gd name="connsiteY5" fmla="*/ 700955 h 704985"/>
              <a:gd name="connsiteX6" fmla="*/ 0 w 4212432"/>
              <a:gd name="connsiteY6" fmla="*/ 471578 h 704985"/>
              <a:gd name="connsiteX7" fmla="*/ 0 w 4212432"/>
              <a:gd name="connsiteY7" fmla="*/ 242199 h 704985"/>
              <a:gd name="connsiteX0" fmla="*/ 0 w 4212432"/>
              <a:gd name="connsiteY0" fmla="*/ 242199 h 703933"/>
              <a:gd name="connsiteX1" fmla="*/ 245874 w 4212432"/>
              <a:gd name="connsiteY1" fmla="*/ 242199 h 703933"/>
              <a:gd name="connsiteX2" fmla="*/ 4211962 w 4212432"/>
              <a:gd name="connsiteY2" fmla="*/ 242199 h 703933"/>
              <a:gd name="connsiteX3" fmla="*/ 4212432 w 4212432"/>
              <a:gd name="connsiteY3" fmla="*/ 548689 h 703933"/>
              <a:gd name="connsiteX4" fmla="*/ 3976992 w 4212432"/>
              <a:gd name="connsiteY4" fmla="*/ 700956 h 703933"/>
              <a:gd name="connsiteX5" fmla="*/ 0 w 4212432"/>
              <a:gd name="connsiteY5" fmla="*/ 700955 h 703933"/>
              <a:gd name="connsiteX6" fmla="*/ 0 w 4212432"/>
              <a:gd name="connsiteY6" fmla="*/ 471578 h 703933"/>
              <a:gd name="connsiteX7" fmla="*/ 0 w 4212432"/>
              <a:gd name="connsiteY7" fmla="*/ 242199 h 703933"/>
              <a:gd name="connsiteX0" fmla="*/ 0 w 4212432"/>
              <a:gd name="connsiteY0" fmla="*/ 242199 h 701374"/>
              <a:gd name="connsiteX1" fmla="*/ 245874 w 4212432"/>
              <a:gd name="connsiteY1" fmla="*/ 242199 h 701374"/>
              <a:gd name="connsiteX2" fmla="*/ 4211962 w 4212432"/>
              <a:gd name="connsiteY2" fmla="*/ 242199 h 701374"/>
              <a:gd name="connsiteX3" fmla="*/ 4212432 w 4212432"/>
              <a:gd name="connsiteY3" fmla="*/ 548689 h 701374"/>
              <a:gd name="connsiteX4" fmla="*/ 3976992 w 4212432"/>
              <a:gd name="connsiteY4" fmla="*/ 700956 h 701374"/>
              <a:gd name="connsiteX5" fmla="*/ 0 w 4212432"/>
              <a:gd name="connsiteY5" fmla="*/ 700955 h 701374"/>
              <a:gd name="connsiteX6" fmla="*/ 0 w 4212432"/>
              <a:gd name="connsiteY6" fmla="*/ 471578 h 701374"/>
              <a:gd name="connsiteX7" fmla="*/ 0 w 4212432"/>
              <a:gd name="connsiteY7" fmla="*/ 242199 h 701374"/>
              <a:gd name="connsiteX0" fmla="*/ 0 w 4214819"/>
              <a:gd name="connsiteY0" fmla="*/ 231179 h 693429"/>
              <a:gd name="connsiteX1" fmla="*/ 245874 w 4214819"/>
              <a:gd name="connsiteY1" fmla="*/ 231179 h 693429"/>
              <a:gd name="connsiteX2" fmla="*/ 4211962 w 4214819"/>
              <a:gd name="connsiteY2" fmla="*/ 231179 h 693429"/>
              <a:gd name="connsiteX3" fmla="*/ 4214819 w 4214819"/>
              <a:gd name="connsiteY3" fmla="*/ 554338 h 693429"/>
              <a:gd name="connsiteX4" fmla="*/ 3976992 w 4214819"/>
              <a:gd name="connsiteY4" fmla="*/ 689936 h 693429"/>
              <a:gd name="connsiteX5" fmla="*/ 0 w 4214819"/>
              <a:gd name="connsiteY5" fmla="*/ 689935 h 693429"/>
              <a:gd name="connsiteX6" fmla="*/ 0 w 4214819"/>
              <a:gd name="connsiteY6" fmla="*/ 460558 h 693429"/>
              <a:gd name="connsiteX7" fmla="*/ 0 w 4214819"/>
              <a:gd name="connsiteY7" fmla="*/ 231179 h 693429"/>
              <a:gd name="connsiteX0" fmla="*/ 0 w 4214819"/>
              <a:gd name="connsiteY0" fmla="*/ 231179 h 690020"/>
              <a:gd name="connsiteX1" fmla="*/ 245874 w 4214819"/>
              <a:gd name="connsiteY1" fmla="*/ 231179 h 690020"/>
              <a:gd name="connsiteX2" fmla="*/ 4211962 w 4214819"/>
              <a:gd name="connsiteY2" fmla="*/ 231179 h 690020"/>
              <a:gd name="connsiteX3" fmla="*/ 4214819 w 4214819"/>
              <a:gd name="connsiteY3" fmla="*/ 554338 h 690020"/>
              <a:gd name="connsiteX4" fmla="*/ 3976992 w 4214819"/>
              <a:gd name="connsiteY4" fmla="*/ 689936 h 690020"/>
              <a:gd name="connsiteX5" fmla="*/ 0 w 4214819"/>
              <a:gd name="connsiteY5" fmla="*/ 689935 h 690020"/>
              <a:gd name="connsiteX6" fmla="*/ 0 w 4214819"/>
              <a:gd name="connsiteY6" fmla="*/ 460558 h 690020"/>
              <a:gd name="connsiteX7" fmla="*/ 0 w 4214819"/>
              <a:gd name="connsiteY7" fmla="*/ 231179 h 690020"/>
              <a:gd name="connsiteX0" fmla="*/ 0 w 4215172"/>
              <a:gd name="connsiteY0" fmla="*/ 78388 h 537229"/>
              <a:gd name="connsiteX1" fmla="*/ 245874 w 4215172"/>
              <a:gd name="connsiteY1" fmla="*/ 78388 h 537229"/>
              <a:gd name="connsiteX2" fmla="*/ 4211962 w 4215172"/>
              <a:gd name="connsiteY2" fmla="*/ 78388 h 537229"/>
              <a:gd name="connsiteX3" fmla="*/ 4214819 w 4215172"/>
              <a:gd name="connsiteY3" fmla="*/ 401547 h 537229"/>
              <a:gd name="connsiteX4" fmla="*/ 3976992 w 4215172"/>
              <a:gd name="connsiteY4" fmla="*/ 537145 h 537229"/>
              <a:gd name="connsiteX5" fmla="*/ 0 w 4215172"/>
              <a:gd name="connsiteY5" fmla="*/ 537144 h 537229"/>
              <a:gd name="connsiteX6" fmla="*/ 0 w 4215172"/>
              <a:gd name="connsiteY6" fmla="*/ 307767 h 537229"/>
              <a:gd name="connsiteX7" fmla="*/ 0 w 4215172"/>
              <a:gd name="connsiteY7" fmla="*/ 78388 h 537229"/>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67441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2432" h="458757">
                <a:moveTo>
                  <a:pt x="0" y="0"/>
                </a:moveTo>
                <a:lnTo>
                  <a:pt x="245874" y="0"/>
                </a:lnTo>
                <a:lnTo>
                  <a:pt x="4211962" y="0"/>
                </a:lnTo>
                <a:cubicBezTo>
                  <a:pt x="4212914" y="108513"/>
                  <a:pt x="4209095" y="335"/>
                  <a:pt x="4212432" y="308872"/>
                </a:cubicBezTo>
                <a:cubicBezTo>
                  <a:pt x="4212481" y="465992"/>
                  <a:pt x="4074394" y="456418"/>
                  <a:pt x="3967441" y="458757"/>
                </a:cubicBezTo>
                <a:lnTo>
                  <a:pt x="0" y="458756"/>
                </a:lnTo>
                <a:lnTo>
                  <a:pt x="0" y="229379"/>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pPr lvl="0"/>
            <a:r>
              <a:rPr lang="en-US" err="1"/>
              <a:t>Klik</a:t>
            </a:r>
            <a:r>
              <a:rPr lang="en-US"/>
              <a:t> om </a:t>
            </a:r>
            <a:r>
              <a:rPr lang="en-US" err="1"/>
              <a:t>een</a:t>
            </a:r>
            <a:r>
              <a:rPr lang="en-US"/>
              <a:t> </a:t>
            </a:r>
            <a:r>
              <a:rPr lang="en-US" err="1"/>
              <a:t>ondertitel</a:t>
            </a:r>
            <a:r>
              <a:rPr lang="en-US"/>
              <a:t> toe </a:t>
            </a:r>
            <a:r>
              <a:rPr lang="en-US" err="1"/>
              <a:t>te</a:t>
            </a:r>
            <a:r>
              <a:rPr lang="en-US"/>
              <a:t> </a:t>
            </a:r>
            <a:r>
              <a:rPr lang="en-US" err="1"/>
              <a:t>voegen</a:t>
            </a:r>
            <a:endParaRPr lang="en-US"/>
          </a:p>
        </p:txBody>
      </p:sp>
      <p:sp>
        <p:nvSpPr>
          <p:cNvPr id="13" name="Titel 14">
            <a:extLst>
              <a:ext uri="{FF2B5EF4-FFF2-40B4-BE49-F238E27FC236}">
                <a16:creationId xmlns:a16="http://schemas.microsoft.com/office/drawing/2014/main" id="{00705430-2E3D-408A-87D8-6072E5C9046B}"/>
              </a:ext>
            </a:extLst>
          </p:cNvPr>
          <p:cNvSpPr>
            <a:spLocks noGrp="1"/>
          </p:cNvSpPr>
          <p:nvPr>
            <p:ph type="title" hasCustomPrompt="1"/>
          </p:nvPr>
        </p:nvSpPr>
        <p:spPr>
          <a:xfrm>
            <a:off x="2" y="270000"/>
            <a:ext cx="4212000" cy="576000"/>
          </a:xfrm>
          <a:prstGeom prst="round1Rect">
            <a:avLst>
              <a:gd name="adj" fmla="val 25875"/>
            </a:avLst>
          </a:prstGeom>
          <a:solidFill>
            <a:schemeClr val="accent1">
              <a:alpha val="90000"/>
            </a:schemeClr>
          </a:solidFill>
          <a:ln w="19050" cmpd="sng">
            <a:noFill/>
          </a:ln>
        </p:spPr>
        <p:txBody>
          <a:bodyPr wrap="square" lIns="468000" tIns="36000" rIns="36000" bIns="36000" anchor="ctr"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en-US" err="1"/>
              <a:t>Klikken</a:t>
            </a:r>
            <a:r>
              <a:rPr lang="en-US"/>
              <a:t> om </a:t>
            </a:r>
            <a:r>
              <a:rPr lang="en-US" err="1"/>
              <a:t>een</a:t>
            </a:r>
            <a:r>
              <a:rPr lang="en-US"/>
              <a:t> </a:t>
            </a:r>
            <a:r>
              <a:rPr lang="en-US" err="1"/>
              <a:t>titel</a:t>
            </a:r>
            <a:r>
              <a:rPr lang="en-US"/>
              <a:t>...</a:t>
            </a:r>
            <a:endParaRPr lang="nl-NL"/>
          </a:p>
        </p:txBody>
      </p:sp>
      <p:sp>
        <p:nvSpPr>
          <p:cNvPr id="3"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11"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6521194" y="3826963"/>
            <a:ext cx="216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421694438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1"/>
            <a:ext cx="8208000" cy="756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Tree>
    <p:extLst>
      <p:ext uri="{BB962C8B-B14F-4D97-AF65-F5344CB8AC3E}">
        <p14:creationId xmlns:p14="http://schemas.microsoft.com/office/powerpoint/2010/main" val="215845457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ing only | ta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Text Placeholder 5"/>
          <p:cNvSpPr>
            <a:spLocks noGrp="1"/>
          </p:cNvSpPr>
          <p:nvPr>
            <p:ph type="body" sz="quarter" idx="12" hasCustomPrompt="1"/>
          </p:nvPr>
        </p:nvSpPr>
        <p:spPr>
          <a:xfrm>
            <a:off x="468000" y="688904"/>
            <a:ext cx="8208000" cy="252000"/>
          </a:xfrm>
        </p:spPr>
        <p:txBody>
          <a:bodyPr vert="horz" lIns="0" tIns="0" rIns="0" bIns="0" rtlCol="0">
            <a:noAutofit/>
          </a:bodyPr>
          <a:lstStyle>
            <a:lvl1pPr marL="0" indent="0">
              <a:buNone/>
              <a:defRPr lang="en-US" sz="1600" dirty="0" smtClean="0">
                <a:solidFill>
                  <a:schemeClr val="accent2"/>
                </a:solidFill>
              </a:defRPr>
            </a:lvl1pPr>
          </a:lstStyle>
          <a:p>
            <a:pPr marL="266700" lvl="0" indent="-266700"/>
            <a:r>
              <a:rPr lang="en-US"/>
              <a:t>Click to add subtitle</a:t>
            </a:r>
          </a:p>
        </p:txBody>
      </p:sp>
      <p:sp>
        <p:nvSpPr>
          <p:cNvPr id="12" name="Text Placeholder 11"/>
          <p:cNvSpPr>
            <a:spLocks noGrp="1"/>
          </p:cNvSpPr>
          <p:nvPr>
            <p:ph type="body" sz="quarter" idx="13" hasCustomPrompt="1"/>
          </p:nvPr>
        </p:nvSpPr>
        <p:spPr>
          <a:xfrm>
            <a:off x="0" y="191292"/>
            <a:ext cx="396000" cy="756000"/>
          </a:xfrm>
          <a:custGeom>
            <a:avLst/>
            <a:gdLst>
              <a:gd name="connsiteX0" fmla="*/ 0 w 396000"/>
              <a:gd name="connsiteY0" fmla="*/ 0 h 756000"/>
              <a:gd name="connsiteX1" fmla="*/ 142730 w 396000"/>
              <a:gd name="connsiteY1" fmla="*/ 0 h 756000"/>
              <a:gd name="connsiteX2" fmla="*/ 179512 w 396000"/>
              <a:gd name="connsiteY2" fmla="*/ 0 h 756000"/>
              <a:gd name="connsiteX3" fmla="*/ 253270 w 396000"/>
              <a:gd name="connsiteY3" fmla="*/ 0 h 756000"/>
              <a:gd name="connsiteX4" fmla="*/ 396000 w 396000"/>
              <a:gd name="connsiteY4" fmla="*/ 142730 h 756000"/>
              <a:gd name="connsiteX5" fmla="*/ 396000 w 396000"/>
              <a:gd name="connsiteY5" fmla="*/ 613270 h 756000"/>
              <a:gd name="connsiteX6" fmla="*/ 253270 w 396000"/>
              <a:gd name="connsiteY6" fmla="*/ 756000 h 756000"/>
              <a:gd name="connsiteX7" fmla="*/ 179512 w 396000"/>
              <a:gd name="connsiteY7" fmla="*/ 756000 h 756000"/>
              <a:gd name="connsiteX8" fmla="*/ 142730 w 396000"/>
              <a:gd name="connsiteY8" fmla="*/ 756000 h 756000"/>
              <a:gd name="connsiteX9" fmla="*/ 0 w 396000"/>
              <a:gd name="connsiteY9" fmla="*/ 756000 h 756000"/>
              <a:gd name="connsiteX10" fmla="*/ 0 w 396000"/>
              <a:gd name="connsiteY10" fmla="*/ 535782 h 756000"/>
              <a:gd name="connsiteX11" fmla="*/ 0 w 396000"/>
              <a:gd name="connsiteY11" fmla="*/ 535782 h 756000"/>
              <a:gd name="connsiteX12" fmla="*/ 0 w 396000"/>
              <a:gd name="connsiteY12" fmla="*/ 220218 h 756000"/>
              <a:gd name="connsiteX13" fmla="*/ 0 w 396000"/>
              <a:gd name="connsiteY13" fmla="*/ 14273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6000" h="756000">
                <a:moveTo>
                  <a:pt x="0" y="0"/>
                </a:moveTo>
                <a:lnTo>
                  <a:pt x="142730" y="0"/>
                </a:lnTo>
                <a:lnTo>
                  <a:pt x="179512" y="0"/>
                </a:lnTo>
                <a:lnTo>
                  <a:pt x="253270" y="0"/>
                </a:lnTo>
                <a:cubicBezTo>
                  <a:pt x="332098" y="0"/>
                  <a:pt x="396000" y="63902"/>
                  <a:pt x="396000" y="142730"/>
                </a:cubicBezTo>
                <a:lnTo>
                  <a:pt x="396000" y="613270"/>
                </a:lnTo>
                <a:cubicBezTo>
                  <a:pt x="396000" y="692098"/>
                  <a:pt x="332098" y="756000"/>
                  <a:pt x="253270" y="756000"/>
                </a:cubicBezTo>
                <a:lnTo>
                  <a:pt x="179512" y="756000"/>
                </a:lnTo>
                <a:lnTo>
                  <a:pt x="142730" y="756000"/>
                </a:lnTo>
                <a:lnTo>
                  <a:pt x="0" y="756000"/>
                </a:lnTo>
                <a:lnTo>
                  <a:pt x="0" y="535782"/>
                </a:lnTo>
                <a:lnTo>
                  <a:pt x="0" y="535782"/>
                </a:lnTo>
                <a:lnTo>
                  <a:pt x="0" y="220218"/>
                </a:lnTo>
                <a:lnTo>
                  <a:pt x="0" y="142730"/>
                </a:lnTo>
                <a:close/>
              </a:path>
            </a:pathLst>
          </a:custGeom>
          <a:solidFill>
            <a:schemeClr val="tx2"/>
          </a:solidFill>
          <a:ln>
            <a:noFill/>
          </a:ln>
        </p:spPr>
        <p:txBody>
          <a:bodyPr wrap="square" lIns="36000" tIns="36000" rIns="36000" bIns="36000" anchor="ctr">
            <a:noAutofit/>
          </a:bodyPr>
          <a:lstStyle>
            <a:lvl1pPr marL="0" indent="0" algn="ctr">
              <a:buNone/>
              <a:defRPr sz="2800" b="1">
                <a:solidFill>
                  <a:schemeClr val="bg1"/>
                </a:solidFill>
                <a:latin typeface="Calibri" panose="020F0502020204030204" pitchFamily="34" charset="0"/>
                <a:cs typeface="Calibri" panose="020F0502020204030204" pitchFamily="34" charset="0"/>
              </a:defRPr>
            </a:lvl1pPr>
          </a:lstStyle>
          <a:p>
            <a:pPr lvl="0"/>
            <a:r>
              <a:rPr lang="en-US"/>
              <a:t>#</a:t>
            </a:r>
          </a:p>
        </p:txBody>
      </p:sp>
      <p:sp>
        <p:nvSpPr>
          <p:cNvPr id="7" name="Content Placeholder 6"/>
          <p:cNvSpPr>
            <a:spLocks noGrp="1"/>
          </p:cNvSpPr>
          <p:nvPr>
            <p:ph sz="quarter" idx="14"/>
          </p:nvPr>
        </p:nvSpPr>
        <p:spPr>
          <a:xfrm>
            <a:off x="469913" y="1161085"/>
            <a:ext cx="8214038" cy="3429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l-NL"/>
          </a:p>
        </p:txBody>
      </p:sp>
    </p:spTree>
    <p:extLst>
      <p:ext uri="{BB962C8B-B14F-4D97-AF65-F5344CB8AC3E}">
        <p14:creationId xmlns:p14="http://schemas.microsoft.com/office/powerpoint/2010/main" val="274806558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asic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Content Placeholder 5"/>
          <p:cNvSpPr>
            <a:spLocks noGrp="1"/>
          </p:cNvSpPr>
          <p:nvPr>
            <p:ph sz="quarter" idx="12"/>
          </p:nvPr>
        </p:nvSpPr>
        <p:spPr>
          <a:xfrm>
            <a:off x="468000" y="1159510"/>
            <a:ext cx="8208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468000" y="686094"/>
            <a:ext cx="8208000" cy="252000"/>
          </a:xfrm>
        </p:spPr>
        <p:txBody>
          <a:bodyPr/>
          <a:lstStyle>
            <a:lvl1pPr marL="0" indent="0">
              <a:buNone/>
              <a:defRPr sz="1600">
                <a:solidFill>
                  <a:schemeClr val="accent2"/>
                </a:solidFill>
              </a:defRPr>
            </a:lvl1pPr>
            <a:lvl2pPr marL="274638" indent="0">
              <a:buNone/>
              <a:defRPr/>
            </a:lvl2pPr>
          </a:lstStyle>
          <a:p>
            <a:pPr lvl="0"/>
            <a:r>
              <a:rPr lang="en-US"/>
              <a:t>Click to add subtitle</a:t>
            </a:r>
          </a:p>
        </p:txBody>
      </p:sp>
    </p:spTree>
    <p:extLst>
      <p:ext uri="{BB962C8B-B14F-4D97-AF65-F5344CB8AC3E}">
        <p14:creationId xmlns:p14="http://schemas.microsoft.com/office/powerpoint/2010/main" val="321542486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756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Content Placeholder 5"/>
          <p:cNvSpPr>
            <a:spLocks noGrp="1"/>
          </p:cNvSpPr>
          <p:nvPr>
            <p:ph sz="quarter" idx="12"/>
          </p:nvPr>
        </p:nvSpPr>
        <p:spPr>
          <a:xfrm>
            <a:off x="468000" y="1159510"/>
            <a:ext cx="8208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2585087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Content Placeholder 5"/>
          <p:cNvSpPr>
            <a:spLocks noGrp="1"/>
          </p:cNvSpPr>
          <p:nvPr>
            <p:ph sz="quarter" idx="12"/>
          </p:nvPr>
        </p:nvSpPr>
        <p:spPr>
          <a:xfrm>
            <a:off x="468000" y="1158875"/>
            <a:ext cx="3960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7"/>
          <p:cNvSpPr>
            <a:spLocks noGrp="1"/>
          </p:cNvSpPr>
          <p:nvPr>
            <p:ph sz="quarter" idx="13"/>
          </p:nvPr>
        </p:nvSpPr>
        <p:spPr>
          <a:xfrm>
            <a:off x="4716000" y="1158875"/>
            <a:ext cx="3960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68000" y="686094"/>
            <a:ext cx="8208000" cy="252000"/>
          </a:xfrm>
        </p:spPr>
        <p:txBody>
          <a:bodyPr/>
          <a:lstStyle>
            <a:lvl1pPr marL="0" indent="0">
              <a:buFontTx/>
              <a:buNone/>
              <a:defRPr kumimoji="0" lang="en-US" sz="1600" b="0" i="0" u="none" strike="noStrike" kern="1200" cap="none" spc="0" normalizeH="0" baseline="0" noProof="0" dirty="0" smtClean="0">
                <a:ln>
                  <a:noFill/>
                </a:ln>
                <a:solidFill>
                  <a:schemeClr val="accent2"/>
                </a:solidFill>
                <a:effectLst/>
                <a:uLnTx/>
                <a:uFillTx/>
                <a:latin typeface="Calibri Light" panose="020F0302020204030204" pitchFamily="34" charset="0"/>
                <a:ea typeface="+mn-ea"/>
                <a:cs typeface="Calibri Light" panose="020F0302020204030204" pitchFamily="34" charset="0"/>
              </a:defRPr>
            </a:lvl1pPr>
          </a:lstStyle>
          <a:p>
            <a:pPr lvl="0"/>
            <a:r>
              <a:rPr lang="en-US"/>
              <a:t>Click to add subtitle</a:t>
            </a:r>
          </a:p>
        </p:txBody>
      </p:sp>
    </p:spTree>
    <p:extLst>
      <p:ext uri="{BB962C8B-B14F-4D97-AF65-F5344CB8AC3E}">
        <p14:creationId xmlns:p14="http://schemas.microsoft.com/office/powerpoint/2010/main" val="4014950692"/>
      </p:ext>
    </p:extLst>
  </p:cSld>
  <p:clrMapOvr>
    <a:masterClrMapping/>
  </p:clrMapOvr>
  <p:transition>
    <p:fade/>
  </p:transition>
  <p:extLst>
    <p:ext uri="{DCECCB84-F9BA-43D5-87BE-67443E8EF086}">
      <p15:sldGuideLst xmlns:p15="http://schemas.microsoft.com/office/powerpoint/2012/main">
        <p15:guide id="1" pos="2789" userDrawn="1">
          <p15:clr>
            <a:srgbClr val="FBAE40"/>
          </p15:clr>
        </p15:guide>
        <p15:guide id="2" pos="2971"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Text Placeholder 5"/>
          <p:cNvSpPr>
            <a:spLocks noGrp="1"/>
          </p:cNvSpPr>
          <p:nvPr>
            <p:ph type="body" sz="quarter" idx="12" hasCustomPrompt="1"/>
          </p:nvPr>
        </p:nvSpPr>
        <p:spPr>
          <a:xfrm>
            <a:off x="468000" y="686094"/>
            <a:ext cx="8208000" cy="252000"/>
          </a:xfrm>
        </p:spPr>
        <p:txBody>
          <a:bodyPr/>
          <a:lstStyle>
            <a:lvl1pPr marL="0" indent="0">
              <a:buNone/>
              <a:defRPr kumimoji="0" lang="en-GB" sz="1600" b="0" i="0" u="none" strike="noStrike" kern="1200" cap="none" spc="0" normalizeH="0" baseline="0" noProof="0" dirty="0">
                <a:ln>
                  <a:noFill/>
                </a:ln>
                <a:solidFill>
                  <a:schemeClr val="accent2"/>
                </a:solidFill>
                <a:effectLst/>
                <a:uLnTx/>
                <a:uFillTx/>
                <a:latin typeface="Calibri Light" panose="020F0302020204030204" pitchFamily="34" charset="0"/>
                <a:ea typeface="+mn-ea"/>
                <a:cs typeface="Calibri Light" panose="020F0302020204030204" pitchFamily="34" charset="0"/>
              </a:defRPr>
            </a:lvl1pPr>
          </a:lstStyle>
          <a:p>
            <a:pPr lvl="0"/>
            <a:r>
              <a:rPr lang="en-US"/>
              <a:t>Click to add subtitle</a:t>
            </a:r>
          </a:p>
        </p:txBody>
      </p:sp>
      <p:sp>
        <p:nvSpPr>
          <p:cNvPr id="9" name="Content Placeholder 8"/>
          <p:cNvSpPr>
            <a:spLocks noGrp="1"/>
          </p:cNvSpPr>
          <p:nvPr>
            <p:ph sz="quarter" idx="13"/>
          </p:nvPr>
        </p:nvSpPr>
        <p:spPr>
          <a:xfrm>
            <a:off x="468000" y="1158875"/>
            <a:ext cx="2520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8"/>
          <p:cNvSpPr>
            <a:spLocks noGrp="1"/>
          </p:cNvSpPr>
          <p:nvPr>
            <p:ph sz="quarter" idx="14"/>
          </p:nvPr>
        </p:nvSpPr>
        <p:spPr>
          <a:xfrm>
            <a:off x="3312000" y="1158875"/>
            <a:ext cx="2520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8"/>
          <p:cNvSpPr>
            <a:spLocks noGrp="1"/>
          </p:cNvSpPr>
          <p:nvPr>
            <p:ph sz="quarter" idx="15"/>
          </p:nvPr>
        </p:nvSpPr>
        <p:spPr>
          <a:xfrm>
            <a:off x="6156000" y="1158875"/>
            <a:ext cx="2520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2195382"/>
      </p:ext>
    </p:extLst>
  </p:cSld>
  <p:clrMapOvr>
    <a:masterClrMapping/>
  </p:clrMapOvr>
  <p:transition>
    <p:fade/>
  </p:transition>
  <p:extLst>
    <p:ext uri="{DCECCB84-F9BA-43D5-87BE-67443E8EF086}">
      <p15:sldGuideLst xmlns:p15="http://schemas.microsoft.com/office/powerpoint/2012/main">
        <p15:guide id="1" pos="1891" userDrawn="1">
          <p15:clr>
            <a:srgbClr val="FBAE40"/>
          </p15:clr>
        </p15:guide>
        <p15:guide id="2" pos="2083" userDrawn="1">
          <p15:clr>
            <a:srgbClr val="FBAE40"/>
          </p15:clr>
        </p15:guide>
        <p15:guide id="3" pos="3682" userDrawn="1">
          <p15:clr>
            <a:srgbClr val="FBAE40"/>
          </p15:clr>
        </p15:guide>
        <p15:guide id="4" pos="387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umns | blu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Text Placeholder 5"/>
          <p:cNvSpPr>
            <a:spLocks noGrp="1"/>
          </p:cNvSpPr>
          <p:nvPr>
            <p:ph type="body" sz="quarter" idx="12" hasCustomPrompt="1"/>
          </p:nvPr>
        </p:nvSpPr>
        <p:spPr>
          <a:xfrm>
            <a:off x="468000" y="686094"/>
            <a:ext cx="8208000" cy="252000"/>
          </a:xfrm>
        </p:spPr>
        <p:txBody>
          <a:bodyPr/>
          <a:lstStyle>
            <a:lvl1pPr marL="0" indent="0">
              <a:buNone/>
              <a:defRPr kumimoji="0" lang="en-GB" sz="1600" b="0" i="0" u="none" strike="noStrike" kern="1200" cap="none" spc="0" normalizeH="0" baseline="0" noProof="0" dirty="0">
                <a:ln>
                  <a:noFill/>
                </a:ln>
                <a:solidFill>
                  <a:schemeClr val="accent2"/>
                </a:solidFill>
                <a:effectLst/>
                <a:uLnTx/>
                <a:uFillTx/>
                <a:latin typeface="Calibri Light" panose="020F0302020204030204" pitchFamily="34" charset="0"/>
                <a:ea typeface="+mn-ea"/>
                <a:cs typeface="Calibri Light" panose="020F0302020204030204" pitchFamily="34" charset="0"/>
              </a:defRPr>
            </a:lvl1pPr>
          </a:lstStyle>
          <a:p>
            <a:pPr lvl="0"/>
            <a:r>
              <a:rPr lang="en-US"/>
              <a:t>Click to add subtitle</a:t>
            </a:r>
          </a:p>
        </p:txBody>
      </p:sp>
      <p:sp>
        <p:nvSpPr>
          <p:cNvPr id="9" name="Content Placeholder 8"/>
          <p:cNvSpPr>
            <a:spLocks noGrp="1"/>
          </p:cNvSpPr>
          <p:nvPr>
            <p:ph sz="quarter" idx="13"/>
          </p:nvPr>
        </p:nvSpPr>
        <p:spPr>
          <a:xfrm>
            <a:off x="468000" y="1570703"/>
            <a:ext cx="2520000" cy="3024000"/>
          </a:xfrm>
          <a:prstGeom prst="round2SameRect">
            <a:avLst>
              <a:gd name="adj1" fmla="val 0"/>
              <a:gd name="adj2" fmla="val 7560"/>
            </a:avLst>
          </a:prstGeom>
          <a:ln w="12700">
            <a:solidFill>
              <a:schemeClr val="accent1"/>
            </a:solidFill>
          </a:ln>
        </p:spPr>
        <p:txBody>
          <a:bodyPr lIns="36000" tIns="36000" rIns="36000" bIns="36000"/>
          <a:lstStyle>
            <a:lvl1pPr>
              <a:defRPr sz="1600"/>
            </a:lvl1pPr>
            <a:lvl2pPr>
              <a:defRPr sz="1400"/>
            </a:lvl2pPr>
            <a:lvl3pPr>
              <a:defRPr sz="14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8"/>
          <p:cNvSpPr>
            <a:spLocks noGrp="1"/>
          </p:cNvSpPr>
          <p:nvPr>
            <p:ph sz="quarter" idx="14"/>
          </p:nvPr>
        </p:nvSpPr>
        <p:spPr>
          <a:xfrm>
            <a:off x="3312000" y="1570703"/>
            <a:ext cx="2520000" cy="3024000"/>
          </a:xfrm>
          <a:prstGeom prst="round2SameRect">
            <a:avLst>
              <a:gd name="adj1" fmla="val 0"/>
              <a:gd name="adj2" fmla="val 6955"/>
            </a:avLst>
          </a:prstGeom>
          <a:ln w="12700">
            <a:solidFill>
              <a:schemeClr val="accent1"/>
            </a:solidFill>
          </a:ln>
        </p:spPr>
        <p:txBody>
          <a:bodyPr lIns="36000" tIns="36000" rIns="36000" bIns="36000"/>
          <a:lstStyle>
            <a:lvl1pPr>
              <a:defRPr sz="1600"/>
            </a:lvl1pPr>
            <a:lvl2pPr>
              <a:defRPr sz="1400"/>
            </a:lvl2pPr>
            <a:lvl3pPr>
              <a:defRPr sz="14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8"/>
          <p:cNvSpPr>
            <a:spLocks noGrp="1"/>
          </p:cNvSpPr>
          <p:nvPr>
            <p:ph sz="quarter" idx="15"/>
          </p:nvPr>
        </p:nvSpPr>
        <p:spPr>
          <a:xfrm>
            <a:off x="6156000" y="1570703"/>
            <a:ext cx="2520000" cy="3024000"/>
          </a:xfrm>
          <a:prstGeom prst="round2SameRect">
            <a:avLst>
              <a:gd name="adj1" fmla="val 0"/>
              <a:gd name="adj2" fmla="val 7257"/>
            </a:avLst>
          </a:prstGeom>
          <a:ln w="12700">
            <a:solidFill>
              <a:schemeClr val="accent1"/>
            </a:solidFill>
          </a:ln>
        </p:spPr>
        <p:txBody>
          <a:bodyPr lIns="36000" tIns="36000" rIns="36000" bIns="36000"/>
          <a:lstStyle>
            <a:lvl1pPr>
              <a:defRPr sz="1600"/>
            </a:lvl1pPr>
            <a:lvl2pPr>
              <a:defRPr sz="1400"/>
            </a:lvl2pPr>
            <a:lvl3pPr>
              <a:defRPr sz="14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6"/>
          </p:nvPr>
        </p:nvSpPr>
        <p:spPr>
          <a:xfrm>
            <a:off x="468000" y="1158875"/>
            <a:ext cx="2520000" cy="432000"/>
          </a:xfrm>
          <a:prstGeom prst="round2SameRect">
            <a:avLst>
              <a:gd name="adj1" fmla="val 26544"/>
              <a:gd name="adj2" fmla="val 0"/>
            </a:avLst>
          </a:prstGeom>
          <a:solidFill>
            <a:schemeClr val="accent1"/>
          </a:solidFill>
          <a:ln w="12700">
            <a:solidFill>
              <a:schemeClr val="accent1"/>
            </a:solidFill>
          </a:ln>
        </p:spPr>
        <p:txBody>
          <a:bodyPr lIns="36000" tIns="0" rIns="36000" bIns="36000" anchor="ctr"/>
          <a:lstStyle>
            <a:lvl1pPr marL="0" indent="0">
              <a:lnSpc>
                <a:spcPct val="100000"/>
              </a:lnSpc>
              <a:spcBef>
                <a:spcPts val="0"/>
              </a:spcBef>
              <a:buNone/>
              <a:defRPr sz="16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Text Placeholder 11"/>
          <p:cNvSpPr>
            <a:spLocks noGrp="1"/>
          </p:cNvSpPr>
          <p:nvPr>
            <p:ph type="body" sz="quarter" idx="17"/>
          </p:nvPr>
        </p:nvSpPr>
        <p:spPr>
          <a:xfrm>
            <a:off x="3311525" y="1158875"/>
            <a:ext cx="2520000" cy="432000"/>
          </a:xfrm>
          <a:prstGeom prst="round2SameRect">
            <a:avLst>
              <a:gd name="adj1" fmla="val 29367"/>
              <a:gd name="adj2" fmla="val 0"/>
            </a:avLst>
          </a:prstGeom>
          <a:solidFill>
            <a:schemeClr val="accent1"/>
          </a:solidFill>
          <a:ln w="12700">
            <a:solidFill>
              <a:schemeClr val="accent1"/>
            </a:solidFill>
          </a:ln>
        </p:spPr>
        <p:txBody>
          <a:bodyPr lIns="36000" tIns="0" rIns="36000" bIns="36000" anchor="ctr"/>
          <a:lstStyle>
            <a:lvl1pPr marL="0" indent="0">
              <a:lnSpc>
                <a:spcPct val="100000"/>
              </a:lnSpc>
              <a:spcBef>
                <a:spcPts val="0"/>
              </a:spcBef>
              <a:buNone/>
              <a:defRPr sz="16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Text Placeholder 13"/>
          <p:cNvSpPr>
            <a:spLocks noGrp="1"/>
          </p:cNvSpPr>
          <p:nvPr>
            <p:ph type="body" sz="quarter" idx="18"/>
          </p:nvPr>
        </p:nvSpPr>
        <p:spPr>
          <a:xfrm>
            <a:off x="6156000" y="1158875"/>
            <a:ext cx="2520000" cy="432000"/>
          </a:xfrm>
          <a:prstGeom prst="round2SameRect">
            <a:avLst>
              <a:gd name="adj1" fmla="val 32189"/>
              <a:gd name="adj2" fmla="val 0"/>
            </a:avLst>
          </a:prstGeom>
          <a:solidFill>
            <a:schemeClr val="accent1"/>
          </a:solidFill>
          <a:ln w="12700">
            <a:solidFill>
              <a:schemeClr val="accent1"/>
            </a:solidFill>
          </a:ln>
        </p:spPr>
        <p:txBody>
          <a:bodyPr lIns="36000" tIns="0" rIns="36000" bIns="36000" anchor="ctr"/>
          <a:lstStyle>
            <a:lvl1pPr marL="0" indent="0">
              <a:lnSpc>
                <a:spcPct val="100000"/>
              </a:lnSpc>
              <a:spcBef>
                <a:spcPts val="0"/>
              </a:spcBef>
              <a:buNone/>
              <a:defRPr sz="16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2310691210"/>
      </p:ext>
    </p:extLst>
  </p:cSld>
  <p:clrMapOvr>
    <a:masterClrMapping/>
  </p:clrMapOvr>
  <p:transition>
    <p:fade/>
  </p:transition>
  <p:hf hdr="0" dt="0"/>
  <p:extLst>
    <p:ext uri="{DCECCB84-F9BA-43D5-87BE-67443E8EF086}">
      <p15:sldGuideLst xmlns:p15="http://schemas.microsoft.com/office/powerpoint/2012/main">
        <p15:guide id="1" pos="1891">
          <p15:clr>
            <a:srgbClr val="FBAE40"/>
          </p15:clr>
        </p15:guide>
        <p15:guide id="2" pos="2083">
          <p15:clr>
            <a:srgbClr val="FBAE40"/>
          </p15:clr>
        </p15:guide>
        <p15:guide id="3" pos="3682">
          <p15:clr>
            <a:srgbClr val="FBAE40"/>
          </p15:clr>
        </p15:guide>
        <p15:guide id="4" pos="387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boxes | blue head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Text Placeholder 5"/>
          <p:cNvSpPr>
            <a:spLocks noGrp="1"/>
          </p:cNvSpPr>
          <p:nvPr>
            <p:ph type="body" sz="quarter" idx="12" hasCustomPrompt="1"/>
          </p:nvPr>
        </p:nvSpPr>
        <p:spPr>
          <a:xfrm>
            <a:off x="468000" y="686094"/>
            <a:ext cx="8208000" cy="252000"/>
          </a:xfrm>
        </p:spPr>
        <p:txBody>
          <a:bodyPr/>
          <a:lstStyle>
            <a:lvl1pPr marL="0" indent="0">
              <a:buNone/>
              <a:defRPr kumimoji="0" lang="en-GB" sz="1600" b="0" i="0" u="none" strike="noStrike" kern="1200" cap="none" spc="0" normalizeH="0" baseline="0" noProof="0" dirty="0">
                <a:ln>
                  <a:noFill/>
                </a:ln>
                <a:solidFill>
                  <a:schemeClr val="accent2"/>
                </a:solidFill>
                <a:effectLst/>
                <a:uLnTx/>
                <a:uFillTx/>
                <a:latin typeface="Calibri Light" panose="020F0302020204030204" pitchFamily="34" charset="0"/>
                <a:ea typeface="+mn-ea"/>
                <a:cs typeface="Calibri Light" panose="020F0302020204030204" pitchFamily="34" charset="0"/>
              </a:defRPr>
            </a:lvl1pPr>
          </a:lstStyle>
          <a:p>
            <a:pPr lvl="0"/>
            <a:r>
              <a:rPr lang="en-US"/>
              <a:t>Click to add subtitle</a:t>
            </a:r>
          </a:p>
        </p:txBody>
      </p:sp>
      <p:sp>
        <p:nvSpPr>
          <p:cNvPr id="9" name="Content Placeholder 8"/>
          <p:cNvSpPr>
            <a:spLocks noGrp="1"/>
          </p:cNvSpPr>
          <p:nvPr>
            <p:ph sz="quarter" idx="13"/>
          </p:nvPr>
        </p:nvSpPr>
        <p:spPr>
          <a:xfrm>
            <a:off x="468000" y="1502825"/>
            <a:ext cx="3960000" cy="1260000"/>
          </a:xfrm>
          <a:prstGeom prst="round2SameRect">
            <a:avLst>
              <a:gd name="adj1" fmla="val 0"/>
              <a:gd name="adj2" fmla="val 8627"/>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8"/>
          <p:cNvSpPr>
            <a:spLocks noGrp="1"/>
          </p:cNvSpPr>
          <p:nvPr>
            <p:ph sz="quarter" idx="14"/>
          </p:nvPr>
        </p:nvSpPr>
        <p:spPr>
          <a:xfrm>
            <a:off x="4716000" y="1502825"/>
            <a:ext cx="3960000" cy="1260000"/>
          </a:xfrm>
          <a:prstGeom prst="round2SameRect">
            <a:avLst>
              <a:gd name="adj1" fmla="val 0"/>
              <a:gd name="adj2" fmla="val 8022"/>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6"/>
          </p:nvPr>
        </p:nvSpPr>
        <p:spPr>
          <a:xfrm>
            <a:off x="468000" y="1158875"/>
            <a:ext cx="3960000" cy="360000"/>
          </a:xfrm>
          <a:prstGeom prst="round2SameRect">
            <a:avLst>
              <a:gd name="adj1" fmla="val 32147"/>
              <a:gd name="adj2" fmla="val 0"/>
            </a:avLst>
          </a:prstGeom>
          <a:solidFill>
            <a:schemeClr val="accent1"/>
          </a:solidFill>
          <a:ln w="12700">
            <a:solidFill>
              <a:schemeClr val="accent1"/>
            </a:solidFill>
          </a:ln>
        </p:spPr>
        <p:txBody>
          <a:bodyPr lIns="36000" tIns="0" rIns="36000" bIns="36000" anchor="ctr"/>
          <a:lstStyle>
            <a:lvl1pPr marL="0" indent="0">
              <a:lnSpc>
                <a:spcPct val="100000"/>
              </a:lnSpc>
              <a:spcBef>
                <a:spcPts val="0"/>
              </a:spcBef>
              <a:buNone/>
              <a:defRPr sz="1400" b="1" i="1">
                <a:solidFill>
                  <a:schemeClr val="bg1"/>
                </a:solidFill>
              </a:defRPr>
            </a:lvl1pPr>
          </a:lstStyle>
          <a:p>
            <a:pPr lvl="0"/>
            <a:r>
              <a:rPr lang="en-US"/>
              <a:t>Edit Master text styles</a:t>
            </a:r>
          </a:p>
        </p:txBody>
      </p:sp>
      <p:sp>
        <p:nvSpPr>
          <p:cNvPr id="12" name="Text Placeholder 11"/>
          <p:cNvSpPr>
            <a:spLocks noGrp="1"/>
          </p:cNvSpPr>
          <p:nvPr>
            <p:ph type="body" sz="quarter" idx="17"/>
          </p:nvPr>
        </p:nvSpPr>
        <p:spPr>
          <a:xfrm>
            <a:off x="4715525" y="1158875"/>
            <a:ext cx="3960000" cy="360000"/>
          </a:xfrm>
          <a:prstGeom prst="round2SameRect">
            <a:avLst>
              <a:gd name="adj1" fmla="val 34970"/>
              <a:gd name="adj2" fmla="val 0"/>
            </a:avLst>
          </a:prstGeom>
          <a:solidFill>
            <a:schemeClr val="accent1"/>
          </a:solidFill>
          <a:ln w="12700">
            <a:solidFill>
              <a:schemeClr val="accent1"/>
            </a:solidFill>
          </a:ln>
        </p:spPr>
        <p:txBody>
          <a:bodyPr lIns="36000" tIns="0" rIns="36000" bIns="36000" anchor="ctr"/>
          <a:lstStyle>
            <a:lvl1pPr marL="0" indent="0">
              <a:lnSpc>
                <a:spcPct val="100000"/>
              </a:lnSpc>
              <a:spcBef>
                <a:spcPts val="0"/>
              </a:spcBef>
              <a:buNone/>
              <a:defRPr sz="1400" b="1" i="1">
                <a:solidFill>
                  <a:schemeClr val="bg1"/>
                </a:solidFill>
              </a:defRPr>
            </a:lvl1pPr>
          </a:lstStyle>
          <a:p>
            <a:pPr lvl="0"/>
            <a:r>
              <a:rPr lang="en-US"/>
              <a:t>Edit Master text styles</a:t>
            </a:r>
          </a:p>
        </p:txBody>
      </p:sp>
      <p:sp>
        <p:nvSpPr>
          <p:cNvPr id="15" name="Content Placeholder 8"/>
          <p:cNvSpPr>
            <a:spLocks noGrp="1"/>
          </p:cNvSpPr>
          <p:nvPr>
            <p:ph sz="quarter" idx="18"/>
          </p:nvPr>
        </p:nvSpPr>
        <p:spPr>
          <a:xfrm>
            <a:off x="468000" y="3324901"/>
            <a:ext cx="3960000" cy="1260000"/>
          </a:xfrm>
          <a:prstGeom prst="round2SameRect">
            <a:avLst>
              <a:gd name="adj1" fmla="val 0"/>
              <a:gd name="adj2" fmla="val 8627"/>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p:cNvSpPr>
            <a:spLocks noGrp="1"/>
          </p:cNvSpPr>
          <p:nvPr>
            <p:ph sz="quarter" idx="19"/>
          </p:nvPr>
        </p:nvSpPr>
        <p:spPr>
          <a:xfrm>
            <a:off x="4716000" y="3324901"/>
            <a:ext cx="3960000" cy="1260000"/>
          </a:xfrm>
          <a:prstGeom prst="round2SameRect">
            <a:avLst>
              <a:gd name="adj1" fmla="val 0"/>
              <a:gd name="adj2" fmla="val 8022"/>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6"/>
          <p:cNvSpPr>
            <a:spLocks noGrp="1"/>
          </p:cNvSpPr>
          <p:nvPr>
            <p:ph type="body" sz="quarter" idx="20"/>
          </p:nvPr>
        </p:nvSpPr>
        <p:spPr>
          <a:xfrm>
            <a:off x="468000" y="2980951"/>
            <a:ext cx="3960000" cy="360000"/>
          </a:xfrm>
          <a:prstGeom prst="round2SameRect">
            <a:avLst>
              <a:gd name="adj1" fmla="val 32147"/>
              <a:gd name="adj2" fmla="val 0"/>
            </a:avLst>
          </a:prstGeom>
          <a:solidFill>
            <a:schemeClr val="accent1"/>
          </a:solidFill>
          <a:ln w="12700">
            <a:solidFill>
              <a:schemeClr val="accent1"/>
            </a:solidFill>
          </a:ln>
        </p:spPr>
        <p:txBody>
          <a:bodyPr lIns="36000" tIns="0" rIns="36000" bIns="36000" anchor="ctr"/>
          <a:lstStyle>
            <a:lvl1pPr marL="0" indent="0">
              <a:lnSpc>
                <a:spcPct val="100000"/>
              </a:lnSpc>
              <a:spcBef>
                <a:spcPts val="0"/>
              </a:spcBef>
              <a:buNone/>
              <a:defRPr sz="1400" b="1" i="1">
                <a:solidFill>
                  <a:schemeClr val="bg1"/>
                </a:solidFill>
              </a:defRPr>
            </a:lvl1pPr>
          </a:lstStyle>
          <a:p>
            <a:pPr lvl="0"/>
            <a:r>
              <a:rPr lang="en-US"/>
              <a:t>Edit Master text styles</a:t>
            </a:r>
          </a:p>
        </p:txBody>
      </p:sp>
      <p:sp>
        <p:nvSpPr>
          <p:cNvPr id="18" name="Text Placeholder 11"/>
          <p:cNvSpPr>
            <a:spLocks noGrp="1"/>
          </p:cNvSpPr>
          <p:nvPr>
            <p:ph type="body" sz="quarter" idx="21"/>
          </p:nvPr>
        </p:nvSpPr>
        <p:spPr>
          <a:xfrm>
            <a:off x="4715525" y="2980951"/>
            <a:ext cx="3960000" cy="360000"/>
          </a:xfrm>
          <a:prstGeom prst="round2SameRect">
            <a:avLst>
              <a:gd name="adj1" fmla="val 34970"/>
              <a:gd name="adj2" fmla="val 0"/>
            </a:avLst>
          </a:prstGeom>
          <a:solidFill>
            <a:schemeClr val="accent1"/>
          </a:solidFill>
          <a:ln w="12700">
            <a:solidFill>
              <a:schemeClr val="accent1"/>
            </a:solidFill>
          </a:ln>
        </p:spPr>
        <p:txBody>
          <a:bodyPr lIns="36000" tIns="0" rIns="36000" bIns="36000" anchor="ctr"/>
          <a:lstStyle>
            <a:lvl1pPr marL="0" indent="0">
              <a:lnSpc>
                <a:spcPct val="100000"/>
              </a:lnSpc>
              <a:spcBef>
                <a:spcPts val="0"/>
              </a:spcBef>
              <a:buNone/>
              <a:defRPr sz="1400" b="1" i="1">
                <a:solidFill>
                  <a:schemeClr val="bg1"/>
                </a:solidFill>
              </a:defRPr>
            </a:lvl1pPr>
          </a:lstStyle>
          <a:p>
            <a:pPr lvl="0"/>
            <a:r>
              <a:rPr lang="en-US"/>
              <a:t>Edit Master text styles</a:t>
            </a:r>
          </a:p>
        </p:txBody>
      </p:sp>
    </p:spTree>
    <p:extLst>
      <p:ext uri="{BB962C8B-B14F-4D97-AF65-F5344CB8AC3E}">
        <p14:creationId xmlns:p14="http://schemas.microsoft.com/office/powerpoint/2010/main" val="484473786"/>
      </p:ext>
    </p:extLst>
  </p:cSld>
  <p:clrMapOvr>
    <a:masterClrMapping/>
  </p:clrMapOvr>
  <p:transition>
    <p:fade/>
  </p:transition>
  <p:hf hdr="0" dt="0"/>
  <p:extLst>
    <p:ext uri="{DCECCB84-F9BA-43D5-87BE-67443E8EF086}">
      <p15:sldGuideLst xmlns:p15="http://schemas.microsoft.com/office/powerpoint/2012/main">
        <p15:guide id="1" pos="2789" userDrawn="1">
          <p15:clr>
            <a:srgbClr val="FBAE40"/>
          </p15:clr>
        </p15:guide>
        <p15:guide id="2" pos="2971" userDrawn="1">
          <p15:clr>
            <a:srgbClr val="FBAE40"/>
          </p15:clr>
        </p15:guide>
        <p15:guide id="3" orient="horz" pos="1741" userDrawn="1">
          <p15:clr>
            <a:srgbClr val="FBAE40"/>
          </p15:clr>
        </p15:guide>
        <p15:guide id="4" orient="horz" pos="186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boxes | blue out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Text Placeholder 5"/>
          <p:cNvSpPr>
            <a:spLocks noGrp="1"/>
          </p:cNvSpPr>
          <p:nvPr>
            <p:ph type="body" sz="quarter" idx="12" hasCustomPrompt="1"/>
          </p:nvPr>
        </p:nvSpPr>
        <p:spPr>
          <a:xfrm>
            <a:off x="468000" y="686094"/>
            <a:ext cx="8208000" cy="252000"/>
          </a:xfrm>
        </p:spPr>
        <p:txBody>
          <a:bodyPr/>
          <a:lstStyle>
            <a:lvl1pPr marL="0" indent="0">
              <a:buNone/>
              <a:defRPr kumimoji="0" lang="en-GB" sz="1600" b="0" i="0" u="none" strike="noStrike" kern="1200" cap="none" spc="0" normalizeH="0" baseline="0" noProof="0" dirty="0">
                <a:ln>
                  <a:noFill/>
                </a:ln>
                <a:solidFill>
                  <a:schemeClr val="accent2"/>
                </a:solidFill>
                <a:effectLst/>
                <a:uLnTx/>
                <a:uFillTx/>
                <a:latin typeface="Calibri Light" panose="020F0302020204030204" pitchFamily="34" charset="0"/>
                <a:ea typeface="+mn-ea"/>
                <a:cs typeface="Calibri Light" panose="020F0302020204030204" pitchFamily="34" charset="0"/>
              </a:defRPr>
            </a:lvl1pPr>
          </a:lstStyle>
          <a:p>
            <a:pPr lvl="0"/>
            <a:r>
              <a:rPr lang="en-US"/>
              <a:t>Click to add subtitle</a:t>
            </a:r>
          </a:p>
        </p:txBody>
      </p:sp>
      <p:sp>
        <p:nvSpPr>
          <p:cNvPr id="9" name="Content Placeholder 8"/>
          <p:cNvSpPr>
            <a:spLocks noGrp="1"/>
          </p:cNvSpPr>
          <p:nvPr>
            <p:ph sz="quarter" idx="13"/>
          </p:nvPr>
        </p:nvSpPr>
        <p:spPr>
          <a:xfrm>
            <a:off x="468000" y="1158486"/>
            <a:ext cx="3960000" cy="1620000"/>
          </a:xfrm>
          <a:prstGeom prst="roundRect">
            <a:avLst>
              <a:gd name="adj" fmla="val 11272"/>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8"/>
          <p:cNvSpPr>
            <a:spLocks noGrp="1"/>
          </p:cNvSpPr>
          <p:nvPr>
            <p:ph sz="quarter" idx="14"/>
          </p:nvPr>
        </p:nvSpPr>
        <p:spPr>
          <a:xfrm>
            <a:off x="4716000" y="1158486"/>
            <a:ext cx="3960000" cy="1620000"/>
          </a:xfrm>
          <a:prstGeom prst="roundRect">
            <a:avLst>
              <a:gd name="adj" fmla="val 10857"/>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8"/>
          <p:cNvSpPr>
            <a:spLocks noGrp="1"/>
          </p:cNvSpPr>
          <p:nvPr>
            <p:ph sz="quarter" idx="18"/>
          </p:nvPr>
        </p:nvSpPr>
        <p:spPr>
          <a:xfrm>
            <a:off x="468000" y="2958686"/>
            <a:ext cx="3960000" cy="1620000"/>
          </a:xfrm>
          <a:prstGeom prst="roundRect">
            <a:avLst>
              <a:gd name="adj" fmla="val 11687"/>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8"/>
          <p:cNvSpPr>
            <a:spLocks noGrp="1"/>
          </p:cNvSpPr>
          <p:nvPr>
            <p:ph sz="quarter" idx="19"/>
          </p:nvPr>
        </p:nvSpPr>
        <p:spPr>
          <a:xfrm>
            <a:off x="4716000" y="2958686"/>
            <a:ext cx="3960000" cy="1620000"/>
          </a:xfrm>
          <a:prstGeom prst="roundRect">
            <a:avLst>
              <a:gd name="adj" fmla="val 10857"/>
            </a:avLst>
          </a:prstGeom>
          <a:ln w="12700">
            <a:solidFill>
              <a:schemeClr val="accent1"/>
            </a:solidFill>
          </a:ln>
        </p:spPr>
        <p:txBody>
          <a:bodyPr lIns="36000" tIns="36000" rIns="36000" bIns="36000"/>
          <a:lstStyle>
            <a:lvl1pPr marL="180975" indent="-180975">
              <a:defRPr sz="1400"/>
            </a:lvl1pPr>
            <a:lvl2pPr marL="355600" indent="-180975">
              <a:defRPr sz="1200"/>
            </a:lvl2pPr>
            <a:lvl3pPr marL="538163" indent="-180975">
              <a:defRPr sz="12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28292652"/>
      </p:ext>
    </p:extLst>
  </p:cSld>
  <p:clrMapOvr>
    <a:masterClrMapping/>
  </p:clrMapOvr>
  <p:transition>
    <p:fade/>
  </p:transition>
  <p:hf hdr="0" dt="0"/>
  <p:extLst>
    <p:ext uri="{DCECCB84-F9BA-43D5-87BE-67443E8EF086}">
      <p15:sldGuideLst xmlns:p15="http://schemas.microsoft.com/office/powerpoint/2012/main">
        <p15:guide id="1" pos="2789">
          <p15:clr>
            <a:srgbClr val="FBAE40"/>
          </p15:clr>
        </p15:guide>
        <p15:guide id="2" pos="2971">
          <p15:clr>
            <a:srgbClr val="FBAE40"/>
          </p15:clr>
        </p15:guide>
        <p15:guide id="3" orient="horz" pos="1741">
          <p15:clr>
            <a:srgbClr val="FBAE40"/>
          </p15:clr>
        </p15:guide>
        <p15:guide id="4" orient="horz" pos="186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 grey text">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4824000" y="0"/>
            <a:ext cx="4320000" cy="5143500"/>
          </a:xfrm>
          <a:solidFill>
            <a:schemeClr val="bg2"/>
          </a:solidFill>
        </p:spPr>
        <p:txBody>
          <a:bodyPr vert="horz" lIns="180000" tIns="1152000" rIns="468000" bIns="0" rtlCol="0">
            <a:noAutofit/>
          </a:bodyPr>
          <a:lstStyle>
            <a:lvl1pPr>
              <a:defRPr lang="en-US" sz="1600" dirty="0" smtClean="0"/>
            </a:lvl1pPr>
            <a:lvl2pPr>
              <a:defRPr lang="en-US" sz="1400" dirty="0" smtClean="0"/>
            </a:lvl2pPr>
            <a:lvl3pPr>
              <a:defRPr lang="en-US" sz="1400" dirty="0" smtClean="0"/>
            </a:lvl3pPr>
            <a:lvl4pPr>
              <a:defRPr lang="en-US" sz="1600" dirty="0" smtClean="0"/>
            </a:lvl4pPr>
            <a:lvl5pPr>
              <a:defRPr lang="en-GB" sz="1600"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hasCustomPrompt="1"/>
          </p:nvPr>
        </p:nvSpPr>
        <p:spPr>
          <a:xfrm>
            <a:off x="468000" y="191292"/>
            <a:ext cx="4140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Content Placeholder 5"/>
          <p:cNvSpPr>
            <a:spLocks noGrp="1"/>
          </p:cNvSpPr>
          <p:nvPr>
            <p:ph sz="quarter" idx="12"/>
          </p:nvPr>
        </p:nvSpPr>
        <p:spPr>
          <a:xfrm>
            <a:off x="468000" y="1159510"/>
            <a:ext cx="4140000" cy="3420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468000" y="686094"/>
            <a:ext cx="4140000" cy="252000"/>
          </a:xfrm>
        </p:spPr>
        <p:txBody>
          <a:bodyPr/>
          <a:lstStyle>
            <a:lvl1pPr marL="0" indent="0">
              <a:buNone/>
              <a:defRPr sz="1600">
                <a:solidFill>
                  <a:schemeClr val="accent2"/>
                </a:solidFill>
              </a:defRPr>
            </a:lvl1pPr>
            <a:lvl2pPr marL="274638" indent="0">
              <a:buNone/>
              <a:defRPr/>
            </a:lvl2pPr>
          </a:lstStyle>
          <a:p>
            <a:pPr lvl="0"/>
            <a:r>
              <a:rPr lang="en-US"/>
              <a:t>Click to add subtitle</a:t>
            </a:r>
          </a:p>
        </p:txBody>
      </p:sp>
      <p:sp>
        <p:nvSpPr>
          <p:cNvPr id="10" name="Picture Placeholder 14"/>
          <p:cNvSpPr>
            <a:spLocks noGrp="1"/>
          </p:cNvSpPr>
          <p:nvPr>
            <p:ph type="pic" sz="quarter" idx="16" hasCustomPrompt="1"/>
          </p:nvPr>
        </p:nvSpPr>
        <p:spPr>
          <a:xfrm>
            <a:off x="8035128" y="4782110"/>
            <a:ext cx="654050" cy="122562"/>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endParaRPr lang="nl-NL"/>
          </a:p>
        </p:txBody>
      </p:sp>
    </p:spTree>
    <p:extLst>
      <p:ext uri="{BB962C8B-B14F-4D97-AF65-F5344CB8AC3E}">
        <p14:creationId xmlns:p14="http://schemas.microsoft.com/office/powerpoint/2010/main" val="857985632"/>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2 rg / Subtitel 1 rg ">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A601EEE6-07E1-448C-83E4-26B53A376A1B}"/>
              </a:ext>
            </a:extLst>
          </p:cNvPr>
          <p:cNvSpPr>
            <a:spLocks noGrp="1"/>
          </p:cNvSpPr>
          <p:nvPr>
            <p:ph type="pic" sz="quarter" idx="10" hasCustomPrompt="1"/>
          </p:nvPr>
        </p:nvSpPr>
        <p:spPr>
          <a:xfrm>
            <a:off x="0" y="0"/>
            <a:ext cx="9144000" cy="5143500"/>
          </a:xfrm>
        </p:spPr>
        <p:txBody>
          <a:bodyPr/>
          <a:lstStyle>
            <a:lvl1pPr marL="0" indent="0" algn="ctr">
              <a:lnSpc>
                <a:spcPct val="100000"/>
              </a:lnSpc>
              <a:buNone/>
              <a:defRPr sz="1200">
                <a:solidFill>
                  <a:schemeClr val="bg1">
                    <a:lumMod val="65000"/>
                  </a:schemeClr>
                </a:solidFill>
              </a:defRPr>
            </a:lvl1pPr>
          </a:lstStyle>
          <a:p>
            <a:r>
              <a:rPr lang="nl-NL"/>
              <a:t>Klik op het pictogram om een afbeelding in te voegen</a:t>
            </a:r>
          </a:p>
        </p:txBody>
      </p:sp>
      <p:sp>
        <p:nvSpPr>
          <p:cNvPr id="14" name="Ondertitel">
            <a:extLst>
              <a:ext uri="{FF2B5EF4-FFF2-40B4-BE49-F238E27FC236}">
                <a16:creationId xmlns:a16="http://schemas.microsoft.com/office/drawing/2014/main" id="{0F2AF682-0BBC-41CF-93E8-69B70E53E9B7}"/>
              </a:ext>
            </a:extLst>
          </p:cNvPr>
          <p:cNvSpPr>
            <a:spLocks noGrp="1"/>
          </p:cNvSpPr>
          <p:nvPr>
            <p:ph type="subTitle" idx="1" hasCustomPrompt="1"/>
          </p:nvPr>
        </p:nvSpPr>
        <p:spPr>
          <a:xfrm>
            <a:off x="2" y="1275348"/>
            <a:ext cx="4212000" cy="540000"/>
          </a:xfrm>
          <a:custGeom>
            <a:avLst/>
            <a:gdLst>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180985 w 4207670"/>
              <a:gd name="connsiteY8" fmla="*/ 173138 h 461138"/>
              <a:gd name="connsiteX9" fmla="*/ 4207670 w 4207670"/>
              <a:gd name="connsiteY9" fmla="*/ 173138 h 461138"/>
              <a:gd name="connsiteX10" fmla="*/ 3977712 w 4207670"/>
              <a:gd name="connsiteY10" fmla="*/ 455287 h 461138"/>
              <a:gd name="connsiteX11" fmla="*/ 3960295 w 4207670"/>
              <a:gd name="connsiteY11" fmla="*/ 457043 h 461138"/>
              <a:gd name="connsiteX12" fmla="*/ 3958936 w 4207670"/>
              <a:gd name="connsiteY12" fmla="*/ 458756 h 461138"/>
              <a:gd name="connsiteX13" fmla="*/ 3958926 w 4207670"/>
              <a:gd name="connsiteY13" fmla="*/ 458757 h 461138"/>
              <a:gd name="connsiteX14" fmla="*/ 3943289 w 4207670"/>
              <a:gd name="connsiteY14" fmla="*/ 458757 h 461138"/>
              <a:gd name="connsiteX15" fmla="*/ 3919670 w 4207670"/>
              <a:gd name="connsiteY15" fmla="*/ 461138 h 461138"/>
              <a:gd name="connsiteX16" fmla="*/ 3919670 w 4207670"/>
              <a:gd name="connsiteY16" fmla="*/ 458757 h 461138"/>
              <a:gd name="connsiteX17" fmla="*/ 0 w 4207670"/>
              <a:gd name="connsiteY17" fmla="*/ 458756 h 461138"/>
              <a:gd name="connsiteX18" fmla="*/ 0 w 4207670"/>
              <a:gd name="connsiteY18" fmla="*/ 229379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207670 w 4207670"/>
              <a:gd name="connsiteY8" fmla="*/ 173138 h 461138"/>
              <a:gd name="connsiteX9" fmla="*/ 3977712 w 4207670"/>
              <a:gd name="connsiteY9" fmla="*/ 455287 h 461138"/>
              <a:gd name="connsiteX10" fmla="*/ 3960295 w 4207670"/>
              <a:gd name="connsiteY10" fmla="*/ 457043 h 461138"/>
              <a:gd name="connsiteX11" fmla="*/ 3958936 w 4207670"/>
              <a:gd name="connsiteY11" fmla="*/ 458756 h 461138"/>
              <a:gd name="connsiteX12" fmla="*/ 3958926 w 4207670"/>
              <a:gd name="connsiteY12" fmla="*/ 458757 h 461138"/>
              <a:gd name="connsiteX13" fmla="*/ 3943289 w 4207670"/>
              <a:gd name="connsiteY13" fmla="*/ 458757 h 461138"/>
              <a:gd name="connsiteX14" fmla="*/ 3919670 w 4207670"/>
              <a:gd name="connsiteY14" fmla="*/ 461138 h 461138"/>
              <a:gd name="connsiteX15" fmla="*/ 3919670 w 4207670"/>
              <a:gd name="connsiteY15" fmla="*/ 458757 h 461138"/>
              <a:gd name="connsiteX16" fmla="*/ 0 w 4207670"/>
              <a:gd name="connsiteY16" fmla="*/ 458756 h 461138"/>
              <a:gd name="connsiteX17" fmla="*/ 0 w 4207670"/>
              <a:gd name="connsiteY17" fmla="*/ 229379 h 461138"/>
              <a:gd name="connsiteX18" fmla="*/ 0 w 4207670"/>
              <a:gd name="connsiteY18"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77712 w 4207670"/>
              <a:gd name="connsiteY8" fmla="*/ 455287 h 461138"/>
              <a:gd name="connsiteX9" fmla="*/ 3960295 w 4207670"/>
              <a:gd name="connsiteY9" fmla="*/ 457043 h 461138"/>
              <a:gd name="connsiteX10" fmla="*/ 3958936 w 4207670"/>
              <a:gd name="connsiteY10" fmla="*/ 458756 h 461138"/>
              <a:gd name="connsiteX11" fmla="*/ 3958926 w 4207670"/>
              <a:gd name="connsiteY11" fmla="*/ 458757 h 461138"/>
              <a:gd name="connsiteX12" fmla="*/ 3943289 w 4207670"/>
              <a:gd name="connsiteY12" fmla="*/ 458757 h 461138"/>
              <a:gd name="connsiteX13" fmla="*/ 3919670 w 4207670"/>
              <a:gd name="connsiteY13" fmla="*/ 461138 h 461138"/>
              <a:gd name="connsiteX14" fmla="*/ 3919670 w 4207670"/>
              <a:gd name="connsiteY14" fmla="*/ 458757 h 461138"/>
              <a:gd name="connsiteX15" fmla="*/ 0 w 4207670"/>
              <a:gd name="connsiteY15" fmla="*/ 458756 h 461138"/>
              <a:gd name="connsiteX16" fmla="*/ 0 w 4207670"/>
              <a:gd name="connsiteY16" fmla="*/ 229379 h 461138"/>
              <a:gd name="connsiteX17" fmla="*/ 0 w 4207670"/>
              <a:gd name="connsiteY17"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58926 w 4207670"/>
              <a:gd name="connsiteY10" fmla="*/ 458757 h 461138"/>
              <a:gd name="connsiteX11" fmla="*/ 3943289 w 4207670"/>
              <a:gd name="connsiteY11" fmla="*/ 458757 h 461138"/>
              <a:gd name="connsiteX12" fmla="*/ 3919670 w 4207670"/>
              <a:gd name="connsiteY12" fmla="*/ 461138 h 461138"/>
              <a:gd name="connsiteX13" fmla="*/ 3919670 w 4207670"/>
              <a:gd name="connsiteY13" fmla="*/ 458757 h 461138"/>
              <a:gd name="connsiteX14" fmla="*/ 0 w 4207670"/>
              <a:gd name="connsiteY14" fmla="*/ 458756 h 461138"/>
              <a:gd name="connsiteX15" fmla="*/ 0 w 4207670"/>
              <a:gd name="connsiteY15" fmla="*/ 229379 h 461138"/>
              <a:gd name="connsiteX16" fmla="*/ 0 w 4207670"/>
              <a:gd name="connsiteY16"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43289 w 4207670"/>
              <a:gd name="connsiteY10" fmla="*/ 458757 h 461138"/>
              <a:gd name="connsiteX11" fmla="*/ 3919670 w 4207670"/>
              <a:gd name="connsiteY11" fmla="*/ 461138 h 461138"/>
              <a:gd name="connsiteX12" fmla="*/ 3919670 w 4207670"/>
              <a:gd name="connsiteY12" fmla="*/ 458757 h 461138"/>
              <a:gd name="connsiteX13" fmla="*/ 0 w 4207670"/>
              <a:gd name="connsiteY13" fmla="*/ 458756 h 461138"/>
              <a:gd name="connsiteX14" fmla="*/ 0 w 4207670"/>
              <a:gd name="connsiteY14" fmla="*/ 229379 h 461138"/>
              <a:gd name="connsiteX15" fmla="*/ 0 w 4207670"/>
              <a:gd name="connsiteY15"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43289 w 4207670"/>
              <a:gd name="connsiteY9" fmla="*/ 458757 h 461138"/>
              <a:gd name="connsiteX10" fmla="*/ 3919670 w 4207670"/>
              <a:gd name="connsiteY10" fmla="*/ 461138 h 461138"/>
              <a:gd name="connsiteX11" fmla="*/ 3919670 w 4207670"/>
              <a:gd name="connsiteY11" fmla="*/ 458757 h 461138"/>
              <a:gd name="connsiteX12" fmla="*/ 0 w 4207670"/>
              <a:gd name="connsiteY12" fmla="*/ 458756 h 461138"/>
              <a:gd name="connsiteX13" fmla="*/ 0 w 4207670"/>
              <a:gd name="connsiteY13" fmla="*/ 229379 h 461138"/>
              <a:gd name="connsiteX14" fmla="*/ 0 w 4207670"/>
              <a:gd name="connsiteY14"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43289 w 4207670"/>
              <a:gd name="connsiteY8" fmla="*/ 458757 h 461138"/>
              <a:gd name="connsiteX9" fmla="*/ 3919670 w 4207670"/>
              <a:gd name="connsiteY9" fmla="*/ 461138 h 461138"/>
              <a:gd name="connsiteX10" fmla="*/ 3919670 w 4207670"/>
              <a:gd name="connsiteY10" fmla="*/ 458757 h 461138"/>
              <a:gd name="connsiteX11" fmla="*/ 0 w 4207670"/>
              <a:gd name="connsiteY11" fmla="*/ 458756 h 461138"/>
              <a:gd name="connsiteX12" fmla="*/ 0 w 4207670"/>
              <a:gd name="connsiteY12" fmla="*/ 229379 h 461138"/>
              <a:gd name="connsiteX13" fmla="*/ 0 w 4207670"/>
              <a:gd name="connsiteY13"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3919670 w 4207670"/>
              <a:gd name="connsiteY9" fmla="*/ 458757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58756"/>
              <a:gd name="connsiteX1" fmla="*/ 245874 w 4207670"/>
              <a:gd name="connsiteY1" fmla="*/ 0 h 458756"/>
              <a:gd name="connsiteX2" fmla="*/ 3919668 w 4207670"/>
              <a:gd name="connsiteY2" fmla="*/ 0 h 458756"/>
              <a:gd name="connsiteX3" fmla="*/ 4004235 w 4207670"/>
              <a:gd name="connsiteY3" fmla="*/ 0 h 458756"/>
              <a:gd name="connsiteX4" fmla="*/ 4204800 w 4207670"/>
              <a:gd name="connsiteY4" fmla="*/ 0 h 458756"/>
              <a:gd name="connsiteX5" fmla="*/ 4207669 w 4207670"/>
              <a:gd name="connsiteY5" fmla="*/ 0 h 458756"/>
              <a:gd name="connsiteX6" fmla="*/ 4207669 w 4207670"/>
              <a:gd name="connsiteY6" fmla="*/ 172615 h 458756"/>
              <a:gd name="connsiteX7" fmla="*/ 4207670 w 4207670"/>
              <a:gd name="connsiteY7" fmla="*/ 173138 h 458756"/>
              <a:gd name="connsiteX8" fmla="*/ 4086357 w 4207670"/>
              <a:gd name="connsiteY8" fmla="*/ 456376 h 458756"/>
              <a:gd name="connsiteX9" fmla="*/ 0 w 4207670"/>
              <a:gd name="connsiteY9" fmla="*/ 458756 h 458756"/>
              <a:gd name="connsiteX10" fmla="*/ 0 w 4207670"/>
              <a:gd name="connsiteY10" fmla="*/ 229379 h 458756"/>
              <a:gd name="connsiteX11" fmla="*/ 0 w 4207670"/>
              <a:gd name="connsiteY11" fmla="*/ 0 h 458756"/>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14354"/>
              <a:gd name="connsiteY0" fmla="*/ 0 h 458757"/>
              <a:gd name="connsiteX1" fmla="*/ 245874 w 4214354"/>
              <a:gd name="connsiteY1" fmla="*/ 0 h 458757"/>
              <a:gd name="connsiteX2" fmla="*/ 3919668 w 4214354"/>
              <a:gd name="connsiteY2" fmla="*/ 0 h 458757"/>
              <a:gd name="connsiteX3" fmla="*/ 4004235 w 4214354"/>
              <a:gd name="connsiteY3" fmla="*/ 0 h 458757"/>
              <a:gd name="connsiteX4" fmla="*/ 4204800 w 4214354"/>
              <a:gd name="connsiteY4" fmla="*/ 0 h 458757"/>
              <a:gd name="connsiteX5" fmla="*/ 4207669 w 4214354"/>
              <a:gd name="connsiteY5" fmla="*/ 0 h 458757"/>
              <a:gd name="connsiteX6" fmla="*/ 4207669 w 4214354"/>
              <a:gd name="connsiteY6" fmla="*/ 172615 h 458757"/>
              <a:gd name="connsiteX7" fmla="*/ 4207670 w 4214354"/>
              <a:gd name="connsiteY7" fmla="*/ 173138 h 458757"/>
              <a:gd name="connsiteX8" fmla="*/ 4086357 w 4214354"/>
              <a:gd name="connsiteY8" fmla="*/ 458757 h 458757"/>
              <a:gd name="connsiteX9" fmla="*/ 0 w 4214354"/>
              <a:gd name="connsiteY9" fmla="*/ 458756 h 458757"/>
              <a:gd name="connsiteX10" fmla="*/ 0 w 4214354"/>
              <a:gd name="connsiteY10" fmla="*/ 229379 h 458757"/>
              <a:gd name="connsiteX11" fmla="*/ 0 w 4214354"/>
              <a:gd name="connsiteY11" fmla="*/ 0 h 458757"/>
              <a:gd name="connsiteX0" fmla="*/ 0 w 4217545"/>
              <a:gd name="connsiteY0" fmla="*/ 0 h 458757"/>
              <a:gd name="connsiteX1" fmla="*/ 245874 w 4217545"/>
              <a:gd name="connsiteY1" fmla="*/ 0 h 458757"/>
              <a:gd name="connsiteX2" fmla="*/ 3919668 w 4217545"/>
              <a:gd name="connsiteY2" fmla="*/ 0 h 458757"/>
              <a:gd name="connsiteX3" fmla="*/ 4004235 w 4217545"/>
              <a:gd name="connsiteY3" fmla="*/ 0 h 458757"/>
              <a:gd name="connsiteX4" fmla="*/ 4204800 w 4217545"/>
              <a:gd name="connsiteY4" fmla="*/ 0 h 458757"/>
              <a:gd name="connsiteX5" fmla="*/ 4207669 w 4217545"/>
              <a:gd name="connsiteY5" fmla="*/ 0 h 458757"/>
              <a:gd name="connsiteX6" fmla="*/ 4207669 w 4217545"/>
              <a:gd name="connsiteY6" fmla="*/ 172615 h 458757"/>
              <a:gd name="connsiteX7" fmla="*/ 4212432 w 4217545"/>
              <a:gd name="connsiteY7" fmla="*/ 292201 h 458757"/>
              <a:gd name="connsiteX8" fmla="*/ 4086357 w 4217545"/>
              <a:gd name="connsiteY8" fmla="*/ 458757 h 458757"/>
              <a:gd name="connsiteX9" fmla="*/ 0 w 4217545"/>
              <a:gd name="connsiteY9" fmla="*/ 458756 h 458757"/>
              <a:gd name="connsiteX10" fmla="*/ 0 w 4217545"/>
              <a:gd name="connsiteY10" fmla="*/ 229379 h 458757"/>
              <a:gd name="connsiteX11" fmla="*/ 0 w 4217545"/>
              <a:gd name="connsiteY11" fmla="*/ 0 h 458757"/>
              <a:gd name="connsiteX0" fmla="*/ 0 w 4216499"/>
              <a:gd name="connsiteY0" fmla="*/ 0 h 458757"/>
              <a:gd name="connsiteX1" fmla="*/ 245874 w 4216499"/>
              <a:gd name="connsiteY1" fmla="*/ 0 h 458757"/>
              <a:gd name="connsiteX2" fmla="*/ 3919668 w 4216499"/>
              <a:gd name="connsiteY2" fmla="*/ 0 h 458757"/>
              <a:gd name="connsiteX3" fmla="*/ 4004235 w 4216499"/>
              <a:gd name="connsiteY3" fmla="*/ 0 h 458757"/>
              <a:gd name="connsiteX4" fmla="*/ 4204800 w 4216499"/>
              <a:gd name="connsiteY4" fmla="*/ 0 h 458757"/>
              <a:gd name="connsiteX5" fmla="*/ 4207669 w 4216499"/>
              <a:gd name="connsiteY5" fmla="*/ 0 h 458757"/>
              <a:gd name="connsiteX6" fmla="*/ 4207669 w 4216499"/>
              <a:gd name="connsiteY6" fmla="*/ 172615 h 458757"/>
              <a:gd name="connsiteX7" fmla="*/ 4212432 w 4216499"/>
              <a:gd name="connsiteY7" fmla="*/ 292201 h 458757"/>
              <a:gd name="connsiteX8" fmla="*/ 4086357 w 4216499"/>
              <a:gd name="connsiteY8" fmla="*/ 458757 h 458757"/>
              <a:gd name="connsiteX9" fmla="*/ 0 w 4216499"/>
              <a:gd name="connsiteY9" fmla="*/ 458756 h 458757"/>
              <a:gd name="connsiteX10" fmla="*/ 0 w 4216499"/>
              <a:gd name="connsiteY10" fmla="*/ 229379 h 458757"/>
              <a:gd name="connsiteX11" fmla="*/ 0 w 4216499"/>
              <a:gd name="connsiteY11" fmla="*/ 0 h 458757"/>
              <a:gd name="connsiteX0" fmla="*/ 0 w 4218593"/>
              <a:gd name="connsiteY0" fmla="*/ 0 h 458757"/>
              <a:gd name="connsiteX1" fmla="*/ 245874 w 4218593"/>
              <a:gd name="connsiteY1" fmla="*/ 0 h 458757"/>
              <a:gd name="connsiteX2" fmla="*/ 3919668 w 4218593"/>
              <a:gd name="connsiteY2" fmla="*/ 0 h 458757"/>
              <a:gd name="connsiteX3" fmla="*/ 4004235 w 4218593"/>
              <a:gd name="connsiteY3" fmla="*/ 0 h 458757"/>
              <a:gd name="connsiteX4" fmla="*/ 4204800 w 4218593"/>
              <a:gd name="connsiteY4" fmla="*/ 0 h 458757"/>
              <a:gd name="connsiteX5" fmla="*/ 4207669 w 4218593"/>
              <a:gd name="connsiteY5" fmla="*/ 0 h 458757"/>
              <a:gd name="connsiteX6" fmla="*/ 4207669 w 4218593"/>
              <a:gd name="connsiteY6" fmla="*/ 172615 h 458757"/>
              <a:gd name="connsiteX7" fmla="*/ 4212432 w 4218593"/>
              <a:gd name="connsiteY7" fmla="*/ 292201 h 458757"/>
              <a:gd name="connsiteX8" fmla="*/ 4086357 w 4218593"/>
              <a:gd name="connsiteY8" fmla="*/ 458757 h 458757"/>
              <a:gd name="connsiteX9" fmla="*/ 0 w 4218593"/>
              <a:gd name="connsiteY9" fmla="*/ 458756 h 458757"/>
              <a:gd name="connsiteX10" fmla="*/ 0 w 4218593"/>
              <a:gd name="connsiteY10" fmla="*/ 229379 h 458757"/>
              <a:gd name="connsiteX11" fmla="*/ 0 w 42185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292201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3903"/>
              <a:gd name="connsiteY0" fmla="*/ 0 h 462682"/>
              <a:gd name="connsiteX1" fmla="*/ 245874 w 4213903"/>
              <a:gd name="connsiteY1" fmla="*/ 0 h 462682"/>
              <a:gd name="connsiteX2" fmla="*/ 3919668 w 4213903"/>
              <a:gd name="connsiteY2" fmla="*/ 0 h 462682"/>
              <a:gd name="connsiteX3" fmla="*/ 4004235 w 4213903"/>
              <a:gd name="connsiteY3" fmla="*/ 0 h 462682"/>
              <a:gd name="connsiteX4" fmla="*/ 4204800 w 4213903"/>
              <a:gd name="connsiteY4" fmla="*/ 0 h 462682"/>
              <a:gd name="connsiteX5" fmla="*/ 4207669 w 4213903"/>
              <a:gd name="connsiteY5" fmla="*/ 0 h 462682"/>
              <a:gd name="connsiteX6" fmla="*/ 4207669 w 4213903"/>
              <a:gd name="connsiteY6" fmla="*/ 172615 h 462682"/>
              <a:gd name="connsiteX7" fmla="*/ 4212432 w 4213903"/>
              <a:gd name="connsiteY7" fmla="*/ 320776 h 462682"/>
              <a:gd name="connsiteX8" fmla="*/ 4086357 w 4213903"/>
              <a:gd name="connsiteY8" fmla="*/ 458757 h 462682"/>
              <a:gd name="connsiteX9" fmla="*/ 0 w 4213903"/>
              <a:gd name="connsiteY9" fmla="*/ 458756 h 462682"/>
              <a:gd name="connsiteX10" fmla="*/ 0 w 4213903"/>
              <a:gd name="connsiteY10" fmla="*/ 229379 h 462682"/>
              <a:gd name="connsiteX11" fmla="*/ 0 w 4213903"/>
              <a:gd name="connsiteY11" fmla="*/ 0 h 462682"/>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320776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4812"/>
              <a:gd name="connsiteY0" fmla="*/ 0 h 458757"/>
              <a:gd name="connsiteX1" fmla="*/ 245874 w 4214812"/>
              <a:gd name="connsiteY1" fmla="*/ 0 h 458757"/>
              <a:gd name="connsiteX2" fmla="*/ 3919668 w 4214812"/>
              <a:gd name="connsiteY2" fmla="*/ 0 h 458757"/>
              <a:gd name="connsiteX3" fmla="*/ 4004235 w 4214812"/>
              <a:gd name="connsiteY3" fmla="*/ 0 h 458757"/>
              <a:gd name="connsiteX4" fmla="*/ 4204800 w 4214812"/>
              <a:gd name="connsiteY4" fmla="*/ 0 h 458757"/>
              <a:gd name="connsiteX5" fmla="*/ 4207669 w 4214812"/>
              <a:gd name="connsiteY5" fmla="*/ 0 h 458757"/>
              <a:gd name="connsiteX6" fmla="*/ 4214812 w 4214812"/>
              <a:gd name="connsiteY6" fmla="*/ 70221 h 458757"/>
              <a:gd name="connsiteX7" fmla="*/ 4212432 w 4214812"/>
              <a:gd name="connsiteY7" fmla="*/ 320776 h 458757"/>
              <a:gd name="connsiteX8" fmla="*/ 4086357 w 4214812"/>
              <a:gd name="connsiteY8" fmla="*/ 458757 h 458757"/>
              <a:gd name="connsiteX9" fmla="*/ 0 w 4214812"/>
              <a:gd name="connsiteY9" fmla="*/ 458756 h 458757"/>
              <a:gd name="connsiteX10" fmla="*/ 0 w 4214812"/>
              <a:gd name="connsiteY10" fmla="*/ 229379 h 458757"/>
              <a:gd name="connsiteX11" fmla="*/ 0 w 4214812"/>
              <a:gd name="connsiteY11" fmla="*/ 0 h 458757"/>
              <a:gd name="connsiteX0" fmla="*/ 0 w 4255293"/>
              <a:gd name="connsiteY0" fmla="*/ 0 h 458757"/>
              <a:gd name="connsiteX1" fmla="*/ 245874 w 4255293"/>
              <a:gd name="connsiteY1" fmla="*/ 0 h 458757"/>
              <a:gd name="connsiteX2" fmla="*/ 3919668 w 4255293"/>
              <a:gd name="connsiteY2" fmla="*/ 0 h 458757"/>
              <a:gd name="connsiteX3" fmla="*/ 4004235 w 4255293"/>
              <a:gd name="connsiteY3" fmla="*/ 0 h 458757"/>
              <a:gd name="connsiteX4" fmla="*/ 4204800 w 4255293"/>
              <a:gd name="connsiteY4" fmla="*/ 0 h 458757"/>
              <a:gd name="connsiteX5" fmla="*/ 4207669 w 4255293"/>
              <a:gd name="connsiteY5" fmla="*/ 0 h 458757"/>
              <a:gd name="connsiteX6" fmla="*/ 4255293 w 4255293"/>
              <a:gd name="connsiteY6" fmla="*/ 117846 h 458757"/>
              <a:gd name="connsiteX7" fmla="*/ 4212432 w 4255293"/>
              <a:gd name="connsiteY7" fmla="*/ 320776 h 458757"/>
              <a:gd name="connsiteX8" fmla="*/ 4086357 w 4255293"/>
              <a:gd name="connsiteY8" fmla="*/ 458757 h 458757"/>
              <a:gd name="connsiteX9" fmla="*/ 0 w 4255293"/>
              <a:gd name="connsiteY9" fmla="*/ 458756 h 458757"/>
              <a:gd name="connsiteX10" fmla="*/ 0 w 4255293"/>
              <a:gd name="connsiteY10" fmla="*/ 229379 h 458757"/>
              <a:gd name="connsiteX11" fmla="*/ 0 w 42552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12432 w 4213903"/>
              <a:gd name="connsiteY6" fmla="*/ 320776 h 458757"/>
              <a:gd name="connsiteX7" fmla="*/ 4086357 w 4213903"/>
              <a:gd name="connsiteY7" fmla="*/ 458757 h 458757"/>
              <a:gd name="connsiteX8" fmla="*/ 0 w 4213903"/>
              <a:gd name="connsiteY8" fmla="*/ 458756 h 458757"/>
              <a:gd name="connsiteX9" fmla="*/ 0 w 4213903"/>
              <a:gd name="connsiteY9" fmla="*/ 229379 h 458757"/>
              <a:gd name="connsiteX10" fmla="*/ 0 w 4213903"/>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7205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1490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4907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38720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2526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08127"/>
              <a:gd name="connsiteY0" fmla="*/ 0 h 459153"/>
              <a:gd name="connsiteX1" fmla="*/ 245874 w 4208127"/>
              <a:gd name="connsiteY1" fmla="*/ 0 h 459153"/>
              <a:gd name="connsiteX2" fmla="*/ 3919668 w 4208127"/>
              <a:gd name="connsiteY2" fmla="*/ 0 h 459153"/>
              <a:gd name="connsiteX3" fmla="*/ 4004235 w 4208127"/>
              <a:gd name="connsiteY3" fmla="*/ 0 h 459153"/>
              <a:gd name="connsiteX4" fmla="*/ 4204800 w 4208127"/>
              <a:gd name="connsiteY4" fmla="*/ 0 h 459153"/>
              <a:gd name="connsiteX5" fmla="*/ 4207669 w 4208127"/>
              <a:gd name="connsiteY5" fmla="*/ 0 h 459153"/>
              <a:gd name="connsiteX6" fmla="*/ 4207670 w 4208127"/>
              <a:gd name="connsiteY6" fmla="*/ 325539 h 459153"/>
              <a:gd name="connsiteX7" fmla="*/ 3912526 w 4208127"/>
              <a:gd name="connsiteY7" fmla="*/ 458757 h 459153"/>
              <a:gd name="connsiteX8" fmla="*/ 0 w 4208127"/>
              <a:gd name="connsiteY8" fmla="*/ 458756 h 459153"/>
              <a:gd name="connsiteX9" fmla="*/ 0 w 4208127"/>
              <a:gd name="connsiteY9" fmla="*/ 229379 h 459153"/>
              <a:gd name="connsiteX10" fmla="*/ 0 w 4208127"/>
              <a:gd name="connsiteY10" fmla="*/ 0 h 459153"/>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204800 w 4212432"/>
              <a:gd name="connsiteY3" fmla="*/ 0 h 459346"/>
              <a:gd name="connsiteX4" fmla="*/ 4207669 w 4212432"/>
              <a:gd name="connsiteY4" fmla="*/ 0 h 459346"/>
              <a:gd name="connsiteX5" fmla="*/ 4212432 w 4212432"/>
              <a:gd name="connsiteY5" fmla="*/ 327921 h 459346"/>
              <a:gd name="connsiteX6" fmla="*/ 3912526 w 4212432"/>
              <a:gd name="connsiteY6" fmla="*/ 458757 h 459346"/>
              <a:gd name="connsiteX7" fmla="*/ 0 w 4212432"/>
              <a:gd name="connsiteY7" fmla="*/ 458756 h 459346"/>
              <a:gd name="connsiteX8" fmla="*/ 0 w 4212432"/>
              <a:gd name="connsiteY8" fmla="*/ 229379 h 459346"/>
              <a:gd name="connsiteX9" fmla="*/ 0 w 4212432"/>
              <a:gd name="connsiteY9" fmla="*/ 0 h 459346"/>
              <a:gd name="connsiteX0" fmla="*/ 0 w 4212432"/>
              <a:gd name="connsiteY0" fmla="*/ 0 h 459346"/>
              <a:gd name="connsiteX1" fmla="*/ 245874 w 4212432"/>
              <a:gd name="connsiteY1" fmla="*/ 0 h 459346"/>
              <a:gd name="connsiteX2" fmla="*/ 4204800 w 4212432"/>
              <a:gd name="connsiteY2" fmla="*/ 0 h 459346"/>
              <a:gd name="connsiteX3" fmla="*/ 4207669 w 4212432"/>
              <a:gd name="connsiteY3" fmla="*/ 0 h 459346"/>
              <a:gd name="connsiteX4" fmla="*/ 4212432 w 4212432"/>
              <a:gd name="connsiteY4" fmla="*/ 327921 h 459346"/>
              <a:gd name="connsiteX5" fmla="*/ 3912526 w 4212432"/>
              <a:gd name="connsiteY5" fmla="*/ 458757 h 459346"/>
              <a:gd name="connsiteX6" fmla="*/ 0 w 4212432"/>
              <a:gd name="connsiteY6" fmla="*/ 458756 h 459346"/>
              <a:gd name="connsiteX7" fmla="*/ 0 w 4212432"/>
              <a:gd name="connsiteY7" fmla="*/ 229379 h 459346"/>
              <a:gd name="connsiteX8" fmla="*/ 0 w 4212432"/>
              <a:gd name="connsiteY8" fmla="*/ 0 h 459346"/>
              <a:gd name="connsiteX0" fmla="*/ 0 w 4212432"/>
              <a:gd name="connsiteY0" fmla="*/ 0 h 459346"/>
              <a:gd name="connsiteX1" fmla="*/ 245874 w 4212432"/>
              <a:gd name="connsiteY1" fmla="*/ 0 h 459346"/>
              <a:gd name="connsiteX2" fmla="*/ 4204800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9346"/>
              <a:gd name="connsiteX1" fmla="*/ 245874 w 4212432"/>
              <a:gd name="connsiteY1" fmla="*/ 0 h 459346"/>
              <a:gd name="connsiteX2" fmla="*/ 4209575 w 4212432"/>
              <a:gd name="connsiteY2" fmla="*/ 2381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28712"/>
              <a:gd name="connsiteY0" fmla="*/ 0 h 459346"/>
              <a:gd name="connsiteX1" fmla="*/ 245874 w 4228712"/>
              <a:gd name="connsiteY1" fmla="*/ 0 h 459346"/>
              <a:gd name="connsiteX2" fmla="*/ 4228676 w 4228712"/>
              <a:gd name="connsiteY2" fmla="*/ 2381 h 459346"/>
              <a:gd name="connsiteX3" fmla="*/ 4212432 w 4228712"/>
              <a:gd name="connsiteY3" fmla="*/ 327921 h 459346"/>
              <a:gd name="connsiteX4" fmla="*/ 3912526 w 4228712"/>
              <a:gd name="connsiteY4" fmla="*/ 458757 h 459346"/>
              <a:gd name="connsiteX5" fmla="*/ 0 w 4228712"/>
              <a:gd name="connsiteY5" fmla="*/ 458756 h 459346"/>
              <a:gd name="connsiteX6" fmla="*/ 0 w 4228712"/>
              <a:gd name="connsiteY6" fmla="*/ 229379 h 459346"/>
              <a:gd name="connsiteX7" fmla="*/ 0 w 4228712"/>
              <a:gd name="connsiteY7" fmla="*/ 0 h 459346"/>
              <a:gd name="connsiteX0" fmla="*/ 0 w 4212432"/>
              <a:gd name="connsiteY0" fmla="*/ 0 h 459346"/>
              <a:gd name="connsiteX1" fmla="*/ 245874 w 4212432"/>
              <a:gd name="connsiteY1" fmla="*/ 0 h 459346"/>
              <a:gd name="connsiteX2" fmla="*/ 4211962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1 h 458757"/>
              <a:gd name="connsiteX4" fmla="*/ 3912526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879"/>
              <a:gd name="connsiteX1" fmla="*/ 245874 w 4212432"/>
              <a:gd name="connsiteY1" fmla="*/ 0 h 458879"/>
              <a:gd name="connsiteX2" fmla="*/ 4211962 w 4212432"/>
              <a:gd name="connsiteY2" fmla="*/ 0 h 458879"/>
              <a:gd name="connsiteX3" fmla="*/ 4212432 w 4212432"/>
              <a:gd name="connsiteY3" fmla="*/ 308871 h 458879"/>
              <a:gd name="connsiteX4" fmla="*/ 3912526 w 4212432"/>
              <a:gd name="connsiteY4" fmla="*/ 458757 h 458879"/>
              <a:gd name="connsiteX5" fmla="*/ 0 w 4212432"/>
              <a:gd name="connsiteY5" fmla="*/ 458756 h 458879"/>
              <a:gd name="connsiteX6" fmla="*/ 0 w 4212432"/>
              <a:gd name="connsiteY6" fmla="*/ 229379 h 458879"/>
              <a:gd name="connsiteX7" fmla="*/ 0 w 4212432"/>
              <a:gd name="connsiteY7" fmla="*/ 0 h 458879"/>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308871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287440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287440 h 458757"/>
              <a:gd name="connsiteX4" fmla="*/ 3969829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65017 h 523774"/>
              <a:gd name="connsiteX1" fmla="*/ 245874 w 4212432"/>
              <a:gd name="connsiteY1" fmla="*/ 65017 h 523774"/>
              <a:gd name="connsiteX2" fmla="*/ 4211962 w 4212432"/>
              <a:gd name="connsiteY2" fmla="*/ 65017 h 523774"/>
              <a:gd name="connsiteX3" fmla="*/ 4212432 w 4212432"/>
              <a:gd name="connsiteY3" fmla="*/ 352457 h 523774"/>
              <a:gd name="connsiteX4" fmla="*/ 3969829 w 4212432"/>
              <a:gd name="connsiteY4" fmla="*/ 523774 h 523774"/>
              <a:gd name="connsiteX5" fmla="*/ 0 w 4212432"/>
              <a:gd name="connsiteY5" fmla="*/ 523773 h 523774"/>
              <a:gd name="connsiteX6" fmla="*/ 0 w 4212432"/>
              <a:gd name="connsiteY6" fmla="*/ 294396 h 523774"/>
              <a:gd name="connsiteX7" fmla="*/ 0 w 4212432"/>
              <a:gd name="connsiteY7" fmla="*/ 65017 h 523774"/>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783"/>
              <a:gd name="connsiteY0" fmla="*/ 65017 h 526518"/>
              <a:gd name="connsiteX1" fmla="*/ 245874 w 4212783"/>
              <a:gd name="connsiteY1" fmla="*/ 65017 h 526518"/>
              <a:gd name="connsiteX2" fmla="*/ 4211962 w 4212783"/>
              <a:gd name="connsiteY2" fmla="*/ 65017 h 526518"/>
              <a:gd name="connsiteX3" fmla="*/ 4212432 w 4212783"/>
              <a:gd name="connsiteY3" fmla="*/ 352457 h 526518"/>
              <a:gd name="connsiteX4" fmla="*/ 3969829 w 4212783"/>
              <a:gd name="connsiteY4" fmla="*/ 523774 h 526518"/>
              <a:gd name="connsiteX5" fmla="*/ 0 w 4212783"/>
              <a:gd name="connsiteY5" fmla="*/ 523773 h 526518"/>
              <a:gd name="connsiteX6" fmla="*/ 0 w 4212783"/>
              <a:gd name="connsiteY6" fmla="*/ 294396 h 526518"/>
              <a:gd name="connsiteX7" fmla="*/ 0 w 4212783"/>
              <a:gd name="connsiteY7" fmla="*/ 65017 h 526518"/>
              <a:gd name="connsiteX0" fmla="*/ 0 w 4212806"/>
              <a:gd name="connsiteY0" fmla="*/ 65017 h 526518"/>
              <a:gd name="connsiteX1" fmla="*/ 245874 w 4212806"/>
              <a:gd name="connsiteY1" fmla="*/ 65017 h 526518"/>
              <a:gd name="connsiteX2" fmla="*/ 4211962 w 4212806"/>
              <a:gd name="connsiteY2" fmla="*/ 65017 h 526518"/>
              <a:gd name="connsiteX3" fmla="*/ 4212432 w 4212806"/>
              <a:gd name="connsiteY3" fmla="*/ 352457 h 526518"/>
              <a:gd name="connsiteX4" fmla="*/ 3976992 w 4212806"/>
              <a:gd name="connsiteY4" fmla="*/ 523774 h 526518"/>
              <a:gd name="connsiteX5" fmla="*/ 0 w 4212806"/>
              <a:gd name="connsiteY5" fmla="*/ 523773 h 526518"/>
              <a:gd name="connsiteX6" fmla="*/ 0 w 4212806"/>
              <a:gd name="connsiteY6" fmla="*/ 294396 h 526518"/>
              <a:gd name="connsiteX7" fmla="*/ 0 w 4212806"/>
              <a:gd name="connsiteY7" fmla="*/ 65017 h 526518"/>
              <a:gd name="connsiteX0" fmla="*/ 0 w 4212707"/>
              <a:gd name="connsiteY0" fmla="*/ 65017 h 526518"/>
              <a:gd name="connsiteX1" fmla="*/ 245874 w 4212707"/>
              <a:gd name="connsiteY1" fmla="*/ 65017 h 526518"/>
              <a:gd name="connsiteX2" fmla="*/ 4211962 w 4212707"/>
              <a:gd name="connsiteY2" fmla="*/ 65017 h 526518"/>
              <a:gd name="connsiteX3" fmla="*/ 4212432 w 4212707"/>
              <a:gd name="connsiteY3" fmla="*/ 352457 h 526518"/>
              <a:gd name="connsiteX4" fmla="*/ 3976992 w 4212707"/>
              <a:gd name="connsiteY4" fmla="*/ 523774 h 526518"/>
              <a:gd name="connsiteX5" fmla="*/ 0 w 4212707"/>
              <a:gd name="connsiteY5" fmla="*/ 523773 h 526518"/>
              <a:gd name="connsiteX6" fmla="*/ 0 w 4212707"/>
              <a:gd name="connsiteY6" fmla="*/ 294396 h 526518"/>
              <a:gd name="connsiteX7" fmla="*/ 0 w 4212707"/>
              <a:gd name="connsiteY7" fmla="*/ 65017 h 526518"/>
              <a:gd name="connsiteX0" fmla="*/ 0 w 4212432"/>
              <a:gd name="connsiteY0" fmla="*/ 65017 h 527310"/>
              <a:gd name="connsiteX1" fmla="*/ 245874 w 4212432"/>
              <a:gd name="connsiteY1" fmla="*/ 65017 h 527310"/>
              <a:gd name="connsiteX2" fmla="*/ 4211962 w 4212432"/>
              <a:gd name="connsiteY2" fmla="*/ 65017 h 527310"/>
              <a:gd name="connsiteX3" fmla="*/ 4212432 w 4212432"/>
              <a:gd name="connsiteY3" fmla="*/ 352457 h 527310"/>
              <a:gd name="connsiteX4" fmla="*/ 3976992 w 4212432"/>
              <a:gd name="connsiteY4" fmla="*/ 523774 h 527310"/>
              <a:gd name="connsiteX5" fmla="*/ 0 w 4212432"/>
              <a:gd name="connsiteY5" fmla="*/ 523773 h 527310"/>
              <a:gd name="connsiteX6" fmla="*/ 0 w 4212432"/>
              <a:gd name="connsiteY6" fmla="*/ 294396 h 527310"/>
              <a:gd name="connsiteX7" fmla="*/ 0 w 4212432"/>
              <a:gd name="connsiteY7" fmla="*/ 65017 h 527310"/>
              <a:gd name="connsiteX0" fmla="*/ 0 w 4212432"/>
              <a:gd name="connsiteY0" fmla="*/ 254931 h 717224"/>
              <a:gd name="connsiteX1" fmla="*/ 245874 w 4212432"/>
              <a:gd name="connsiteY1" fmla="*/ 254931 h 717224"/>
              <a:gd name="connsiteX2" fmla="*/ 4211962 w 4212432"/>
              <a:gd name="connsiteY2" fmla="*/ 254931 h 717224"/>
              <a:gd name="connsiteX3" fmla="*/ 4212432 w 4212432"/>
              <a:gd name="connsiteY3" fmla="*/ 542371 h 717224"/>
              <a:gd name="connsiteX4" fmla="*/ 3976992 w 4212432"/>
              <a:gd name="connsiteY4" fmla="*/ 713688 h 717224"/>
              <a:gd name="connsiteX5" fmla="*/ 0 w 4212432"/>
              <a:gd name="connsiteY5" fmla="*/ 713687 h 717224"/>
              <a:gd name="connsiteX6" fmla="*/ 0 w 4212432"/>
              <a:gd name="connsiteY6" fmla="*/ 484310 h 717224"/>
              <a:gd name="connsiteX7" fmla="*/ 0 w 4212432"/>
              <a:gd name="connsiteY7" fmla="*/ 254931 h 717224"/>
              <a:gd name="connsiteX0" fmla="*/ 0 w 4212432"/>
              <a:gd name="connsiteY0" fmla="*/ 254931 h 714629"/>
              <a:gd name="connsiteX1" fmla="*/ 245874 w 4212432"/>
              <a:gd name="connsiteY1" fmla="*/ 254931 h 714629"/>
              <a:gd name="connsiteX2" fmla="*/ 4211962 w 4212432"/>
              <a:gd name="connsiteY2" fmla="*/ 254931 h 714629"/>
              <a:gd name="connsiteX3" fmla="*/ 4212432 w 4212432"/>
              <a:gd name="connsiteY3" fmla="*/ 542371 h 714629"/>
              <a:gd name="connsiteX4" fmla="*/ 3976992 w 4212432"/>
              <a:gd name="connsiteY4" fmla="*/ 713688 h 714629"/>
              <a:gd name="connsiteX5" fmla="*/ 0 w 4212432"/>
              <a:gd name="connsiteY5" fmla="*/ 713687 h 714629"/>
              <a:gd name="connsiteX6" fmla="*/ 0 w 4212432"/>
              <a:gd name="connsiteY6" fmla="*/ 484310 h 714629"/>
              <a:gd name="connsiteX7" fmla="*/ 0 w 4212432"/>
              <a:gd name="connsiteY7" fmla="*/ 254931 h 714629"/>
              <a:gd name="connsiteX0" fmla="*/ 0 w 4212432"/>
              <a:gd name="connsiteY0" fmla="*/ 242199 h 704985"/>
              <a:gd name="connsiteX1" fmla="*/ 245874 w 4212432"/>
              <a:gd name="connsiteY1" fmla="*/ 242199 h 704985"/>
              <a:gd name="connsiteX2" fmla="*/ 4211962 w 4212432"/>
              <a:gd name="connsiteY2" fmla="*/ 242199 h 704985"/>
              <a:gd name="connsiteX3" fmla="*/ 4212432 w 4212432"/>
              <a:gd name="connsiteY3" fmla="*/ 548689 h 704985"/>
              <a:gd name="connsiteX4" fmla="*/ 3976992 w 4212432"/>
              <a:gd name="connsiteY4" fmla="*/ 700956 h 704985"/>
              <a:gd name="connsiteX5" fmla="*/ 0 w 4212432"/>
              <a:gd name="connsiteY5" fmla="*/ 700955 h 704985"/>
              <a:gd name="connsiteX6" fmla="*/ 0 w 4212432"/>
              <a:gd name="connsiteY6" fmla="*/ 471578 h 704985"/>
              <a:gd name="connsiteX7" fmla="*/ 0 w 4212432"/>
              <a:gd name="connsiteY7" fmla="*/ 242199 h 704985"/>
              <a:gd name="connsiteX0" fmla="*/ 0 w 4212432"/>
              <a:gd name="connsiteY0" fmla="*/ 242199 h 703933"/>
              <a:gd name="connsiteX1" fmla="*/ 245874 w 4212432"/>
              <a:gd name="connsiteY1" fmla="*/ 242199 h 703933"/>
              <a:gd name="connsiteX2" fmla="*/ 4211962 w 4212432"/>
              <a:gd name="connsiteY2" fmla="*/ 242199 h 703933"/>
              <a:gd name="connsiteX3" fmla="*/ 4212432 w 4212432"/>
              <a:gd name="connsiteY3" fmla="*/ 548689 h 703933"/>
              <a:gd name="connsiteX4" fmla="*/ 3976992 w 4212432"/>
              <a:gd name="connsiteY4" fmla="*/ 700956 h 703933"/>
              <a:gd name="connsiteX5" fmla="*/ 0 w 4212432"/>
              <a:gd name="connsiteY5" fmla="*/ 700955 h 703933"/>
              <a:gd name="connsiteX6" fmla="*/ 0 w 4212432"/>
              <a:gd name="connsiteY6" fmla="*/ 471578 h 703933"/>
              <a:gd name="connsiteX7" fmla="*/ 0 w 4212432"/>
              <a:gd name="connsiteY7" fmla="*/ 242199 h 703933"/>
              <a:gd name="connsiteX0" fmla="*/ 0 w 4212432"/>
              <a:gd name="connsiteY0" fmla="*/ 242199 h 701374"/>
              <a:gd name="connsiteX1" fmla="*/ 245874 w 4212432"/>
              <a:gd name="connsiteY1" fmla="*/ 242199 h 701374"/>
              <a:gd name="connsiteX2" fmla="*/ 4211962 w 4212432"/>
              <a:gd name="connsiteY2" fmla="*/ 242199 h 701374"/>
              <a:gd name="connsiteX3" fmla="*/ 4212432 w 4212432"/>
              <a:gd name="connsiteY3" fmla="*/ 548689 h 701374"/>
              <a:gd name="connsiteX4" fmla="*/ 3976992 w 4212432"/>
              <a:gd name="connsiteY4" fmla="*/ 700956 h 701374"/>
              <a:gd name="connsiteX5" fmla="*/ 0 w 4212432"/>
              <a:gd name="connsiteY5" fmla="*/ 700955 h 701374"/>
              <a:gd name="connsiteX6" fmla="*/ 0 w 4212432"/>
              <a:gd name="connsiteY6" fmla="*/ 471578 h 701374"/>
              <a:gd name="connsiteX7" fmla="*/ 0 w 4212432"/>
              <a:gd name="connsiteY7" fmla="*/ 242199 h 701374"/>
              <a:gd name="connsiteX0" fmla="*/ 0 w 4214819"/>
              <a:gd name="connsiteY0" fmla="*/ 231179 h 693429"/>
              <a:gd name="connsiteX1" fmla="*/ 245874 w 4214819"/>
              <a:gd name="connsiteY1" fmla="*/ 231179 h 693429"/>
              <a:gd name="connsiteX2" fmla="*/ 4211962 w 4214819"/>
              <a:gd name="connsiteY2" fmla="*/ 231179 h 693429"/>
              <a:gd name="connsiteX3" fmla="*/ 4214819 w 4214819"/>
              <a:gd name="connsiteY3" fmla="*/ 554338 h 693429"/>
              <a:gd name="connsiteX4" fmla="*/ 3976992 w 4214819"/>
              <a:gd name="connsiteY4" fmla="*/ 689936 h 693429"/>
              <a:gd name="connsiteX5" fmla="*/ 0 w 4214819"/>
              <a:gd name="connsiteY5" fmla="*/ 689935 h 693429"/>
              <a:gd name="connsiteX6" fmla="*/ 0 w 4214819"/>
              <a:gd name="connsiteY6" fmla="*/ 460558 h 693429"/>
              <a:gd name="connsiteX7" fmla="*/ 0 w 4214819"/>
              <a:gd name="connsiteY7" fmla="*/ 231179 h 693429"/>
              <a:gd name="connsiteX0" fmla="*/ 0 w 4214819"/>
              <a:gd name="connsiteY0" fmla="*/ 231179 h 690020"/>
              <a:gd name="connsiteX1" fmla="*/ 245874 w 4214819"/>
              <a:gd name="connsiteY1" fmla="*/ 231179 h 690020"/>
              <a:gd name="connsiteX2" fmla="*/ 4211962 w 4214819"/>
              <a:gd name="connsiteY2" fmla="*/ 231179 h 690020"/>
              <a:gd name="connsiteX3" fmla="*/ 4214819 w 4214819"/>
              <a:gd name="connsiteY3" fmla="*/ 554338 h 690020"/>
              <a:gd name="connsiteX4" fmla="*/ 3976992 w 4214819"/>
              <a:gd name="connsiteY4" fmla="*/ 689936 h 690020"/>
              <a:gd name="connsiteX5" fmla="*/ 0 w 4214819"/>
              <a:gd name="connsiteY5" fmla="*/ 689935 h 690020"/>
              <a:gd name="connsiteX6" fmla="*/ 0 w 4214819"/>
              <a:gd name="connsiteY6" fmla="*/ 460558 h 690020"/>
              <a:gd name="connsiteX7" fmla="*/ 0 w 4214819"/>
              <a:gd name="connsiteY7" fmla="*/ 231179 h 690020"/>
              <a:gd name="connsiteX0" fmla="*/ 0 w 4215172"/>
              <a:gd name="connsiteY0" fmla="*/ 78388 h 537229"/>
              <a:gd name="connsiteX1" fmla="*/ 245874 w 4215172"/>
              <a:gd name="connsiteY1" fmla="*/ 78388 h 537229"/>
              <a:gd name="connsiteX2" fmla="*/ 4211962 w 4215172"/>
              <a:gd name="connsiteY2" fmla="*/ 78388 h 537229"/>
              <a:gd name="connsiteX3" fmla="*/ 4214819 w 4215172"/>
              <a:gd name="connsiteY3" fmla="*/ 401547 h 537229"/>
              <a:gd name="connsiteX4" fmla="*/ 3976992 w 4215172"/>
              <a:gd name="connsiteY4" fmla="*/ 537145 h 537229"/>
              <a:gd name="connsiteX5" fmla="*/ 0 w 4215172"/>
              <a:gd name="connsiteY5" fmla="*/ 537144 h 537229"/>
              <a:gd name="connsiteX6" fmla="*/ 0 w 4215172"/>
              <a:gd name="connsiteY6" fmla="*/ 307767 h 537229"/>
              <a:gd name="connsiteX7" fmla="*/ 0 w 4215172"/>
              <a:gd name="connsiteY7" fmla="*/ 78388 h 537229"/>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67441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2432" h="458757">
                <a:moveTo>
                  <a:pt x="0" y="0"/>
                </a:moveTo>
                <a:lnTo>
                  <a:pt x="245874" y="0"/>
                </a:lnTo>
                <a:lnTo>
                  <a:pt x="4211962" y="0"/>
                </a:lnTo>
                <a:cubicBezTo>
                  <a:pt x="4212914" y="108513"/>
                  <a:pt x="4209095" y="335"/>
                  <a:pt x="4212432" y="308872"/>
                </a:cubicBezTo>
                <a:cubicBezTo>
                  <a:pt x="4212481" y="465992"/>
                  <a:pt x="4074394" y="456418"/>
                  <a:pt x="3967441" y="458757"/>
                </a:cubicBezTo>
                <a:lnTo>
                  <a:pt x="0" y="458756"/>
                </a:lnTo>
                <a:lnTo>
                  <a:pt x="0" y="229379"/>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pPr lvl="0"/>
            <a:r>
              <a:rPr lang="en-US" err="1"/>
              <a:t>Klik</a:t>
            </a:r>
            <a:r>
              <a:rPr lang="en-US"/>
              <a:t> om </a:t>
            </a:r>
            <a:r>
              <a:rPr lang="en-US" err="1"/>
              <a:t>een</a:t>
            </a:r>
            <a:r>
              <a:rPr lang="en-US"/>
              <a:t> </a:t>
            </a:r>
            <a:r>
              <a:rPr lang="en-US" err="1"/>
              <a:t>ondertitel</a:t>
            </a:r>
            <a:r>
              <a:rPr lang="en-US"/>
              <a:t> toe </a:t>
            </a:r>
            <a:r>
              <a:rPr lang="en-US" err="1"/>
              <a:t>te</a:t>
            </a:r>
            <a:r>
              <a:rPr lang="en-US"/>
              <a:t> </a:t>
            </a:r>
            <a:r>
              <a:rPr lang="en-US" err="1"/>
              <a:t>voegen</a:t>
            </a:r>
            <a:endParaRPr lang="en-US"/>
          </a:p>
        </p:txBody>
      </p:sp>
      <p:sp>
        <p:nvSpPr>
          <p:cNvPr id="2" name="Titel 14">
            <a:extLst>
              <a:ext uri="{FF2B5EF4-FFF2-40B4-BE49-F238E27FC236}">
                <a16:creationId xmlns:a16="http://schemas.microsoft.com/office/drawing/2014/main" id="{1A50174B-BA68-4A43-BB0C-31A8EBA7809B}"/>
              </a:ext>
            </a:extLst>
          </p:cNvPr>
          <p:cNvSpPr>
            <a:spLocks noGrp="1"/>
          </p:cNvSpPr>
          <p:nvPr>
            <p:ph type="title" hasCustomPrompt="1"/>
          </p:nvPr>
        </p:nvSpPr>
        <p:spPr>
          <a:xfrm>
            <a:off x="2" y="270000"/>
            <a:ext cx="4212000" cy="1008000"/>
          </a:xfrm>
          <a:prstGeom prst="round1Rect">
            <a:avLst>
              <a:gd name="adj" fmla="val 14298"/>
            </a:avLst>
          </a:prstGeom>
          <a:solidFill>
            <a:schemeClr val="accent1">
              <a:alpha val="90000"/>
            </a:schemeClr>
          </a:solidFill>
          <a:ln w="19050" cmpd="sng">
            <a:noFill/>
          </a:ln>
        </p:spPr>
        <p:txBody>
          <a:bodyPr wrap="square" lIns="468000" tIns="36000" rIns="36000" bIns="36000" anchor="ctr"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nl-NL" noProof="0"/>
              <a:t>Klikken om een titel te maken (2 regels)</a:t>
            </a:r>
          </a:p>
        </p:txBody>
      </p:sp>
      <p:sp>
        <p:nvSpPr>
          <p:cNvPr id="10"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8" name="Tijdelijke aanduiding voor tekst 20">
            <a:extLst>
              <a:ext uri="{FF2B5EF4-FFF2-40B4-BE49-F238E27FC236}">
                <a16:creationId xmlns:a16="http://schemas.microsoft.com/office/drawing/2014/main" id="{29C2B700-8385-4CFE-AFD3-E894073942C9}"/>
              </a:ext>
            </a:extLst>
          </p:cNvPr>
          <p:cNvSpPr>
            <a:spLocks noGrp="1" noChangeAspect="1"/>
          </p:cNvSpPr>
          <p:nvPr>
            <p:ph type="body" sz="quarter" idx="11"/>
          </p:nvPr>
        </p:nvSpPr>
        <p:spPr>
          <a:xfrm>
            <a:off x="7583014" y="3826963"/>
            <a:ext cx="108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l">
              <a:buNone/>
              <a:defRPr sz="2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endParaRPr lang="nl-NL"/>
          </a:p>
        </p:txBody>
      </p:sp>
      <p:sp>
        <p:nvSpPr>
          <p:cNvPr id="11"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9225755" y="3826963"/>
            <a:ext cx="2160000" cy="1080000"/>
          </a:xfrm>
          <a:prstGeom prst="round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203411146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942975"/>
            <a:ext cx="8208000" cy="1440000"/>
          </a:xfrm>
        </p:spPr>
        <p:txBody>
          <a:bodyPr/>
          <a:lstStyle>
            <a:lvl1pPr>
              <a:defRPr sz="4400">
                <a:solidFill>
                  <a:schemeClr val="bg1"/>
                </a:solidFill>
              </a:defRPr>
            </a:lvl1pPr>
          </a:lstStyle>
          <a:p>
            <a:pPr lvl="0"/>
            <a:r>
              <a:rPr lang="en-US"/>
              <a:t>Divider title</a:t>
            </a:r>
            <a:endParaRPr lang="nl-NL"/>
          </a:p>
        </p:txBody>
      </p:sp>
      <p:sp>
        <p:nvSpPr>
          <p:cNvPr id="3" name="Footer Placeholder 2"/>
          <p:cNvSpPr>
            <a:spLocks noGrp="1"/>
          </p:cNvSpPr>
          <p:nvPr>
            <p:ph type="ftr" sz="quarter" idx="10"/>
          </p:nvPr>
        </p:nvSpPr>
        <p:spPr/>
        <p:txBody>
          <a:bodyPr/>
          <a:lstStyle>
            <a:lvl1pPr>
              <a:defRPr>
                <a:solidFill>
                  <a:schemeClr val="bg1"/>
                </a:solidFill>
              </a:defRPr>
            </a:lvl1pPr>
          </a:lstStyle>
          <a:p>
            <a:r>
              <a:rPr lang="en-GB"/>
              <a:t>Source</a:t>
            </a:r>
          </a:p>
        </p:txBody>
      </p:sp>
      <p:sp>
        <p:nvSpPr>
          <p:cNvPr id="8" name="Text Placeholder 7"/>
          <p:cNvSpPr>
            <a:spLocks noGrp="1"/>
          </p:cNvSpPr>
          <p:nvPr>
            <p:ph type="body" sz="quarter" idx="12" hasCustomPrompt="1"/>
          </p:nvPr>
        </p:nvSpPr>
        <p:spPr>
          <a:xfrm>
            <a:off x="468000" y="2643758"/>
            <a:ext cx="8208000" cy="900000"/>
          </a:xfrm>
        </p:spPr>
        <p:txBody>
          <a:bodyPr/>
          <a:lstStyle>
            <a:lvl1pPr marL="0" indent="0">
              <a:buNone/>
              <a:defRPr sz="2000" i="1">
                <a:solidFill>
                  <a:schemeClr val="bg1"/>
                </a:solidFill>
              </a:defRPr>
            </a:lvl1pPr>
          </a:lstStyle>
          <a:p>
            <a:pPr lvl="0"/>
            <a:r>
              <a:rPr lang="en-US"/>
              <a:t>Optional sub-title of maximum three lines</a:t>
            </a:r>
          </a:p>
        </p:txBody>
      </p:sp>
      <p:sp>
        <p:nvSpPr>
          <p:cNvPr id="9" name="Picture Placeholder 14"/>
          <p:cNvSpPr>
            <a:spLocks noGrp="1"/>
          </p:cNvSpPr>
          <p:nvPr>
            <p:ph type="pic" sz="quarter" idx="14" hasCustomPrompt="1"/>
          </p:nvPr>
        </p:nvSpPr>
        <p:spPr>
          <a:xfrm>
            <a:off x="8034338" y="4784400"/>
            <a:ext cx="654050" cy="122562"/>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endParaRPr lang="nl-NL"/>
          </a:p>
        </p:txBody>
      </p:sp>
    </p:spTree>
    <p:extLst>
      <p:ext uri="{BB962C8B-B14F-4D97-AF65-F5344CB8AC3E}">
        <p14:creationId xmlns:p14="http://schemas.microsoft.com/office/powerpoint/2010/main" val="3126956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 picture">
    <p:bg>
      <p:bgPr>
        <a:solidFill>
          <a:schemeClr val="accent1"/>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4572000" y="-2858"/>
            <a:ext cx="4572000" cy="5146357"/>
          </a:xfrm>
          <a:solidFill>
            <a:schemeClr val="bg1"/>
          </a:solidFill>
        </p:spPr>
        <p:txBody>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468000" y="942975"/>
            <a:ext cx="3780000" cy="1440000"/>
          </a:xfrm>
        </p:spPr>
        <p:txBody>
          <a:bodyPr/>
          <a:lstStyle>
            <a:lvl1pPr>
              <a:defRPr sz="4400">
                <a:solidFill>
                  <a:schemeClr val="bg1"/>
                </a:solidFill>
              </a:defRPr>
            </a:lvl1pPr>
          </a:lstStyle>
          <a:p>
            <a:pPr lvl="0"/>
            <a:r>
              <a:rPr lang="en-US"/>
              <a:t>Divider title</a:t>
            </a:r>
            <a:endParaRPr lang="nl-NL"/>
          </a:p>
        </p:txBody>
      </p:sp>
      <p:sp>
        <p:nvSpPr>
          <p:cNvPr id="3" name="Footer Placeholder 2"/>
          <p:cNvSpPr>
            <a:spLocks noGrp="1"/>
          </p:cNvSpPr>
          <p:nvPr>
            <p:ph type="ftr" sz="quarter" idx="10"/>
          </p:nvPr>
        </p:nvSpPr>
        <p:spPr/>
        <p:txBody>
          <a:bodyPr/>
          <a:lstStyle/>
          <a:p>
            <a:r>
              <a:rPr lang="en-GB"/>
              <a:t>Source</a:t>
            </a:r>
          </a:p>
        </p:txBody>
      </p:sp>
      <p:sp>
        <p:nvSpPr>
          <p:cNvPr id="8" name="Text Placeholder 7"/>
          <p:cNvSpPr>
            <a:spLocks noGrp="1"/>
          </p:cNvSpPr>
          <p:nvPr>
            <p:ph type="body" sz="quarter" idx="12" hasCustomPrompt="1"/>
          </p:nvPr>
        </p:nvSpPr>
        <p:spPr>
          <a:xfrm>
            <a:off x="468000" y="2643758"/>
            <a:ext cx="3780000" cy="900000"/>
          </a:xfrm>
        </p:spPr>
        <p:txBody>
          <a:bodyPr/>
          <a:lstStyle>
            <a:lvl1pPr marL="0" indent="0">
              <a:buNone/>
              <a:defRPr sz="2000" i="1">
                <a:solidFill>
                  <a:schemeClr val="bg1"/>
                </a:solidFill>
              </a:defRPr>
            </a:lvl1pPr>
          </a:lstStyle>
          <a:p>
            <a:pPr lvl="0"/>
            <a:r>
              <a:rPr lang="en-US"/>
              <a:t>Optional sub-title of maximum three lines</a:t>
            </a:r>
          </a:p>
        </p:txBody>
      </p:sp>
      <p:pic>
        <p:nvPicPr>
          <p:cNvPr id="10" name="Afbeelding 7">
            <a:extLst>
              <a:ext uri="{FF2B5EF4-FFF2-40B4-BE49-F238E27FC236}">
                <a16:creationId xmlns:a16="http://schemas.microsoft.com/office/drawing/2014/main" id="{885AE98F-8DFF-44D0-95AF-0A5D9D6928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33978" y="4784400"/>
            <a:ext cx="655200" cy="120272"/>
          </a:xfrm>
          <a:prstGeom prst="rect">
            <a:avLst/>
          </a:prstGeom>
        </p:spPr>
      </p:pic>
      <p:sp>
        <p:nvSpPr>
          <p:cNvPr id="11" name="Picture Placeholder 14"/>
          <p:cNvSpPr>
            <a:spLocks noGrp="1"/>
          </p:cNvSpPr>
          <p:nvPr>
            <p:ph type="pic" sz="quarter" idx="14" hasCustomPrompt="1"/>
          </p:nvPr>
        </p:nvSpPr>
        <p:spPr>
          <a:xfrm>
            <a:off x="8035128" y="4782110"/>
            <a:ext cx="654050" cy="122562"/>
          </a:xfrm>
          <a:blipFill>
            <a:blip r:embed="rId3"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endParaRPr lang="nl-NL"/>
          </a:p>
        </p:txBody>
      </p:sp>
      <p:sp>
        <p:nvSpPr>
          <p:cNvPr id="12" name="Picture Placeholder 14"/>
          <p:cNvSpPr>
            <a:spLocks noGrp="1"/>
          </p:cNvSpPr>
          <p:nvPr>
            <p:ph type="pic" sz="quarter" idx="16" hasCustomPrompt="1"/>
          </p:nvPr>
        </p:nvSpPr>
        <p:spPr>
          <a:xfrm>
            <a:off x="8035128" y="4782110"/>
            <a:ext cx="654050" cy="122562"/>
          </a:xfrm>
          <a:blipFill>
            <a:blip r:embed="rId4"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endParaRPr lang="nl-NL"/>
          </a:p>
        </p:txBody>
      </p:sp>
    </p:spTree>
    <p:extLst>
      <p:ext uri="{BB962C8B-B14F-4D97-AF65-F5344CB8AC3E}">
        <p14:creationId xmlns:p14="http://schemas.microsoft.com/office/powerpoint/2010/main" val="400100365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ita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942975"/>
            <a:ext cx="8208000" cy="1440000"/>
          </a:xfrm>
        </p:spPr>
        <p:txBody>
          <a:bodyPr/>
          <a:lstStyle>
            <a:lvl1pPr algn="ctr">
              <a:defRPr sz="4400">
                <a:solidFill>
                  <a:schemeClr val="bg1"/>
                </a:solidFill>
              </a:defRPr>
            </a:lvl1pPr>
          </a:lstStyle>
          <a:p>
            <a:pPr lvl="0"/>
            <a:r>
              <a:rPr lang="en-US"/>
              <a:t>Click to add title</a:t>
            </a:r>
            <a:endParaRPr lang="nl-NL"/>
          </a:p>
        </p:txBody>
      </p:sp>
      <p:sp>
        <p:nvSpPr>
          <p:cNvPr id="3" name="Footer Placeholder 2"/>
          <p:cNvSpPr>
            <a:spLocks noGrp="1"/>
          </p:cNvSpPr>
          <p:nvPr>
            <p:ph type="ftr" sz="quarter" idx="10"/>
          </p:nvPr>
        </p:nvSpPr>
        <p:spPr/>
        <p:txBody>
          <a:bodyPr/>
          <a:lstStyle>
            <a:lvl1pPr>
              <a:defRPr>
                <a:solidFill>
                  <a:schemeClr val="bg1"/>
                </a:solidFill>
              </a:defRPr>
            </a:lvl1pPr>
          </a:lstStyle>
          <a:p>
            <a:r>
              <a:rPr lang="en-GB"/>
              <a:t>Source</a:t>
            </a:r>
          </a:p>
        </p:txBody>
      </p:sp>
      <p:sp>
        <p:nvSpPr>
          <p:cNvPr id="8" name="Text Placeholder 7"/>
          <p:cNvSpPr>
            <a:spLocks noGrp="1"/>
          </p:cNvSpPr>
          <p:nvPr>
            <p:ph type="body" sz="quarter" idx="12" hasCustomPrompt="1"/>
          </p:nvPr>
        </p:nvSpPr>
        <p:spPr>
          <a:xfrm>
            <a:off x="468000" y="2643758"/>
            <a:ext cx="8208000" cy="900000"/>
          </a:xfrm>
        </p:spPr>
        <p:txBody>
          <a:bodyPr/>
          <a:lstStyle>
            <a:lvl1pPr marL="0" indent="0" algn="ctr">
              <a:buNone/>
              <a:defRPr sz="2000" i="0">
                <a:solidFill>
                  <a:schemeClr val="bg1"/>
                </a:solidFill>
              </a:defRPr>
            </a:lvl1pPr>
          </a:lstStyle>
          <a:p>
            <a:pPr lvl="0"/>
            <a:r>
              <a:rPr lang="en-US"/>
              <a:t>Optional sub-title of maximum three lines</a:t>
            </a:r>
          </a:p>
        </p:txBody>
      </p:sp>
      <p:sp>
        <p:nvSpPr>
          <p:cNvPr id="9" name="Picture Placeholder 14"/>
          <p:cNvSpPr>
            <a:spLocks noGrp="1"/>
          </p:cNvSpPr>
          <p:nvPr>
            <p:ph type="pic" sz="quarter" idx="14" hasCustomPrompt="1"/>
          </p:nvPr>
        </p:nvSpPr>
        <p:spPr>
          <a:xfrm>
            <a:off x="8034338" y="4784400"/>
            <a:ext cx="654050" cy="122562"/>
          </a:xfrm>
          <a:blipFill>
            <a:blip r:embed="rId2"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endParaRPr lang="nl-NL"/>
          </a:p>
        </p:txBody>
      </p:sp>
    </p:spTree>
    <p:extLst>
      <p:ext uri="{BB962C8B-B14F-4D97-AF65-F5344CB8AC3E}">
        <p14:creationId xmlns:p14="http://schemas.microsoft.com/office/powerpoint/2010/main" val="57747030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itation | picture">
    <p:bg>
      <p:bgPr>
        <a:solidFill>
          <a:schemeClr val="accent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a:xfrm>
            <a:off x="4572000" y="-2858"/>
            <a:ext cx="4572000" cy="5146357"/>
          </a:xfrm>
          <a:solidFill>
            <a:schemeClr val="bg1"/>
          </a:solidFill>
        </p:spPr>
        <p:txBody>
          <a:bodyPr/>
          <a:lstStyle>
            <a:lvl1pPr marL="0" indent="0" algn="ctr">
              <a:buNone/>
              <a:defRPr/>
            </a:lvl1pPr>
          </a:lstStyle>
          <a:p>
            <a:r>
              <a:rPr lang="en-US"/>
              <a:t>Click icon to add picture</a:t>
            </a:r>
            <a:endParaRPr lang="en-GB"/>
          </a:p>
        </p:txBody>
      </p:sp>
      <p:sp>
        <p:nvSpPr>
          <p:cNvPr id="2" name="Title 1"/>
          <p:cNvSpPr>
            <a:spLocks noGrp="1"/>
          </p:cNvSpPr>
          <p:nvPr>
            <p:ph type="title" hasCustomPrompt="1"/>
          </p:nvPr>
        </p:nvSpPr>
        <p:spPr>
          <a:xfrm>
            <a:off x="468000" y="942975"/>
            <a:ext cx="3780000" cy="1440000"/>
          </a:xfrm>
        </p:spPr>
        <p:txBody>
          <a:bodyPr/>
          <a:lstStyle>
            <a:lvl1pPr algn="ctr">
              <a:defRPr sz="4400">
                <a:solidFill>
                  <a:schemeClr val="bg1"/>
                </a:solidFill>
              </a:defRPr>
            </a:lvl1pPr>
          </a:lstStyle>
          <a:p>
            <a:pPr lvl="0"/>
            <a:r>
              <a:rPr lang="en-US"/>
              <a:t>Click to add title</a:t>
            </a:r>
            <a:endParaRPr lang="nl-NL"/>
          </a:p>
        </p:txBody>
      </p:sp>
      <p:sp>
        <p:nvSpPr>
          <p:cNvPr id="3" name="Footer Placeholder 2"/>
          <p:cNvSpPr>
            <a:spLocks noGrp="1"/>
          </p:cNvSpPr>
          <p:nvPr>
            <p:ph type="ftr" sz="quarter" idx="10"/>
          </p:nvPr>
        </p:nvSpPr>
        <p:spPr/>
        <p:txBody>
          <a:bodyPr/>
          <a:lstStyle>
            <a:lvl1pPr>
              <a:defRPr>
                <a:solidFill>
                  <a:schemeClr val="bg1"/>
                </a:solidFill>
              </a:defRPr>
            </a:lvl1pPr>
          </a:lstStyle>
          <a:p>
            <a:r>
              <a:rPr lang="en-GB"/>
              <a:t>Source</a:t>
            </a:r>
          </a:p>
        </p:txBody>
      </p:sp>
      <p:sp>
        <p:nvSpPr>
          <p:cNvPr id="8" name="Text Placeholder 7"/>
          <p:cNvSpPr>
            <a:spLocks noGrp="1"/>
          </p:cNvSpPr>
          <p:nvPr>
            <p:ph type="body" sz="quarter" idx="12" hasCustomPrompt="1"/>
          </p:nvPr>
        </p:nvSpPr>
        <p:spPr>
          <a:xfrm>
            <a:off x="468000" y="2643758"/>
            <a:ext cx="3780000" cy="900000"/>
          </a:xfrm>
        </p:spPr>
        <p:txBody>
          <a:bodyPr/>
          <a:lstStyle>
            <a:lvl1pPr marL="0" indent="0" algn="ctr">
              <a:buNone/>
              <a:defRPr sz="2000" i="0">
                <a:solidFill>
                  <a:schemeClr val="bg1"/>
                </a:solidFill>
              </a:defRPr>
            </a:lvl1pPr>
          </a:lstStyle>
          <a:p>
            <a:pPr lvl="0"/>
            <a:r>
              <a:rPr lang="en-US"/>
              <a:t>Optional sub-title of maximum three lines</a:t>
            </a:r>
          </a:p>
        </p:txBody>
      </p:sp>
      <p:pic>
        <p:nvPicPr>
          <p:cNvPr id="10" name="Afbeelding 7">
            <a:extLst>
              <a:ext uri="{FF2B5EF4-FFF2-40B4-BE49-F238E27FC236}">
                <a16:creationId xmlns:a16="http://schemas.microsoft.com/office/drawing/2014/main" id="{885AE98F-8DFF-44D0-95AF-0A5D9D69280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033978" y="4784400"/>
            <a:ext cx="655200" cy="120272"/>
          </a:xfrm>
          <a:prstGeom prst="rect">
            <a:avLst/>
          </a:prstGeom>
        </p:spPr>
      </p:pic>
      <p:sp>
        <p:nvSpPr>
          <p:cNvPr id="11" name="Picture Placeholder 14"/>
          <p:cNvSpPr>
            <a:spLocks noGrp="1"/>
          </p:cNvSpPr>
          <p:nvPr>
            <p:ph type="pic" sz="quarter" idx="14" hasCustomPrompt="1"/>
          </p:nvPr>
        </p:nvSpPr>
        <p:spPr>
          <a:xfrm>
            <a:off x="8035128" y="4782110"/>
            <a:ext cx="654050" cy="122562"/>
          </a:xfrm>
          <a:blipFill>
            <a:blip r:embed="rId3"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endParaRPr lang="nl-NL"/>
          </a:p>
        </p:txBody>
      </p:sp>
      <p:sp>
        <p:nvSpPr>
          <p:cNvPr id="12" name="Picture Placeholder 14"/>
          <p:cNvSpPr>
            <a:spLocks noGrp="1"/>
          </p:cNvSpPr>
          <p:nvPr>
            <p:ph type="pic" sz="quarter" idx="16" hasCustomPrompt="1"/>
          </p:nvPr>
        </p:nvSpPr>
        <p:spPr>
          <a:xfrm>
            <a:off x="8035128" y="4782110"/>
            <a:ext cx="654050" cy="122562"/>
          </a:xfrm>
          <a:blipFill>
            <a:blip r:embed="rId4" cstate="print">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en-GB"/>
              <a:t> </a:t>
            </a:r>
            <a:endParaRPr lang="nl-NL"/>
          </a:p>
        </p:txBody>
      </p:sp>
    </p:spTree>
    <p:extLst>
      <p:ext uri="{BB962C8B-B14F-4D97-AF65-F5344CB8AC3E}">
        <p14:creationId xmlns:p14="http://schemas.microsoft.com/office/powerpoint/2010/main" val="1907261276"/>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779662"/>
            <a:ext cx="8208000" cy="576000"/>
          </a:xfrm>
          <a:effectLst/>
        </p:spPr>
        <p:txBody>
          <a:bodyPr vert="horz" wrap="square" lIns="0" tIns="0" rIns="0" bIns="0" rtlCol="0" anchor="b" anchorCtr="0">
            <a:spAutoFit/>
          </a:bodyPr>
          <a:lstStyle>
            <a:lvl1pPr>
              <a:defRPr lang="en-GB" sz="4000" b="0" i="0">
                <a:solidFill>
                  <a:schemeClr val="accent2"/>
                </a:solidFill>
              </a:defRPr>
            </a:lvl1pPr>
          </a:lstStyle>
          <a:p>
            <a:pPr lvl="0"/>
            <a:r>
              <a:rPr lang="en-US"/>
              <a:t>Click to edit title</a:t>
            </a:r>
            <a:endParaRPr lang="en-GB"/>
          </a:p>
        </p:txBody>
      </p:sp>
      <p:sp>
        <p:nvSpPr>
          <p:cNvPr id="3" name="Footer Placeholder 2"/>
          <p:cNvSpPr>
            <a:spLocks noGrp="1"/>
          </p:cNvSpPr>
          <p:nvPr>
            <p:ph type="ftr" sz="quarter" idx="10"/>
          </p:nvPr>
        </p:nvSpPr>
        <p:spPr/>
        <p:txBody>
          <a:bodyPr/>
          <a:lstStyle/>
          <a:p>
            <a:endParaRPr lang="en-GB"/>
          </a:p>
        </p:txBody>
      </p:sp>
      <p:sp>
        <p:nvSpPr>
          <p:cNvPr id="8" name="Text Placeholder 7"/>
          <p:cNvSpPr>
            <a:spLocks noGrp="1"/>
          </p:cNvSpPr>
          <p:nvPr>
            <p:ph type="body" sz="quarter" idx="12" hasCustomPrompt="1"/>
          </p:nvPr>
        </p:nvSpPr>
        <p:spPr>
          <a:xfrm>
            <a:off x="468000" y="2448359"/>
            <a:ext cx="8208000" cy="369332"/>
          </a:xfrm>
        </p:spPr>
        <p:txBody>
          <a:bodyPr vert="horz" wrap="square" lIns="0" tIns="0" rIns="0" bIns="0" rtlCol="0">
            <a:spAutoFit/>
          </a:bodyPr>
          <a:lstStyle>
            <a:lvl1pPr marL="0" indent="0">
              <a:buNone/>
              <a:defRPr lang="en-GB" sz="2400" b="1" i="1" dirty="0">
                <a:solidFill>
                  <a:schemeClr val="tx2"/>
                </a:solidFill>
              </a:defRPr>
            </a:lvl1pPr>
          </a:lstStyle>
          <a:p>
            <a:pPr marL="266700" lvl="0" indent="-266700">
              <a:lnSpc>
                <a:spcPct val="100000"/>
              </a:lnSpc>
              <a:spcBef>
                <a:spcPts val="0"/>
              </a:spcBef>
            </a:pPr>
            <a:r>
              <a:rPr lang="en-US"/>
              <a:t>Click to add subtitle</a:t>
            </a:r>
          </a:p>
        </p:txBody>
      </p:sp>
    </p:spTree>
    <p:extLst>
      <p:ext uri="{BB962C8B-B14F-4D97-AF65-F5344CB8AC3E}">
        <p14:creationId xmlns:p14="http://schemas.microsoft.com/office/powerpoint/2010/main" val="5705075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ransition slide with full-screen image">
    <p:spTree>
      <p:nvGrpSpPr>
        <p:cNvPr id="1" name=""/>
        <p:cNvGrpSpPr/>
        <p:nvPr/>
      </p:nvGrpSpPr>
      <p:grpSpPr>
        <a:xfrm>
          <a:off x="0" y="0"/>
          <a:ext cx="0" cy="0"/>
          <a:chOff x="0" y="0"/>
          <a:chExt cx="0" cy="0"/>
        </a:xfrm>
      </p:grpSpPr>
      <p:sp>
        <p:nvSpPr>
          <p:cNvPr id="12" name="Picture Placeholder 4"/>
          <p:cNvSpPr>
            <a:spLocks noGrp="1"/>
          </p:cNvSpPr>
          <p:nvPr>
            <p:ph type="pic" sz="quarter" idx="13" hasCustomPrompt="1"/>
          </p:nvPr>
        </p:nvSpPr>
        <p:spPr>
          <a:xfrm>
            <a:off x="0" y="0"/>
            <a:ext cx="9149638" cy="5143500"/>
          </a:xfrm>
          <a:noFill/>
        </p:spPr>
        <p:txBody>
          <a:bodyPr/>
          <a:lstStyle>
            <a:lvl1pPr marL="0" marR="0" indent="0" algn="ctr" defTabSz="914400" rtl="0" eaLnBrk="1" fontAlgn="auto" latinLnBrk="0" hangingPunct="1">
              <a:lnSpc>
                <a:spcPct val="100000"/>
              </a:lnSpc>
              <a:spcBef>
                <a:spcPct val="20000"/>
              </a:spcBef>
              <a:spcAft>
                <a:spcPts val="0"/>
              </a:spcAft>
              <a:buClr>
                <a:schemeClr val="accent2"/>
              </a:buClr>
              <a:buSzPct val="90000"/>
              <a:buFont typeface="Arial"/>
              <a:buNone/>
              <a:tabLst/>
              <a:defRPr sz="1200" baseline="0">
                <a:solidFill>
                  <a:schemeClr val="bg1">
                    <a:lumMod val="50000"/>
                  </a:schemeClr>
                </a:solidFill>
                <a:latin typeface="+mj-lt"/>
              </a:defRPr>
            </a:lvl1pPr>
          </a:lstStyle>
          <a:p>
            <a:r>
              <a:rPr lang="en-GB" noProof="0"/>
              <a:t>Click icon to insert photo and send it to background.</a:t>
            </a:r>
            <a:br>
              <a:rPr lang="en-GB" noProof="0"/>
            </a:br>
            <a:r>
              <a:rPr lang="en-GB" noProof="0"/>
              <a:t>The photo will be scaled automatically to full size, the Rabobank logo hidden automatically.</a:t>
            </a:r>
          </a:p>
        </p:txBody>
      </p:sp>
      <p:sp>
        <p:nvSpPr>
          <p:cNvPr id="2" name="Titel 1"/>
          <p:cNvSpPr>
            <a:spLocks noGrp="1"/>
          </p:cNvSpPr>
          <p:nvPr>
            <p:ph type="title" hasCustomPrompt="1"/>
          </p:nvPr>
        </p:nvSpPr>
        <p:spPr>
          <a:xfrm>
            <a:off x="475813" y="1436845"/>
            <a:ext cx="8213139" cy="564257"/>
          </a:xfrm>
          <a:effectLst>
            <a:outerShdw blurRad="63500" dist="25400" dir="5400000" algn="tl" rotWithShape="0">
              <a:schemeClr val="tx1">
                <a:lumMod val="50000"/>
                <a:lumOff val="50000"/>
                <a:alpha val="60000"/>
              </a:schemeClr>
            </a:outerShdw>
          </a:effectLst>
        </p:spPr>
        <p:txBody>
          <a:bodyPr wrap="square" anchor="b">
            <a:spAutoFit/>
          </a:bodyPr>
          <a:lstStyle>
            <a:lvl1pPr>
              <a:defRPr sz="4000">
                <a:solidFill>
                  <a:schemeClr val="bg1"/>
                </a:solidFill>
              </a:defRPr>
            </a:lvl1pPr>
          </a:lstStyle>
          <a:p>
            <a:r>
              <a:rPr lang="en-GB" noProof="0"/>
              <a:t>Click to edit title</a:t>
            </a:r>
          </a:p>
        </p:txBody>
      </p:sp>
      <p:sp>
        <p:nvSpPr>
          <p:cNvPr id="5" name="Tijdelijke aanduiding voor tekst 5"/>
          <p:cNvSpPr>
            <a:spLocks noGrp="1"/>
          </p:cNvSpPr>
          <p:nvPr>
            <p:ph type="body" sz="quarter" idx="11" hasCustomPrompt="1"/>
          </p:nvPr>
        </p:nvSpPr>
        <p:spPr>
          <a:xfrm>
            <a:off x="475814" y="2095645"/>
            <a:ext cx="8213364" cy="369332"/>
          </a:xfrm>
          <a:effectLst>
            <a:outerShdw blurRad="63500" dist="25400" dir="5400000" algn="tl" rotWithShape="0">
              <a:schemeClr val="tx1">
                <a:lumMod val="50000"/>
                <a:lumOff val="50000"/>
                <a:alpha val="60000"/>
              </a:schemeClr>
            </a:outerShdw>
          </a:effectLst>
        </p:spPr>
        <p:txBody>
          <a:bodyPr wrap="square">
            <a:spAutoFit/>
          </a:bodyPr>
          <a:lstStyle>
            <a:lvl1pPr marL="0" indent="0">
              <a:lnSpc>
                <a:spcPct val="100000"/>
              </a:lnSpc>
              <a:spcBef>
                <a:spcPts val="0"/>
              </a:spcBef>
              <a:buNone/>
              <a:defRPr sz="2400" b="1" i="1" baseline="0">
                <a:solidFill>
                  <a:schemeClr val="bg1"/>
                </a:solidFill>
              </a:defRPr>
            </a:lvl1pPr>
          </a:lstStyle>
          <a:p>
            <a:pPr lvl="0"/>
            <a:r>
              <a:rPr lang="en-GB" noProof="0"/>
              <a:t>Click to add subtitle</a:t>
            </a:r>
          </a:p>
        </p:txBody>
      </p:sp>
    </p:spTree>
    <p:extLst>
      <p:ext uri="{BB962C8B-B14F-4D97-AF65-F5344CB8AC3E}">
        <p14:creationId xmlns:p14="http://schemas.microsoft.com/office/powerpoint/2010/main" val="59764963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Full | Narrow Box">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Picture Placeholder 5"/>
          <p:cNvSpPr>
            <a:spLocks noGrp="1"/>
          </p:cNvSpPr>
          <p:nvPr>
            <p:ph type="pic" sz="quarter" idx="12"/>
          </p:nvPr>
        </p:nvSpPr>
        <p:spPr>
          <a:xfrm>
            <a:off x="0" y="0"/>
            <a:ext cx="9144000" cy="5143500"/>
          </a:xfrm>
        </p:spPr>
        <p:txBody>
          <a:bodyPr/>
          <a:lstStyle>
            <a:lvl1pPr marL="0" indent="0" algn="ctr">
              <a:buNone/>
              <a:defRPr sz="1400"/>
            </a:lvl1pPr>
          </a:lstStyle>
          <a:p>
            <a:r>
              <a:rPr lang="en-US"/>
              <a:t>Click icon to add picture</a:t>
            </a:r>
            <a:endParaRPr lang="nl-NL"/>
          </a:p>
        </p:txBody>
      </p:sp>
      <p:sp>
        <p:nvSpPr>
          <p:cNvPr id="14" name="Text Placeholder 13"/>
          <p:cNvSpPr>
            <a:spLocks noGrp="1"/>
          </p:cNvSpPr>
          <p:nvPr>
            <p:ph type="body" sz="quarter" idx="13" hasCustomPrompt="1"/>
          </p:nvPr>
        </p:nvSpPr>
        <p:spPr>
          <a:xfrm>
            <a:off x="6264000" y="1347875"/>
            <a:ext cx="2880000" cy="3240000"/>
          </a:xfrm>
          <a:custGeom>
            <a:avLst/>
            <a:gdLst>
              <a:gd name="connsiteX0" fmla="*/ 225619 w 2880000"/>
              <a:gd name="connsiteY0" fmla="*/ 0 h 3240000"/>
              <a:gd name="connsiteX1" fmla="*/ 2375944 w 2880000"/>
              <a:gd name="connsiteY1" fmla="*/ 0 h 3240000"/>
              <a:gd name="connsiteX2" fmla="*/ 2654381 w 2880000"/>
              <a:gd name="connsiteY2" fmla="*/ 0 h 3240000"/>
              <a:gd name="connsiteX3" fmla="*/ 2880000 w 2880000"/>
              <a:gd name="connsiteY3" fmla="*/ 0 h 3240000"/>
              <a:gd name="connsiteX4" fmla="*/ 2880000 w 2880000"/>
              <a:gd name="connsiteY4" fmla="*/ 225619 h 3240000"/>
              <a:gd name="connsiteX5" fmla="*/ 2880000 w 2880000"/>
              <a:gd name="connsiteY5" fmla="*/ 504056 h 3240000"/>
              <a:gd name="connsiteX6" fmla="*/ 2880000 w 2880000"/>
              <a:gd name="connsiteY6" fmla="*/ 2735944 h 3240000"/>
              <a:gd name="connsiteX7" fmla="*/ 2880000 w 2880000"/>
              <a:gd name="connsiteY7" fmla="*/ 3014381 h 3240000"/>
              <a:gd name="connsiteX8" fmla="*/ 2880000 w 2880000"/>
              <a:gd name="connsiteY8" fmla="*/ 3240000 h 3240000"/>
              <a:gd name="connsiteX9" fmla="*/ 2654381 w 2880000"/>
              <a:gd name="connsiteY9" fmla="*/ 3240000 h 3240000"/>
              <a:gd name="connsiteX10" fmla="*/ 2375944 w 2880000"/>
              <a:gd name="connsiteY10" fmla="*/ 3240000 h 3240000"/>
              <a:gd name="connsiteX11" fmla="*/ 225619 w 2880000"/>
              <a:gd name="connsiteY11" fmla="*/ 3240000 h 3240000"/>
              <a:gd name="connsiteX12" fmla="*/ 0 w 2880000"/>
              <a:gd name="connsiteY12" fmla="*/ 3014381 h 3240000"/>
              <a:gd name="connsiteX13" fmla="*/ 0 w 2880000"/>
              <a:gd name="connsiteY13" fmla="*/ 225619 h 3240000"/>
              <a:gd name="connsiteX14" fmla="*/ 225619 w 2880000"/>
              <a:gd name="connsiteY14" fmla="*/ 0 h 3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80000" h="3240000">
                <a:moveTo>
                  <a:pt x="225619" y="0"/>
                </a:moveTo>
                <a:lnTo>
                  <a:pt x="2375944" y="0"/>
                </a:lnTo>
                <a:lnTo>
                  <a:pt x="2654381" y="0"/>
                </a:lnTo>
                <a:lnTo>
                  <a:pt x="2880000" y="0"/>
                </a:lnTo>
                <a:lnTo>
                  <a:pt x="2880000" y="225619"/>
                </a:lnTo>
                <a:lnTo>
                  <a:pt x="2880000" y="504056"/>
                </a:lnTo>
                <a:lnTo>
                  <a:pt x="2880000" y="2735944"/>
                </a:lnTo>
                <a:lnTo>
                  <a:pt x="2880000" y="3014381"/>
                </a:lnTo>
                <a:lnTo>
                  <a:pt x="2880000" y="3240000"/>
                </a:lnTo>
                <a:lnTo>
                  <a:pt x="2654381" y="3240000"/>
                </a:lnTo>
                <a:lnTo>
                  <a:pt x="2375944" y="3240000"/>
                </a:lnTo>
                <a:lnTo>
                  <a:pt x="225619" y="3240000"/>
                </a:lnTo>
                <a:cubicBezTo>
                  <a:pt x="101013" y="3240000"/>
                  <a:pt x="0" y="3138987"/>
                  <a:pt x="0" y="3014381"/>
                </a:cubicBezTo>
                <a:lnTo>
                  <a:pt x="0" y="225619"/>
                </a:lnTo>
                <a:cubicBezTo>
                  <a:pt x="0" y="101013"/>
                  <a:pt x="101013" y="0"/>
                  <a:pt x="225619" y="0"/>
                </a:cubicBezTo>
                <a:close/>
              </a:path>
            </a:pathLst>
          </a:custGeom>
          <a:solidFill>
            <a:schemeClr val="tx2">
              <a:alpha val="90000"/>
            </a:schemeClr>
          </a:solidFill>
        </p:spPr>
        <p:txBody>
          <a:bodyPr wrap="square" lIns="108000" tIns="36000" rIns="468000" bIns="36000" anchor="ctr">
            <a:noAutofit/>
          </a:bodyPr>
          <a:lstStyle>
            <a:lvl1pPr marL="0" marR="0" indent="0" algn="l" defTabSz="914400" rtl="0" eaLnBrk="1" fontAlgn="auto" latinLnBrk="0" hangingPunct="1">
              <a:lnSpc>
                <a:spcPct val="110000"/>
              </a:lnSpc>
              <a:spcBef>
                <a:spcPts val="400"/>
              </a:spcBef>
              <a:spcAft>
                <a:spcPts val="0"/>
              </a:spcAft>
              <a:buClr>
                <a:schemeClr val="accent2"/>
              </a:buClr>
              <a:buSzPct val="90000"/>
              <a:buFont typeface="Lucida Grande"/>
              <a:buNone/>
              <a:tabLst/>
              <a:defRPr sz="1400" i="1">
                <a:solidFill>
                  <a:schemeClr val="bg1"/>
                </a:solidFill>
                <a:latin typeface="Calibri" panose="020F0502020204030204" pitchFamily="34" charset="0"/>
                <a:cs typeface="Calibri" panose="020F0502020204030204" pitchFamily="34" charset="0"/>
              </a:defRPr>
            </a:lvl1pPr>
            <a:lvl2pPr marL="268288" indent="-266700">
              <a:buClr>
                <a:schemeClr val="bg1"/>
              </a:buClr>
              <a:defRPr sz="1400" i="1">
                <a:solidFill>
                  <a:schemeClr val="bg1"/>
                </a:solidFill>
                <a:latin typeface="Calibri" panose="020F0502020204030204" pitchFamily="34" charset="0"/>
                <a:cs typeface="Calibri" panose="020F0502020204030204" pitchFamily="34" charset="0"/>
              </a:defRPr>
            </a:lvl2pPr>
          </a:lstStyle>
          <a:p>
            <a:pPr marL="0" marR="0" lvl="0" indent="0" algn="l" defTabSz="914400" rtl="0" eaLnBrk="1" fontAlgn="auto" latinLnBrk="0" hangingPunct="1">
              <a:lnSpc>
                <a:spcPct val="110000"/>
              </a:lnSpc>
              <a:spcBef>
                <a:spcPts val="400"/>
              </a:spcBef>
              <a:spcAft>
                <a:spcPts val="0"/>
              </a:spcAft>
              <a:buClr>
                <a:schemeClr val="accent2"/>
              </a:buClr>
              <a:buSzPct val="90000"/>
              <a:buFont typeface="Lucida Grande"/>
              <a:buNone/>
              <a:tabLst/>
              <a:defRPr/>
            </a:pPr>
            <a:r>
              <a:rPr lang="en-US"/>
              <a:t>Click to add text</a:t>
            </a:r>
          </a:p>
          <a:p>
            <a:pPr lvl="1"/>
            <a:r>
              <a:rPr lang="en-US"/>
              <a:t>Second level</a:t>
            </a:r>
          </a:p>
        </p:txBody>
      </p:sp>
    </p:spTree>
    <p:extLst>
      <p:ext uri="{BB962C8B-B14F-4D97-AF65-F5344CB8AC3E}">
        <p14:creationId xmlns:p14="http://schemas.microsoft.com/office/powerpoint/2010/main" val="3078150426"/>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Full | Wide Box">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6" name="Picture Placeholder 5"/>
          <p:cNvSpPr>
            <a:spLocks noGrp="1"/>
          </p:cNvSpPr>
          <p:nvPr>
            <p:ph type="pic" sz="quarter" idx="12"/>
          </p:nvPr>
        </p:nvSpPr>
        <p:spPr>
          <a:xfrm>
            <a:off x="0" y="0"/>
            <a:ext cx="9144000" cy="5143500"/>
          </a:xfrm>
        </p:spPr>
        <p:txBody>
          <a:bodyPr/>
          <a:lstStyle>
            <a:lvl1pPr marL="0" indent="0" algn="ctr">
              <a:buNone/>
              <a:defRPr sz="1400"/>
            </a:lvl1pPr>
          </a:lstStyle>
          <a:p>
            <a:r>
              <a:rPr lang="en-US"/>
              <a:t>Click icon to add picture</a:t>
            </a:r>
            <a:endParaRPr lang="nl-NL"/>
          </a:p>
        </p:txBody>
      </p:sp>
      <p:sp>
        <p:nvSpPr>
          <p:cNvPr id="7" name="Text Placeholder 6"/>
          <p:cNvSpPr>
            <a:spLocks noGrp="1"/>
          </p:cNvSpPr>
          <p:nvPr>
            <p:ph type="body" sz="quarter" idx="13" hasCustomPrompt="1"/>
          </p:nvPr>
        </p:nvSpPr>
        <p:spPr>
          <a:xfrm>
            <a:off x="4572000" y="1347875"/>
            <a:ext cx="4572000" cy="3240000"/>
          </a:xfrm>
          <a:custGeom>
            <a:avLst/>
            <a:gdLst>
              <a:gd name="connsiteX0" fmla="*/ 225619 w 4572000"/>
              <a:gd name="connsiteY0" fmla="*/ 0 h 3240000"/>
              <a:gd name="connsiteX1" fmla="*/ 2375944 w 4572000"/>
              <a:gd name="connsiteY1" fmla="*/ 0 h 3240000"/>
              <a:gd name="connsiteX2" fmla="*/ 2520280 w 4572000"/>
              <a:gd name="connsiteY2" fmla="*/ 0 h 3240000"/>
              <a:gd name="connsiteX3" fmla="*/ 2654381 w 4572000"/>
              <a:gd name="connsiteY3" fmla="*/ 0 h 3240000"/>
              <a:gd name="connsiteX4" fmla="*/ 2880000 w 4572000"/>
              <a:gd name="connsiteY4" fmla="*/ 0 h 3240000"/>
              <a:gd name="connsiteX5" fmla="*/ 4572000 w 4572000"/>
              <a:gd name="connsiteY5" fmla="*/ 0 h 3240000"/>
              <a:gd name="connsiteX6" fmla="*/ 4572000 w 4572000"/>
              <a:gd name="connsiteY6" fmla="*/ 3240000 h 3240000"/>
              <a:gd name="connsiteX7" fmla="*/ 2880000 w 4572000"/>
              <a:gd name="connsiteY7" fmla="*/ 3240000 h 3240000"/>
              <a:gd name="connsiteX8" fmla="*/ 2654381 w 4572000"/>
              <a:gd name="connsiteY8" fmla="*/ 3240000 h 3240000"/>
              <a:gd name="connsiteX9" fmla="*/ 2520280 w 4572000"/>
              <a:gd name="connsiteY9" fmla="*/ 3240000 h 3240000"/>
              <a:gd name="connsiteX10" fmla="*/ 2375944 w 4572000"/>
              <a:gd name="connsiteY10" fmla="*/ 3240000 h 3240000"/>
              <a:gd name="connsiteX11" fmla="*/ 225619 w 4572000"/>
              <a:gd name="connsiteY11" fmla="*/ 3240000 h 3240000"/>
              <a:gd name="connsiteX12" fmla="*/ 0 w 4572000"/>
              <a:gd name="connsiteY12" fmla="*/ 3014381 h 3240000"/>
              <a:gd name="connsiteX13" fmla="*/ 0 w 4572000"/>
              <a:gd name="connsiteY13" fmla="*/ 225619 h 3240000"/>
              <a:gd name="connsiteX14" fmla="*/ 225619 w 4572000"/>
              <a:gd name="connsiteY14" fmla="*/ 0 h 32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72000" h="3240000">
                <a:moveTo>
                  <a:pt x="225619" y="0"/>
                </a:moveTo>
                <a:lnTo>
                  <a:pt x="2375944" y="0"/>
                </a:lnTo>
                <a:lnTo>
                  <a:pt x="2520280" y="0"/>
                </a:lnTo>
                <a:lnTo>
                  <a:pt x="2654381" y="0"/>
                </a:lnTo>
                <a:lnTo>
                  <a:pt x="2880000" y="0"/>
                </a:lnTo>
                <a:lnTo>
                  <a:pt x="4572000" y="0"/>
                </a:lnTo>
                <a:lnTo>
                  <a:pt x="4572000" y="3240000"/>
                </a:lnTo>
                <a:lnTo>
                  <a:pt x="2880000" y="3240000"/>
                </a:lnTo>
                <a:lnTo>
                  <a:pt x="2654381" y="3240000"/>
                </a:lnTo>
                <a:lnTo>
                  <a:pt x="2520280" y="3240000"/>
                </a:lnTo>
                <a:lnTo>
                  <a:pt x="2375944" y="3240000"/>
                </a:lnTo>
                <a:lnTo>
                  <a:pt x="225619" y="3240000"/>
                </a:lnTo>
                <a:cubicBezTo>
                  <a:pt x="101013" y="3240000"/>
                  <a:pt x="0" y="3138987"/>
                  <a:pt x="0" y="3014381"/>
                </a:cubicBezTo>
                <a:lnTo>
                  <a:pt x="0" y="225619"/>
                </a:lnTo>
                <a:cubicBezTo>
                  <a:pt x="0" y="101013"/>
                  <a:pt x="101013" y="0"/>
                  <a:pt x="225619" y="0"/>
                </a:cubicBezTo>
                <a:close/>
              </a:path>
            </a:pathLst>
          </a:custGeom>
          <a:solidFill>
            <a:schemeClr val="tx2">
              <a:alpha val="90000"/>
            </a:schemeClr>
          </a:solidFill>
        </p:spPr>
        <p:txBody>
          <a:bodyPr wrap="square" lIns="108000" tIns="36000" rIns="468000" bIns="36000" anchor="ctr">
            <a:noAutofit/>
          </a:bodyPr>
          <a:lstStyle>
            <a:lvl1pPr marL="0" indent="0">
              <a:buNone/>
              <a:defRPr sz="1400" i="1">
                <a:solidFill>
                  <a:schemeClr val="bg1"/>
                </a:solidFill>
                <a:latin typeface="Calibri" panose="020F0502020204030204" pitchFamily="34" charset="0"/>
                <a:cs typeface="Calibri" panose="020F0502020204030204" pitchFamily="34" charset="0"/>
              </a:defRPr>
            </a:lvl1pPr>
            <a:lvl2pPr marL="268288" indent="-266700">
              <a:buClr>
                <a:schemeClr val="bg1"/>
              </a:buClr>
              <a:defRPr sz="1400" i="1">
                <a:solidFill>
                  <a:schemeClr val="bg1"/>
                </a:solidFill>
                <a:latin typeface="Calibri" panose="020F0502020204030204" pitchFamily="34" charset="0"/>
                <a:cs typeface="Calibri" panose="020F0502020204030204" pitchFamily="34" charset="0"/>
              </a:defRPr>
            </a:lvl2pPr>
          </a:lstStyle>
          <a:p>
            <a:pPr lvl="0"/>
            <a:r>
              <a:rPr lang="en-US"/>
              <a:t>Click to add text</a:t>
            </a:r>
          </a:p>
          <a:p>
            <a:pPr lvl="1"/>
            <a:r>
              <a:rPr lang="en-US"/>
              <a:t>Second level</a:t>
            </a:r>
          </a:p>
        </p:txBody>
      </p:sp>
    </p:spTree>
    <p:extLst>
      <p:ext uri="{BB962C8B-B14F-4D97-AF65-F5344CB8AC3E}">
        <p14:creationId xmlns:p14="http://schemas.microsoft.com/office/powerpoint/2010/main" val="399492167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8" name="Rechthoek 7"/>
          <p:cNvSpPr/>
          <p:nvPr/>
        </p:nvSpPr>
        <p:spPr>
          <a:xfrm>
            <a:off x="7735330" y="115330"/>
            <a:ext cx="1002982" cy="1186248"/>
          </a:xfrm>
          <a:prstGeom prst="rect">
            <a:avLst/>
          </a:prstGeom>
          <a:solidFill>
            <a:schemeClr val="bg1"/>
          </a:solidFill>
          <a:ln w="6350" cap="flat" cmpd="sng" algn="ctr">
            <a:noFill/>
            <a:prstDash val="solid"/>
          </a:ln>
          <a:effectLst/>
        </p:spPr>
        <p:txBody>
          <a:bodyPr rot="0" spcFirstLastPara="0" vertOverflow="overflow" horzOverflow="overflow" vert="horz" wrap="square" lIns="72000" tIns="90000" rIns="72000" bIns="90000" numCol="1" spcCol="0" rtlCol="0" fromWordArt="0" anchor="ctr" anchorCtr="0" forceAA="0" compatLnSpc="1">
            <a:prstTxWarp prst="textNoShape">
              <a:avLst/>
            </a:prstTxWarp>
            <a:noAutofit/>
          </a:bodyPr>
          <a:lstStyle/>
          <a:p>
            <a:pPr marL="0" marR="0" indent="0" algn="ctr" defTabSz="914400" eaLnBrk="1" fontAlgn="auto" latinLnBrk="0" hangingPunct="1">
              <a:lnSpc>
                <a:spcPct val="110000"/>
              </a:lnSpc>
              <a:spcBef>
                <a:spcPts val="0"/>
              </a:spcBef>
              <a:spcAft>
                <a:spcPts val="0"/>
              </a:spcAft>
              <a:buClrTx/>
              <a:buSzTx/>
              <a:buFontTx/>
              <a:buNone/>
              <a:tabLst/>
            </a:pPr>
            <a:endParaRPr kumimoji="0" lang="nl-NL" sz="1800" b="0" i="0" u="none" strike="noStrike" kern="0" cap="none" spc="0" normalizeH="0" baseline="0" noProof="0">
              <a:ln>
                <a:noFill/>
              </a:ln>
              <a:solidFill>
                <a:srgbClr val="000000"/>
              </a:solidFill>
              <a:effectLst/>
              <a:uLnTx/>
              <a:uFillTx/>
              <a:ea typeface="+mn-ea"/>
              <a:cs typeface="Myriad Pro"/>
            </a:endParaRPr>
          </a:p>
        </p:txBody>
      </p:sp>
      <p:sp>
        <p:nvSpPr>
          <p:cNvPr id="23" name="Picture Placeholder 4"/>
          <p:cNvSpPr>
            <a:spLocks noGrp="1"/>
          </p:cNvSpPr>
          <p:nvPr>
            <p:ph type="pic" sz="quarter" idx="13" hasCustomPrompt="1"/>
          </p:nvPr>
        </p:nvSpPr>
        <p:spPr>
          <a:xfrm>
            <a:off x="0" y="0"/>
            <a:ext cx="9144000" cy="3582557"/>
          </a:xfrm>
          <a:solidFill>
            <a:srgbClr val="EAEAEA"/>
          </a:solidFill>
        </p:spPr>
        <p:txBody>
          <a:bodyPr/>
          <a:lstStyle>
            <a:lvl1pPr marL="0" indent="0" algn="ctr">
              <a:buNone/>
              <a:defRPr sz="1200">
                <a:solidFill>
                  <a:schemeClr val="bg1">
                    <a:lumMod val="50000"/>
                  </a:schemeClr>
                </a:solidFill>
                <a:latin typeface="+mj-lt"/>
              </a:defRPr>
            </a:lvl1pPr>
          </a:lstStyle>
          <a:p>
            <a:r>
              <a:rPr lang="en-GB" noProof="0"/>
              <a:t>Click icon to insert photo and send it to background.</a:t>
            </a:r>
            <a:br>
              <a:rPr lang="en-GB" noProof="0"/>
            </a:br>
            <a:r>
              <a:rPr lang="en-GB" noProof="0"/>
              <a:t>The photo will be centred automatically inside this grey box.</a:t>
            </a:r>
          </a:p>
        </p:txBody>
      </p:sp>
      <p:sp>
        <p:nvSpPr>
          <p:cNvPr id="21" name="Titel 14"/>
          <p:cNvSpPr>
            <a:spLocks noGrp="1"/>
          </p:cNvSpPr>
          <p:nvPr>
            <p:ph type="title" hasCustomPrompt="1"/>
          </p:nvPr>
        </p:nvSpPr>
        <p:spPr>
          <a:xfrm>
            <a:off x="1" y="2042914"/>
            <a:ext cx="6096069" cy="1279066"/>
          </a:xfrm>
          <a:custGeom>
            <a:avLst/>
            <a:gdLst>
              <a:gd name="connsiteX0" fmla="*/ 0 w 6151950"/>
              <a:gd name="connsiteY0" fmla="*/ 0 h 1269833"/>
              <a:gd name="connsiteX1" fmla="*/ 5999989 w 6151950"/>
              <a:gd name="connsiteY1" fmla="*/ 0 h 1269833"/>
              <a:gd name="connsiteX2" fmla="*/ 6151950 w 6151950"/>
              <a:gd name="connsiteY2" fmla="*/ 151961 h 1269833"/>
              <a:gd name="connsiteX3" fmla="*/ 6151950 w 6151950"/>
              <a:gd name="connsiteY3" fmla="*/ 1269833 h 1269833"/>
              <a:gd name="connsiteX4" fmla="*/ 0 w 6151950"/>
              <a:gd name="connsiteY4" fmla="*/ 1269833 h 1269833"/>
              <a:gd name="connsiteX5" fmla="*/ 0 w 6151950"/>
              <a:gd name="connsiteY5" fmla="*/ 0 h 1269833"/>
              <a:gd name="connsiteX0" fmla="*/ 0 w 6151950"/>
              <a:gd name="connsiteY0" fmla="*/ 0 h 1278300"/>
              <a:gd name="connsiteX1" fmla="*/ 5999989 w 6151950"/>
              <a:gd name="connsiteY1" fmla="*/ 0 h 1278300"/>
              <a:gd name="connsiteX2" fmla="*/ 6151950 w 6151950"/>
              <a:gd name="connsiteY2" fmla="*/ 151961 h 1278300"/>
              <a:gd name="connsiteX3" fmla="*/ 5999550 w 6151950"/>
              <a:gd name="connsiteY3" fmla="*/ 1278300 h 1278300"/>
              <a:gd name="connsiteX4" fmla="*/ 0 w 6151950"/>
              <a:gd name="connsiteY4" fmla="*/ 1269833 h 1278300"/>
              <a:gd name="connsiteX5" fmla="*/ 0 w 6151950"/>
              <a:gd name="connsiteY5" fmla="*/ 0 h 1278300"/>
              <a:gd name="connsiteX0" fmla="*/ 0 w 6151950"/>
              <a:gd name="connsiteY0" fmla="*/ 0 h 1278300"/>
              <a:gd name="connsiteX1" fmla="*/ 5999989 w 6151950"/>
              <a:gd name="connsiteY1" fmla="*/ 0 h 1278300"/>
              <a:gd name="connsiteX2" fmla="*/ 6151950 w 6151950"/>
              <a:gd name="connsiteY2" fmla="*/ 151961 h 1278300"/>
              <a:gd name="connsiteX3" fmla="*/ 6026149 w 6151950"/>
              <a:gd name="connsiteY3" fmla="*/ 1052450 h 1278300"/>
              <a:gd name="connsiteX4" fmla="*/ 5999550 w 6151950"/>
              <a:gd name="connsiteY4" fmla="*/ 1278300 h 1278300"/>
              <a:gd name="connsiteX5" fmla="*/ 0 w 6151950"/>
              <a:gd name="connsiteY5" fmla="*/ 1269833 h 1278300"/>
              <a:gd name="connsiteX6" fmla="*/ 0 w 6151950"/>
              <a:gd name="connsiteY6" fmla="*/ 0 h 1278300"/>
              <a:gd name="connsiteX0" fmla="*/ 0 w 6153149"/>
              <a:gd name="connsiteY0" fmla="*/ 0 h 1278300"/>
              <a:gd name="connsiteX1" fmla="*/ 5999989 w 6153149"/>
              <a:gd name="connsiteY1" fmla="*/ 0 h 1278300"/>
              <a:gd name="connsiteX2" fmla="*/ 6151950 w 6153149"/>
              <a:gd name="connsiteY2" fmla="*/ 151961 h 1278300"/>
              <a:gd name="connsiteX3" fmla="*/ 6153149 w 6153149"/>
              <a:gd name="connsiteY3" fmla="*/ 1103250 h 1278300"/>
              <a:gd name="connsiteX4" fmla="*/ 5999550 w 6153149"/>
              <a:gd name="connsiteY4" fmla="*/ 1278300 h 1278300"/>
              <a:gd name="connsiteX5" fmla="*/ 0 w 6153149"/>
              <a:gd name="connsiteY5" fmla="*/ 1269833 h 1278300"/>
              <a:gd name="connsiteX6" fmla="*/ 0 w 6153149"/>
              <a:gd name="connsiteY6" fmla="*/ 0 h 1278300"/>
              <a:gd name="connsiteX0" fmla="*/ 0 w 6153149"/>
              <a:gd name="connsiteY0" fmla="*/ 0 h 1278300"/>
              <a:gd name="connsiteX1" fmla="*/ 5999989 w 6153149"/>
              <a:gd name="connsiteY1" fmla="*/ 0 h 1278300"/>
              <a:gd name="connsiteX2" fmla="*/ 6151950 w 6153149"/>
              <a:gd name="connsiteY2" fmla="*/ 151961 h 1278300"/>
              <a:gd name="connsiteX3" fmla="*/ 6153149 w 6153149"/>
              <a:gd name="connsiteY3" fmla="*/ 1103250 h 1278300"/>
              <a:gd name="connsiteX4" fmla="*/ 5999550 w 6153149"/>
              <a:gd name="connsiteY4" fmla="*/ 1278300 h 1278300"/>
              <a:gd name="connsiteX5" fmla="*/ 0 w 6153149"/>
              <a:gd name="connsiteY5" fmla="*/ 1269833 h 1278300"/>
              <a:gd name="connsiteX6" fmla="*/ 0 w 6153149"/>
              <a:gd name="connsiteY6" fmla="*/ 0 h 1278300"/>
              <a:gd name="connsiteX0" fmla="*/ 0 w 6153149"/>
              <a:gd name="connsiteY0" fmla="*/ 0 h 1278300"/>
              <a:gd name="connsiteX1" fmla="*/ 5999989 w 6153149"/>
              <a:gd name="connsiteY1" fmla="*/ 0 h 1278300"/>
              <a:gd name="connsiteX2" fmla="*/ 6151950 w 6153149"/>
              <a:gd name="connsiteY2" fmla="*/ 151961 h 1278300"/>
              <a:gd name="connsiteX3" fmla="*/ 6153149 w 6153149"/>
              <a:gd name="connsiteY3" fmla="*/ 1103250 h 1278300"/>
              <a:gd name="connsiteX4" fmla="*/ 5999550 w 6153149"/>
              <a:gd name="connsiteY4" fmla="*/ 1278300 h 1278300"/>
              <a:gd name="connsiteX5" fmla="*/ 0 w 6153149"/>
              <a:gd name="connsiteY5" fmla="*/ 1269833 h 1278300"/>
              <a:gd name="connsiteX6" fmla="*/ 0 w 6153149"/>
              <a:gd name="connsiteY6" fmla="*/ 0 h 1278300"/>
              <a:gd name="connsiteX0" fmla="*/ 0 w 6153229"/>
              <a:gd name="connsiteY0" fmla="*/ 0 h 1278300"/>
              <a:gd name="connsiteX1" fmla="*/ 5999989 w 6153229"/>
              <a:gd name="connsiteY1" fmla="*/ 0 h 1278300"/>
              <a:gd name="connsiteX2" fmla="*/ 6151950 w 6153229"/>
              <a:gd name="connsiteY2" fmla="*/ 151961 h 1278300"/>
              <a:gd name="connsiteX3" fmla="*/ 6153149 w 6153229"/>
              <a:gd name="connsiteY3" fmla="*/ 1103250 h 1278300"/>
              <a:gd name="connsiteX4" fmla="*/ 5999550 w 6153229"/>
              <a:gd name="connsiteY4" fmla="*/ 1278300 h 1278300"/>
              <a:gd name="connsiteX5" fmla="*/ 0 w 6153229"/>
              <a:gd name="connsiteY5" fmla="*/ 1269833 h 1278300"/>
              <a:gd name="connsiteX6" fmla="*/ 0 w 6153229"/>
              <a:gd name="connsiteY6" fmla="*/ 0 h 1278300"/>
              <a:gd name="connsiteX0" fmla="*/ 0 w 6153219"/>
              <a:gd name="connsiteY0" fmla="*/ 0 h 1278300"/>
              <a:gd name="connsiteX1" fmla="*/ 5999989 w 6153219"/>
              <a:gd name="connsiteY1" fmla="*/ 0 h 1278300"/>
              <a:gd name="connsiteX2" fmla="*/ 6151950 w 6153219"/>
              <a:gd name="connsiteY2" fmla="*/ 151961 h 1278300"/>
              <a:gd name="connsiteX3" fmla="*/ 6153149 w 6153219"/>
              <a:gd name="connsiteY3" fmla="*/ 1103250 h 1278300"/>
              <a:gd name="connsiteX4" fmla="*/ 5999550 w 6153219"/>
              <a:gd name="connsiteY4" fmla="*/ 1278300 h 1278300"/>
              <a:gd name="connsiteX5" fmla="*/ 0 w 6153219"/>
              <a:gd name="connsiteY5" fmla="*/ 1269833 h 1278300"/>
              <a:gd name="connsiteX6" fmla="*/ 0 w 6153219"/>
              <a:gd name="connsiteY6" fmla="*/ 0 h 1278300"/>
              <a:gd name="connsiteX0" fmla="*/ 4233 w 6157452"/>
              <a:gd name="connsiteY0" fmla="*/ 0 h 1282533"/>
              <a:gd name="connsiteX1" fmla="*/ 6004222 w 6157452"/>
              <a:gd name="connsiteY1" fmla="*/ 0 h 1282533"/>
              <a:gd name="connsiteX2" fmla="*/ 6156183 w 6157452"/>
              <a:gd name="connsiteY2" fmla="*/ 151961 h 1282533"/>
              <a:gd name="connsiteX3" fmla="*/ 6157382 w 6157452"/>
              <a:gd name="connsiteY3" fmla="*/ 1103250 h 1282533"/>
              <a:gd name="connsiteX4" fmla="*/ 6003783 w 6157452"/>
              <a:gd name="connsiteY4" fmla="*/ 1278300 h 1282533"/>
              <a:gd name="connsiteX5" fmla="*/ 0 w 6157452"/>
              <a:gd name="connsiteY5" fmla="*/ 1282533 h 1282533"/>
              <a:gd name="connsiteX6" fmla="*/ 4233 w 6157452"/>
              <a:gd name="connsiteY6" fmla="*/ 0 h 1282533"/>
              <a:gd name="connsiteX0" fmla="*/ 0 w 6153219"/>
              <a:gd name="connsiteY0" fmla="*/ 0 h 1291000"/>
              <a:gd name="connsiteX1" fmla="*/ 5999989 w 6153219"/>
              <a:gd name="connsiteY1" fmla="*/ 0 h 1291000"/>
              <a:gd name="connsiteX2" fmla="*/ 6151950 w 6153219"/>
              <a:gd name="connsiteY2" fmla="*/ 151961 h 1291000"/>
              <a:gd name="connsiteX3" fmla="*/ 6153149 w 6153219"/>
              <a:gd name="connsiteY3" fmla="*/ 1103250 h 1291000"/>
              <a:gd name="connsiteX4" fmla="*/ 5999550 w 6153219"/>
              <a:gd name="connsiteY4" fmla="*/ 1278300 h 1291000"/>
              <a:gd name="connsiteX5" fmla="*/ 8467 w 6153219"/>
              <a:gd name="connsiteY5" fmla="*/ 1291000 h 1291000"/>
              <a:gd name="connsiteX6" fmla="*/ 0 w 6153219"/>
              <a:gd name="connsiteY6" fmla="*/ 0 h 1291000"/>
              <a:gd name="connsiteX0" fmla="*/ 0 w 6156424"/>
              <a:gd name="connsiteY0" fmla="*/ 0 h 1291000"/>
              <a:gd name="connsiteX1" fmla="*/ 6003194 w 6156424"/>
              <a:gd name="connsiteY1" fmla="*/ 0 h 1291000"/>
              <a:gd name="connsiteX2" fmla="*/ 6155155 w 6156424"/>
              <a:gd name="connsiteY2" fmla="*/ 151961 h 1291000"/>
              <a:gd name="connsiteX3" fmla="*/ 6156354 w 6156424"/>
              <a:gd name="connsiteY3" fmla="*/ 1103250 h 1291000"/>
              <a:gd name="connsiteX4" fmla="*/ 6002755 w 6156424"/>
              <a:gd name="connsiteY4" fmla="*/ 1278300 h 1291000"/>
              <a:gd name="connsiteX5" fmla="*/ 11672 w 6156424"/>
              <a:gd name="connsiteY5" fmla="*/ 1291000 h 1291000"/>
              <a:gd name="connsiteX6" fmla="*/ 0 w 6156424"/>
              <a:gd name="connsiteY6" fmla="*/ 0 h 1291000"/>
              <a:gd name="connsiteX0" fmla="*/ 0 w 6156424"/>
              <a:gd name="connsiteY0" fmla="*/ 0 h 1291000"/>
              <a:gd name="connsiteX1" fmla="*/ 6003194 w 6156424"/>
              <a:gd name="connsiteY1" fmla="*/ 0 h 1291000"/>
              <a:gd name="connsiteX2" fmla="*/ 6155155 w 6156424"/>
              <a:gd name="connsiteY2" fmla="*/ 151961 h 1291000"/>
              <a:gd name="connsiteX3" fmla="*/ 6156354 w 6156424"/>
              <a:gd name="connsiteY3" fmla="*/ 1103250 h 1291000"/>
              <a:gd name="connsiteX4" fmla="*/ 6002755 w 6156424"/>
              <a:gd name="connsiteY4" fmla="*/ 1278300 h 1291000"/>
              <a:gd name="connsiteX5" fmla="*/ 2058 w 6156424"/>
              <a:gd name="connsiteY5" fmla="*/ 1291000 h 1291000"/>
              <a:gd name="connsiteX6" fmla="*/ 0 w 6156424"/>
              <a:gd name="connsiteY6" fmla="*/ 0 h 12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56424" h="1291000">
                <a:moveTo>
                  <a:pt x="0" y="0"/>
                </a:moveTo>
                <a:lnTo>
                  <a:pt x="6003194" y="0"/>
                </a:lnTo>
                <a:cubicBezTo>
                  <a:pt x="6087120" y="0"/>
                  <a:pt x="6155155" y="68035"/>
                  <a:pt x="6155155" y="151961"/>
                </a:cubicBezTo>
                <a:cubicBezTo>
                  <a:pt x="6155555" y="469057"/>
                  <a:pt x="6152521" y="930600"/>
                  <a:pt x="6156354" y="1103250"/>
                </a:cubicBezTo>
                <a:cubicBezTo>
                  <a:pt x="6160187" y="1275900"/>
                  <a:pt x="6007388" y="1270750"/>
                  <a:pt x="6002755" y="1278300"/>
                </a:cubicBezTo>
                <a:lnTo>
                  <a:pt x="2058" y="1291000"/>
                </a:lnTo>
                <a:cubicBezTo>
                  <a:pt x="-764" y="860667"/>
                  <a:pt x="2822" y="430333"/>
                  <a:pt x="0" y="0"/>
                </a:cubicBezTo>
                <a:close/>
              </a:path>
            </a:pathLst>
          </a:custGeom>
          <a:solidFill>
            <a:schemeClr val="bg1">
              <a:alpha val="87000"/>
            </a:schemeClr>
          </a:solidFill>
          <a:ln w="19050" cmpd="sng">
            <a:noFill/>
          </a:ln>
        </p:spPr>
        <p:txBody>
          <a:bodyPr wrap="square" lIns="468000" tIns="126000" rIns="108000" bIns="144000" anchor="b">
            <a:spAutoFit/>
          </a:bodyPr>
          <a:lstStyle>
            <a:lvl1pPr>
              <a:defRPr sz="3600">
                <a:solidFill>
                  <a:schemeClr val="tx2"/>
                </a:solidFill>
              </a:defRPr>
            </a:lvl1pPr>
          </a:lstStyle>
          <a:p>
            <a:br>
              <a:rPr lang="en-GB" noProof="0"/>
            </a:br>
            <a:r>
              <a:rPr lang="en-GB" noProof="0"/>
              <a:t>Click to add title</a:t>
            </a:r>
          </a:p>
        </p:txBody>
      </p:sp>
      <p:sp>
        <p:nvSpPr>
          <p:cNvPr id="26" name="Tijdelijke aanduiding voor dianummer 4"/>
          <p:cNvSpPr txBox="1">
            <a:spLocks/>
          </p:cNvSpPr>
          <p:nvPr/>
        </p:nvSpPr>
        <p:spPr>
          <a:xfrm>
            <a:off x="7637464" y="4862517"/>
            <a:ext cx="642937" cy="204788"/>
          </a:xfrm>
          <a:prstGeom prst="rect">
            <a:avLst/>
          </a:prstGeom>
        </p:spPr>
        <p:txBody>
          <a:bodyPr vert="horz" lIns="91440" tIns="45720" rIns="0" bIns="45720" rtlCol="0" anchor="ctr"/>
          <a:lstStyle>
            <a:defPPr>
              <a:defRPr lang="nl-NL"/>
            </a:defPPr>
            <a:lvl1pPr marL="0" algn="r" defTabSz="456999" rtl="0" eaLnBrk="1" latinLnBrk="0" hangingPunct="1">
              <a:defRPr sz="1200" kern="1200">
                <a:solidFill>
                  <a:schemeClr val="tx1">
                    <a:lumMod val="50000"/>
                    <a:lumOff val="50000"/>
                  </a:schemeClr>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fld id="{4821C4A5-98F2-7545-875B-39B2F4500447}" type="slidenum">
              <a:rPr lang="nl-NL">
                <a:solidFill>
                  <a:schemeClr val="bg1"/>
                </a:solidFill>
              </a:rPr>
              <a:pPr/>
              <a:t>‹#›</a:t>
            </a:fld>
            <a:endParaRPr lang="nl-NL">
              <a:solidFill>
                <a:schemeClr val="bg1"/>
              </a:solidFill>
            </a:endParaRPr>
          </a:p>
        </p:txBody>
      </p:sp>
      <p:sp>
        <p:nvSpPr>
          <p:cNvPr id="11" name="Tijdelijke aanduiding voor dianummer 4"/>
          <p:cNvSpPr txBox="1">
            <a:spLocks/>
          </p:cNvSpPr>
          <p:nvPr userDrawn="1"/>
        </p:nvSpPr>
        <p:spPr>
          <a:xfrm>
            <a:off x="7637464" y="4862517"/>
            <a:ext cx="642937" cy="204788"/>
          </a:xfrm>
          <a:prstGeom prst="rect">
            <a:avLst/>
          </a:prstGeom>
        </p:spPr>
        <p:txBody>
          <a:bodyPr vert="horz" lIns="91440" tIns="45720" rIns="0" bIns="45720" rtlCol="0" anchor="ctr"/>
          <a:lstStyle>
            <a:defPPr>
              <a:defRPr lang="nl-NL"/>
            </a:defPPr>
            <a:lvl1pPr marL="0" algn="r" defTabSz="456999" rtl="0" eaLnBrk="1" latinLnBrk="0" hangingPunct="1">
              <a:defRPr sz="1200" kern="1200">
                <a:solidFill>
                  <a:schemeClr val="tx1">
                    <a:lumMod val="50000"/>
                    <a:lumOff val="50000"/>
                  </a:schemeClr>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fld id="{4821C4A5-98F2-7545-875B-39B2F4500447}" type="slidenum">
              <a:rPr lang="nl-NL">
                <a:solidFill>
                  <a:schemeClr val="bg1"/>
                </a:solidFill>
              </a:rPr>
              <a:pPr/>
              <a:t>‹#›</a:t>
            </a:fld>
            <a:endParaRPr lang="nl-NL">
              <a:solidFill>
                <a:schemeClr val="bg1"/>
              </a:solidFill>
            </a:endParaRPr>
          </a:p>
        </p:txBody>
      </p:sp>
    </p:spTree>
    <p:extLst>
      <p:ext uri="{BB962C8B-B14F-4D97-AF65-F5344CB8AC3E}">
        <p14:creationId xmlns:p14="http://schemas.microsoft.com/office/powerpoint/2010/main" val="1187672176"/>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64BB83E-2A97-4314-84D5-EEA07558A98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D64BB83E-2A97-4314-84D5-EEA07558A9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ond enkele hoek rechthoek 9">
            <a:extLst>
              <a:ext uri="{FF2B5EF4-FFF2-40B4-BE49-F238E27FC236}">
                <a16:creationId xmlns:a16="http://schemas.microsoft.com/office/drawing/2014/main" id="{2CB691DD-9E66-4A6B-AB14-8FCE3231B312}"/>
              </a:ext>
            </a:extLst>
          </p:cNvPr>
          <p:cNvSpPr/>
          <p:nvPr userDrawn="1"/>
        </p:nvSpPr>
        <p:spPr>
          <a:xfrm flipV="1">
            <a:off x="0" y="1652225"/>
            <a:ext cx="4203510" cy="352789"/>
          </a:xfrm>
          <a:prstGeom prst="round1Rect">
            <a:avLst>
              <a:gd name="adj" fmla="val 35792"/>
            </a:avLst>
          </a:prstGeom>
          <a:solidFill>
            <a:srgbClr val="FD64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bIns="108000" rtlCol="0" anchor="ctr">
            <a:noAutofit/>
          </a:bodyPr>
          <a:lstStyle/>
          <a:p>
            <a:pPr eaLnBrk="1"/>
            <a:endParaRPr lang="en-US" sz="1600" i="1">
              <a:solidFill>
                <a:schemeClr val="bg1"/>
              </a:solidFill>
              <a:latin typeface="Corbel" panose="020B0503020204020204" pitchFamily="34" charset="0"/>
            </a:endParaRPr>
          </a:p>
        </p:txBody>
      </p:sp>
      <p:sp>
        <p:nvSpPr>
          <p:cNvPr id="8" name="Text Placeholder 7">
            <a:extLst>
              <a:ext uri="{FF2B5EF4-FFF2-40B4-BE49-F238E27FC236}">
                <a16:creationId xmlns:a16="http://schemas.microsoft.com/office/drawing/2014/main" id="{63A2C96D-4BCA-4712-8999-4A3E2C54B164}"/>
              </a:ext>
            </a:extLst>
          </p:cNvPr>
          <p:cNvSpPr>
            <a:spLocks noGrp="1"/>
          </p:cNvSpPr>
          <p:nvPr>
            <p:ph type="body" sz="quarter" idx="10"/>
          </p:nvPr>
        </p:nvSpPr>
        <p:spPr>
          <a:xfrm>
            <a:off x="0" y="497282"/>
            <a:ext cx="4203510" cy="1154943"/>
          </a:xfrm>
          <a:prstGeom prst="round1Rect">
            <a:avLst>
              <a:gd name="adj" fmla="val 16667"/>
            </a:avLst>
          </a:prstGeom>
          <a:solidFill>
            <a:srgbClr val="000099">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bIns="72000" rtlCol="0" anchor="ctr">
            <a:noAutofit/>
          </a:bodyPr>
          <a:lstStyle>
            <a:lvl1pPr>
              <a:defRPr lang="en-US" sz="2400" b="1" i="1" dirty="0" smtClean="0">
                <a:solidFill>
                  <a:schemeClr val="bg1"/>
                </a:solidFill>
                <a:latin typeface="Corbel" panose="020B0503020204020204" pitchFamily="34" charset="0"/>
                <a:cs typeface="+mn-cs"/>
              </a:defRPr>
            </a:lvl1pPr>
          </a:lstStyle>
          <a:p>
            <a:pPr lvl="0" defTabSz="456999">
              <a:lnSpc>
                <a:spcPts val="2980"/>
              </a:lnSpc>
            </a:pPr>
            <a:r>
              <a:rPr lang="en-US"/>
              <a:t>Edit Master text styles</a:t>
            </a:r>
          </a:p>
        </p:txBody>
      </p:sp>
      <p:sp>
        <p:nvSpPr>
          <p:cNvPr id="10" name="Text Placeholder 9">
            <a:extLst>
              <a:ext uri="{FF2B5EF4-FFF2-40B4-BE49-F238E27FC236}">
                <a16:creationId xmlns:a16="http://schemas.microsoft.com/office/drawing/2014/main" id="{76D733C3-BA9F-42D3-9950-9FF4158C17A2}"/>
              </a:ext>
            </a:extLst>
          </p:cNvPr>
          <p:cNvSpPr>
            <a:spLocks noGrp="1"/>
          </p:cNvSpPr>
          <p:nvPr>
            <p:ph type="body" sz="quarter" idx="11"/>
          </p:nvPr>
        </p:nvSpPr>
        <p:spPr>
          <a:xfrm>
            <a:off x="303942" y="1670023"/>
            <a:ext cx="2222500" cy="307777"/>
          </a:xfrm>
        </p:spPr>
        <p:txBody>
          <a:bodyPr anchor="ctr"/>
          <a:lstStyle>
            <a:lvl1pPr>
              <a:defRPr lang="en-US" sz="1400" i="1" kern="1200" dirty="0" smtClean="0">
                <a:solidFill>
                  <a:schemeClr val="bg1"/>
                </a:solidFill>
                <a:latin typeface="+mn-lt"/>
                <a:ea typeface="+mn-ea"/>
                <a:cs typeface="+mn-cs"/>
              </a:defRPr>
            </a:lvl1pPr>
            <a:lvl2pPr marL="0" indent="0">
              <a:buNone/>
              <a:defRPr/>
            </a:lvl2pPr>
          </a:lstStyle>
          <a:p>
            <a:pPr lvl="0"/>
            <a:r>
              <a:rPr lang="en-US"/>
              <a:t>Edit Master text styles</a:t>
            </a:r>
          </a:p>
        </p:txBody>
      </p:sp>
    </p:spTree>
    <p:extLst>
      <p:ext uri="{BB962C8B-B14F-4D97-AF65-F5344CB8AC3E}">
        <p14:creationId xmlns:p14="http://schemas.microsoft.com/office/powerpoint/2010/main" val="2683068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3 rg / Subtitel 1 rg ">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37D3A547-37FB-4FD9-B829-CD6BA66DB418}"/>
              </a:ext>
            </a:extLst>
          </p:cNvPr>
          <p:cNvSpPr>
            <a:spLocks noGrp="1"/>
          </p:cNvSpPr>
          <p:nvPr>
            <p:ph type="pic" sz="quarter" idx="10" hasCustomPrompt="1"/>
          </p:nvPr>
        </p:nvSpPr>
        <p:spPr>
          <a:xfrm>
            <a:off x="0" y="0"/>
            <a:ext cx="9144000" cy="5143500"/>
          </a:xfrm>
        </p:spPr>
        <p:txBody>
          <a:bodyPr/>
          <a:lstStyle>
            <a:lvl1pPr marL="0" indent="0" algn="ctr">
              <a:lnSpc>
                <a:spcPct val="100000"/>
              </a:lnSpc>
              <a:spcBef>
                <a:spcPts val="0"/>
              </a:spcBef>
              <a:buNone/>
              <a:defRPr sz="1200">
                <a:solidFill>
                  <a:schemeClr val="bg1">
                    <a:lumMod val="65000"/>
                  </a:schemeClr>
                </a:solidFill>
              </a:defRPr>
            </a:lvl1pPr>
          </a:lstStyle>
          <a:p>
            <a:r>
              <a:rPr lang="nl-NL"/>
              <a:t>Klik op het pictogram om een afbeelding in te voegen</a:t>
            </a:r>
          </a:p>
        </p:txBody>
      </p:sp>
      <p:sp>
        <p:nvSpPr>
          <p:cNvPr id="13" name="Ondertitel">
            <a:extLst>
              <a:ext uri="{FF2B5EF4-FFF2-40B4-BE49-F238E27FC236}">
                <a16:creationId xmlns:a16="http://schemas.microsoft.com/office/drawing/2014/main" id="{BCE73A5C-DAAC-4622-A2FF-F6282F22A8BE}"/>
              </a:ext>
            </a:extLst>
          </p:cNvPr>
          <p:cNvSpPr>
            <a:spLocks noGrp="1"/>
          </p:cNvSpPr>
          <p:nvPr>
            <p:ph type="subTitle" idx="1" hasCustomPrompt="1"/>
          </p:nvPr>
        </p:nvSpPr>
        <p:spPr>
          <a:xfrm>
            <a:off x="2" y="1746265"/>
            <a:ext cx="4212000" cy="540000"/>
          </a:xfrm>
          <a:custGeom>
            <a:avLst/>
            <a:gdLst>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180985 w 4207670"/>
              <a:gd name="connsiteY8" fmla="*/ 173138 h 461138"/>
              <a:gd name="connsiteX9" fmla="*/ 4207670 w 4207670"/>
              <a:gd name="connsiteY9" fmla="*/ 173138 h 461138"/>
              <a:gd name="connsiteX10" fmla="*/ 3977712 w 4207670"/>
              <a:gd name="connsiteY10" fmla="*/ 455287 h 461138"/>
              <a:gd name="connsiteX11" fmla="*/ 3960295 w 4207670"/>
              <a:gd name="connsiteY11" fmla="*/ 457043 h 461138"/>
              <a:gd name="connsiteX12" fmla="*/ 3958936 w 4207670"/>
              <a:gd name="connsiteY12" fmla="*/ 458756 h 461138"/>
              <a:gd name="connsiteX13" fmla="*/ 3958926 w 4207670"/>
              <a:gd name="connsiteY13" fmla="*/ 458757 h 461138"/>
              <a:gd name="connsiteX14" fmla="*/ 3943289 w 4207670"/>
              <a:gd name="connsiteY14" fmla="*/ 458757 h 461138"/>
              <a:gd name="connsiteX15" fmla="*/ 3919670 w 4207670"/>
              <a:gd name="connsiteY15" fmla="*/ 461138 h 461138"/>
              <a:gd name="connsiteX16" fmla="*/ 3919670 w 4207670"/>
              <a:gd name="connsiteY16" fmla="*/ 458757 h 461138"/>
              <a:gd name="connsiteX17" fmla="*/ 0 w 4207670"/>
              <a:gd name="connsiteY17" fmla="*/ 458756 h 461138"/>
              <a:gd name="connsiteX18" fmla="*/ 0 w 4207670"/>
              <a:gd name="connsiteY18" fmla="*/ 229379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207670 w 4207670"/>
              <a:gd name="connsiteY8" fmla="*/ 173138 h 461138"/>
              <a:gd name="connsiteX9" fmla="*/ 3977712 w 4207670"/>
              <a:gd name="connsiteY9" fmla="*/ 455287 h 461138"/>
              <a:gd name="connsiteX10" fmla="*/ 3960295 w 4207670"/>
              <a:gd name="connsiteY10" fmla="*/ 457043 h 461138"/>
              <a:gd name="connsiteX11" fmla="*/ 3958936 w 4207670"/>
              <a:gd name="connsiteY11" fmla="*/ 458756 h 461138"/>
              <a:gd name="connsiteX12" fmla="*/ 3958926 w 4207670"/>
              <a:gd name="connsiteY12" fmla="*/ 458757 h 461138"/>
              <a:gd name="connsiteX13" fmla="*/ 3943289 w 4207670"/>
              <a:gd name="connsiteY13" fmla="*/ 458757 h 461138"/>
              <a:gd name="connsiteX14" fmla="*/ 3919670 w 4207670"/>
              <a:gd name="connsiteY14" fmla="*/ 461138 h 461138"/>
              <a:gd name="connsiteX15" fmla="*/ 3919670 w 4207670"/>
              <a:gd name="connsiteY15" fmla="*/ 458757 h 461138"/>
              <a:gd name="connsiteX16" fmla="*/ 0 w 4207670"/>
              <a:gd name="connsiteY16" fmla="*/ 458756 h 461138"/>
              <a:gd name="connsiteX17" fmla="*/ 0 w 4207670"/>
              <a:gd name="connsiteY17" fmla="*/ 229379 h 461138"/>
              <a:gd name="connsiteX18" fmla="*/ 0 w 4207670"/>
              <a:gd name="connsiteY18"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77712 w 4207670"/>
              <a:gd name="connsiteY8" fmla="*/ 455287 h 461138"/>
              <a:gd name="connsiteX9" fmla="*/ 3960295 w 4207670"/>
              <a:gd name="connsiteY9" fmla="*/ 457043 h 461138"/>
              <a:gd name="connsiteX10" fmla="*/ 3958936 w 4207670"/>
              <a:gd name="connsiteY10" fmla="*/ 458756 h 461138"/>
              <a:gd name="connsiteX11" fmla="*/ 3958926 w 4207670"/>
              <a:gd name="connsiteY11" fmla="*/ 458757 h 461138"/>
              <a:gd name="connsiteX12" fmla="*/ 3943289 w 4207670"/>
              <a:gd name="connsiteY12" fmla="*/ 458757 h 461138"/>
              <a:gd name="connsiteX13" fmla="*/ 3919670 w 4207670"/>
              <a:gd name="connsiteY13" fmla="*/ 461138 h 461138"/>
              <a:gd name="connsiteX14" fmla="*/ 3919670 w 4207670"/>
              <a:gd name="connsiteY14" fmla="*/ 458757 h 461138"/>
              <a:gd name="connsiteX15" fmla="*/ 0 w 4207670"/>
              <a:gd name="connsiteY15" fmla="*/ 458756 h 461138"/>
              <a:gd name="connsiteX16" fmla="*/ 0 w 4207670"/>
              <a:gd name="connsiteY16" fmla="*/ 229379 h 461138"/>
              <a:gd name="connsiteX17" fmla="*/ 0 w 4207670"/>
              <a:gd name="connsiteY17"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58926 w 4207670"/>
              <a:gd name="connsiteY10" fmla="*/ 458757 h 461138"/>
              <a:gd name="connsiteX11" fmla="*/ 3943289 w 4207670"/>
              <a:gd name="connsiteY11" fmla="*/ 458757 h 461138"/>
              <a:gd name="connsiteX12" fmla="*/ 3919670 w 4207670"/>
              <a:gd name="connsiteY12" fmla="*/ 461138 h 461138"/>
              <a:gd name="connsiteX13" fmla="*/ 3919670 w 4207670"/>
              <a:gd name="connsiteY13" fmla="*/ 458757 h 461138"/>
              <a:gd name="connsiteX14" fmla="*/ 0 w 4207670"/>
              <a:gd name="connsiteY14" fmla="*/ 458756 h 461138"/>
              <a:gd name="connsiteX15" fmla="*/ 0 w 4207670"/>
              <a:gd name="connsiteY15" fmla="*/ 229379 h 461138"/>
              <a:gd name="connsiteX16" fmla="*/ 0 w 4207670"/>
              <a:gd name="connsiteY16"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43289 w 4207670"/>
              <a:gd name="connsiteY10" fmla="*/ 458757 h 461138"/>
              <a:gd name="connsiteX11" fmla="*/ 3919670 w 4207670"/>
              <a:gd name="connsiteY11" fmla="*/ 461138 h 461138"/>
              <a:gd name="connsiteX12" fmla="*/ 3919670 w 4207670"/>
              <a:gd name="connsiteY12" fmla="*/ 458757 h 461138"/>
              <a:gd name="connsiteX13" fmla="*/ 0 w 4207670"/>
              <a:gd name="connsiteY13" fmla="*/ 458756 h 461138"/>
              <a:gd name="connsiteX14" fmla="*/ 0 w 4207670"/>
              <a:gd name="connsiteY14" fmla="*/ 229379 h 461138"/>
              <a:gd name="connsiteX15" fmla="*/ 0 w 4207670"/>
              <a:gd name="connsiteY15"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43289 w 4207670"/>
              <a:gd name="connsiteY9" fmla="*/ 458757 h 461138"/>
              <a:gd name="connsiteX10" fmla="*/ 3919670 w 4207670"/>
              <a:gd name="connsiteY10" fmla="*/ 461138 h 461138"/>
              <a:gd name="connsiteX11" fmla="*/ 3919670 w 4207670"/>
              <a:gd name="connsiteY11" fmla="*/ 458757 h 461138"/>
              <a:gd name="connsiteX12" fmla="*/ 0 w 4207670"/>
              <a:gd name="connsiteY12" fmla="*/ 458756 h 461138"/>
              <a:gd name="connsiteX13" fmla="*/ 0 w 4207670"/>
              <a:gd name="connsiteY13" fmla="*/ 229379 h 461138"/>
              <a:gd name="connsiteX14" fmla="*/ 0 w 4207670"/>
              <a:gd name="connsiteY14"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43289 w 4207670"/>
              <a:gd name="connsiteY8" fmla="*/ 458757 h 461138"/>
              <a:gd name="connsiteX9" fmla="*/ 3919670 w 4207670"/>
              <a:gd name="connsiteY9" fmla="*/ 461138 h 461138"/>
              <a:gd name="connsiteX10" fmla="*/ 3919670 w 4207670"/>
              <a:gd name="connsiteY10" fmla="*/ 458757 h 461138"/>
              <a:gd name="connsiteX11" fmla="*/ 0 w 4207670"/>
              <a:gd name="connsiteY11" fmla="*/ 458756 h 461138"/>
              <a:gd name="connsiteX12" fmla="*/ 0 w 4207670"/>
              <a:gd name="connsiteY12" fmla="*/ 229379 h 461138"/>
              <a:gd name="connsiteX13" fmla="*/ 0 w 4207670"/>
              <a:gd name="connsiteY13"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3919670 w 4207670"/>
              <a:gd name="connsiteY9" fmla="*/ 458757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58756"/>
              <a:gd name="connsiteX1" fmla="*/ 245874 w 4207670"/>
              <a:gd name="connsiteY1" fmla="*/ 0 h 458756"/>
              <a:gd name="connsiteX2" fmla="*/ 3919668 w 4207670"/>
              <a:gd name="connsiteY2" fmla="*/ 0 h 458756"/>
              <a:gd name="connsiteX3" fmla="*/ 4004235 w 4207670"/>
              <a:gd name="connsiteY3" fmla="*/ 0 h 458756"/>
              <a:gd name="connsiteX4" fmla="*/ 4204800 w 4207670"/>
              <a:gd name="connsiteY4" fmla="*/ 0 h 458756"/>
              <a:gd name="connsiteX5" fmla="*/ 4207669 w 4207670"/>
              <a:gd name="connsiteY5" fmla="*/ 0 h 458756"/>
              <a:gd name="connsiteX6" fmla="*/ 4207669 w 4207670"/>
              <a:gd name="connsiteY6" fmla="*/ 172615 h 458756"/>
              <a:gd name="connsiteX7" fmla="*/ 4207670 w 4207670"/>
              <a:gd name="connsiteY7" fmla="*/ 173138 h 458756"/>
              <a:gd name="connsiteX8" fmla="*/ 4086357 w 4207670"/>
              <a:gd name="connsiteY8" fmla="*/ 456376 h 458756"/>
              <a:gd name="connsiteX9" fmla="*/ 0 w 4207670"/>
              <a:gd name="connsiteY9" fmla="*/ 458756 h 458756"/>
              <a:gd name="connsiteX10" fmla="*/ 0 w 4207670"/>
              <a:gd name="connsiteY10" fmla="*/ 229379 h 458756"/>
              <a:gd name="connsiteX11" fmla="*/ 0 w 4207670"/>
              <a:gd name="connsiteY11" fmla="*/ 0 h 458756"/>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14354"/>
              <a:gd name="connsiteY0" fmla="*/ 0 h 458757"/>
              <a:gd name="connsiteX1" fmla="*/ 245874 w 4214354"/>
              <a:gd name="connsiteY1" fmla="*/ 0 h 458757"/>
              <a:gd name="connsiteX2" fmla="*/ 3919668 w 4214354"/>
              <a:gd name="connsiteY2" fmla="*/ 0 h 458757"/>
              <a:gd name="connsiteX3" fmla="*/ 4004235 w 4214354"/>
              <a:gd name="connsiteY3" fmla="*/ 0 h 458757"/>
              <a:gd name="connsiteX4" fmla="*/ 4204800 w 4214354"/>
              <a:gd name="connsiteY4" fmla="*/ 0 h 458757"/>
              <a:gd name="connsiteX5" fmla="*/ 4207669 w 4214354"/>
              <a:gd name="connsiteY5" fmla="*/ 0 h 458757"/>
              <a:gd name="connsiteX6" fmla="*/ 4207669 w 4214354"/>
              <a:gd name="connsiteY6" fmla="*/ 172615 h 458757"/>
              <a:gd name="connsiteX7" fmla="*/ 4207670 w 4214354"/>
              <a:gd name="connsiteY7" fmla="*/ 173138 h 458757"/>
              <a:gd name="connsiteX8" fmla="*/ 4086357 w 4214354"/>
              <a:gd name="connsiteY8" fmla="*/ 458757 h 458757"/>
              <a:gd name="connsiteX9" fmla="*/ 0 w 4214354"/>
              <a:gd name="connsiteY9" fmla="*/ 458756 h 458757"/>
              <a:gd name="connsiteX10" fmla="*/ 0 w 4214354"/>
              <a:gd name="connsiteY10" fmla="*/ 229379 h 458757"/>
              <a:gd name="connsiteX11" fmla="*/ 0 w 4214354"/>
              <a:gd name="connsiteY11" fmla="*/ 0 h 458757"/>
              <a:gd name="connsiteX0" fmla="*/ 0 w 4217545"/>
              <a:gd name="connsiteY0" fmla="*/ 0 h 458757"/>
              <a:gd name="connsiteX1" fmla="*/ 245874 w 4217545"/>
              <a:gd name="connsiteY1" fmla="*/ 0 h 458757"/>
              <a:gd name="connsiteX2" fmla="*/ 3919668 w 4217545"/>
              <a:gd name="connsiteY2" fmla="*/ 0 h 458757"/>
              <a:gd name="connsiteX3" fmla="*/ 4004235 w 4217545"/>
              <a:gd name="connsiteY3" fmla="*/ 0 h 458757"/>
              <a:gd name="connsiteX4" fmla="*/ 4204800 w 4217545"/>
              <a:gd name="connsiteY4" fmla="*/ 0 h 458757"/>
              <a:gd name="connsiteX5" fmla="*/ 4207669 w 4217545"/>
              <a:gd name="connsiteY5" fmla="*/ 0 h 458757"/>
              <a:gd name="connsiteX6" fmla="*/ 4207669 w 4217545"/>
              <a:gd name="connsiteY6" fmla="*/ 172615 h 458757"/>
              <a:gd name="connsiteX7" fmla="*/ 4212432 w 4217545"/>
              <a:gd name="connsiteY7" fmla="*/ 292201 h 458757"/>
              <a:gd name="connsiteX8" fmla="*/ 4086357 w 4217545"/>
              <a:gd name="connsiteY8" fmla="*/ 458757 h 458757"/>
              <a:gd name="connsiteX9" fmla="*/ 0 w 4217545"/>
              <a:gd name="connsiteY9" fmla="*/ 458756 h 458757"/>
              <a:gd name="connsiteX10" fmla="*/ 0 w 4217545"/>
              <a:gd name="connsiteY10" fmla="*/ 229379 h 458757"/>
              <a:gd name="connsiteX11" fmla="*/ 0 w 4217545"/>
              <a:gd name="connsiteY11" fmla="*/ 0 h 458757"/>
              <a:gd name="connsiteX0" fmla="*/ 0 w 4216499"/>
              <a:gd name="connsiteY0" fmla="*/ 0 h 458757"/>
              <a:gd name="connsiteX1" fmla="*/ 245874 w 4216499"/>
              <a:gd name="connsiteY1" fmla="*/ 0 h 458757"/>
              <a:gd name="connsiteX2" fmla="*/ 3919668 w 4216499"/>
              <a:gd name="connsiteY2" fmla="*/ 0 h 458757"/>
              <a:gd name="connsiteX3" fmla="*/ 4004235 w 4216499"/>
              <a:gd name="connsiteY3" fmla="*/ 0 h 458757"/>
              <a:gd name="connsiteX4" fmla="*/ 4204800 w 4216499"/>
              <a:gd name="connsiteY4" fmla="*/ 0 h 458757"/>
              <a:gd name="connsiteX5" fmla="*/ 4207669 w 4216499"/>
              <a:gd name="connsiteY5" fmla="*/ 0 h 458757"/>
              <a:gd name="connsiteX6" fmla="*/ 4207669 w 4216499"/>
              <a:gd name="connsiteY6" fmla="*/ 172615 h 458757"/>
              <a:gd name="connsiteX7" fmla="*/ 4212432 w 4216499"/>
              <a:gd name="connsiteY7" fmla="*/ 292201 h 458757"/>
              <a:gd name="connsiteX8" fmla="*/ 4086357 w 4216499"/>
              <a:gd name="connsiteY8" fmla="*/ 458757 h 458757"/>
              <a:gd name="connsiteX9" fmla="*/ 0 w 4216499"/>
              <a:gd name="connsiteY9" fmla="*/ 458756 h 458757"/>
              <a:gd name="connsiteX10" fmla="*/ 0 w 4216499"/>
              <a:gd name="connsiteY10" fmla="*/ 229379 h 458757"/>
              <a:gd name="connsiteX11" fmla="*/ 0 w 4216499"/>
              <a:gd name="connsiteY11" fmla="*/ 0 h 458757"/>
              <a:gd name="connsiteX0" fmla="*/ 0 w 4218593"/>
              <a:gd name="connsiteY0" fmla="*/ 0 h 458757"/>
              <a:gd name="connsiteX1" fmla="*/ 245874 w 4218593"/>
              <a:gd name="connsiteY1" fmla="*/ 0 h 458757"/>
              <a:gd name="connsiteX2" fmla="*/ 3919668 w 4218593"/>
              <a:gd name="connsiteY2" fmla="*/ 0 h 458757"/>
              <a:gd name="connsiteX3" fmla="*/ 4004235 w 4218593"/>
              <a:gd name="connsiteY3" fmla="*/ 0 h 458757"/>
              <a:gd name="connsiteX4" fmla="*/ 4204800 w 4218593"/>
              <a:gd name="connsiteY4" fmla="*/ 0 h 458757"/>
              <a:gd name="connsiteX5" fmla="*/ 4207669 w 4218593"/>
              <a:gd name="connsiteY5" fmla="*/ 0 h 458757"/>
              <a:gd name="connsiteX6" fmla="*/ 4207669 w 4218593"/>
              <a:gd name="connsiteY6" fmla="*/ 172615 h 458757"/>
              <a:gd name="connsiteX7" fmla="*/ 4212432 w 4218593"/>
              <a:gd name="connsiteY7" fmla="*/ 292201 h 458757"/>
              <a:gd name="connsiteX8" fmla="*/ 4086357 w 4218593"/>
              <a:gd name="connsiteY8" fmla="*/ 458757 h 458757"/>
              <a:gd name="connsiteX9" fmla="*/ 0 w 4218593"/>
              <a:gd name="connsiteY9" fmla="*/ 458756 h 458757"/>
              <a:gd name="connsiteX10" fmla="*/ 0 w 4218593"/>
              <a:gd name="connsiteY10" fmla="*/ 229379 h 458757"/>
              <a:gd name="connsiteX11" fmla="*/ 0 w 42185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292201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3903"/>
              <a:gd name="connsiteY0" fmla="*/ 0 h 462682"/>
              <a:gd name="connsiteX1" fmla="*/ 245874 w 4213903"/>
              <a:gd name="connsiteY1" fmla="*/ 0 h 462682"/>
              <a:gd name="connsiteX2" fmla="*/ 3919668 w 4213903"/>
              <a:gd name="connsiteY2" fmla="*/ 0 h 462682"/>
              <a:gd name="connsiteX3" fmla="*/ 4004235 w 4213903"/>
              <a:gd name="connsiteY3" fmla="*/ 0 h 462682"/>
              <a:gd name="connsiteX4" fmla="*/ 4204800 w 4213903"/>
              <a:gd name="connsiteY4" fmla="*/ 0 h 462682"/>
              <a:gd name="connsiteX5" fmla="*/ 4207669 w 4213903"/>
              <a:gd name="connsiteY5" fmla="*/ 0 h 462682"/>
              <a:gd name="connsiteX6" fmla="*/ 4207669 w 4213903"/>
              <a:gd name="connsiteY6" fmla="*/ 172615 h 462682"/>
              <a:gd name="connsiteX7" fmla="*/ 4212432 w 4213903"/>
              <a:gd name="connsiteY7" fmla="*/ 320776 h 462682"/>
              <a:gd name="connsiteX8" fmla="*/ 4086357 w 4213903"/>
              <a:gd name="connsiteY8" fmla="*/ 458757 h 462682"/>
              <a:gd name="connsiteX9" fmla="*/ 0 w 4213903"/>
              <a:gd name="connsiteY9" fmla="*/ 458756 h 462682"/>
              <a:gd name="connsiteX10" fmla="*/ 0 w 4213903"/>
              <a:gd name="connsiteY10" fmla="*/ 229379 h 462682"/>
              <a:gd name="connsiteX11" fmla="*/ 0 w 4213903"/>
              <a:gd name="connsiteY11" fmla="*/ 0 h 462682"/>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320776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4812"/>
              <a:gd name="connsiteY0" fmla="*/ 0 h 458757"/>
              <a:gd name="connsiteX1" fmla="*/ 245874 w 4214812"/>
              <a:gd name="connsiteY1" fmla="*/ 0 h 458757"/>
              <a:gd name="connsiteX2" fmla="*/ 3919668 w 4214812"/>
              <a:gd name="connsiteY2" fmla="*/ 0 h 458757"/>
              <a:gd name="connsiteX3" fmla="*/ 4004235 w 4214812"/>
              <a:gd name="connsiteY3" fmla="*/ 0 h 458757"/>
              <a:gd name="connsiteX4" fmla="*/ 4204800 w 4214812"/>
              <a:gd name="connsiteY4" fmla="*/ 0 h 458757"/>
              <a:gd name="connsiteX5" fmla="*/ 4207669 w 4214812"/>
              <a:gd name="connsiteY5" fmla="*/ 0 h 458757"/>
              <a:gd name="connsiteX6" fmla="*/ 4214812 w 4214812"/>
              <a:gd name="connsiteY6" fmla="*/ 70221 h 458757"/>
              <a:gd name="connsiteX7" fmla="*/ 4212432 w 4214812"/>
              <a:gd name="connsiteY7" fmla="*/ 320776 h 458757"/>
              <a:gd name="connsiteX8" fmla="*/ 4086357 w 4214812"/>
              <a:gd name="connsiteY8" fmla="*/ 458757 h 458757"/>
              <a:gd name="connsiteX9" fmla="*/ 0 w 4214812"/>
              <a:gd name="connsiteY9" fmla="*/ 458756 h 458757"/>
              <a:gd name="connsiteX10" fmla="*/ 0 w 4214812"/>
              <a:gd name="connsiteY10" fmla="*/ 229379 h 458757"/>
              <a:gd name="connsiteX11" fmla="*/ 0 w 4214812"/>
              <a:gd name="connsiteY11" fmla="*/ 0 h 458757"/>
              <a:gd name="connsiteX0" fmla="*/ 0 w 4255293"/>
              <a:gd name="connsiteY0" fmla="*/ 0 h 458757"/>
              <a:gd name="connsiteX1" fmla="*/ 245874 w 4255293"/>
              <a:gd name="connsiteY1" fmla="*/ 0 h 458757"/>
              <a:gd name="connsiteX2" fmla="*/ 3919668 w 4255293"/>
              <a:gd name="connsiteY2" fmla="*/ 0 h 458757"/>
              <a:gd name="connsiteX3" fmla="*/ 4004235 w 4255293"/>
              <a:gd name="connsiteY3" fmla="*/ 0 h 458757"/>
              <a:gd name="connsiteX4" fmla="*/ 4204800 w 4255293"/>
              <a:gd name="connsiteY4" fmla="*/ 0 h 458757"/>
              <a:gd name="connsiteX5" fmla="*/ 4207669 w 4255293"/>
              <a:gd name="connsiteY5" fmla="*/ 0 h 458757"/>
              <a:gd name="connsiteX6" fmla="*/ 4255293 w 4255293"/>
              <a:gd name="connsiteY6" fmla="*/ 117846 h 458757"/>
              <a:gd name="connsiteX7" fmla="*/ 4212432 w 4255293"/>
              <a:gd name="connsiteY7" fmla="*/ 320776 h 458757"/>
              <a:gd name="connsiteX8" fmla="*/ 4086357 w 4255293"/>
              <a:gd name="connsiteY8" fmla="*/ 458757 h 458757"/>
              <a:gd name="connsiteX9" fmla="*/ 0 w 4255293"/>
              <a:gd name="connsiteY9" fmla="*/ 458756 h 458757"/>
              <a:gd name="connsiteX10" fmla="*/ 0 w 4255293"/>
              <a:gd name="connsiteY10" fmla="*/ 229379 h 458757"/>
              <a:gd name="connsiteX11" fmla="*/ 0 w 42552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12432 w 4213903"/>
              <a:gd name="connsiteY6" fmla="*/ 320776 h 458757"/>
              <a:gd name="connsiteX7" fmla="*/ 4086357 w 4213903"/>
              <a:gd name="connsiteY7" fmla="*/ 458757 h 458757"/>
              <a:gd name="connsiteX8" fmla="*/ 0 w 4213903"/>
              <a:gd name="connsiteY8" fmla="*/ 458756 h 458757"/>
              <a:gd name="connsiteX9" fmla="*/ 0 w 4213903"/>
              <a:gd name="connsiteY9" fmla="*/ 229379 h 458757"/>
              <a:gd name="connsiteX10" fmla="*/ 0 w 4213903"/>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7205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1490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4907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38720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2526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08127"/>
              <a:gd name="connsiteY0" fmla="*/ 0 h 459153"/>
              <a:gd name="connsiteX1" fmla="*/ 245874 w 4208127"/>
              <a:gd name="connsiteY1" fmla="*/ 0 h 459153"/>
              <a:gd name="connsiteX2" fmla="*/ 3919668 w 4208127"/>
              <a:gd name="connsiteY2" fmla="*/ 0 h 459153"/>
              <a:gd name="connsiteX3" fmla="*/ 4004235 w 4208127"/>
              <a:gd name="connsiteY3" fmla="*/ 0 h 459153"/>
              <a:gd name="connsiteX4" fmla="*/ 4204800 w 4208127"/>
              <a:gd name="connsiteY4" fmla="*/ 0 h 459153"/>
              <a:gd name="connsiteX5" fmla="*/ 4207669 w 4208127"/>
              <a:gd name="connsiteY5" fmla="*/ 0 h 459153"/>
              <a:gd name="connsiteX6" fmla="*/ 4207670 w 4208127"/>
              <a:gd name="connsiteY6" fmla="*/ 325539 h 459153"/>
              <a:gd name="connsiteX7" fmla="*/ 3912526 w 4208127"/>
              <a:gd name="connsiteY7" fmla="*/ 458757 h 459153"/>
              <a:gd name="connsiteX8" fmla="*/ 0 w 4208127"/>
              <a:gd name="connsiteY8" fmla="*/ 458756 h 459153"/>
              <a:gd name="connsiteX9" fmla="*/ 0 w 4208127"/>
              <a:gd name="connsiteY9" fmla="*/ 229379 h 459153"/>
              <a:gd name="connsiteX10" fmla="*/ 0 w 4208127"/>
              <a:gd name="connsiteY10" fmla="*/ 0 h 459153"/>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204800 w 4212432"/>
              <a:gd name="connsiteY3" fmla="*/ 0 h 459346"/>
              <a:gd name="connsiteX4" fmla="*/ 4207669 w 4212432"/>
              <a:gd name="connsiteY4" fmla="*/ 0 h 459346"/>
              <a:gd name="connsiteX5" fmla="*/ 4212432 w 4212432"/>
              <a:gd name="connsiteY5" fmla="*/ 327921 h 459346"/>
              <a:gd name="connsiteX6" fmla="*/ 3912526 w 4212432"/>
              <a:gd name="connsiteY6" fmla="*/ 458757 h 459346"/>
              <a:gd name="connsiteX7" fmla="*/ 0 w 4212432"/>
              <a:gd name="connsiteY7" fmla="*/ 458756 h 459346"/>
              <a:gd name="connsiteX8" fmla="*/ 0 w 4212432"/>
              <a:gd name="connsiteY8" fmla="*/ 229379 h 459346"/>
              <a:gd name="connsiteX9" fmla="*/ 0 w 4212432"/>
              <a:gd name="connsiteY9" fmla="*/ 0 h 459346"/>
              <a:gd name="connsiteX0" fmla="*/ 0 w 4212432"/>
              <a:gd name="connsiteY0" fmla="*/ 0 h 459346"/>
              <a:gd name="connsiteX1" fmla="*/ 245874 w 4212432"/>
              <a:gd name="connsiteY1" fmla="*/ 0 h 459346"/>
              <a:gd name="connsiteX2" fmla="*/ 4204800 w 4212432"/>
              <a:gd name="connsiteY2" fmla="*/ 0 h 459346"/>
              <a:gd name="connsiteX3" fmla="*/ 4207669 w 4212432"/>
              <a:gd name="connsiteY3" fmla="*/ 0 h 459346"/>
              <a:gd name="connsiteX4" fmla="*/ 4212432 w 4212432"/>
              <a:gd name="connsiteY4" fmla="*/ 327921 h 459346"/>
              <a:gd name="connsiteX5" fmla="*/ 3912526 w 4212432"/>
              <a:gd name="connsiteY5" fmla="*/ 458757 h 459346"/>
              <a:gd name="connsiteX6" fmla="*/ 0 w 4212432"/>
              <a:gd name="connsiteY6" fmla="*/ 458756 h 459346"/>
              <a:gd name="connsiteX7" fmla="*/ 0 w 4212432"/>
              <a:gd name="connsiteY7" fmla="*/ 229379 h 459346"/>
              <a:gd name="connsiteX8" fmla="*/ 0 w 4212432"/>
              <a:gd name="connsiteY8" fmla="*/ 0 h 459346"/>
              <a:gd name="connsiteX0" fmla="*/ 0 w 4212432"/>
              <a:gd name="connsiteY0" fmla="*/ 0 h 459346"/>
              <a:gd name="connsiteX1" fmla="*/ 245874 w 4212432"/>
              <a:gd name="connsiteY1" fmla="*/ 0 h 459346"/>
              <a:gd name="connsiteX2" fmla="*/ 4204800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9346"/>
              <a:gd name="connsiteX1" fmla="*/ 245874 w 4212432"/>
              <a:gd name="connsiteY1" fmla="*/ 0 h 459346"/>
              <a:gd name="connsiteX2" fmla="*/ 4209575 w 4212432"/>
              <a:gd name="connsiteY2" fmla="*/ 2381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28712"/>
              <a:gd name="connsiteY0" fmla="*/ 0 h 459346"/>
              <a:gd name="connsiteX1" fmla="*/ 245874 w 4228712"/>
              <a:gd name="connsiteY1" fmla="*/ 0 h 459346"/>
              <a:gd name="connsiteX2" fmla="*/ 4228676 w 4228712"/>
              <a:gd name="connsiteY2" fmla="*/ 2381 h 459346"/>
              <a:gd name="connsiteX3" fmla="*/ 4212432 w 4228712"/>
              <a:gd name="connsiteY3" fmla="*/ 327921 h 459346"/>
              <a:gd name="connsiteX4" fmla="*/ 3912526 w 4228712"/>
              <a:gd name="connsiteY4" fmla="*/ 458757 h 459346"/>
              <a:gd name="connsiteX5" fmla="*/ 0 w 4228712"/>
              <a:gd name="connsiteY5" fmla="*/ 458756 h 459346"/>
              <a:gd name="connsiteX6" fmla="*/ 0 w 4228712"/>
              <a:gd name="connsiteY6" fmla="*/ 229379 h 459346"/>
              <a:gd name="connsiteX7" fmla="*/ 0 w 4228712"/>
              <a:gd name="connsiteY7" fmla="*/ 0 h 459346"/>
              <a:gd name="connsiteX0" fmla="*/ 0 w 4212432"/>
              <a:gd name="connsiteY0" fmla="*/ 0 h 459346"/>
              <a:gd name="connsiteX1" fmla="*/ 245874 w 4212432"/>
              <a:gd name="connsiteY1" fmla="*/ 0 h 459346"/>
              <a:gd name="connsiteX2" fmla="*/ 4211962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1 h 458757"/>
              <a:gd name="connsiteX4" fmla="*/ 3912526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879"/>
              <a:gd name="connsiteX1" fmla="*/ 245874 w 4212432"/>
              <a:gd name="connsiteY1" fmla="*/ 0 h 458879"/>
              <a:gd name="connsiteX2" fmla="*/ 4211962 w 4212432"/>
              <a:gd name="connsiteY2" fmla="*/ 0 h 458879"/>
              <a:gd name="connsiteX3" fmla="*/ 4212432 w 4212432"/>
              <a:gd name="connsiteY3" fmla="*/ 308871 h 458879"/>
              <a:gd name="connsiteX4" fmla="*/ 3912526 w 4212432"/>
              <a:gd name="connsiteY4" fmla="*/ 458757 h 458879"/>
              <a:gd name="connsiteX5" fmla="*/ 0 w 4212432"/>
              <a:gd name="connsiteY5" fmla="*/ 458756 h 458879"/>
              <a:gd name="connsiteX6" fmla="*/ 0 w 4212432"/>
              <a:gd name="connsiteY6" fmla="*/ 229379 h 458879"/>
              <a:gd name="connsiteX7" fmla="*/ 0 w 4212432"/>
              <a:gd name="connsiteY7" fmla="*/ 0 h 458879"/>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308871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287440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287440 h 458757"/>
              <a:gd name="connsiteX4" fmla="*/ 3969829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65017 h 523774"/>
              <a:gd name="connsiteX1" fmla="*/ 245874 w 4212432"/>
              <a:gd name="connsiteY1" fmla="*/ 65017 h 523774"/>
              <a:gd name="connsiteX2" fmla="*/ 4211962 w 4212432"/>
              <a:gd name="connsiteY2" fmla="*/ 65017 h 523774"/>
              <a:gd name="connsiteX3" fmla="*/ 4212432 w 4212432"/>
              <a:gd name="connsiteY3" fmla="*/ 352457 h 523774"/>
              <a:gd name="connsiteX4" fmla="*/ 3969829 w 4212432"/>
              <a:gd name="connsiteY4" fmla="*/ 523774 h 523774"/>
              <a:gd name="connsiteX5" fmla="*/ 0 w 4212432"/>
              <a:gd name="connsiteY5" fmla="*/ 523773 h 523774"/>
              <a:gd name="connsiteX6" fmla="*/ 0 w 4212432"/>
              <a:gd name="connsiteY6" fmla="*/ 294396 h 523774"/>
              <a:gd name="connsiteX7" fmla="*/ 0 w 4212432"/>
              <a:gd name="connsiteY7" fmla="*/ 65017 h 523774"/>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783"/>
              <a:gd name="connsiteY0" fmla="*/ 65017 h 526518"/>
              <a:gd name="connsiteX1" fmla="*/ 245874 w 4212783"/>
              <a:gd name="connsiteY1" fmla="*/ 65017 h 526518"/>
              <a:gd name="connsiteX2" fmla="*/ 4211962 w 4212783"/>
              <a:gd name="connsiteY2" fmla="*/ 65017 h 526518"/>
              <a:gd name="connsiteX3" fmla="*/ 4212432 w 4212783"/>
              <a:gd name="connsiteY3" fmla="*/ 352457 h 526518"/>
              <a:gd name="connsiteX4" fmla="*/ 3969829 w 4212783"/>
              <a:gd name="connsiteY4" fmla="*/ 523774 h 526518"/>
              <a:gd name="connsiteX5" fmla="*/ 0 w 4212783"/>
              <a:gd name="connsiteY5" fmla="*/ 523773 h 526518"/>
              <a:gd name="connsiteX6" fmla="*/ 0 w 4212783"/>
              <a:gd name="connsiteY6" fmla="*/ 294396 h 526518"/>
              <a:gd name="connsiteX7" fmla="*/ 0 w 4212783"/>
              <a:gd name="connsiteY7" fmla="*/ 65017 h 526518"/>
              <a:gd name="connsiteX0" fmla="*/ 0 w 4212806"/>
              <a:gd name="connsiteY0" fmla="*/ 65017 h 526518"/>
              <a:gd name="connsiteX1" fmla="*/ 245874 w 4212806"/>
              <a:gd name="connsiteY1" fmla="*/ 65017 h 526518"/>
              <a:gd name="connsiteX2" fmla="*/ 4211962 w 4212806"/>
              <a:gd name="connsiteY2" fmla="*/ 65017 h 526518"/>
              <a:gd name="connsiteX3" fmla="*/ 4212432 w 4212806"/>
              <a:gd name="connsiteY3" fmla="*/ 352457 h 526518"/>
              <a:gd name="connsiteX4" fmla="*/ 3976992 w 4212806"/>
              <a:gd name="connsiteY4" fmla="*/ 523774 h 526518"/>
              <a:gd name="connsiteX5" fmla="*/ 0 w 4212806"/>
              <a:gd name="connsiteY5" fmla="*/ 523773 h 526518"/>
              <a:gd name="connsiteX6" fmla="*/ 0 w 4212806"/>
              <a:gd name="connsiteY6" fmla="*/ 294396 h 526518"/>
              <a:gd name="connsiteX7" fmla="*/ 0 w 4212806"/>
              <a:gd name="connsiteY7" fmla="*/ 65017 h 526518"/>
              <a:gd name="connsiteX0" fmla="*/ 0 w 4212707"/>
              <a:gd name="connsiteY0" fmla="*/ 65017 h 526518"/>
              <a:gd name="connsiteX1" fmla="*/ 245874 w 4212707"/>
              <a:gd name="connsiteY1" fmla="*/ 65017 h 526518"/>
              <a:gd name="connsiteX2" fmla="*/ 4211962 w 4212707"/>
              <a:gd name="connsiteY2" fmla="*/ 65017 h 526518"/>
              <a:gd name="connsiteX3" fmla="*/ 4212432 w 4212707"/>
              <a:gd name="connsiteY3" fmla="*/ 352457 h 526518"/>
              <a:gd name="connsiteX4" fmla="*/ 3976992 w 4212707"/>
              <a:gd name="connsiteY4" fmla="*/ 523774 h 526518"/>
              <a:gd name="connsiteX5" fmla="*/ 0 w 4212707"/>
              <a:gd name="connsiteY5" fmla="*/ 523773 h 526518"/>
              <a:gd name="connsiteX6" fmla="*/ 0 w 4212707"/>
              <a:gd name="connsiteY6" fmla="*/ 294396 h 526518"/>
              <a:gd name="connsiteX7" fmla="*/ 0 w 4212707"/>
              <a:gd name="connsiteY7" fmla="*/ 65017 h 526518"/>
              <a:gd name="connsiteX0" fmla="*/ 0 w 4212432"/>
              <a:gd name="connsiteY0" fmla="*/ 65017 h 527310"/>
              <a:gd name="connsiteX1" fmla="*/ 245874 w 4212432"/>
              <a:gd name="connsiteY1" fmla="*/ 65017 h 527310"/>
              <a:gd name="connsiteX2" fmla="*/ 4211962 w 4212432"/>
              <a:gd name="connsiteY2" fmla="*/ 65017 h 527310"/>
              <a:gd name="connsiteX3" fmla="*/ 4212432 w 4212432"/>
              <a:gd name="connsiteY3" fmla="*/ 352457 h 527310"/>
              <a:gd name="connsiteX4" fmla="*/ 3976992 w 4212432"/>
              <a:gd name="connsiteY4" fmla="*/ 523774 h 527310"/>
              <a:gd name="connsiteX5" fmla="*/ 0 w 4212432"/>
              <a:gd name="connsiteY5" fmla="*/ 523773 h 527310"/>
              <a:gd name="connsiteX6" fmla="*/ 0 w 4212432"/>
              <a:gd name="connsiteY6" fmla="*/ 294396 h 527310"/>
              <a:gd name="connsiteX7" fmla="*/ 0 w 4212432"/>
              <a:gd name="connsiteY7" fmla="*/ 65017 h 527310"/>
              <a:gd name="connsiteX0" fmla="*/ 0 w 4212432"/>
              <a:gd name="connsiteY0" fmla="*/ 254931 h 717224"/>
              <a:gd name="connsiteX1" fmla="*/ 245874 w 4212432"/>
              <a:gd name="connsiteY1" fmla="*/ 254931 h 717224"/>
              <a:gd name="connsiteX2" fmla="*/ 4211962 w 4212432"/>
              <a:gd name="connsiteY2" fmla="*/ 254931 h 717224"/>
              <a:gd name="connsiteX3" fmla="*/ 4212432 w 4212432"/>
              <a:gd name="connsiteY3" fmla="*/ 542371 h 717224"/>
              <a:gd name="connsiteX4" fmla="*/ 3976992 w 4212432"/>
              <a:gd name="connsiteY4" fmla="*/ 713688 h 717224"/>
              <a:gd name="connsiteX5" fmla="*/ 0 w 4212432"/>
              <a:gd name="connsiteY5" fmla="*/ 713687 h 717224"/>
              <a:gd name="connsiteX6" fmla="*/ 0 w 4212432"/>
              <a:gd name="connsiteY6" fmla="*/ 484310 h 717224"/>
              <a:gd name="connsiteX7" fmla="*/ 0 w 4212432"/>
              <a:gd name="connsiteY7" fmla="*/ 254931 h 717224"/>
              <a:gd name="connsiteX0" fmla="*/ 0 w 4212432"/>
              <a:gd name="connsiteY0" fmla="*/ 254931 h 714629"/>
              <a:gd name="connsiteX1" fmla="*/ 245874 w 4212432"/>
              <a:gd name="connsiteY1" fmla="*/ 254931 h 714629"/>
              <a:gd name="connsiteX2" fmla="*/ 4211962 w 4212432"/>
              <a:gd name="connsiteY2" fmla="*/ 254931 h 714629"/>
              <a:gd name="connsiteX3" fmla="*/ 4212432 w 4212432"/>
              <a:gd name="connsiteY3" fmla="*/ 542371 h 714629"/>
              <a:gd name="connsiteX4" fmla="*/ 3976992 w 4212432"/>
              <a:gd name="connsiteY4" fmla="*/ 713688 h 714629"/>
              <a:gd name="connsiteX5" fmla="*/ 0 w 4212432"/>
              <a:gd name="connsiteY5" fmla="*/ 713687 h 714629"/>
              <a:gd name="connsiteX6" fmla="*/ 0 w 4212432"/>
              <a:gd name="connsiteY6" fmla="*/ 484310 h 714629"/>
              <a:gd name="connsiteX7" fmla="*/ 0 w 4212432"/>
              <a:gd name="connsiteY7" fmla="*/ 254931 h 714629"/>
              <a:gd name="connsiteX0" fmla="*/ 0 w 4212432"/>
              <a:gd name="connsiteY0" fmla="*/ 242199 h 704985"/>
              <a:gd name="connsiteX1" fmla="*/ 245874 w 4212432"/>
              <a:gd name="connsiteY1" fmla="*/ 242199 h 704985"/>
              <a:gd name="connsiteX2" fmla="*/ 4211962 w 4212432"/>
              <a:gd name="connsiteY2" fmla="*/ 242199 h 704985"/>
              <a:gd name="connsiteX3" fmla="*/ 4212432 w 4212432"/>
              <a:gd name="connsiteY3" fmla="*/ 548689 h 704985"/>
              <a:gd name="connsiteX4" fmla="*/ 3976992 w 4212432"/>
              <a:gd name="connsiteY4" fmla="*/ 700956 h 704985"/>
              <a:gd name="connsiteX5" fmla="*/ 0 w 4212432"/>
              <a:gd name="connsiteY5" fmla="*/ 700955 h 704985"/>
              <a:gd name="connsiteX6" fmla="*/ 0 w 4212432"/>
              <a:gd name="connsiteY6" fmla="*/ 471578 h 704985"/>
              <a:gd name="connsiteX7" fmla="*/ 0 w 4212432"/>
              <a:gd name="connsiteY7" fmla="*/ 242199 h 704985"/>
              <a:gd name="connsiteX0" fmla="*/ 0 w 4212432"/>
              <a:gd name="connsiteY0" fmla="*/ 242199 h 703933"/>
              <a:gd name="connsiteX1" fmla="*/ 245874 w 4212432"/>
              <a:gd name="connsiteY1" fmla="*/ 242199 h 703933"/>
              <a:gd name="connsiteX2" fmla="*/ 4211962 w 4212432"/>
              <a:gd name="connsiteY2" fmla="*/ 242199 h 703933"/>
              <a:gd name="connsiteX3" fmla="*/ 4212432 w 4212432"/>
              <a:gd name="connsiteY3" fmla="*/ 548689 h 703933"/>
              <a:gd name="connsiteX4" fmla="*/ 3976992 w 4212432"/>
              <a:gd name="connsiteY4" fmla="*/ 700956 h 703933"/>
              <a:gd name="connsiteX5" fmla="*/ 0 w 4212432"/>
              <a:gd name="connsiteY5" fmla="*/ 700955 h 703933"/>
              <a:gd name="connsiteX6" fmla="*/ 0 w 4212432"/>
              <a:gd name="connsiteY6" fmla="*/ 471578 h 703933"/>
              <a:gd name="connsiteX7" fmla="*/ 0 w 4212432"/>
              <a:gd name="connsiteY7" fmla="*/ 242199 h 703933"/>
              <a:gd name="connsiteX0" fmla="*/ 0 w 4212432"/>
              <a:gd name="connsiteY0" fmla="*/ 242199 h 701374"/>
              <a:gd name="connsiteX1" fmla="*/ 245874 w 4212432"/>
              <a:gd name="connsiteY1" fmla="*/ 242199 h 701374"/>
              <a:gd name="connsiteX2" fmla="*/ 4211962 w 4212432"/>
              <a:gd name="connsiteY2" fmla="*/ 242199 h 701374"/>
              <a:gd name="connsiteX3" fmla="*/ 4212432 w 4212432"/>
              <a:gd name="connsiteY3" fmla="*/ 548689 h 701374"/>
              <a:gd name="connsiteX4" fmla="*/ 3976992 w 4212432"/>
              <a:gd name="connsiteY4" fmla="*/ 700956 h 701374"/>
              <a:gd name="connsiteX5" fmla="*/ 0 w 4212432"/>
              <a:gd name="connsiteY5" fmla="*/ 700955 h 701374"/>
              <a:gd name="connsiteX6" fmla="*/ 0 w 4212432"/>
              <a:gd name="connsiteY6" fmla="*/ 471578 h 701374"/>
              <a:gd name="connsiteX7" fmla="*/ 0 w 4212432"/>
              <a:gd name="connsiteY7" fmla="*/ 242199 h 701374"/>
              <a:gd name="connsiteX0" fmla="*/ 0 w 4214819"/>
              <a:gd name="connsiteY0" fmla="*/ 231179 h 693429"/>
              <a:gd name="connsiteX1" fmla="*/ 245874 w 4214819"/>
              <a:gd name="connsiteY1" fmla="*/ 231179 h 693429"/>
              <a:gd name="connsiteX2" fmla="*/ 4211962 w 4214819"/>
              <a:gd name="connsiteY2" fmla="*/ 231179 h 693429"/>
              <a:gd name="connsiteX3" fmla="*/ 4214819 w 4214819"/>
              <a:gd name="connsiteY3" fmla="*/ 554338 h 693429"/>
              <a:gd name="connsiteX4" fmla="*/ 3976992 w 4214819"/>
              <a:gd name="connsiteY4" fmla="*/ 689936 h 693429"/>
              <a:gd name="connsiteX5" fmla="*/ 0 w 4214819"/>
              <a:gd name="connsiteY5" fmla="*/ 689935 h 693429"/>
              <a:gd name="connsiteX6" fmla="*/ 0 w 4214819"/>
              <a:gd name="connsiteY6" fmla="*/ 460558 h 693429"/>
              <a:gd name="connsiteX7" fmla="*/ 0 w 4214819"/>
              <a:gd name="connsiteY7" fmla="*/ 231179 h 693429"/>
              <a:gd name="connsiteX0" fmla="*/ 0 w 4214819"/>
              <a:gd name="connsiteY0" fmla="*/ 231179 h 690020"/>
              <a:gd name="connsiteX1" fmla="*/ 245874 w 4214819"/>
              <a:gd name="connsiteY1" fmla="*/ 231179 h 690020"/>
              <a:gd name="connsiteX2" fmla="*/ 4211962 w 4214819"/>
              <a:gd name="connsiteY2" fmla="*/ 231179 h 690020"/>
              <a:gd name="connsiteX3" fmla="*/ 4214819 w 4214819"/>
              <a:gd name="connsiteY3" fmla="*/ 554338 h 690020"/>
              <a:gd name="connsiteX4" fmla="*/ 3976992 w 4214819"/>
              <a:gd name="connsiteY4" fmla="*/ 689936 h 690020"/>
              <a:gd name="connsiteX5" fmla="*/ 0 w 4214819"/>
              <a:gd name="connsiteY5" fmla="*/ 689935 h 690020"/>
              <a:gd name="connsiteX6" fmla="*/ 0 w 4214819"/>
              <a:gd name="connsiteY6" fmla="*/ 460558 h 690020"/>
              <a:gd name="connsiteX7" fmla="*/ 0 w 4214819"/>
              <a:gd name="connsiteY7" fmla="*/ 231179 h 690020"/>
              <a:gd name="connsiteX0" fmla="*/ 0 w 4215172"/>
              <a:gd name="connsiteY0" fmla="*/ 78388 h 537229"/>
              <a:gd name="connsiteX1" fmla="*/ 245874 w 4215172"/>
              <a:gd name="connsiteY1" fmla="*/ 78388 h 537229"/>
              <a:gd name="connsiteX2" fmla="*/ 4211962 w 4215172"/>
              <a:gd name="connsiteY2" fmla="*/ 78388 h 537229"/>
              <a:gd name="connsiteX3" fmla="*/ 4214819 w 4215172"/>
              <a:gd name="connsiteY3" fmla="*/ 401547 h 537229"/>
              <a:gd name="connsiteX4" fmla="*/ 3976992 w 4215172"/>
              <a:gd name="connsiteY4" fmla="*/ 537145 h 537229"/>
              <a:gd name="connsiteX5" fmla="*/ 0 w 4215172"/>
              <a:gd name="connsiteY5" fmla="*/ 537144 h 537229"/>
              <a:gd name="connsiteX6" fmla="*/ 0 w 4215172"/>
              <a:gd name="connsiteY6" fmla="*/ 307767 h 537229"/>
              <a:gd name="connsiteX7" fmla="*/ 0 w 4215172"/>
              <a:gd name="connsiteY7" fmla="*/ 78388 h 537229"/>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67441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2432" h="458757">
                <a:moveTo>
                  <a:pt x="0" y="0"/>
                </a:moveTo>
                <a:lnTo>
                  <a:pt x="245874" y="0"/>
                </a:lnTo>
                <a:lnTo>
                  <a:pt x="4211962" y="0"/>
                </a:lnTo>
                <a:cubicBezTo>
                  <a:pt x="4212914" y="108513"/>
                  <a:pt x="4209095" y="335"/>
                  <a:pt x="4212432" y="308872"/>
                </a:cubicBezTo>
                <a:cubicBezTo>
                  <a:pt x="4212481" y="465992"/>
                  <a:pt x="4074394" y="456418"/>
                  <a:pt x="3967441" y="458757"/>
                </a:cubicBezTo>
                <a:lnTo>
                  <a:pt x="0" y="458756"/>
                </a:lnTo>
                <a:lnTo>
                  <a:pt x="0" y="229379"/>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pPr lvl="0"/>
            <a:r>
              <a:rPr lang="en-US" err="1"/>
              <a:t>Klik</a:t>
            </a:r>
            <a:r>
              <a:rPr lang="en-US"/>
              <a:t> om </a:t>
            </a:r>
            <a:r>
              <a:rPr lang="en-US" err="1"/>
              <a:t>een</a:t>
            </a:r>
            <a:r>
              <a:rPr lang="en-US"/>
              <a:t> </a:t>
            </a:r>
            <a:r>
              <a:rPr lang="en-US" err="1"/>
              <a:t>ondertitel</a:t>
            </a:r>
            <a:r>
              <a:rPr lang="en-US"/>
              <a:t> toe </a:t>
            </a:r>
            <a:r>
              <a:rPr lang="en-US" err="1"/>
              <a:t>te</a:t>
            </a:r>
            <a:r>
              <a:rPr lang="en-US"/>
              <a:t> </a:t>
            </a:r>
            <a:r>
              <a:rPr lang="en-US" err="1"/>
              <a:t>voegen</a:t>
            </a:r>
            <a:endParaRPr lang="en-US"/>
          </a:p>
        </p:txBody>
      </p:sp>
      <p:sp>
        <p:nvSpPr>
          <p:cNvPr id="2" name="Titel 14">
            <a:extLst>
              <a:ext uri="{FF2B5EF4-FFF2-40B4-BE49-F238E27FC236}">
                <a16:creationId xmlns:a16="http://schemas.microsoft.com/office/drawing/2014/main" id="{1A50174B-BA68-4A43-BB0C-31A8EBA7809B}"/>
              </a:ext>
            </a:extLst>
          </p:cNvPr>
          <p:cNvSpPr>
            <a:spLocks noGrp="1"/>
          </p:cNvSpPr>
          <p:nvPr>
            <p:ph type="title" hasCustomPrompt="1"/>
          </p:nvPr>
        </p:nvSpPr>
        <p:spPr>
          <a:xfrm>
            <a:off x="2" y="270000"/>
            <a:ext cx="4212000" cy="1476000"/>
          </a:xfrm>
          <a:prstGeom prst="round1Rect">
            <a:avLst>
              <a:gd name="adj" fmla="val 10046"/>
            </a:avLst>
          </a:prstGeom>
          <a:solidFill>
            <a:schemeClr val="accent1">
              <a:alpha val="90000"/>
            </a:schemeClr>
          </a:solidFill>
          <a:ln w="19050" cmpd="sng">
            <a:noFill/>
          </a:ln>
        </p:spPr>
        <p:txBody>
          <a:bodyPr wrap="square" lIns="468000" tIns="36000" rIns="36000" bIns="36000" anchor="t"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nl-NL" noProof="0"/>
              <a:t>Klikken om een titel te maken (3 regels)</a:t>
            </a:r>
          </a:p>
        </p:txBody>
      </p:sp>
      <p:sp>
        <p:nvSpPr>
          <p:cNvPr id="9"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8" name="Tijdelijke aanduiding voor tekst 20">
            <a:extLst>
              <a:ext uri="{FF2B5EF4-FFF2-40B4-BE49-F238E27FC236}">
                <a16:creationId xmlns:a16="http://schemas.microsoft.com/office/drawing/2014/main" id="{29C2B700-8385-4CFE-AFD3-E894073942C9}"/>
              </a:ext>
            </a:extLst>
          </p:cNvPr>
          <p:cNvSpPr>
            <a:spLocks noGrp="1" noChangeAspect="1"/>
          </p:cNvSpPr>
          <p:nvPr>
            <p:ph type="body" sz="quarter" idx="11"/>
          </p:nvPr>
        </p:nvSpPr>
        <p:spPr>
          <a:xfrm>
            <a:off x="7583014" y="3826963"/>
            <a:ext cx="108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l">
              <a:buNone/>
              <a:defRPr sz="2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endParaRPr lang="nl-NL"/>
          </a:p>
        </p:txBody>
      </p:sp>
      <p:sp>
        <p:nvSpPr>
          <p:cNvPr id="11"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9225755" y="3826963"/>
            <a:ext cx="2160000" cy="1080000"/>
          </a:xfrm>
          <a:prstGeom prst="round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291432801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4"/>
          </a:solidFill>
          <a:ln w="12700" cap="rnd" cmpd="sng" algn="ctr">
            <a:solidFill>
              <a:srgbClr val="EAEAEA"/>
            </a:solidFill>
            <a:prstDash val="soli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solidFill>
                <a:srgbClr val="5E6A71"/>
              </a:solidFill>
              <a:latin typeface="Corbel" panose="020B0503020204020204" pitchFamily="34" charset="0"/>
              <a:ea typeface="+mj-ea"/>
              <a:sym typeface="Corbel" panose="020B0503020204020204" pitchFamily="34" charset="0"/>
            </a:endParaRPr>
          </a:p>
        </p:txBody>
      </p:sp>
      <p:sp>
        <p:nvSpPr>
          <p:cNvPr id="2" name="Titel 1"/>
          <p:cNvSpPr>
            <a:spLocks noGrp="1"/>
          </p:cNvSpPr>
          <p:nvPr>
            <p:ph type="title" hasCustomPrompt="1"/>
          </p:nvPr>
        </p:nvSpPr>
        <p:spPr/>
        <p:txBody>
          <a:bodyPr/>
          <a:lstStyle/>
          <a:p>
            <a:r>
              <a:rPr lang="en-US" err="1"/>
              <a:t>Klik</a:t>
            </a:r>
            <a:r>
              <a:rPr lang="en-US"/>
              <a:t> om </a:t>
            </a:r>
            <a:r>
              <a:rPr lang="en-US" err="1"/>
              <a:t>een</a:t>
            </a:r>
            <a:r>
              <a:rPr lang="en-US"/>
              <a:t> </a:t>
            </a:r>
            <a:r>
              <a:rPr lang="en-US" err="1"/>
              <a:t>titel</a:t>
            </a:r>
            <a:r>
              <a:rPr lang="en-US"/>
              <a:t> </a:t>
            </a:r>
            <a:r>
              <a:rPr lang="en-US" err="1"/>
              <a:t>te</a:t>
            </a:r>
            <a:r>
              <a:rPr lang="en-US"/>
              <a:t> </a:t>
            </a:r>
            <a:r>
              <a:rPr lang="en-US" err="1"/>
              <a:t>maken</a:t>
            </a:r>
            <a:endParaRPr lang="en-US"/>
          </a:p>
        </p:txBody>
      </p:sp>
      <p:sp>
        <p:nvSpPr>
          <p:cNvPr id="7" name="Content Placeholder 6"/>
          <p:cNvSpPr>
            <a:spLocks noGrp="1"/>
          </p:cNvSpPr>
          <p:nvPr>
            <p:ph sz="quarter" idx="13" hasCustomPrompt="1"/>
          </p:nvPr>
        </p:nvSpPr>
        <p:spPr>
          <a:xfrm>
            <a:off x="476250" y="1677600"/>
            <a:ext cx="7804800" cy="3078000"/>
          </a:xfrm>
        </p:spPr>
        <p:txBody>
          <a:bodyPr/>
          <a:lstStyle/>
          <a:p>
            <a:pPr lvl="0"/>
            <a:r>
              <a:rPr lang="en-US" err="1"/>
              <a:t>Klik</a:t>
            </a:r>
            <a:r>
              <a:rPr lang="en-US"/>
              <a:t> om de </a:t>
            </a:r>
            <a:r>
              <a:rPr lang="en-US" err="1"/>
              <a:t>tekststijl</a:t>
            </a:r>
            <a:r>
              <a:rPr lang="en-US"/>
              <a:t> van het model </a:t>
            </a:r>
            <a:r>
              <a:rPr lang="en-US" err="1"/>
              <a:t>te</a:t>
            </a:r>
            <a:r>
              <a:rPr lang="en-US"/>
              <a:t> </a:t>
            </a:r>
            <a:r>
              <a:rPr lang="en-US" err="1"/>
              <a:t>bewerken</a:t>
            </a:r>
            <a:endParaRPr lang="en-US"/>
          </a:p>
          <a:p>
            <a:pPr lvl="1"/>
            <a:r>
              <a:rPr lang="en-US" err="1"/>
              <a:t>Tweede</a:t>
            </a:r>
            <a:r>
              <a:rPr lang="en-US"/>
              <a:t> </a:t>
            </a:r>
            <a:r>
              <a:rPr lang="en-US" err="1"/>
              <a:t>niveau</a:t>
            </a:r>
            <a:endParaRPr lang="en-US"/>
          </a:p>
          <a:p>
            <a:pPr lvl="2"/>
            <a:r>
              <a:rPr lang="en-US" err="1"/>
              <a:t>Derde</a:t>
            </a:r>
            <a:r>
              <a:rPr lang="en-US"/>
              <a:t> </a:t>
            </a:r>
            <a:r>
              <a:rPr lang="en-US" err="1"/>
              <a:t>niveau</a:t>
            </a:r>
            <a:endParaRPr lang="en-US"/>
          </a:p>
          <a:p>
            <a:pPr lvl="3"/>
            <a:r>
              <a:rPr lang="en-US" err="1"/>
              <a:t>Vierde</a:t>
            </a:r>
            <a:r>
              <a:rPr lang="en-US"/>
              <a:t> </a:t>
            </a:r>
            <a:r>
              <a:rPr lang="en-US" err="1"/>
              <a:t>niveau</a:t>
            </a:r>
            <a:endParaRPr lang="en-US"/>
          </a:p>
        </p:txBody>
      </p:sp>
    </p:spTree>
    <p:extLst>
      <p:ext uri="{BB962C8B-B14F-4D97-AF65-F5344CB8AC3E}">
        <p14:creationId xmlns:p14="http://schemas.microsoft.com/office/powerpoint/2010/main" val="29937115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4"/>
          </a:solidFill>
          <a:ln w="12700" cap="rnd" cmpd="sng" algn="ctr">
            <a:solidFill>
              <a:srgbClr val="EAEAEA"/>
            </a:solidFill>
            <a:prstDash val="solid"/>
          </a:ln>
          <a:effectLst/>
        </p:spPr>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solidFill>
                <a:srgbClr val="5E6A71"/>
              </a:solidFill>
              <a:latin typeface="Corbel" panose="020B0503020204020204" pitchFamily="34" charset="0"/>
              <a:ea typeface="+mj-ea"/>
              <a:sym typeface="Corbel" panose="020B0503020204020204" pitchFamily="34" charset="0"/>
            </a:endParaRPr>
          </a:p>
        </p:txBody>
      </p:sp>
      <p:sp>
        <p:nvSpPr>
          <p:cNvPr id="2" name="Titel 1"/>
          <p:cNvSpPr>
            <a:spLocks noGrp="1"/>
          </p:cNvSpPr>
          <p:nvPr>
            <p:ph type="title" hasCustomPrompt="1"/>
          </p:nvPr>
        </p:nvSpPr>
        <p:spPr/>
        <p:txBody>
          <a:bodyPr/>
          <a:lstStyle/>
          <a:p>
            <a:r>
              <a:rPr lang="en-US" err="1"/>
              <a:t>Klik</a:t>
            </a:r>
            <a:r>
              <a:rPr lang="en-US"/>
              <a:t> om </a:t>
            </a:r>
            <a:r>
              <a:rPr lang="en-US" err="1"/>
              <a:t>een</a:t>
            </a:r>
            <a:r>
              <a:rPr lang="en-US"/>
              <a:t> </a:t>
            </a:r>
            <a:r>
              <a:rPr lang="en-US" err="1"/>
              <a:t>titel</a:t>
            </a:r>
            <a:r>
              <a:rPr lang="en-US"/>
              <a:t> </a:t>
            </a:r>
            <a:r>
              <a:rPr lang="en-US" err="1"/>
              <a:t>te</a:t>
            </a:r>
            <a:r>
              <a:rPr lang="en-US"/>
              <a:t> </a:t>
            </a:r>
            <a:r>
              <a:rPr lang="en-US" err="1"/>
              <a:t>maken</a:t>
            </a:r>
            <a:endParaRPr lang="en-US"/>
          </a:p>
        </p:txBody>
      </p:sp>
    </p:spTree>
    <p:extLst>
      <p:ext uri="{BB962C8B-B14F-4D97-AF65-F5344CB8AC3E}">
        <p14:creationId xmlns:p14="http://schemas.microsoft.com/office/powerpoint/2010/main" val="35771859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Last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93CDCA7-71AC-4505-8504-5A28E9A5553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B93CDCA7-71AC-4505-8504-5A28E9A55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rotWithShape="1">
          <a:blip r:embed="rId6">
            <a:extLst>
              <a:ext uri="{28A0092B-C50C-407E-A947-70E740481C1C}">
                <a14:useLocalDpi xmlns:a14="http://schemas.microsoft.com/office/drawing/2010/main"/>
              </a:ext>
            </a:extLst>
          </a:blip>
          <a:srcRect t="24950"/>
          <a:stretch/>
        </p:blipFill>
        <p:spPr>
          <a:xfrm>
            <a:off x="3176" y="0"/>
            <a:ext cx="9144000" cy="5143500"/>
          </a:xfrm>
          <a:prstGeom prst="rect">
            <a:avLst/>
          </a:prstGeom>
        </p:spPr>
      </p:pic>
      <p:pic>
        <p:nvPicPr>
          <p:cNvPr id="5" name="Afbeelding 2">
            <a:extLst>
              <a:ext uri="{FF2B5EF4-FFF2-40B4-BE49-F238E27FC236}">
                <a16:creationId xmlns:a16="http://schemas.microsoft.com/office/drawing/2014/main" id="{9D4E4E4F-EADD-47C0-B2CF-649FDE1E1429}"/>
              </a:ext>
            </a:extLst>
          </p:cNvPr>
          <p:cNvPicPr>
            <a:picLocks noChangeAspect="1"/>
          </p:cNvPicPr>
          <p:nvPr userDrawn="1"/>
        </p:nvPicPr>
        <p:blipFill>
          <a:blip r:embed="rId7" cstate="screen">
            <a:alphaModFix/>
            <a:extLst>
              <a:ext uri="{28A0092B-C50C-407E-A947-70E740481C1C}">
                <a14:useLocalDpi xmlns:a14="http://schemas.microsoft.com/office/drawing/2010/main"/>
              </a:ext>
            </a:extLst>
          </a:blip>
          <a:stretch>
            <a:fillRect/>
          </a:stretch>
        </p:blipFill>
        <p:spPr>
          <a:xfrm>
            <a:off x="6687518" y="3788367"/>
            <a:ext cx="2187199" cy="1093600"/>
          </a:xfrm>
          <a:prstGeom prst="rect">
            <a:avLst/>
          </a:prstGeom>
        </p:spPr>
      </p:pic>
      <p:sp>
        <p:nvSpPr>
          <p:cNvPr id="6" name="Rond enkele hoek rechthoek 3">
            <a:extLst>
              <a:ext uri="{FF2B5EF4-FFF2-40B4-BE49-F238E27FC236}">
                <a16:creationId xmlns:a16="http://schemas.microsoft.com/office/drawing/2014/main" id="{01914F0A-A6AB-487D-9B39-E75F73C76F79}"/>
              </a:ext>
            </a:extLst>
          </p:cNvPr>
          <p:cNvSpPr/>
          <p:nvPr userDrawn="1"/>
        </p:nvSpPr>
        <p:spPr>
          <a:xfrm>
            <a:off x="0" y="304923"/>
            <a:ext cx="4203510" cy="953251"/>
          </a:xfrm>
          <a:prstGeom prst="round1Rect">
            <a:avLst>
              <a:gd name="adj" fmla="val 18069"/>
            </a:avLst>
          </a:prstGeom>
          <a:solidFill>
            <a:srgbClr val="000099">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bIns="72000" rtlCol="0" anchor="ctr">
            <a:spAutoFit/>
          </a:bodyPr>
          <a:lstStyle/>
          <a:p>
            <a:pPr>
              <a:lnSpc>
                <a:spcPts val="2980"/>
              </a:lnSpc>
            </a:pPr>
            <a:r>
              <a:rPr lang="en-US" sz="2900" b="1" i="1">
                <a:solidFill>
                  <a:schemeClr val="bg1"/>
                </a:solidFill>
                <a:latin typeface="Corbel" panose="020B0503020204020204" pitchFamily="34" charset="0"/>
              </a:rPr>
              <a:t> </a:t>
            </a:r>
          </a:p>
          <a:p>
            <a:pPr>
              <a:lnSpc>
                <a:spcPts val="2980"/>
              </a:lnSpc>
            </a:pPr>
            <a:r>
              <a:rPr lang="en-US" sz="2900" b="1" i="1">
                <a:solidFill>
                  <a:schemeClr val="bg1"/>
                </a:solidFill>
                <a:latin typeface="Corbel" panose="020B0503020204020204" pitchFamily="34" charset="0"/>
              </a:rPr>
              <a:t> </a:t>
            </a:r>
          </a:p>
        </p:txBody>
      </p:sp>
      <p:sp>
        <p:nvSpPr>
          <p:cNvPr id="7" name="Vrije vorm 4">
            <a:extLst>
              <a:ext uri="{FF2B5EF4-FFF2-40B4-BE49-F238E27FC236}">
                <a16:creationId xmlns:a16="http://schemas.microsoft.com/office/drawing/2014/main" id="{ABB60F85-AF76-4D7D-98CB-59032949B092}"/>
              </a:ext>
            </a:extLst>
          </p:cNvPr>
          <p:cNvSpPr/>
          <p:nvPr userDrawn="1"/>
        </p:nvSpPr>
        <p:spPr>
          <a:xfrm>
            <a:off x="0" y="1258174"/>
            <a:ext cx="4203510" cy="495108"/>
          </a:xfrm>
          <a:custGeom>
            <a:avLst/>
            <a:gdLst>
              <a:gd name="connsiteX0" fmla="*/ 0 w 3218133"/>
              <a:gd name="connsiteY0" fmla="*/ 0 h 496931"/>
              <a:gd name="connsiteX1" fmla="*/ 3218133 w 3218133"/>
              <a:gd name="connsiteY1" fmla="*/ 0 h 496931"/>
              <a:gd name="connsiteX2" fmla="*/ 3218133 w 3218133"/>
              <a:gd name="connsiteY2" fmla="*/ 270404 h 496931"/>
              <a:gd name="connsiteX3" fmla="*/ 2991606 w 3218133"/>
              <a:gd name="connsiteY3" fmla="*/ 496931 h 496931"/>
              <a:gd name="connsiteX4" fmla="*/ 0 w 3218133"/>
              <a:gd name="connsiteY4" fmla="*/ 496931 h 4969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8133" h="496931">
                <a:moveTo>
                  <a:pt x="0" y="0"/>
                </a:moveTo>
                <a:lnTo>
                  <a:pt x="3218133" y="0"/>
                </a:lnTo>
                <a:lnTo>
                  <a:pt x="3218133" y="270404"/>
                </a:lnTo>
                <a:cubicBezTo>
                  <a:pt x="3218133" y="395511"/>
                  <a:pt x="3116713" y="496931"/>
                  <a:pt x="2991606" y="496931"/>
                </a:cubicBezTo>
                <a:lnTo>
                  <a:pt x="0" y="496931"/>
                </a:lnTo>
                <a:close/>
              </a:path>
            </a:pathLst>
          </a:custGeom>
          <a:solidFill>
            <a:srgbClr val="FD6400">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108000" bIns="108000" rtlCol="0" anchor="ctr">
            <a:spAutoFit/>
          </a:bodyPr>
          <a:lstStyle/>
          <a:p>
            <a:r>
              <a:rPr lang="en-US" i="1">
                <a:solidFill>
                  <a:schemeClr val="bg1"/>
                </a:solidFill>
                <a:latin typeface="Corbel" panose="020B0503020204020204" pitchFamily="34" charset="0"/>
              </a:rPr>
              <a:t> </a:t>
            </a:r>
          </a:p>
        </p:txBody>
      </p:sp>
    </p:spTree>
    <p:extLst>
      <p:ext uri="{BB962C8B-B14F-4D97-AF65-F5344CB8AC3E}">
        <p14:creationId xmlns:p14="http://schemas.microsoft.com/office/powerpoint/2010/main" val="16541823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LOUR TITLE">
    <p:spTree>
      <p:nvGrpSpPr>
        <p:cNvPr id="1" name=""/>
        <p:cNvGrpSpPr/>
        <p:nvPr/>
      </p:nvGrpSpPr>
      <p:grpSpPr>
        <a:xfrm>
          <a:off x="0" y="0"/>
          <a:ext cx="0" cy="0"/>
          <a:chOff x="0" y="0"/>
          <a:chExt cx="0" cy="0"/>
        </a:xfrm>
      </p:grpSpPr>
      <p:sp>
        <p:nvSpPr>
          <p:cNvPr id="19" name="Rechthoek 18"/>
          <p:cNvSpPr/>
          <p:nvPr userDrawn="1"/>
        </p:nvSpPr>
        <p:spPr>
          <a:xfrm>
            <a:off x="-1587" y="0"/>
            <a:ext cx="9144000" cy="5143500"/>
          </a:xfrm>
          <a:prstGeom prst="rect">
            <a:avLst/>
          </a:prstGeom>
          <a:solidFill>
            <a:srgbClr val="F2B01E"/>
          </a:solidFill>
          <a:ln>
            <a:noFill/>
          </a:ln>
          <a:effectLst/>
        </p:spPr>
        <p:style>
          <a:lnRef idx="1">
            <a:schemeClr val="accent1"/>
          </a:lnRef>
          <a:fillRef idx="3">
            <a:schemeClr val="accent1"/>
          </a:fillRef>
          <a:effectRef idx="2">
            <a:schemeClr val="accent1"/>
          </a:effectRef>
          <a:fontRef idx="minor">
            <a:schemeClr val="lt1"/>
          </a:fontRef>
        </p:style>
        <p:txBody>
          <a:bodyPr numCol="1" rtlCol="0" anchor="ctr"/>
          <a:lstStyle/>
          <a:p>
            <a:pPr algn="ctr"/>
            <a:endParaRPr lang="nl-NL" altLang="nl-NL" sz="1350"/>
          </a:p>
        </p:txBody>
      </p:sp>
      <p:sp>
        <p:nvSpPr>
          <p:cNvPr id="20" name="Titel 1"/>
          <p:cNvSpPr>
            <a:spLocks noGrp="1"/>
          </p:cNvSpPr>
          <p:nvPr>
            <p:ph type="ctrTitle" hasCustomPrompt="1"/>
          </p:nvPr>
        </p:nvSpPr>
        <p:spPr>
          <a:xfrm>
            <a:off x="596901" y="1390650"/>
            <a:ext cx="7915275" cy="1019175"/>
          </a:xfrm>
        </p:spPr>
        <p:txBody>
          <a:bodyPr tIns="0" rIns="0" numCol="1" anchor="b">
            <a:noAutofit/>
          </a:bodyPr>
          <a:lstStyle>
            <a:lvl1pPr algn="l">
              <a:lnSpc>
                <a:spcPct val="80000"/>
              </a:lnSpc>
              <a:defRPr sz="2100" baseline="0">
                <a:solidFill>
                  <a:schemeClr val="tx1"/>
                </a:solidFill>
              </a:defRPr>
            </a:lvl1pPr>
          </a:lstStyle>
          <a:p>
            <a:r>
              <a:rPr lang="nl-NL" altLang="nl-NL" dirty="0"/>
              <a:t>Presentation </a:t>
            </a:r>
            <a:r>
              <a:rPr lang="nl-NL" altLang="nl-NL" dirty="0" err="1"/>
              <a:t>title</a:t>
            </a:r>
            <a:endParaRPr lang="en-GB" altLang="en-GB" dirty="0"/>
          </a:p>
        </p:txBody>
      </p:sp>
      <p:sp>
        <p:nvSpPr>
          <p:cNvPr id="21" name="Subtitel 2"/>
          <p:cNvSpPr>
            <a:spLocks noGrp="1"/>
          </p:cNvSpPr>
          <p:nvPr>
            <p:ph type="subTitle" idx="1" hasCustomPrompt="1"/>
          </p:nvPr>
        </p:nvSpPr>
        <p:spPr>
          <a:xfrm>
            <a:off x="596901" y="3276453"/>
            <a:ext cx="7915275" cy="934789"/>
          </a:xfrm>
        </p:spPr>
        <p:txBody>
          <a:bodyPr tIns="0" rIns="0" bIns="0" numCol="1" anchor="ctr">
            <a:noAutofit/>
          </a:bodyPr>
          <a:lstStyle>
            <a:lvl1pPr marL="0" indent="0" algn="l">
              <a:spcBef>
                <a:spcPts val="0"/>
              </a:spcBef>
              <a:spcAft>
                <a:spcPts val="0"/>
              </a:spcAft>
              <a:buNone/>
              <a:defRPr sz="1800" baseline="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altLang="nl-NL" dirty="0"/>
              <a:t>Name presenter</a:t>
            </a:r>
            <a:br>
              <a:rPr lang="nl-NL" altLang="nl-NL" dirty="0"/>
            </a:br>
            <a:r>
              <a:rPr lang="nl-NL" altLang="nl-NL" dirty="0" err="1"/>
              <a:t>Title</a:t>
            </a:r>
            <a:r>
              <a:rPr lang="nl-NL" altLang="nl-NL" dirty="0"/>
              <a:t>, Solidaridad</a:t>
            </a:r>
            <a:endParaRPr lang="en-GB" altLang="en-GB" dirty="0"/>
          </a:p>
        </p:txBody>
      </p:sp>
      <p:sp>
        <p:nvSpPr>
          <p:cNvPr id="3" name="Tijdelijke aanduiding voor tekst 2"/>
          <p:cNvSpPr>
            <a:spLocks noGrp="1"/>
          </p:cNvSpPr>
          <p:nvPr>
            <p:ph type="body" sz="quarter" idx="10" hasCustomPrompt="1"/>
          </p:nvPr>
        </p:nvSpPr>
        <p:spPr>
          <a:xfrm>
            <a:off x="598080" y="2383800"/>
            <a:ext cx="7917004" cy="685800"/>
          </a:xfrm>
        </p:spPr>
        <p:txBody>
          <a:bodyPr rIns="0" numCol="1"/>
          <a:lstStyle>
            <a:lvl1pPr marL="0" indent="0">
              <a:lnSpc>
                <a:spcPct val="80000"/>
              </a:lnSpc>
              <a:buNone/>
              <a:defRPr sz="2100" cap="all">
                <a:solidFill>
                  <a:srgbClr val="FFFFFF"/>
                </a:solidFill>
                <a:latin typeface="Arial Black"/>
                <a:cs typeface="Arial Black"/>
              </a:defRPr>
            </a:lvl1pPr>
          </a:lstStyle>
          <a:p>
            <a:pPr lvl="0"/>
            <a:r>
              <a:rPr lang="nl-NL" altLang="nl-NL" dirty="0"/>
              <a:t>PART OF TITLE YOU WANT TO EMPHASIZE</a:t>
            </a:r>
          </a:p>
        </p:txBody>
      </p:sp>
    </p:spTree>
    <p:extLst>
      <p:ext uri="{BB962C8B-B14F-4D97-AF65-F5344CB8AC3E}">
        <p14:creationId xmlns:p14="http://schemas.microsoft.com/office/powerpoint/2010/main" val="15675345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LOGO">
    <p:spTree>
      <p:nvGrpSpPr>
        <p:cNvPr id="1" name=""/>
        <p:cNvGrpSpPr/>
        <p:nvPr/>
      </p:nvGrpSpPr>
      <p:grpSpPr>
        <a:xfrm>
          <a:off x="0" y="0"/>
          <a:ext cx="0" cy="0"/>
          <a:chOff x="0" y="0"/>
          <a:chExt cx="0" cy="0"/>
        </a:xfrm>
      </p:grpSpPr>
      <p:pic>
        <p:nvPicPr>
          <p:cNvPr id="2" name="Afbeelding 10" descr="solidaridad-logo.pn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608667" y="2104124"/>
            <a:ext cx="5926666" cy="1061435"/>
          </a:xfrm>
          <a:prstGeom prst="rect">
            <a:avLst/>
          </a:prstGeom>
          <a:noFill/>
          <a:ln w="9525">
            <a:noFill/>
            <a:miter lim="800000"/>
            <a:headEnd/>
            <a:tailEnd/>
          </a:ln>
        </p:spPr>
      </p:pic>
    </p:spTree>
    <p:extLst>
      <p:ext uri="{BB962C8B-B14F-4D97-AF65-F5344CB8AC3E}">
        <p14:creationId xmlns:p14="http://schemas.microsoft.com/office/powerpoint/2010/main" val="19469962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PROJECT">
    <p:spTree>
      <p:nvGrpSpPr>
        <p:cNvPr id="1" name=""/>
        <p:cNvGrpSpPr/>
        <p:nvPr/>
      </p:nvGrpSpPr>
      <p:grpSpPr>
        <a:xfrm>
          <a:off x="0" y="0"/>
          <a:ext cx="0" cy="0"/>
          <a:chOff x="0" y="0"/>
          <a:chExt cx="0" cy="0"/>
        </a:xfrm>
      </p:grpSpPr>
      <p:sp>
        <p:nvSpPr>
          <p:cNvPr id="3" name="Tijdelijke aanduiding voor afbeelding 2"/>
          <p:cNvSpPr>
            <a:spLocks noGrp="1"/>
          </p:cNvSpPr>
          <p:nvPr>
            <p:ph type="pic" sz="quarter" idx="12"/>
          </p:nvPr>
        </p:nvSpPr>
        <p:spPr>
          <a:xfrm>
            <a:off x="4577924" y="0"/>
            <a:ext cx="4566076" cy="5143500"/>
          </a:xfrm>
        </p:spPr>
        <p:txBody>
          <a:bodyPr lIns="0" tIns="0" rIns="0" bIns="0" anchor="ctr"/>
          <a:lstStyle>
            <a:lvl1pPr marL="0" indent="0" algn="ctr">
              <a:buNone/>
              <a:defRPr sz="1200"/>
            </a:lvl1pPr>
          </a:lstStyle>
          <a:p>
            <a:r>
              <a:rPr lang="es-ES"/>
              <a:t>Haga clic en el icono para agregar una imagen</a:t>
            </a:r>
            <a:endParaRPr lang="nl-NL" dirty="0"/>
          </a:p>
        </p:txBody>
      </p:sp>
      <p:sp>
        <p:nvSpPr>
          <p:cNvPr id="7" name="Tijdelijke aanduiding voor dianummer 5"/>
          <p:cNvSpPr>
            <a:spLocks noGrp="1"/>
          </p:cNvSpPr>
          <p:nvPr>
            <p:ph type="sldNum" sz="quarter" idx="10"/>
          </p:nvPr>
        </p:nvSpPr>
        <p:spPr>
          <a:xfrm>
            <a:off x="8111395" y="4937763"/>
            <a:ext cx="400780" cy="170259"/>
          </a:xfrm>
          <a:prstGeom prst="rect">
            <a:avLst/>
          </a:prstGeom>
        </p:spPr>
        <p:txBody>
          <a:bodyPr lIns="0" tIns="0" rIns="0" bIns="0" anchor="ctr"/>
          <a:lstStyle>
            <a:lvl1pPr algn="r">
              <a:defRPr sz="600">
                <a:solidFill>
                  <a:schemeClr val="tx1"/>
                </a:solidFill>
                <a:latin typeface="+mn-lt"/>
                <a:cs typeface="Verdana"/>
              </a:defRPr>
            </a:lvl1pPr>
          </a:lstStyle>
          <a:p>
            <a:pPr defTabSz="342900" fontAlgn="base">
              <a:spcBef>
                <a:spcPct val="0"/>
              </a:spcBef>
              <a:spcAft>
                <a:spcPct val="0"/>
              </a:spcAft>
              <a:defRPr/>
            </a:pPr>
            <a:fld id="{5063E88E-3530-40D2-AAD2-16C9E0374B45}" type="slidenum">
              <a:rPr lang="en-GB" smtClean="0">
                <a:solidFill>
                  <a:srgbClr val="000000"/>
                </a:solidFill>
              </a:rPr>
              <a:pPr defTabSz="342900" fontAlgn="base">
                <a:spcBef>
                  <a:spcPct val="0"/>
                </a:spcBef>
                <a:spcAft>
                  <a:spcPct val="0"/>
                </a:spcAft>
                <a:defRPr/>
              </a:pPr>
              <a:t>‹#›</a:t>
            </a:fld>
            <a:endParaRPr lang="en-GB" dirty="0">
              <a:solidFill>
                <a:srgbClr val="000000"/>
              </a:solidFill>
            </a:endParaRPr>
          </a:p>
        </p:txBody>
      </p:sp>
      <p:sp>
        <p:nvSpPr>
          <p:cNvPr id="8" name="Tijdelijke aanduiding voor voettekst 4"/>
          <p:cNvSpPr>
            <a:spLocks noGrp="1"/>
          </p:cNvSpPr>
          <p:nvPr>
            <p:ph type="ftr" sz="quarter" idx="11"/>
          </p:nvPr>
        </p:nvSpPr>
        <p:spPr>
          <a:xfrm>
            <a:off x="1208088" y="4937763"/>
            <a:ext cx="5480050" cy="170259"/>
          </a:xfrm>
          <a:prstGeom prst="rect">
            <a:avLst/>
          </a:prstGeom>
        </p:spPr>
        <p:txBody>
          <a:bodyPr lIns="0" tIns="0" rIns="0" bIns="0" anchor="ctr" anchorCtr="0"/>
          <a:lstStyle>
            <a:lvl1pPr algn="l">
              <a:defRPr sz="600">
                <a:solidFill>
                  <a:schemeClr val="tx1"/>
                </a:solidFill>
                <a:latin typeface="+mn-lt"/>
                <a:cs typeface="Verdana"/>
              </a:defRPr>
            </a:lvl1pPr>
          </a:lstStyle>
          <a:p>
            <a:pPr defTabSz="342900" fontAlgn="base">
              <a:spcBef>
                <a:spcPct val="0"/>
              </a:spcBef>
              <a:spcAft>
                <a:spcPct val="0"/>
              </a:spcAft>
              <a:defRPr/>
            </a:pPr>
            <a:endParaRPr lang="en-GB" dirty="0">
              <a:solidFill>
                <a:srgbClr val="000000"/>
              </a:solidFill>
            </a:endParaRPr>
          </a:p>
        </p:txBody>
      </p:sp>
      <p:sp>
        <p:nvSpPr>
          <p:cNvPr id="4" name="Tijdelijke aanduiding voor tekst 3"/>
          <p:cNvSpPr>
            <a:spLocks noGrp="1"/>
          </p:cNvSpPr>
          <p:nvPr>
            <p:ph type="body" sz="quarter" idx="13"/>
          </p:nvPr>
        </p:nvSpPr>
        <p:spPr>
          <a:xfrm>
            <a:off x="0" y="5953"/>
            <a:ext cx="4568446" cy="5137547"/>
          </a:xfrm>
          <a:noFill/>
        </p:spPr>
        <p:txBody>
          <a:bodyPr lIns="540000" tIns="360000"/>
          <a:lstStyle>
            <a:lvl1pPr marL="0" indent="0">
              <a:lnSpc>
                <a:spcPct val="100000"/>
              </a:lnSpc>
              <a:spcBef>
                <a:spcPts val="0"/>
              </a:spcBef>
              <a:spcAft>
                <a:spcPts val="450"/>
              </a:spcAft>
              <a:buNone/>
              <a:defRPr sz="1500" b="0" cap="all">
                <a:solidFill>
                  <a:srgbClr val="F2B01E"/>
                </a:solidFill>
                <a:latin typeface="Arial Black"/>
                <a:cs typeface="Arial Black"/>
              </a:defRPr>
            </a:lvl1pPr>
            <a:lvl2pPr marL="0" indent="0">
              <a:lnSpc>
                <a:spcPct val="100000"/>
              </a:lnSpc>
              <a:spcBef>
                <a:spcPts val="0"/>
              </a:spcBef>
              <a:spcAft>
                <a:spcPts val="450"/>
              </a:spcAft>
              <a:buNone/>
              <a:defRPr sz="1200" b="0" cap="all">
                <a:latin typeface="Arial Black"/>
                <a:cs typeface="Arial Black"/>
              </a:defRPr>
            </a:lvl2pPr>
            <a:lvl3pPr marL="0" indent="0">
              <a:lnSpc>
                <a:spcPct val="100000"/>
              </a:lnSpc>
              <a:spcBef>
                <a:spcPts val="0"/>
              </a:spcBef>
              <a:spcAft>
                <a:spcPts val="450"/>
              </a:spcAft>
              <a:buNone/>
              <a:defRPr sz="1200"/>
            </a:lvl3pPr>
          </a:lstStyle>
          <a:p>
            <a:pPr lvl="0"/>
            <a:r>
              <a:rPr lang="es-ES"/>
              <a:t>Haga clic para modificar el estilo de texto del patrón</a:t>
            </a:r>
          </a:p>
          <a:p>
            <a:pPr lvl="1"/>
            <a:r>
              <a:rPr lang="es-ES"/>
              <a:t>Segundo nivel</a:t>
            </a:r>
          </a:p>
          <a:p>
            <a:pPr lvl="2"/>
            <a:r>
              <a:rPr lang="es-ES"/>
              <a:t>Tercer nivel</a:t>
            </a:r>
          </a:p>
        </p:txBody>
      </p:sp>
    </p:spTree>
    <p:extLst>
      <p:ext uri="{BB962C8B-B14F-4D97-AF65-F5344CB8AC3E}">
        <p14:creationId xmlns:p14="http://schemas.microsoft.com/office/powerpoint/2010/main" val="23527956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LOSING">
    <p:spTree>
      <p:nvGrpSpPr>
        <p:cNvPr id="1" name=""/>
        <p:cNvGrpSpPr/>
        <p:nvPr/>
      </p:nvGrpSpPr>
      <p:grpSpPr>
        <a:xfrm>
          <a:off x="0" y="0"/>
          <a:ext cx="0" cy="0"/>
          <a:chOff x="0" y="0"/>
          <a:chExt cx="0" cy="0"/>
        </a:xfrm>
      </p:grpSpPr>
      <p:sp>
        <p:nvSpPr>
          <p:cNvPr id="19" name="Rechthoek 18"/>
          <p:cNvSpPr/>
          <p:nvPr userDrawn="1"/>
        </p:nvSpPr>
        <p:spPr>
          <a:xfrm>
            <a:off x="0" y="0"/>
            <a:ext cx="9144000" cy="5143500"/>
          </a:xfrm>
          <a:prstGeom prst="rect">
            <a:avLst/>
          </a:prstGeom>
          <a:solidFill>
            <a:srgbClr val="F2B01E"/>
          </a:solidFill>
          <a:ln>
            <a:noFill/>
          </a:ln>
          <a:effectLst/>
        </p:spPr>
        <p:style>
          <a:lnRef idx="1">
            <a:schemeClr val="accent1"/>
          </a:lnRef>
          <a:fillRef idx="3">
            <a:schemeClr val="accent1"/>
          </a:fillRef>
          <a:effectRef idx="2">
            <a:schemeClr val="accent1"/>
          </a:effectRef>
          <a:fontRef idx="minor">
            <a:schemeClr val="lt1"/>
          </a:fontRef>
        </p:style>
        <p:txBody>
          <a:bodyPr numCol="1" rtlCol="0" anchor="ctr"/>
          <a:lstStyle/>
          <a:p>
            <a:pPr algn="ctr"/>
            <a:endParaRPr lang="nl-NL" altLang="nl-NL" sz="1350"/>
          </a:p>
        </p:txBody>
      </p:sp>
      <p:pic>
        <p:nvPicPr>
          <p:cNvPr id="13" name="Afbeelding 12" descr="icon-linkedin.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85281" y="3302065"/>
            <a:ext cx="456820" cy="342615"/>
          </a:xfrm>
          <a:prstGeom prst="rect">
            <a:avLst/>
          </a:prstGeom>
        </p:spPr>
      </p:pic>
      <p:pic>
        <p:nvPicPr>
          <p:cNvPr id="14" name="Afbeelding 13" descr="icon-web.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125027" y="2351510"/>
            <a:ext cx="455990" cy="342551"/>
          </a:xfrm>
          <a:prstGeom prst="rect">
            <a:avLst/>
          </a:prstGeom>
        </p:spPr>
      </p:pic>
      <p:sp>
        <p:nvSpPr>
          <p:cNvPr id="20" name="Titel 1"/>
          <p:cNvSpPr>
            <a:spLocks noGrp="1"/>
          </p:cNvSpPr>
          <p:nvPr>
            <p:ph type="ctrTitle" hasCustomPrompt="1"/>
          </p:nvPr>
        </p:nvSpPr>
        <p:spPr>
          <a:xfrm>
            <a:off x="596901" y="473163"/>
            <a:ext cx="7915275" cy="926306"/>
          </a:xfrm>
        </p:spPr>
        <p:txBody>
          <a:bodyPr lIns="0" tIns="0" rIns="0" numCol="1" anchor="b">
            <a:noAutofit/>
          </a:bodyPr>
          <a:lstStyle>
            <a:lvl1pPr algn="ctr">
              <a:lnSpc>
                <a:spcPct val="80000"/>
              </a:lnSpc>
              <a:defRPr sz="2400">
                <a:solidFill>
                  <a:schemeClr val="tx1"/>
                </a:solidFill>
              </a:defRPr>
            </a:lvl1pPr>
          </a:lstStyle>
          <a:p>
            <a:r>
              <a:rPr lang="nl-NL" altLang="nl-NL" dirty="0"/>
              <a:t>Name presenter</a:t>
            </a:r>
            <a:endParaRPr lang="en-GB" altLang="en-GB" dirty="0"/>
          </a:p>
        </p:txBody>
      </p:sp>
      <p:sp>
        <p:nvSpPr>
          <p:cNvPr id="21" name="Subtitel 2"/>
          <p:cNvSpPr>
            <a:spLocks noGrp="1"/>
          </p:cNvSpPr>
          <p:nvPr>
            <p:ph type="subTitle" idx="1" hasCustomPrompt="1"/>
          </p:nvPr>
        </p:nvSpPr>
        <p:spPr>
          <a:xfrm>
            <a:off x="596901" y="1400596"/>
            <a:ext cx="7915275" cy="574790"/>
          </a:xfrm>
        </p:spPr>
        <p:txBody>
          <a:bodyPr lIns="0" tIns="0" rIns="0" bIns="0" numCol="1" anchor="t">
            <a:noAutofit/>
          </a:bodyPr>
          <a:lstStyle>
            <a:lvl1pPr marL="0" indent="0" algn="ctr">
              <a:lnSpc>
                <a:spcPct val="80000"/>
              </a:lnSpc>
              <a:spcBef>
                <a:spcPts val="0"/>
              </a:spcBef>
              <a:spcAft>
                <a:spcPts val="0"/>
              </a:spcAft>
              <a:buNone/>
              <a:defRPr sz="1800" cap="all">
                <a:solidFill>
                  <a:schemeClr val="bg1"/>
                </a:solidFill>
                <a:latin typeface="Arial Black"/>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nl-NL" altLang="nl-NL" dirty="0"/>
              <a:t>e-mail </a:t>
            </a:r>
            <a:r>
              <a:rPr lang="nl-NL" altLang="nl-NL" dirty="0" err="1"/>
              <a:t>address</a:t>
            </a:r>
            <a:endParaRPr lang="en-GB" altLang="en-GB" dirty="0"/>
          </a:p>
        </p:txBody>
      </p:sp>
      <p:sp>
        <p:nvSpPr>
          <p:cNvPr id="5" name="Tekstvak 15"/>
          <p:cNvSpPr txBox="1">
            <a:spLocks noChangeArrowheads="1"/>
          </p:cNvSpPr>
          <p:nvPr userDrawn="1"/>
        </p:nvSpPr>
        <p:spPr>
          <a:xfrm>
            <a:off x="1099691" y="2675386"/>
            <a:ext cx="2506662" cy="445963"/>
          </a:xfrm>
          <a:prstGeom prst="rect">
            <a:avLst/>
          </a:prstGeom>
          <a:noFill/>
          <a:ln w="9525">
            <a:noFill/>
            <a:miter lim="800000"/>
            <a:headEnd/>
            <a:tailEnd/>
          </a:ln>
        </p:spPr>
        <p:txBody>
          <a:bodyPr wrap="square" lIns="0" numCol="1" anchor="ctr" anchorCtr="0">
            <a:noAutofit/>
          </a:bodyPr>
          <a:lstStyle/>
          <a:p>
            <a:pPr algn="ctr">
              <a:lnSpc>
                <a:spcPct val="100000"/>
              </a:lnSpc>
            </a:pPr>
            <a:r>
              <a:rPr lang="nl-NL" altLang="nl-NL" sz="1350" dirty="0" err="1"/>
              <a:t>solidaridadnetwork.org</a:t>
            </a:r>
            <a:endParaRPr lang="nl-NL" altLang="nl-NL" sz="1350" dirty="0"/>
          </a:p>
        </p:txBody>
      </p:sp>
      <p:sp>
        <p:nvSpPr>
          <p:cNvPr id="6" name="Tekstvak 16"/>
          <p:cNvSpPr txBox="1">
            <a:spLocks noChangeArrowheads="1"/>
          </p:cNvSpPr>
          <p:nvPr userDrawn="1"/>
        </p:nvSpPr>
        <p:spPr>
          <a:xfrm>
            <a:off x="1383526" y="3540143"/>
            <a:ext cx="1938992" cy="497681"/>
          </a:xfrm>
          <a:prstGeom prst="rect">
            <a:avLst/>
          </a:prstGeom>
          <a:noFill/>
          <a:ln w="9525">
            <a:noFill/>
            <a:miter lim="800000"/>
            <a:headEnd/>
            <a:tailEnd/>
          </a:ln>
        </p:spPr>
        <p:txBody>
          <a:bodyPr wrap="square" lIns="0" numCol="1" anchor="ctr" anchorCtr="0">
            <a:noAutofit/>
          </a:bodyPr>
          <a:lstStyle/>
          <a:p>
            <a:pPr algn="ctr">
              <a:lnSpc>
                <a:spcPct val="100000"/>
              </a:lnSpc>
            </a:pPr>
            <a:r>
              <a:rPr lang="nl-NL" altLang="nl-NL" sz="1350" dirty="0"/>
              <a:t>@</a:t>
            </a:r>
            <a:r>
              <a:rPr lang="nl-NL" altLang="nl-NL" sz="1350" dirty="0" err="1"/>
              <a:t>solidaridadnetw</a:t>
            </a:r>
            <a:endParaRPr lang="nl-NL" altLang="nl-NL" sz="1350" dirty="0"/>
          </a:p>
        </p:txBody>
      </p:sp>
      <p:sp>
        <p:nvSpPr>
          <p:cNvPr id="7" name="Tekstvak 21"/>
          <p:cNvSpPr txBox="1">
            <a:spLocks noChangeArrowheads="1"/>
          </p:cNvSpPr>
          <p:nvPr userDrawn="1"/>
        </p:nvSpPr>
        <p:spPr>
          <a:xfrm>
            <a:off x="5573132" y="2683827"/>
            <a:ext cx="2081121" cy="445294"/>
          </a:xfrm>
          <a:prstGeom prst="rect">
            <a:avLst/>
          </a:prstGeom>
          <a:noFill/>
          <a:ln w="9525">
            <a:noFill/>
            <a:miter lim="800000"/>
            <a:headEnd/>
            <a:tailEnd/>
          </a:ln>
        </p:spPr>
        <p:txBody>
          <a:bodyPr wrap="square" lIns="0" numCol="1" anchor="ctr" anchorCtr="0">
            <a:noAutofit/>
          </a:bodyPr>
          <a:lstStyle/>
          <a:p>
            <a:pPr algn="ctr">
              <a:lnSpc>
                <a:spcPct val="100000"/>
              </a:lnSpc>
            </a:pPr>
            <a:r>
              <a:rPr lang="nl-NL" altLang="nl-NL" sz="1350" dirty="0"/>
              <a:t>/</a:t>
            </a:r>
            <a:r>
              <a:rPr lang="nl-NL" altLang="nl-NL" sz="1350" dirty="0" err="1"/>
              <a:t>solidaridadnetwork</a:t>
            </a:r>
            <a:endParaRPr lang="nl-NL" altLang="nl-NL" sz="1350" dirty="0"/>
          </a:p>
        </p:txBody>
      </p:sp>
      <p:sp>
        <p:nvSpPr>
          <p:cNvPr id="8" name="Tekstvak 22"/>
          <p:cNvSpPr txBox="1">
            <a:spLocks noChangeArrowheads="1"/>
          </p:cNvSpPr>
          <p:nvPr userDrawn="1"/>
        </p:nvSpPr>
        <p:spPr>
          <a:xfrm>
            <a:off x="5476875" y="3571874"/>
            <a:ext cx="2273632" cy="497681"/>
          </a:xfrm>
          <a:prstGeom prst="rect">
            <a:avLst/>
          </a:prstGeom>
          <a:noFill/>
          <a:ln w="9525">
            <a:noFill/>
            <a:miter lim="800000"/>
            <a:headEnd/>
            <a:tailEnd/>
          </a:ln>
        </p:spPr>
        <p:txBody>
          <a:bodyPr wrap="square" lIns="0" numCol="1" anchor="ctr" anchorCtr="0">
            <a:noAutofit/>
          </a:bodyPr>
          <a:lstStyle/>
          <a:p>
            <a:pPr algn="ctr">
              <a:lnSpc>
                <a:spcPct val="100000"/>
              </a:lnSpc>
            </a:pPr>
            <a:r>
              <a:rPr lang="nl-NL" altLang="nl-NL" sz="1350" dirty="0"/>
              <a:t>/company/</a:t>
            </a:r>
            <a:r>
              <a:rPr lang="nl-NL" altLang="nl-NL" sz="1350" dirty="0" err="1"/>
              <a:t>solidaridad</a:t>
            </a:r>
            <a:endParaRPr lang="nl-NL" altLang="nl-NL" sz="1350" dirty="0"/>
          </a:p>
        </p:txBody>
      </p:sp>
      <p:pic>
        <p:nvPicPr>
          <p:cNvPr id="10" name="Afbeelding 9" descr="Twitter.png"/>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125665" y="3302854"/>
            <a:ext cx="454717" cy="341038"/>
          </a:xfrm>
          <a:prstGeom prst="rect">
            <a:avLst/>
          </a:prstGeom>
        </p:spPr>
      </p:pic>
      <p:pic>
        <p:nvPicPr>
          <p:cNvPr id="12" name="Afbeelding 11" descr="facebook.png"/>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86366" y="2352291"/>
            <a:ext cx="454653" cy="340990"/>
          </a:xfrm>
          <a:prstGeom prst="rect">
            <a:avLst/>
          </a:prstGeom>
        </p:spPr>
      </p:pic>
      <p:sp>
        <p:nvSpPr>
          <p:cNvPr id="15" name="Tijdelijke aanduiding voor dianummer 5"/>
          <p:cNvSpPr>
            <a:spLocks noGrp="1"/>
          </p:cNvSpPr>
          <p:nvPr>
            <p:ph type="sldNum" sz="quarter" idx="10"/>
          </p:nvPr>
        </p:nvSpPr>
        <p:spPr>
          <a:xfrm>
            <a:off x="8111395" y="4937763"/>
            <a:ext cx="400780" cy="170259"/>
          </a:xfrm>
          <a:prstGeom prst="rect">
            <a:avLst/>
          </a:prstGeom>
        </p:spPr>
        <p:txBody>
          <a:bodyPr lIns="0" tIns="0" rIns="0" bIns="0" numCol="1" anchor="ctr"/>
          <a:lstStyle>
            <a:lvl1pPr algn="r">
              <a:defRPr sz="600">
                <a:solidFill>
                  <a:schemeClr val="tx1"/>
                </a:solidFill>
                <a:latin typeface="+mn-lt"/>
                <a:cs typeface="Verdana"/>
              </a:defRPr>
            </a:lvl1pPr>
          </a:lstStyle>
          <a:p>
            <a:pPr>
              <a:defRPr/>
            </a:pPr>
            <a:fld id="{5063E88E-3530-40D2-AAD2-16C9E0374B45}" type="slidenum">
              <a:rPr lang="en-GB" altLang="en-GB" smtClean="0"/>
              <a:pPr>
                <a:defRPr/>
              </a:pPr>
              <a:t>‹#›</a:t>
            </a:fld>
            <a:endParaRPr lang="en-GB" altLang="en-GB" dirty="0"/>
          </a:p>
        </p:txBody>
      </p:sp>
      <p:sp>
        <p:nvSpPr>
          <p:cNvPr id="16" name="Tijdelijke aanduiding voor voettekst 4"/>
          <p:cNvSpPr>
            <a:spLocks noGrp="1"/>
          </p:cNvSpPr>
          <p:nvPr>
            <p:ph type="ftr" sz="quarter" idx="11"/>
          </p:nvPr>
        </p:nvSpPr>
        <p:spPr>
          <a:xfrm>
            <a:off x="1208088" y="4937763"/>
            <a:ext cx="5480050" cy="170259"/>
          </a:xfrm>
          <a:prstGeom prst="rect">
            <a:avLst/>
          </a:prstGeom>
        </p:spPr>
        <p:txBody>
          <a:bodyPr lIns="0" tIns="0" rIns="0" bIns="0" numCol="1" anchor="ctr" anchorCtr="0"/>
          <a:lstStyle>
            <a:lvl1pPr algn="l">
              <a:defRPr sz="600">
                <a:solidFill>
                  <a:schemeClr val="tx1"/>
                </a:solidFill>
                <a:latin typeface="+mn-lt"/>
                <a:cs typeface="Verdana"/>
              </a:defRPr>
            </a:lvl1pPr>
          </a:lstStyle>
          <a:p>
            <a:pPr>
              <a:defRPr/>
            </a:pPr>
            <a:endParaRPr lang="en-GB" altLang="en-GB" dirty="0"/>
          </a:p>
        </p:txBody>
      </p:sp>
    </p:spTree>
    <p:extLst>
      <p:ext uri="{BB962C8B-B14F-4D97-AF65-F5344CB8AC3E}">
        <p14:creationId xmlns:p14="http://schemas.microsoft.com/office/powerpoint/2010/main" val="25199233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4 rg / Subtitel 1 rg">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532E54C5-51DD-4055-B341-01B9C6AE51C2}"/>
              </a:ext>
            </a:extLst>
          </p:cNvPr>
          <p:cNvSpPr>
            <a:spLocks noGrp="1"/>
          </p:cNvSpPr>
          <p:nvPr>
            <p:ph type="pic" sz="quarter" idx="10" hasCustomPrompt="1"/>
          </p:nvPr>
        </p:nvSpPr>
        <p:spPr>
          <a:xfrm>
            <a:off x="0" y="0"/>
            <a:ext cx="9144000" cy="5143500"/>
          </a:xfrm>
        </p:spPr>
        <p:txBody>
          <a:bodyPr/>
          <a:lstStyle>
            <a:lvl1pPr marL="0" indent="0" algn="ctr">
              <a:lnSpc>
                <a:spcPct val="100000"/>
              </a:lnSpc>
              <a:spcBef>
                <a:spcPts val="0"/>
              </a:spcBef>
              <a:buNone/>
              <a:defRPr sz="1200">
                <a:solidFill>
                  <a:schemeClr val="bg1">
                    <a:lumMod val="65000"/>
                  </a:schemeClr>
                </a:solidFill>
              </a:defRPr>
            </a:lvl1pPr>
          </a:lstStyle>
          <a:p>
            <a:r>
              <a:rPr lang="nl-NL"/>
              <a:t>Klik op het pictogram om een afbeelding in te voegen</a:t>
            </a:r>
          </a:p>
        </p:txBody>
      </p:sp>
      <p:sp>
        <p:nvSpPr>
          <p:cNvPr id="13" name="Ondertitel">
            <a:extLst>
              <a:ext uri="{FF2B5EF4-FFF2-40B4-BE49-F238E27FC236}">
                <a16:creationId xmlns:a16="http://schemas.microsoft.com/office/drawing/2014/main" id="{22617D8A-5D0E-4361-8C07-4E08D52C32A5}"/>
              </a:ext>
            </a:extLst>
          </p:cNvPr>
          <p:cNvSpPr>
            <a:spLocks noGrp="1"/>
          </p:cNvSpPr>
          <p:nvPr>
            <p:ph type="subTitle" idx="1" hasCustomPrompt="1"/>
          </p:nvPr>
        </p:nvSpPr>
        <p:spPr>
          <a:xfrm>
            <a:off x="2" y="2177855"/>
            <a:ext cx="4212000" cy="540000"/>
          </a:xfrm>
          <a:custGeom>
            <a:avLst/>
            <a:gdLst>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180985 w 4207670"/>
              <a:gd name="connsiteY8" fmla="*/ 173138 h 461138"/>
              <a:gd name="connsiteX9" fmla="*/ 4207670 w 4207670"/>
              <a:gd name="connsiteY9" fmla="*/ 173138 h 461138"/>
              <a:gd name="connsiteX10" fmla="*/ 3977712 w 4207670"/>
              <a:gd name="connsiteY10" fmla="*/ 455287 h 461138"/>
              <a:gd name="connsiteX11" fmla="*/ 3960295 w 4207670"/>
              <a:gd name="connsiteY11" fmla="*/ 457043 h 461138"/>
              <a:gd name="connsiteX12" fmla="*/ 3958936 w 4207670"/>
              <a:gd name="connsiteY12" fmla="*/ 458756 h 461138"/>
              <a:gd name="connsiteX13" fmla="*/ 3958926 w 4207670"/>
              <a:gd name="connsiteY13" fmla="*/ 458757 h 461138"/>
              <a:gd name="connsiteX14" fmla="*/ 3943289 w 4207670"/>
              <a:gd name="connsiteY14" fmla="*/ 458757 h 461138"/>
              <a:gd name="connsiteX15" fmla="*/ 3919670 w 4207670"/>
              <a:gd name="connsiteY15" fmla="*/ 461138 h 461138"/>
              <a:gd name="connsiteX16" fmla="*/ 3919670 w 4207670"/>
              <a:gd name="connsiteY16" fmla="*/ 458757 h 461138"/>
              <a:gd name="connsiteX17" fmla="*/ 0 w 4207670"/>
              <a:gd name="connsiteY17" fmla="*/ 458756 h 461138"/>
              <a:gd name="connsiteX18" fmla="*/ 0 w 4207670"/>
              <a:gd name="connsiteY18" fmla="*/ 229379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181353 w 4207670"/>
              <a:gd name="connsiteY7" fmla="*/ 172615 h 461138"/>
              <a:gd name="connsiteX8" fmla="*/ 4207670 w 4207670"/>
              <a:gd name="connsiteY8" fmla="*/ 173138 h 461138"/>
              <a:gd name="connsiteX9" fmla="*/ 3977712 w 4207670"/>
              <a:gd name="connsiteY9" fmla="*/ 455287 h 461138"/>
              <a:gd name="connsiteX10" fmla="*/ 3960295 w 4207670"/>
              <a:gd name="connsiteY10" fmla="*/ 457043 h 461138"/>
              <a:gd name="connsiteX11" fmla="*/ 3958936 w 4207670"/>
              <a:gd name="connsiteY11" fmla="*/ 458756 h 461138"/>
              <a:gd name="connsiteX12" fmla="*/ 3958926 w 4207670"/>
              <a:gd name="connsiteY12" fmla="*/ 458757 h 461138"/>
              <a:gd name="connsiteX13" fmla="*/ 3943289 w 4207670"/>
              <a:gd name="connsiteY13" fmla="*/ 458757 h 461138"/>
              <a:gd name="connsiteX14" fmla="*/ 3919670 w 4207670"/>
              <a:gd name="connsiteY14" fmla="*/ 461138 h 461138"/>
              <a:gd name="connsiteX15" fmla="*/ 3919670 w 4207670"/>
              <a:gd name="connsiteY15" fmla="*/ 458757 h 461138"/>
              <a:gd name="connsiteX16" fmla="*/ 0 w 4207670"/>
              <a:gd name="connsiteY16" fmla="*/ 458756 h 461138"/>
              <a:gd name="connsiteX17" fmla="*/ 0 w 4207670"/>
              <a:gd name="connsiteY17" fmla="*/ 229379 h 461138"/>
              <a:gd name="connsiteX18" fmla="*/ 0 w 4207670"/>
              <a:gd name="connsiteY18"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77712 w 4207670"/>
              <a:gd name="connsiteY8" fmla="*/ 455287 h 461138"/>
              <a:gd name="connsiteX9" fmla="*/ 3960295 w 4207670"/>
              <a:gd name="connsiteY9" fmla="*/ 457043 h 461138"/>
              <a:gd name="connsiteX10" fmla="*/ 3958936 w 4207670"/>
              <a:gd name="connsiteY10" fmla="*/ 458756 h 461138"/>
              <a:gd name="connsiteX11" fmla="*/ 3958926 w 4207670"/>
              <a:gd name="connsiteY11" fmla="*/ 458757 h 461138"/>
              <a:gd name="connsiteX12" fmla="*/ 3943289 w 4207670"/>
              <a:gd name="connsiteY12" fmla="*/ 458757 h 461138"/>
              <a:gd name="connsiteX13" fmla="*/ 3919670 w 4207670"/>
              <a:gd name="connsiteY13" fmla="*/ 461138 h 461138"/>
              <a:gd name="connsiteX14" fmla="*/ 3919670 w 4207670"/>
              <a:gd name="connsiteY14" fmla="*/ 458757 h 461138"/>
              <a:gd name="connsiteX15" fmla="*/ 0 w 4207670"/>
              <a:gd name="connsiteY15" fmla="*/ 458756 h 461138"/>
              <a:gd name="connsiteX16" fmla="*/ 0 w 4207670"/>
              <a:gd name="connsiteY16" fmla="*/ 229379 h 461138"/>
              <a:gd name="connsiteX17" fmla="*/ 0 w 4207670"/>
              <a:gd name="connsiteY17"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58926 w 4207670"/>
              <a:gd name="connsiteY10" fmla="*/ 458757 h 461138"/>
              <a:gd name="connsiteX11" fmla="*/ 3943289 w 4207670"/>
              <a:gd name="connsiteY11" fmla="*/ 458757 h 461138"/>
              <a:gd name="connsiteX12" fmla="*/ 3919670 w 4207670"/>
              <a:gd name="connsiteY12" fmla="*/ 461138 h 461138"/>
              <a:gd name="connsiteX13" fmla="*/ 3919670 w 4207670"/>
              <a:gd name="connsiteY13" fmla="*/ 458757 h 461138"/>
              <a:gd name="connsiteX14" fmla="*/ 0 w 4207670"/>
              <a:gd name="connsiteY14" fmla="*/ 458756 h 461138"/>
              <a:gd name="connsiteX15" fmla="*/ 0 w 4207670"/>
              <a:gd name="connsiteY15" fmla="*/ 229379 h 461138"/>
              <a:gd name="connsiteX16" fmla="*/ 0 w 4207670"/>
              <a:gd name="connsiteY16"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58936 w 4207670"/>
              <a:gd name="connsiteY9" fmla="*/ 458756 h 461138"/>
              <a:gd name="connsiteX10" fmla="*/ 3943289 w 4207670"/>
              <a:gd name="connsiteY10" fmla="*/ 458757 h 461138"/>
              <a:gd name="connsiteX11" fmla="*/ 3919670 w 4207670"/>
              <a:gd name="connsiteY11" fmla="*/ 461138 h 461138"/>
              <a:gd name="connsiteX12" fmla="*/ 3919670 w 4207670"/>
              <a:gd name="connsiteY12" fmla="*/ 458757 h 461138"/>
              <a:gd name="connsiteX13" fmla="*/ 0 w 4207670"/>
              <a:gd name="connsiteY13" fmla="*/ 458756 h 461138"/>
              <a:gd name="connsiteX14" fmla="*/ 0 w 4207670"/>
              <a:gd name="connsiteY14" fmla="*/ 229379 h 461138"/>
              <a:gd name="connsiteX15" fmla="*/ 0 w 4207670"/>
              <a:gd name="connsiteY15"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60295 w 4207670"/>
              <a:gd name="connsiteY8" fmla="*/ 457043 h 461138"/>
              <a:gd name="connsiteX9" fmla="*/ 3943289 w 4207670"/>
              <a:gd name="connsiteY9" fmla="*/ 458757 h 461138"/>
              <a:gd name="connsiteX10" fmla="*/ 3919670 w 4207670"/>
              <a:gd name="connsiteY10" fmla="*/ 461138 h 461138"/>
              <a:gd name="connsiteX11" fmla="*/ 3919670 w 4207670"/>
              <a:gd name="connsiteY11" fmla="*/ 458757 h 461138"/>
              <a:gd name="connsiteX12" fmla="*/ 0 w 4207670"/>
              <a:gd name="connsiteY12" fmla="*/ 458756 h 461138"/>
              <a:gd name="connsiteX13" fmla="*/ 0 w 4207670"/>
              <a:gd name="connsiteY13" fmla="*/ 229379 h 461138"/>
              <a:gd name="connsiteX14" fmla="*/ 0 w 4207670"/>
              <a:gd name="connsiteY14"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43289 w 4207670"/>
              <a:gd name="connsiteY8" fmla="*/ 458757 h 461138"/>
              <a:gd name="connsiteX9" fmla="*/ 3919670 w 4207670"/>
              <a:gd name="connsiteY9" fmla="*/ 461138 h 461138"/>
              <a:gd name="connsiteX10" fmla="*/ 3919670 w 4207670"/>
              <a:gd name="connsiteY10" fmla="*/ 458757 h 461138"/>
              <a:gd name="connsiteX11" fmla="*/ 0 w 4207670"/>
              <a:gd name="connsiteY11" fmla="*/ 458756 h 461138"/>
              <a:gd name="connsiteX12" fmla="*/ 0 w 4207670"/>
              <a:gd name="connsiteY12" fmla="*/ 229379 h 461138"/>
              <a:gd name="connsiteX13" fmla="*/ 0 w 4207670"/>
              <a:gd name="connsiteY13"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3919670 w 4207670"/>
              <a:gd name="connsiteY9" fmla="*/ 458757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61138"/>
              <a:gd name="connsiteX1" fmla="*/ 245874 w 4207670"/>
              <a:gd name="connsiteY1" fmla="*/ 0 h 461138"/>
              <a:gd name="connsiteX2" fmla="*/ 3919668 w 4207670"/>
              <a:gd name="connsiteY2" fmla="*/ 0 h 461138"/>
              <a:gd name="connsiteX3" fmla="*/ 4004235 w 4207670"/>
              <a:gd name="connsiteY3" fmla="*/ 0 h 461138"/>
              <a:gd name="connsiteX4" fmla="*/ 4204800 w 4207670"/>
              <a:gd name="connsiteY4" fmla="*/ 0 h 461138"/>
              <a:gd name="connsiteX5" fmla="*/ 4207669 w 4207670"/>
              <a:gd name="connsiteY5" fmla="*/ 0 h 461138"/>
              <a:gd name="connsiteX6" fmla="*/ 4207669 w 4207670"/>
              <a:gd name="connsiteY6" fmla="*/ 172615 h 461138"/>
              <a:gd name="connsiteX7" fmla="*/ 4207670 w 4207670"/>
              <a:gd name="connsiteY7" fmla="*/ 173138 h 461138"/>
              <a:gd name="connsiteX8" fmla="*/ 3919670 w 4207670"/>
              <a:gd name="connsiteY8" fmla="*/ 461138 h 461138"/>
              <a:gd name="connsiteX9" fmla="*/ 4086357 w 4207670"/>
              <a:gd name="connsiteY9" fmla="*/ 456376 h 461138"/>
              <a:gd name="connsiteX10" fmla="*/ 0 w 4207670"/>
              <a:gd name="connsiteY10" fmla="*/ 458756 h 461138"/>
              <a:gd name="connsiteX11" fmla="*/ 0 w 4207670"/>
              <a:gd name="connsiteY11" fmla="*/ 229379 h 461138"/>
              <a:gd name="connsiteX12" fmla="*/ 0 w 4207670"/>
              <a:gd name="connsiteY12" fmla="*/ 0 h 461138"/>
              <a:gd name="connsiteX0" fmla="*/ 0 w 4207670"/>
              <a:gd name="connsiteY0" fmla="*/ 0 h 458756"/>
              <a:gd name="connsiteX1" fmla="*/ 245874 w 4207670"/>
              <a:gd name="connsiteY1" fmla="*/ 0 h 458756"/>
              <a:gd name="connsiteX2" fmla="*/ 3919668 w 4207670"/>
              <a:gd name="connsiteY2" fmla="*/ 0 h 458756"/>
              <a:gd name="connsiteX3" fmla="*/ 4004235 w 4207670"/>
              <a:gd name="connsiteY3" fmla="*/ 0 h 458756"/>
              <a:gd name="connsiteX4" fmla="*/ 4204800 w 4207670"/>
              <a:gd name="connsiteY4" fmla="*/ 0 h 458756"/>
              <a:gd name="connsiteX5" fmla="*/ 4207669 w 4207670"/>
              <a:gd name="connsiteY5" fmla="*/ 0 h 458756"/>
              <a:gd name="connsiteX6" fmla="*/ 4207669 w 4207670"/>
              <a:gd name="connsiteY6" fmla="*/ 172615 h 458756"/>
              <a:gd name="connsiteX7" fmla="*/ 4207670 w 4207670"/>
              <a:gd name="connsiteY7" fmla="*/ 173138 h 458756"/>
              <a:gd name="connsiteX8" fmla="*/ 4086357 w 4207670"/>
              <a:gd name="connsiteY8" fmla="*/ 456376 h 458756"/>
              <a:gd name="connsiteX9" fmla="*/ 0 w 4207670"/>
              <a:gd name="connsiteY9" fmla="*/ 458756 h 458756"/>
              <a:gd name="connsiteX10" fmla="*/ 0 w 4207670"/>
              <a:gd name="connsiteY10" fmla="*/ 229379 h 458756"/>
              <a:gd name="connsiteX11" fmla="*/ 0 w 4207670"/>
              <a:gd name="connsiteY11" fmla="*/ 0 h 458756"/>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07670"/>
              <a:gd name="connsiteY0" fmla="*/ 0 h 458757"/>
              <a:gd name="connsiteX1" fmla="*/ 245874 w 4207670"/>
              <a:gd name="connsiteY1" fmla="*/ 0 h 458757"/>
              <a:gd name="connsiteX2" fmla="*/ 3919668 w 4207670"/>
              <a:gd name="connsiteY2" fmla="*/ 0 h 458757"/>
              <a:gd name="connsiteX3" fmla="*/ 4004235 w 4207670"/>
              <a:gd name="connsiteY3" fmla="*/ 0 h 458757"/>
              <a:gd name="connsiteX4" fmla="*/ 4204800 w 4207670"/>
              <a:gd name="connsiteY4" fmla="*/ 0 h 458757"/>
              <a:gd name="connsiteX5" fmla="*/ 4207669 w 4207670"/>
              <a:gd name="connsiteY5" fmla="*/ 0 h 458757"/>
              <a:gd name="connsiteX6" fmla="*/ 4207669 w 4207670"/>
              <a:gd name="connsiteY6" fmla="*/ 172615 h 458757"/>
              <a:gd name="connsiteX7" fmla="*/ 4207670 w 4207670"/>
              <a:gd name="connsiteY7" fmla="*/ 173138 h 458757"/>
              <a:gd name="connsiteX8" fmla="*/ 4086357 w 4207670"/>
              <a:gd name="connsiteY8" fmla="*/ 458757 h 458757"/>
              <a:gd name="connsiteX9" fmla="*/ 0 w 4207670"/>
              <a:gd name="connsiteY9" fmla="*/ 458756 h 458757"/>
              <a:gd name="connsiteX10" fmla="*/ 0 w 4207670"/>
              <a:gd name="connsiteY10" fmla="*/ 229379 h 458757"/>
              <a:gd name="connsiteX11" fmla="*/ 0 w 4207670"/>
              <a:gd name="connsiteY11" fmla="*/ 0 h 458757"/>
              <a:gd name="connsiteX0" fmla="*/ 0 w 4214354"/>
              <a:gd name="connsiteY0" fmla="*/ 0 h 458757"/>
              <a:gd name="connsiteX1" fmla="*/ 245874 w 4214354"/>
              <a:gd name="connsiteY1" fmla="*/ 0 h 458757"/>
              <a:gd name="connsiteX2" fmla="*/ 3919668 w 4214354"/>
              <a:gd name="connsiteY2" fmla="*/ 0 h 458757"/>
              <a:gd name="connsiteX3" fmla="*/ 4004235 w 4214354"/>
              <a:gd name="connsiteY3" fmla="*/ 0 h 458757"/>
              <a:gd name="connsiteX4" fmla="*/ 4204800 w 4214354"/>
              <a:gd name="connsiteY4" fmla="*/ 0 h 458757"/>
              <a:gd name="connsiteX5" fmla="*/ 4207669 w 4214354"/>
              <a:gd name="connsiteY5" fmla="*/ 0 h 458757"/>
              <a:gd name="connsiteX6" fmla="*/ 4207669 w 4214354"/>
              <a:gd name="connsiteY6" fmla="*/ 172615 h 458757"/>
              <a:gd name="connsiteX7" fmla="*/ 4207670 w 4214354"/>
              <a:gd name="connsiteY7" fmla="*/ 173138 h 458757"/>
              <a:gd name="connsiteX8" fmla="*/ 4086357 w 4214354"/>
              <a:gd name="connsiteY8" fmla="*/ 458757 h 458757"/>
              <a:gd name="connsiteX9" fmla="*/ 0 w 4214354"/>
              <a:gd name="connsiteY9" fmla="*/ 458756 h 458757"/>
              <a:gd name="connsiteX10" fmla="*/ 0 w 4214354"/>
              <a:gd name="connsiteY10" fmla="*/ 229379 h 458757"/>
              <a:gd name="connsiteX11" fmla="*/ 0 w 4214354"/>
              <a:gd name="connsiteY11" fmla="*/ 0 h 458757"/>
              <a:gd name="connsiteX0" fmla="*/ 0 w 4217545"/>
              <a:gd name="connsiteY0" fmla="*/ 0 h 458757"/>
              <a:gd name="connsiteX1" fmla="*/ 245874 w 4217545"/>
              <a:gd name="connsiteY1" fmla="*/ 0 h 458757"/>
              <a:gd name="connsiteX2" fmla="*/ 3919668 w 4217545"/>
              <a:gd name="connsiteY2" fmla="*/ 0 h 458757"/>
              <a:gd name="connsiteX3" fmla="*/ 4004235 w 4217545"/>
              <a:gd name="connsiteY3" fmla="*/ 0 h 458757"/>
              <a:gd name="connsiteX4" fmla="*/ 4204800 w 4217545"/>
              <a:gd name="connsiteY4" fmla="*/ 0 h 458757"/>
              <a:gd name="connsiteX5" fmla="*/ 4207669 w 4217545"/>
              <a:gd name="connsiteY5" fmla="*/ 0 h 458757"/>
              <a:gd name="connsiteX6" fmla="*/ 4207669 w 4217545"/>
              <a:gd name="connsiteY6" fmla="*/ 172615 h 458757"/>
              <a:gd name="connsiteX7" fmla="*/ 4212432 w 4217545"/>
              <a:gd name="connsiteY7" fmla="*/ 292201 h 458757"/>
              <a:gd name="connsiteX8" fmla="*/ 4086357 w 4217545"/>
              <a:gd name="connsiteY8" fmla="*/ 458757 h 458757"/>
              <a:gd name="connsiteX9" fmla="*/ 0 w 4217545"/>
              <a:gd name="connsiteY9" fmla="*/ 458756 h 458757"/>
              <a:gd name="connsiteX10" fmla="*/ 0 w 4217545"/>
              <a:gd name="connsiteY10" fmla="*/ 229379 h 458757"/>
              <a:gd name="connsiteX11" fmla="*/ 0 w 4217545"/>
              <a:gd name="connsiteY11" fmla="*/ 0 h 458757"/>
              <a:gd name="connsiteX0" fmla="*/ 0 w 4216499"/>
              <a:gd name="connsiteY0" fmla="*/ 0 h 458757"/>
              <a:gd name="connsiteX1" fmla="*/ 245874 w 4216499"/>
              <a:gd name="connsiteY1" fmla="*/ 0 h 458757"/>
              <a:gd name="connsiteX2" fmla="*/ 3919668 w 4216499"/>
              <a:gd name="connsiteY2" fmla="*/ 0 h 458757"/>
              <a:gd name="connsiteX3" fmla="*/ 4004235 w 4216499"/>
              <a:gd name="connsiteY3" fmla="*/ 0 h 458757"/>
              <a:gd name="connsiteX4" fmla="*/ 4204800 w 4216499"/>
              <a:gd name="connsiteY4" fmla="*/ 0 h 458757"/>
              <a:gd name="connsiteX5" fmla="*/ 4207669 w 4216499"/>
              <a:gd name="connsiteY5" fmla="*/ 0 h 458757"/>
              <a:gd name="connsiteX6" fmla="*/ 4207669 w 4216499"/>
              <a:gd name="connsiteY6" fmla="*/ 172615 h 458757"/>
              <a:gd name="connsiteX7" fmla="*/ 4212432 w 4216499"/>
              <a:gd name="connsiteY7" fmla="*/ 292201 h 458757"/>
              <a:gd name="connsiteX8" fmla="*/ 4086357 w 4216499"/>
              <a:gd name="connsiteY8" fmla="*/ 458757 h 458757"/>
              <a:gd name="connsiteX9" fmla="*/ 0 w 4216499"/>
              <a:gd name="connsiteY9" fmla="*/ 458756 h 458757"/>
              <a:gd name="connsiteX10" fmla="*/ 0 w 4216499"/>
              <a:gd name="connsiteY10" fmla="*/ 229379 h 458757"/>
              <a:gd name="connsiteX11" fmla="*/ 0 w 4216499"/>
              <a:gd name="connsiteY11" fmla="*/ 0 h 458757"/>
              <a:gd name="connsiteX0" fmla="*/ 0 w 4218593"/>
              <a:gd name="connsiteY0" fmla="*/ 0 h 458757"/>
              <a:gd name="connsiteX1" fmla="*/ 245874 w 4218593"/>
              <a:gd name="connsiteY1" fmla="*/ 0 h 458757"/>
              <a:gd name="connsiteX2" fmla="*/ 3919668 w 4218593"/>
              <a:gd name="connsiteY2" fmla="*/ 0 h 458757"/>
              <a:gd name="connsiteX3" fmla="*/ 4004235 w 4218593"/>
              <a:gd name="connsiteY3" fmla="*/ 0 h 458757"/>
              <a:gd name="connsiteX4" fmla="*/ 4204800 w 4218593"/>
              <a:gd name="connsiteY4" fmla="*/ 0 h 458757"/>
              <a:gd name="connsiteX5" fmla="*/ 4207669 w 4218593"/>
              <a:gd name="connsiteY5" fmla="*/ 0 h 458757"/>
              <a:gd name="connsiteX6" fmla="*/ 4207669 w 4218593"/>
              <a:gd name="connsiteY6" fmla="*/ 172615 h 458757"/>
              <a:gd name="connsiteX7" fmla="*/ 4212432 w 4218593"/>
              <a:gd name="connsiteY7" fmla="*/ 292201 h 458757"/>
              <a:gd name="connsiteX8" fmla="*/ 4086357 w 4218593"/>
              <a:gd name="connsiteY8" fmla="*/ 458757 h 458757"/>
              <a:gd name="connsiteX9" fmla="*/ 0 w 4218593"/>
              <a:gd name="connsiteY9" fmla="*/ 458756 h 458757"/>
              <a:gd name="connsiteX10" fmla="*/ 0 w 4218593"/>
              <a:gd name="connsiteY10" fmla="*/ 229379 h 458757"/>
              <a:gd name="connsiteX11" fmla="*/ 0 w 42185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292201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3903"/>
              <a:gd name="connsiteY0" fmla="*/ 0 h 462682"/>
              <a:gd name="connsiteX1" fmla="*/ 245874 w 4213903"/>
              <a:gd name="connsiteY1" fmla="*/ 0 h 462682"/>
              <a:gd name="connsiteX2" fmla="*/ 3919668 w 4213903"/>
              <a:gd name="connsiteY2" fmla="*/ 0 h 462682"/>
              <a:gd name="connsiteX3" fmla="*/ 4004235 w 4213903"/>
              <a:gd name="connsiteY3" fmla="*/ 0 h 462682"/>
              <a:gd name="connsiteX4" fmla="*/ 4204800 w 4213903"/>
              <a:gd name="connsiteY4" fmla="*/ 0 h 462682"/>
              <a:gd name="connsiteX5" fmla="*/ 4207669 w 4213903"/>
              <a:gd name="connsiteY5" fmla="*/ 0 h 462682"/>
              <a:gd name="connsiteX6" fmla="*/ 4207669 w 4213903"/>
              <a:gd name="connsiteY6" fmla="*/ 172615 h 462682"/>
              <a:gd name="connsiteX7" fmla="*/ 4212432 w 4213903"/>
              <a:gd name="connsiteY7" fmla="*/ 320776 h 462682"/>
              <a:gd name="connsiteX8" fmla="*/ 4086357 w 4213903"/>
              <a:gd name="connsiteY8" fmla="*/ 458757 h 462682"/>
              <a:gd name="connsiteX9" fmla="*/ 0 w 4213903"/>
              <a:gd name="connsiteY9" fmla="*/ 458756 h 462682"/>
              <a:gd name="connsiteX10" fmla="*/ 0 w 4213903"/>
              <a:gd name="connsiteY10" fmla="*/ 229379 h 462682"/>
              <a:gd name="connsiteX11" fmla="*/ 0 w 4213903"/>
              <a:gd name="connsiteY11" fmla="*/ 0 h 462682"/>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07669 w 4213903"/>
              <a:gd name="connsiteY6" fmla="*/ 172615 h 458757"/>
              <a:gd name="connsiteX7" fmla="*/ 4212432 w 4213903"/>
              <a:gd name="connsiteY7" fmla="*/ 320776 h 458757"/>
              <a:gd name="connsiteX8" fmla="*/ 4086357 w 4213903"/>
              <a:gd name="connsiteY8" fmla="*/ 458757 h 458757"/>
              <a:gd name="connsiteX9" fmla="*/ 0 w 4213903"/>
              <a:gd name="connsiteY9" fmla="*/ 458756 h 458757"/>
              <a:gd name="connsiteX10" fmla="*/ 0 w 4213903"/>
              <a:gd name="connsiteY10" fmla="*/ 229379 h 458757"/>
              <a:gd name="connsiteX11" fmla="*/ 0 w 4213903"/>
              <a:gd name="connsiteY11" fmla="*/ 0 h 458757"/>
              <a:gd name="connsiteX0" fmla="*/ 0 w 4214812"/>
              <a:gd name="connsiteY0" fmla="*/ 0 h 458757"/>
              <a:gd name="connsiteX1" fmla="*/ 245874 w 4214812"/>
              <a:gd name="connsiteY1" fmla="*/ 0 h 458757"/>
              <a:gd name="connsiteX2" fmla="*/ 3919668 w 4214812"/>
              <a:gd name="connsiteY2" fmla="*/ 0 h 458757"/>
              <a:gd name="connsiteX3" fmla="*/ 4004235 w 4214812"/>
              <a:gd name="connsiteY3" fmla="*/ 0 h 458757"/>
              <a:gd name="connsiteX4" fmla="*/ 4204800 w 4214812"/>
              <a:gd name="connsiteY4" fmla="*/ 0 h 458757"/>
              <a:gd name="connsiteX5" fmla="*/ 4207669 w 4214812"/>
              <a:gd name="connsiteY5" fmla="*/ 0 h 458757"/>
              <a:gd name="connsiteX6" fmla="*/ 4214812 w 4214812"/>
              <a:gd name="connsiteY6" fmla="*/ 70221 h 458757"/>
              <a:gd name="connsiteX7" fmla="*/ 4212432 w 4214812"/>
              <a:gd name="connsiteY7" fmla="*/ 320776 h 458757"/>
              <a:gd name="connsiteX8" fmla="*/ 4086357 w 4214812"/>
              <a:gd name="connsiteY8" fmla="*/ 458757 h 458757"/>
              <a:gd name="connsiteX9" fmla="*/ 0 w 4214812"/>
              <a:gd name="connsiteY9" fmla="*/ 458756 h 458757"/>
              <a:gd name="connsiteX10" fmla="*/ 0 w 4214812"/>
              <a:gd name="connsiteY10" fmla="*/ 229379 h 458757"/>
              <a:gd name="connsiteX11" fmla="*/ 0 w 4214812"/>
              <a:gd name="connsiteY11" fmla="*/ 0 h 458757"/>
              <a:gd name="connsiteX0" fmla="*/ 0 w 4255293"/>
              <a:gd name="connsiteY0" fmla="*/ 0 h 458757"/>
              <a:gd name="connsiteX1" fmla="*/ 245874 w 4255293"/>
              <a:gd name="connsiteY1" fmla="*/ 0 h 458757"/>
              <a:gd name="connsiteX2" fmla="*/ 3919668 w 4255293"/>
              <a:gd name="connsiteY2" fmla="*/ 0 h 458757"/>
              <a:gd name="connsiteX3" fmla="*/ 4004235 w 4255293"/>
              <a:gd name="connsiteY3" fmla="*/ 0 h 458757"/>
              <a:gd name="connsiteX4" fmla="*/ 4204800 w 4255293"/>
              <a:gd name="connsiteY4" fmla="*/ 0 h 458757"/>
              <a:gd name="connsiteX5" fmla="*/ 4207669 w 4255293"/>
              <a:gd name="connsiteY5" fmla="*/ 0 h 458757"/>
              <a:gd name="connsiteX6" fmla="*/ 4255293 w 4255293"/>
              <a:gd name="connsiteY6" fmla="*/ 117846 h 458757"/>
              <a:gd name="connsiteX7" fmla="*/ 4212432 w 4255293"/>
              <a:gd name="connsiteY7" fmla="*/ 320776 h 458757"/>
              <a:gd name="connsiteX8" fmla="*/ 4086357 w 4255293"/>
              <a:gd name="connsiteY8" fmla="*/ 458757 h 458757"/>
              <a:gd name="connsiteX9" fmla="*/ 0 w 4255293"/>
              <a:gd name="connsiteY9" fmla="*/ 458756 h 458757"/>
              <a:gd name="connsiteX10" fmla="*/ 0 w 4255293"/>
              <a:gd name="connsiteY10" fmla="*/ 229379 h 458757"/>
              <a:gd name="connsiteX11" fmla="*/ 0 w 4255293"/>
              <a:gd name="connsiteY11" fmla="*/ 0 h 458757"/>
              <a:gd name="connsiteX0" fmla="*/ 0 w 4213903"/>
              <a:gd name="connsiteY0" fmla="*/ 0 h 458757"/>
              <a:gd name="connsiteX1" fmla="*/ 245874 w 4213903"/>
              <a:gd name="connsiteY1" fmla="*/ 0 h 458757"/>
              <a:gd name="connsiteX2" fmla="*/ 3919668 w 4213903"/>
              <a:gd name="connsiteY2" fmla="*/ 0 h 458757"/>
              <a:gd name="connsiteX3" fmla="*/ 4004235 w 4213903"/>
              <a:gd name="connsiteY3" fmla="*/ 0 h 458757"/>
              <a:gd name="connsiteX4" fmla="*/ 4204800 w 4213903"/>
              <a:gd name="connsiteY4" fmla="*/ 0 h 458757"/>
              <a:gd name="connsiteX5" fmla="*/ 4207669 w 4213903"/>
              <a:gd name="connsiteY5" fmla="*/ 0 h 458757"/>
              <a:gd name="connsiteX6" fmla="*/ 4212432 w 4213903"/>
              <a:gd name="connsiteY6" fmla="*/ 320776 h 458757"/>
              <a:gd name="connsiteX7" fmla="*/ 4086357 w 4213903"/>
              <a:gd name="connsiteY7" fmla="*/ 458757 h 458757"/>
              <a:gd name="connsiteX8" fmla="*/ 0 w 4213903"/>
              <a:gd name="connsiteY8" fmla="*/ 458756 h 458757"/>
              <a:gd name="connsiteX9" fmla="*/ 0 w 4213903"/>
              <a:gd name="connsiteY9" fmla="*/ 229379 h 458757"/>
              <a:gd name="connsiteX10" fmla="*/ 0 w 4213903"/>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7205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757"/>
              <a:gd name="connsiteX1" fmla="*/ 245874 w 4212432"/>
              <a:gd name="connsiteY1" fmla="*/ 0 h 458757"/>
              <a:gd name="connsiteX2" fmla="*/ 3919668 w 4212432"/>
              <a:gd name="connsiteY2" fmla="*/ 0 h 458757"/>
              <a:gd name="connsiteX3" fmla="*/ 4004235 w 4212432"/>
              <a:gd name="connsiteY3" fmla="*/ 0 h 458757"/>
              <a:gd name="connsiteX4" fmla="*/ 4204800 w 4212432"/>
              <a:gd name="connsiteY4" fmla="*/ 0 h 458757"/>
              <a:gd name="connsiteX5" fmla="*/ 4207669 w 4212432"/>
              <a:gd name="connsiteY5" fmla="*/ 0 h 458757"/>
              <a:gd name="connsiteX6" fmla="*/ 4212432 w 4212432"/>
              <a:gd name="connsiteY6" fmla="*/ 320776 h 458757"/>
              <a:gd name="connsiteX7" fmla="*/ 3914907 w 4212432"/>
              <a:gd name="connsiteY7" fmla="*/ 458757 h 458757"/>
              <a:gd name="connsiteX8" fmla="*/ 0 w 4212432"/>
              <a:gd name="connsiteY8" fmla="*/ 458756 h 458757"/>
              <a:gd name="connsiteX9" fmla="*/ 0 w 4212432"/>
              <a:gd name="connsiteY9" fmla="*/ 229379 h 458757"/>
              <a:gd name="connsiteX10" fmla="*/ 0 w 4212432"/>
              <a:gd name="connsiteY10" fmla="*/ 0 h 458757"/>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4907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38720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12432"/>
              <a:gd name="connsiteY0" fmla="*/ 0 h 458896"/>
              <a:gd name="connsiteX1" fmla="*/ 245874 w 4212432"/>
              <a:gd name="connsiteY1" fmla="*/ 0 h 458896"/>
              <a:gd name="connsiteX2" fmla="*/ 3919668 w 4212432"/>
              <a:gd name="connsiteY2" fmla="*/ 0 h 458896"/>
              <a:gd name="connsiteX3" fmla="*/ 4004235 w 4212432"/>
              <a:gd name="connsiteY3" fmla="*/ 0 h 458896"/>
              <a:gd name="connsiteX4" fmla="*/ 4204800 w 4212432"/>
              <a:gd name="connsiteY4" fmla="*/ 0 h 458896"/>
              <a:gd name="connsiteX5" fmla="*/ 4207669 w 4212432"/>
              <a:gd name="connsiteY5" fmla="*/ 0 h 458896"/>
              <a:gd name="connsiteX6" fmla="*/ 4212432 w 4212432"/>
              <a:gd name="connsiteY6" fmla="*/ 320776 h 458896"/>
              <a:gd name="connsiteX7" fmla="*/ 3912526 w 4212432"/>
              <a:gd name="connsiteY7" fmla="*/ 458757 h 458896"/>
              <a:gd name="connsiteX8" fmla="*/ 0 w 4212432"/>
              <a:gd name="connsiteY8" fmla="*/ 458756 h 458896"/>
              <a:gd name="connsiteX9" fmla="*/ 0 w 4212432"/>
              <a:gd name="connsiteY9" fmla="*/ 229379 h 458896"/>
              <a:gd name="connsiteX10" fmla="*/ 0 w 4212432"/>
              <a:gd name="connsiteY10" fmla="*/ 0 h 458896"/>
              <a:gd name="connsiteX0" fmla="*/ 0 w 4208127"/>
              <a:gd name="connsiteY0" fmla="*/ 0 h 459153"/>
              <a:gd name="connsiteX1" fmla="*/ 245874 w 4208127"/>
              <a:gd name="connsiteY1" fmla="*/ 0 h 459153"/>
              <a:gd name="connsiteX2" fmla="*/ 3919668 w 4208127"/>
              <a:gd name="connsiteY2" fmla="*/ 0 h 459153"/>
              <a:gd name="connsiteX3" fmla="*/ 4004235 w 4208127"/>
              <a:gd name="connsiteY3" fmla="*/ 0 h 459153"/>
              <a:gd name="connsiteX4" fmla="*/ 4204800 w 4208127"/>
              <a:gd name="connsiteY4" fmla="*/ 0 h 459153"/>
              <a:gd name="connsiteX5" fmla="*/ 4207669 w 4208127"/>
              <a:gd name="connsiteY5" fmla="*/ 0 h 459153"/>
              <a:gd name="connsiteX6" fmla="*/ 4207670 w 4208127"/>
              <a:gd name="connsiteY6" fmla="*/ 325539 h 459153"/>
              <a:gd name="connsiteX7" fmla="*/ 3912526 w 4208127"/>
              <a:gd name="connsiteY7" fmla="*/ 458757 h 459153"/>
              <a:gd name="connsiteX8" fmla="*/ 0 w 4208127"/>
              <a:gd name="connsiteY8" fmla="*/ 458756 h 459153"/>
              <a:gd name="connsiteX9" fmla="*/ 0 w 4208127"/>
              <a:gd name="connsiteY9" fmla="*/ 229379 h 459153"/>
              <a:gd name="connsiteX10" fmla="*/ 0 w 4208127"/>
              <a:gd name="connsiteY10" fmla="*/ 0 h 459153"/>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004235 w 4212432"/>
              <a:gd name="connsiteY3" fmla="*/ 0 h 459346"/>
              <a:gd name="connsiteX4" fmla="*/ 4204800 w 4212432"/>
              <a:gd name="connsiteY4" fmla="*/ 0 h 459346"/>
              <a:gd name="connsiteX5" fmla="*/ 4207669 w 4212432"/>
              <a:gd name="connsiteY5" fmla="*/ 0 h 459346"/>
              <a:gd name="connsiteX6" fmla="*/ 4212432 w 4212432"/>
              <a:gd name="connsiteY6" fmla="*/ 327921 h 459346"/>
              <a:gd name="connsiteX7" fmla="*/ 3912526 w 4212432"/>
              <a:gd name="connsiteY7" fmla="*/ 458757 h 459346"/>
              <a:gd name="connsiteX8" fmla="*/ 0 w 4212432"/>
              <a:gd name="connsiteY8" fmla="*/ 458756 h 459346"/>
              <a:gd name="connsiteX9" fmla="*/ 0 w 4212432"/>
              <a:gd name="connsiteY9" fmla="*/ 229379 h 459346"/>
              <a:gd name="connsiteX10" fmla="*/ 0 w 4212432"/>
              <a:gd name="connsiteY10" fmla="*/ 0 h 459346"/>
              <a:gd name="connsiteX0" fmla="*/ 0 w 4212432"/>
              <a:gd name="connsiteY0" fmla="*/ 0 h 459346"/>
              <a:gd name="connsiteX1" fmla="*/ 245874 w 4212432"/>
              <a:gd name="connsiteY1" fmla="*/ 0 h 459346"/>
              <a:gd name="connsiteX2" fmla="*/ 3919668 w 4212432"/>
              <a:gd name="connsiteY2" fmla="*/ 0 h 459346"/>
              <a:gd name="connsiteX3" fmla="*/ 4204800 w 4212432"/>
              <a:gd name="connsiteY3" fmla="*/ 0 h 459346"/>
              <a:gd name="connsiteX4" fmla="*/ 4207669 w 4212432"/>
              <a:gd name="connsiteY4" fmla="*/ 0 h 459346"/>
              <a:gd name="connsiteX5" fmla="*/ 4212432 w 4212432"/>
              <a:gd name="connsiteY5" fmla="*/ 327921 h 459346"/>
              <a:gd name="connsiteX6" fmla="*/ 3912526 w 4212432"/>
              <a:gd name="connsiteY6" fmla="*/ 458757 h 459346"/>
              <a:gd name="connsiteX7" fmla="*/ 0 w 4212432"/>
              <a:gd name="connsiteY7" fmla="*/ 458756 h 459346"/>
              <a:gd name="connsiteX8" fmla="*/ 0 w 4212432"/>
              <a:gd name="connsiteY8" fmla="*/ 229379 h 459346"/>
              <a:gd name="connsiteX9" fmla="*/ 0 w 4212432"/>
              <a:gd name="connsiteY9" fmla="*/ 0 h 459346"/>
              <a:gd name="connsiteX0" fmla="*/ 0 w 4212432"/>
              <a:gd name="connsiteY0" fmla="*/ 0 h 459346"/>
              <a:gd name="connsiteX1" fmla="*/ 245874 w 4212432"/>
              <a:gd name="connsiteY1" fmla="*/ 0 h 459346"/>
              <a:gd name="connsiteX2" fmla="*/ 4204800 w 4212432"/>
              <a:gd name="connsiteY2" fmla="*/ 0 h 459346"/>
              <a:gd name="connsiteX3" fmla="*/ 4207669 w 4212432"/>
              <a:gd name="connsiteY3" fmla="*/ 0 h 459346"/>
              <a:gd name="connsiteX4" fmla="*/ 4212432 w 4212432"/>
              <a:gd name="connsiteY4" fmla="*/ 327921 h 459346"/>
              <a:gd name="connsiteX5" fmla="*/ 3912526 w 4212432"/>
              <a:gd name="connsiteY5" fmla="*/ 458757 h 459346"/>
              <a:gd name="connsiteX6" fmla="*/ 0 w 4212432"/>
              <a:gd name="connsiteY6" fmla="*/ 458756 h 459346"/>
              <a:gd name="connsiteX7" fmla="*/ 0 w 4212432"/>
              <a:gd name="connsiteY7" fmla="*/ 229379 h 459346"/>
              <a:gd name="connsiteX8" fmla="*/ 0 w 4212432"/>
              <a:gd name="connsiteY8" fmla="*/ 0 h 459346"/>
              <a:gd name="connsiteX0" fmla="*/ 0 w 4212432"/>
              <a:gd name="connsiteY0" fmla="*/ 0 h 459346"/>
              <a:gd name="connsiteX1" fmla="*/ 245874 w 4212432"/>
              <a:gd name="connsiteY1" fmla="*/ 0 h 459346"/>
              <a:gd name="connsiteX2" fmla="*/ 4204800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9346"/>
              <a:gd name="connsiteX1" fmla="*/ 245874 w 4212432"/>
              <a:gd name="connsiteY1" fmla="*/ 0 h 459346"/>
              <a:gd name="connsiteX2" fmla="*/ 4209575 w 4212432"/>
              <a:gd name="connsiteY2" fmla="*/ 2381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28712"/>
              <a:gd name="connsiteY0" fmla="*/ 0 h 459346"/>
              <a:gd name="connsiteX1" fmla="*/ 245874 w 4228712"/>
              <a:gd name="connsiteY1" fmla="*/ 0 h 459346"/>
              <a:gd name="connsiteX2" fmla="*/ 4228676 w 4228712"/>
              <a:gd name="connsiteY2" fmla="*/ 2381 h 459346"/>
              <a:gd name="connsiteX3" fmla="*/ 4212432 w 4228712"/>
              <a:gd name="connsiteY3" fmla="*/ 327921 h 459346"/>
              <a:gd name="connsiteX4" fmla="*/ 3912526 w 4228712"/>
              <a:gd name="connsiteY4" fmla="*/ 458757 h 459346"/>
              <a:gd name="connsiteX5" fmla="*/ 0 w 4228712"/>
              <a:gd name="connsiteY5" fmla="*/ 458756 h 459346"/>
              <a:gd name="connsiteX6" fmla="*/ 0 w 4228712"/>
              <a:gd name="connsiteY6" fmla="*/ 229379 h 459346"/>
              <a:gd name="connsiteX7" fmla="*/ 0 w 4228712"/>
              <a:gd name="connsiteY7" fmla="*/ 0 h 459346"/>
              <a:gd name="connsiteX0" fmla="*/ 0 w 4212432"/>
              <a:gd name="connsiteY0" fmla="*/ 0 h 459346"/>
              <a:gd name="connsiteX1" fmla="*/ 245874 w 4212432"/>
              <a:gd name="connsiteY1" fmla="*/ 0 h 459346"/>
              <a:gd name="connsiteX2" fmla="*/ 4211962 w 4212432"/>
              <a:gd name="connsiteY2" fmla="*/ 0 h 459346"/>
              <a:gd name="connsiteX3" fmla="*/ 4212432 w 4212432"/>
              <a:gd name="connsiteY3" fmla="*/ 327921 h 459346"/>
              <a:gd name="connsiteX4" fmla="*/ 3912526 w 4212432"/>
              <a:gd name="connsiteY4" fmla="*/ 458757 h 459346"/>
              <a:gd name="connsiteX5" fmla="*/ 0 w 4212432"/>
              <a:gd name="connsiteY5" fmla="*/ 458756 h 459346"/>
              <a:gd name="connsiteX6" fmla="*/ 0 w 4212432"/>
              <a:gd name="connsiteY6" fmla="*/ 229379 h 459346"/>
              <a:gd name="connsiteX7" fmla="*/ 0 w 4212432"/>
              <a:gd name="connsiteY7" fmla="*/ 0 h 45934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1 h 458757"/>
              <a:gd name="connsiteX4" fmla="*/ 3912526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879"/>
              <a:gd name="connsiteX1" fmla="*/ 245874 w 4212432"/>
              <a:gd name="connsiteY1" fmla="*/ 0 h 458879"/>
              <a:gd name="connsiteX2" fmla="*/ 4211962 w 4212432"/>
              <a:gd name="connsiteY2" fmla="*/ 0 h 458879"/>
              <a:gd name="connsiteX3" fmla="*/ 4212432 w 4212432"/>
              <a:gd name="connsiteY3" fmla="*/ 308871 h 458879"/>
              <a:gd name="connsiteX4" fmla="*/ 3912526 w 4212432"/>
              <a:gd name="connsiteY4" fmla="*/ 458757 h 458879"/>
              <a:gd name="connsiteX5" fmla="*/ 0 w 4212432"/>
              <a:gd name="connsiteY5" fmla="*/ 458756 h 458879"/>
              <a:gd name="connsiteX6" fmla="*/ 0 w 4212432"/>
              <a:gd name="connsiteY6" fmla="*/ 229379 h 458879"/>
              <a:gd name="connsiteX7" fmla="*/ 0 w 4212432"/>
              <a:gd name="connsiteY7" fmla="*/ 0 h 458879"/>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308871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6"/>
              <a:gd name="connsiteX1" fmla="*/ 245874 w 4212432"/>
              <a:gd name="connsiteY1" fmla="*/ 0 h 458756"/>
              <a:gd name="connsiteX2" fmla="*/ 4211962 w 4212432"/>
              <a:gd name="connsiteY2" fmla="*/ 0 h 458756"/>
              <a:gd name="connsiteX3" fmla="*/ 4212432 w 4212432"/>
              <a:gd name="connsiteY3" fmla="*/ 287440 h 458756"/>
              <a:gd name="connsiteX4" fmla="*/ 3926852 w 4212432"/>
              <a:gd name="connsiteY4" fmla="*/ 456376 h 458756"/>
              <a:gd name="connsiteX5" fmla="*/ 0 w 4212432"/>
              <a:gd name="connsiteY5" fmla="*/ 458756 h 458756"/>
              <a:gd name="connsiteX6" fmla="*/ 0 w 4212432"/>
              <a:gd name="connsiteY6" fmla="*/ 229379 h 458756"/>
              <a:gd name="connsiteX7" fmla="*/ 0 w 4212432"/>
              <a:gd name="connsiteY7" fmla="*/ 0 h 458756"/>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287440 h 458757"/>
              <a:gd name="connsiteX4" fmla="*/ 3969829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65017 h 523774"/>
              <a:gd name="connsiteX1" fmla="*/ 245874 w 4212432"/>
              <a:gd name="connsiteY1" fmla="*/ 65017 h 523774"/>
              <a:gd name="connsiteX2" fmla="*/ 4211962 w 4212432"/>
              <a:gd name="connsiteY2" fmla="*/ 65017 h 523774"/>
              <a:gd name="connsiteX3" fmla="*/ 4212432 w 4212432"/>
              <a:gd name="connsiteY3" fmla="*/ 352457 h 523774"/>
              <a:gd name="connsiteX4" fmla="*/ 3969829 w 4212432"/>
              <a:gd name="connsiteY4" fmla="*/ 523774 h 523774"/>
              <a:gd name="connsiteX5" fmla="*/ 0 w 4212432"/>
              <a:gd name="connsiteY5" fmla="*/ 523773 h 523774"/>
              <a:gd name="connsiteX6" fmla="*/ 0 w 4212432"/>
              <a:gd name="connsiteY6" fmla="*/ 294396 h 523774"/>
              <a:gd name="connsiteX7" fmla="*/ 0 w 4212432"/>
              <a:gd name="connsiteY7" fmla="*/ 65017 h 523774"/>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432"/>
              <a:gd name="connsiteY0" fmla="*/ 65017 h 526156"/>
              <a:gd name="connsiteX1" fmla="*/ 245874 w 4212432"/>
              <a:gd name="connsiteY1" fmla="*/ 65017 h 526156"/>
              <a:gd name="connsiteX2" fmla="*/ 4211962 w 4212432"/>
              <a:gd name="connsiteY2" fmla="*/ 65017 h 526156"/>
              <a:gd name="connsiteX3" fmla="*/ 4212432 w 4212432"/>
              <a:gd name="connsiteY3" fmla="*/ 352457 h 526156"/>
              <a:gd name="connsiteX4" fmla="*/ 3969829 w 4212432"/>
              <a:gd name="connsiteY4" fmla="*/ 523774 h 526156"/>
              <a:gd name="connsiteX5" fmla="*/ 0 w 4212432"/>
              <a:gd name="connsiteY5" fmla="*/ 523773 h 526156"/>
              <a:gd name="connsiteX6" fmla="*/ 0 w 4212432"/>
              <a:gd name="connsiteY6" fmla="*/ 294396 h 526156"/>
              <a:gd name="connsiteX7" fmla="*/ 0 w 4212432"/>
              <a:gd name="connsiteY7" fmla="*/ 65017 h 526156"/>
              <a:gd name="connsiteX0" fmla="*/ 0 w 4212783"/>
              <a:gd name="connsiteY0" fmla="*/ 65017 h 526518"/>
              <a:gd name="connsiteX1" fmla="*/ 245874 w 4212783"/>
              <a:gd name="connsiteY1" fmla="*/ 65017 h 526518"/>
              <a:gd name="connsiteX2" fmla="*/ 4211962 w 4212783"/>
              <a:gd name="connsiteY2" fmla="*/ 65017 h 526518"/>
              <a:gd name="connsiteX3" fmla="*/ 4212432 w 4212783"/>
              <a:gd name="connsiteY3" fmla="*/ 352457 h 526518"/>
              <a:gd name="connsiteX4" fmla="*/ 3969829 w 4212783"/>
              <a:gd name="connsiteY4" fmla="*/ 523774 h 526518"/>
              <a:gd name="connsiteX5" fmla="*/ 0 w 4212783"/>
              <a:gd name="connsiteY5" fmla="*/ 523773 h 526518"/>
              <a:gd name="connsiteX6" fmla="*/ 0 w 4212783"/>
              <a:gd name="connsiteY6" fmla="*/ 294396 h 526518"/>
              <a:gd name="connsiteX7" fmla="*/ 0 w 4212783"/>
              <a:gd name="connsiteY7" fmla="*/ 65017 h 526518"/>
              <a:gd name="connsiteX0" fmla="*/ 0 w 4212806"/>
              <a:gd name="connsiteY0" fmla="*/ 65017 h 526518"/>
              <a:gd name="connsiteX1" fmla="*/ 245874 w 4212806"/>
              <a:gd name="connsiteY1" fmla="*/ 65017 h 526518"/>
              <a:gd name="connsiteX2" fmla="*/ 4211962 w 4212806"/>
              <a:gd name="connsiteY2" fmla="*/ 65017 h 526518"/>
              <a:gd name="connsiteX3" fmla="*/ 4212432 w 4212806"/>
              <a:gd name="connsiteY3" fmla="*/ 352457 h 526518"/>
              <a:gd name="connsiteX4" fmla="*/ 3976992 w 4212806"/>
              <a:gd name="connsiteY4" fmla="*/ 523774 h 526518"/>
              <a:gd name="connsiteX5" fmla="*/ 0 w 4212806"/>
              <a:gd name="connsiteY5" fmla="*/ 523773 h 526518"/>
              <a:gd name="connsiteX6" fmla="*/ 0 w 4212806"/>
              <a:gd name="connsiteY6" fmla="*/ 294396 h 526518"/>
              <a:gd name="connsiteX7" fmla="*/ 0 w 4212806"/>
              <a:gd name="connsiteY7" fmla="*/ 65017 h 526518"/>
              <a:gd name="connsiteX0" fmla="*/ 0 w 4212707"/>
              <a:gd name="connsiteY0" fmla="*/ 65017 h 526518"/>
              <a:gd name="connsiteX1" fmla="*/ 245874 w 4212707"/>
              <a:gd name="connsiteY1" fmla="*/ 65017 h 526518"/>
              <a:gd name="connsiteX2" fmla="*/ 4211962 w 4212707"/>
              <a:gd name="connsiteY2" fmla="*/ 65017 h 526518"/>
              <a:gd name="connsiteX3" fmla="*/ 4212432 w 4212707"/>
              <a:gd name="connsiteY3" fmla="*/ 352457 h 526518"/>
              <a:gd name="connsiteX4" fmla="*/ 3976992 w 4212707"/>
              <a:gd name="connsiteY4" fmla="*/ 523774 h 526518"/>
              <a:gd name="connsiteX5" fmla="*/ 0 w 4212707"/>
              <a:gd name="connsiteY5" fmla="*/ 523773 h 526518"/>
              <a:gd name="connsiteX6" fmla="*/ 0 w 4212707"/>
              <a:gd name="connsiteY6" fmla="*/ 294396 h 526518"/>
              <a:gd name="connsiteX7" fmla="*/ 0 w 4212707"/>
              <a:gd name="connsiteY7" fmla="*/ 65017 h 526518"/>
              <a:gd name="connsiteX0" fmla="*/ 0 w 4212432"/>
              <a:gd name="connsiteY0" fmla="*/ 65017 h 527310"/>
              <a:gd name="connsiteX1" fmla="*/ 245874 w 4212432"/>
              <a:gd name="connsiteY1" fmla="*/ 65017 h 527310"/>
              <a:gd name="connsiteX2" fmla="*/ 4211962 w 4212432"/>
              <a:gd name="connsiteY2" fmla="*/ 65017 h 527310"/>
              <a:gd name="connsiteX3" fmla="*/ 4212432 w 4212432"/>
              <a:gd name="connsiteY3" fmla="*/ 352457 h 527310"/>
              <a:gd name="connsiteX4" fmla="*/ 3976992 w 4212432"/>
              <a:gd name="connsiteY4" fmla="*/ 523774 h 527310"/>
              <a:gd name="connsiteX5" fmla="*/ 0 w 4212432"/>
              <a:gd name="connsiteY5" fmla="*/ 523773 h 527310"/>
              <a:gd name="connsiteX6" fmla="*/ 0 w 4212432"/>
              <a:gd name="connsiteY6" fmla="*/ 294396 h 527310"/>
              <a:gd name="connsiteX7" fmla="*/ 0 w 4212432"/>
              <a:gd name="connsiteY7" fmla="*/ 65017 h 527310"/>
              <a:gd name="connsiteX0" fmla="*/ 0 w 4212432"/>
              <a:gd name="connsiteY0" fmla="*/ 254931 h 717224"/>
              <a:gd name="connsiteX1" fmla="*/ 245874 w 4212432"/>
              <a:gd name="connsiteY1" fmla="*/ 254931 h 717224"/>
              <a:gd name="connsiteX2" fmla="*/ 4211962 w 4212432"/>
              <a:gd name="connsiteY2" fmla="*/ 254931 h 717224"/>
              <a:gd name="connsiteX3" fmla="*/ 4212432 w 4212432"/>
              <a:gd name="connsiteY3" fmla="*/ 542371 h 717224"/>
              <a:gd name="connsiteX4" fmla="*/ 3976992 w 4212432"/>
              <a:gd name="connsiteY4" fmla="*/ 713688 h 717224"/>
              <a:gd name="connsiteX5" fmla="*/ 0 w 4212432"/>
              <a:gd name="connsiteY5" fmla="*/ 713687 h 717224"/>
              <a:gd name="connsiteX6" fmla="*/ 0 w 4212432"/>
              <a:gd name="connsiteY6" fmla="*/ 484310 h 717224"/>
              <a:gd name="connsiteX7" fmla="*/ 0 w 4212432"/>
              <a:gd name="connsiteY7" fmla="*/ 254931 h 717224"/>
              <a:gd name="connsiteX0" fmla="*/ 0 w 4212432"/>
              <a:gd name="connsiteY0" fmla="*/ 254931 h 714629"/>
              <a:gd name="connsiteX1" fmla="*/ 245874 w 4212432"/>
              <a:gd name="connsiteY1" fmla="*/ 254931 h 714629"/>
              <a:gd name="connsiteX2" fmla="*/ 4211962 w 4212432"/>
              <a:gd name="connsiteY2" fmla="*/ 254931 h 714629"/>
              <a:gd name="connsiteX3" fmla="*/ 4212432 w 4212432"/>
              <a:gd name="connsiteY3" fmla="*/ 542371 h 714629"/>
              <a:gd name="connsiteX4" fmla="*/ 3976992 w 4212432"/>
              <a:gd name="connsiteY4" fmla="*/ 713688 h 714629"/>
              <a:gd name="connsiteX5" fmla="*/ 0 w 4212432"/>
              <a:gd name="connsiteY5" fmla="*/ 713687 h 714629"/>
              <a:gd name="connsiteX6" fmla="*/ 0 w 4212432"/>
              <a:gd name="connsiteY6" fmla="*/ 484310 h 714629"/>
              <a:gd name="connsiteX7" fmla="*/ 0 w 4212432"/>
              <a:gd name="connsiteY7" fmla="*/ 254931 h 714629"/>
              <a:gd name="connsiteX0" fmla="*/ 0 w 4212432"/>
              <a:gd name="connsiteY0" fmla="*/ 242199 h 704985"/>
              <a:gd name="connsiteX1" fmla="*/ 245874 w 4212432"/>
              <a:gd name="connsiteY1" fmla="*/ 242199 h 704985"/>
              <a:gd name="connsiteX2" fmla="*/ 4211962 w 4212432"/>
              <a:gd name="connsiteY2" fmla="*/ 242199 h 704985"/>
              <a:gd name="connsiteX3" fmla="*/ 4212432 w 4212432"/>
              <a:gd name="connsiteY3" fmla="*/ 548689 h 704985"/>
              <a:gd name="connsiteX4" fmla="*/ 3976992 w 4212432"/>
              <a:gd name="connsiteY4" fmla="*/ 700956 h 704985"/>
              <a:gd name="connsiteX5" fmla="*/ 0 w 4212432"/>
              <a:gd name="connsiteY5" fmla="*/ 700955 h 704985"/>
              <a:gd name="connsiteX6" fmla="*/ 0 w 4212432"/>
              <a:gd name="connsiteY6" fmla="*/ 471578 h 704985"/>
              <a:gd name="connsiteX7" fmla="*/ 0 w 4212432"/>
              <a:gd name="connsiteY7" fmla="*/ 242199 h 704985"/>
              <a:gd name="connsiteX0" fmla="*/ 0 w 4212432"/>
              <a:gd name="connsiteY0" fmla="*/ 242199 h 703933"/>
              <a:gd name="connsiteX1" fmla="*/ 245874 w 4212432"/>
              <a:gd name="connsiteY1" fmla="*/ 242199 h 703933"/>
              <a:gd name="connsiteX2" fmla="*/ 4211962 w 4212432"/>
              <a:gd name="connsiteY2" fmla="*/ 242199 h 703933"/>
              <a:gd name="connsiteX3" fmla="*/ 4212432 w 4212432"/>
              <a:gd name="connsiteY3" fmla="*/ 548689 h 703933"/>
              <a:gd name="connsiteX4" fmla="*/ 3976992 w 4212432"/>
              <a:gd name="connsiteY4" fmla="*/ 700956 h 703933"/>
              <a:gd name="connsiteX5" fmla="*/ 0 w 4212432"/>
              <a:gd name="connsiteY5" fmla="*/ 700955 h 703933"/>
              <a:gd name="connsiteX6" fmla="*/ 0 w 4212432"/>
              <a:gd name="connsiteY6" fmla="*/ 471578 h 703933"/>
              <a:gd name="connsiteX7" fmla="*/ 0 w 4212432"/>
              <a:gd name="connsiteY7" fmla="*/ 242199 h 703933"/>
              <a:gd name="connsiteX0" fmla="*/ 0 w 4212432"/>
              <a:gd name="connsiteY0" fmla="*/ 242199 h 701374"/>
              <a:gd name="connsiteX1" fmla="*/ 245874 w 4212432"/>
              <a:gd name="connsiteY1" fmla="*/ 242199 h 701374"/>
              <a:gd name="connsiteX2" fmla="*/ 4211962 w 4212432"/>
              <a:gd name="connsiteY2" fmla="*/ 242199 h 701374"/>
              <a:gd name="connsiteX3" fmla="*/ 4212432 w 4212432"/>
              <a:gd name="connsiteY3" fmla="*/ 548689 h 701374"/>
              <a:gd name="connsiteX4" fmla="*/ 3976992 w 4212432"/>
              <a:gd name="connsiteY4" fmla="*/ 700956 h 701374"/>
              <a:gd name="connsiteX5" fmla="*/ 0 w 4212432"/>
              <a:gd name="connsiteY5" fmla="*/ 700955 h 701374"/>
              <a:gd name="connsiteX6" fmla="*/ 0 w 4212432"/>
              <a:gd name="connsiteY6" fmla="*/ 471578 h 701374"/>
              <a:gd name="connsiteX7" fmla="*/ 0 w 4212432"/>
              <a:gd name="connsiteY7" fmla="*/ 242199 h 701374"/>
              <a:gd name="connsiteX0" fmla="*/ 0 w 4214819"/>
              <a:gd name="connsiteY0" fmla="*/ 231179 h 693429"/>
              <a:gd name="connsiteX1" fmla="*/ 245874 w 4214819"/>
              <a:gd name="connsiteY1" fmla="*/ 231179 h 693429"/>
              <a:gd name="connsiteX2" fmla="*/ 4211962 w 4214819"/>
              <a:gd name="connsiteY2" fmla="*/ 231179 h 693429"/>
              <a:gd name="connsiteX3" fmla="*/ 4214819 w 4214819"/>
              <a:gd name="connsiteY3" fmla="*/ 554338 h 693429"/>
              <a:gd name="connsiteX4" fmla="*/ 3976992 w 4214819"/>
              <a:gd name="connsiteY4" fmla="*/ 689936 h 693429"/>
              <a:gd name="connsiteX5" fmla="*/ 0 w 4214819"/>
              <a:gd name="connsiteY5" fmla="*/ 689935 h 693429"/>
              <a:gd name="connsiteX6" fmla="*/ 0 w 4214819"/>
              <a:gd name="connsiteY6" fmla="*/ 460558 h 693429"/>
              <a:gd name="connsiteX7" fmla="*/ 0 w 4214819"/>
              <a:gd name="connsiteY7" fmla="*/ 231179 h 693429"/>
              <a:gd name="connsiteX0" fmla="*/ 0 w 4214819"/>
              <a:gd name="connsiteY0" fmla="*/ 231179 h 690020"/>
              <a:gd name="connsiteX1" fmla="*/ 245874 w 4214819"/>
              <a:gd name="connsiteY1" fmla="*/ 231179 h 690020"/>
              <a:gd name="connsiteX2" fmla="*/ 4211962 w 4214819"/>
              <a:gd name="connsiteY2" fmla="*/ 231179 h 690020"/>
              <a:gd name="connsiteX3" fmla="*/ 4214819 w 4214819"/>
              <a:gd name="connsiteY3" fmla="*/ 554338 h 690020"/>
              <a:gd name="connsiteX4" fmla="*/ 3976992 w 4214819"/>
              <a:gd name="connsiteY4" fmla="*/ 689936 h 690020"/>
              <a:gd name="connsiteX5" fmla="*/ 0 w 4214819"/>
              <a:gd name="connsiteY5" fmla="*/ 689935 h 690020"/>
              <a:gd name="connsiteX6" fmla="*/ 0 w 4214819"/>
              <a:gd name="connsiteY6" fmla="*/ 460558 h 690020"/>
              <a:gd name="connsiteX7" fmla="*/ 0 w 4214819"/>
              <a:gd name="connsiteY7" fmla="*/ 231179 h 690020"/>
              <a:gd name="connsiteX0" fmla="*/ 0 w 4215172"/>
              <a:gd name="connsiteY0" fmla="*/ 78388 h 537229"/>
              <a:gd name="connsiteX1" fmla="*/ 245874 w 4215172"/>
              <a:gd name="connsiteY1" fmla="*/ 78388 h 537229"/>
              <a:gd name="connsiteX2" fmla="*/ 4211962 w 4215172"/>
              <a:gd name="connsiteY2" fmla="*/ 78388 h 537229"/>
              <a:gd name="connsiteX3" fmla="*/ 4214819 w 4215172"/>
              <a:gd name="connsiteY3" fmla="*/ 401547 h 537229"/>
              <a:gd name="connsiteX4" fmla="*/ 3976992 w 4215172"/>
              <a:gd name="connsiteY4" fmla="*/ 537145 h 537229"/>
              <a:gd name="connsiteX5" fmla="*/ 0 w 4215172"/>
              <a:gd name="connsiteY5" fmla="*/ 537144 h 537229"/>
              <a:gd name="connsiteX6" fmla="*/ 0 w 4215172"/>
              <a:gd name="connsiteY6" fmla="*/ 307767 h 537229"/>
              <a:gd name="connsiteX7" fmla="*/ 0 w 4215172"/>
              <a:gd name="connsiteY7" fmla="*/ 78388 h 537229"/>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76992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4819"/>
              <a:gd name="connsiteY0" fmla="*/ 0 h 458841"/>
              <a:gd name="connsiteX1" fmla="*/ 245874 w 4214819"/>
              <a:gd name="connsiteY1" fmla="*/ 0 h 458841"/>
              <a:gd name="connsiteX2" fmla="*/ 4211962 w 4214819"/>
              <a:gd name="connsiteY2" fmla="*/ 0 h 458841"/>
              <a:gd name="connsiteX3" fmla="*/ 4214819 w 4214819"/>
              <a:gd name="connsiteY3" fmla="*/ 323159 h 458841"/>
              <a:gd name="connsiteX4" fmla="*/ 3967441 w 4214819"/>
              <a:gd name="connsiteY4" fmla="*/ 458757 h 458841"/>
              <a:gd name="connsiteX5" fmla="*/ 0 w 4214819"/>
              <a:gd name="connsiteY5" fmla="*/ 458756 h 458841"/>
              <a:gd name="connsiteX6" fmla="*/ 0 w 4214819"/>
              <a:gd name="connsiteY6" fmla="*/ 229379 h 458841"/>
              <a:gd name="connsiteX7" fmla="*/ 0 w 4214819"/>
              <a:gd name="connsiteY7" fmla="*/ 0 h 458841"/>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 name="connsiteX0" fmla="*/ 0 w 4212432"/>
              <a:gd name="connsiteY0" fmla="*/ 0 h 458757"/>
              <a:gd name="connsiteX1" fmla="*/ 245874 w 4212432"/>
              <a:gd name="connsiteY1" fmla="*/ 0 h 458757"/>
              <a:gd name="connsiteX2" fmla="*/ 4211962 w 4212432"/>
              <a:gd name="connsiteY2" fmla="*/ 0 h 458757"/>
              <a:gd name="connsiteX3" fmla="*/ 4212432 w 4212432"/>
              <a:gd name="connsiteY3" fmla="*/ 308872 h 458757"/>
              <a:gd name="connsiteX4" fmla="*/ 3967441 w 4212432"/>
              <a:gd name="connsiteY4" fmla="*/ 458757 h 458757"/>
              <a:gd name="connsiteX5" fmla="*/ 0 w 4212432"/>
              <a:gd name="connsiteY5" fmla="*/ 458756 h 458757"/>
              <a:gd name="connsiteX6" fmla="*/ 0 w 4212432"/>
              <a:gd name="connsiteY6" fmla="*/ 229379 h 458757"/>
              <a:gd name="connsiteX7" fmla="*/ 0 w 4212432"/>
              <a:gd name="connsiteY7" fmla="*/ 0 h 45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2432" h="458757">
                <a:moveTo>
                  <a:pt x="0" y="0"/>
                </a:moveTo>
                <a:lnTo>
                  <a:pt x="245874" y="0"/>
                </a:lnTo>
                <a:lnTo>
                  <a:pt x="4211962" y="0"/>
                </a:lnTo>
                <a:cubicBezTo>
                  <a:pt x="4212914" y="108513"/>
                  <a:pt x="4209095" y="335"/>
                  <a:pt x="4212432" y="308872"/>
                </a:cubicBezTo>
                <a:cubicBezTo>
                  <a:pt x="4212481" y="465992"/>
                  <a:pt x="4074394" y="456418"/>
                  <a:pt x="3967441" y="458757"/>
                </a:cubicBezTo>
                <a:lnTo>
                  <a:pt x="0" y="458756"/>
                </a:lnTo>
                <a:lnTo>
                  <a:pt x="0" y="229379"/>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pPr lvl="0"/>
            <a:r>
              <a:rPr lang="en-US" err="1"/>
              <a:t>Klik</a:t>
            </a:r>
            <a:r>
              <a:rPr lang="en-US"/>
              <a:t> om </a:t>
            </a:r>
            <a:r>
              <a:rPr lang="en-US" err="1"/>
              <a:t>een</a:t>
            </a:r>
            <a:r>
              <a:rPr lang="en-US"/>
              <a:t> </a:t>
            </a:r>
            <a:r>
              <a:rPr lang="en-US" err="1"/>
              <a:t>ondertitel</a:t>
            </a:r>
            <a:r>
              <a:rPr lang="en-US"/>
              <a:t> toe </a:t>
            </a:r>
            <a:r>
              <a:rPr lang="en-US" err="1"/>
              <a:t>te</a:t>
            </a:r>
            <a:r>
              <a:rPr lang="en-US"/>
              <a:t> </a:t>
            </a:r>
            <a:r>
              <a:rPr lang="en-US" err="1"/>
              <a:t>voegen</a:t>
            </a:r>
            <a:endParaRPr lang="en-US"/>
          </a:p>
        </p:txBody>
      </p:sp>
      <p:sp>
        <p:nvSpPr>
          <p:cNvPr id="2" name="Titel 14">
            <a:extLst>
              <a:ext uri="{FF2B5EF4-FFF2-40B4-BE49-F238E27FC236}">
                <a16:creationId xmlns:a16="http://schemas.microsoft.com/office/drawing/2014/main" id="{1A50174B-BA68-4A43-BB0C-31A8EBA7809B}"/>
              </a:ext>
            </a:extLst>
          </p:cNvPr>
          <p:cNvSpPr>
            <a:spLocks noGrp="1"/>
          </p:cNvSpPr>
          <p:nvPr>
            <p:ph type="title" hasCustomPrompt="1"/>
          </p:nvPr>
        </p:nvSpPr>
        <p:spPr>
          <a:xfrm>
            <a:off x="2" y="270000"/>
            <a:ext cx="4212000" cy="1908000"/>
          </a:xfrm>
          <a:prstGeom prst="round1Rect">
            <a:avLst>
              <a:gd name="adj" fmla="val 7994"/>
            </a:avLst>
          </a:prstGeom>
          <a:solidFill>
            <a:schemeClr val="accent1">
              <a:alpha val="90000"/>
            </a:schemeClr>
          </a:solidFill>
          <a:ln w="19050" cmpd="sng">
            <a:noFill/>
          </a:ln>
        </p:spPr>
        <p:txBody>
          <a:bodyPr wrap="square" lIns="468000" tIns="36000" rIns="36000" bIns="36000" anchor="t"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nl-NL" noProof="0"/>
              <a:t>Klikken om een titel te maken (4 regels)</a:t>
            </a:r>
          </a:p>
        </p:txBody>
      </p:sp>
      <p:sp>
        <p:nvSpPr>
          <p:cNvPr id="9"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8" name="Tijdelijke aanduiding voor tekst 20">
            <a:extLst>
              <a:ext uri="{FF2B5EF4-FFF2-40B4-BE49-F238E27FC236}">
                <a16:creationId xmlns:a16="http://schemas.microsoft.com/office/drawing/2014/main" id="{29C2B700-8385-4CFE-AFD3-E894073942C9}"/>
              </a:ext>
            </a:extLst>
          </p:cNvPr>
          <p:cNvSpPr>
            <a:spLocks noGrp="1" noChangeAspect="1"/>
          </p:cNvSpPr>
          <p:nvPr>
            <p:ph type="body" sz="quarter" idx="11"/>
          </p:nvPr>
        </p:nvSpPr>
        <p:spPr>
          <a:xfrm>
            <a:off x="7583014" y="3826963"/>
            <a:ext cx="108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l">
              <a:buNone/>
              <a:defRPr sz="2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endParaRPr lang="nl-NL"/>
          </a:p>
        </p:txBody>
      </p:sp>
      <p:sp>
        <p:nvSpPr>
          <p:cNvPr id="11"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9225755" y="3826963"/>
            <a:ext cx="2160000" cy="1080000"/>
          </a:xfrm>
          <a:prstGeom prst="round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3178072596"/>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1 rg / Subtitel 2 rg">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65B6DC35-8C6A-422D-87D2-B012D0CE2573}"/>
              </a:ext>
            </a:extLst>
          </p:cNvPr>
          <p:cNvSpPr>
            <a:spLocks noGrp="1"/>
          </p:cNvSpPr>
          <p:nvPr>
            <p:ph type="pic" sz="quarter" idx="10" hasCustomPrompt="1"/>
          </p:nvPr>
        </p:nvSpPr>
        <p:spPr>
          <a:xfrm>
            <a:off x="0" y="0"/>
            <a:ext cx="9144000" cy="5143500"/>
          </a:xfrm>
        </p:spPr>
        <p:txBody>
          <a:bodyPr/>
          <a:lstStyle>
            <a:lvl1pPr marL="0" indent="0" algn="ctr">
              <a:lnSpc>
                <a:spcPct val="100000"/>
              </a:lnSpc>
              <a:spcBef>
                <a:spcPts val="0"/>
              </a:spcBef>
              <a:buNone/>
              <a:defRPr sz="1200">
                <a:solidFill>
                  <a:schemeClr val="bg1">
                    <a:lumMod val="65000"/>
                  </a:schemeClr>
                </a:solidFill>
              </a:defRPr>
            </a:lvl1pPr>
          </a:lstStyle>
          <a:p>
            <a:r>
              <a:rPr lang="nl-NL"/>
              <a:t>Klik op het pictogram om een afbeelding in te voegen</a:t>
            </a:r>
          </a:p>
        </p:txBody>
      </p:sp>
      <p:sp>
        <p:nvSpPr>
          <p:cNvPr id="14" name="Rechthoek 13" hidden="1">
            <a:extLst>
              <a:ext uri="{FF2B5EF4-FFF2-40B4-BE49-F238E27FC236}">
                <a16:creationId xmlns:a16="http://schemas.microsoft.com/office/drawing/2014/main" id="{207663C4-8029-45D8-8F7B-CA0D435DA1B6}"/>
              </a:ext>
            </a:extLst>
          </p:cNvPr>
          <p:cNvSpPr/>
          <p:nvPr userDrawn="1"/>
        </p:nvSpPr>
        <p:spPr>
          <a:xfrm>
            <a:off x="4073733" y="263016"/>
            <a:ext cx="136800" cy="2556000"/>
          </a:xfrm>
          <a:prstGeom prst="rect">
            <a:avLst/>
          </a:prstGeom>
          <a:noFill/>
          <a:ln w="3175" cap="rnd" cmpd="sng" algn="ctr">
            <a:solidFill>
              <a:srgbClr val="EAEAEA"/>
            </a:solidFill>
            <a:prstDash val="solid"/>
          </a:ln>
          <a:effectLst/>
        </p:spPr>
        <p:txBody>
          <a:bodyPr rtlCol="0" anchor="ctr"/>
          <a:lstStyle/>
          <a:p>
            <a:pPr algn="ctr"/>
            <a:endParaRPr lang="nl-BE">
              <a:solidFill>
                <a:srgbClr val="5E6A71"/>
              </a:solidFill>
            </a:endParaRPr>
          </a:p>
        </p:txBody>
      </p:sp>
      <p:sp>
        <p:nvSpPr>
          <p:cNvPr id="12" name="Ondertitel 14">
            <a:extLst>
              <a:ext uri="{FF2B5EF4-FFF2-40B4-BE49-F238E27FC236}">
                <a16:creationId xmlns:a16="http://schemas.microsoft.com/office/drawing/2014/main" id="{A7914601-29A4-4595-9BE7-C56357B49A6E}"/>
              </a:ext>
            </a:extLst>
          </p:cNvPr>
          <p:cNvSpPr>
            <a:spLocks noGrp="1"/>
          </p:cNvSpPr>
          <p:nvPr>
            <p:ph type="subTitle" idx="1" hasCustomPrompt="1"/>
          </p:nvPr>
        </p:nvSpPr>
        <p:spPr>
          <a:xfrm>
            <a:off x="0" y="845149"/>
            <a:ext cx="4212000" cy="792000"/>
          </a:xfrm>
          <a:custGeom>
            <a:avLst/>
            <a:gdLst>
              <a:gd name="connsiteX0" fmla="*/ 0 w 4204800"/>
              <a:gd name="connsiteY0" fmla="*/ 0 h 774000"/>
              <a:gd name="connsiteX1" fmla="*/ 4204800 w 4204800"/>
              <a:gd name="connsiteY1" fmla="*/ 0 h 774000"/>
              <a:gd name="connsiteX2" fmla="*/ 4204800 w 4204800"/>
              <a:gd name="connsiteY2" fmla="*/ 774000 h 774000"/>
              <a:gd name="connsiteX3" fmla="*/ 0 w 4204800"/>
              <a:gd name="connsiteY3" fmla="*/ 774000 h 774000"/>
              <a:gd name="connsiteX4" fmla="*/ 0 w 4204800"/>
              <a:gd name="connsiteY4" fmla="*/ 0 h 774000"/>
              <a:gd name="connsiteX0" fmla="*/ 0 w 4204800"/>
              <a:gd name="connsiteY0" fmla="*/ 0 h 774000"/>
              <a:gd name="connsiteX1" fmla="*/ 4204800 w 4204800"/>
              <a:gd name="connsiteY1" fmla="*/ 0 h 774000"/>
              <a:gd name="connsiteX2" fmla="*/ 4204800 w 4204800"/>
              <a:gd name="connsiteY2" fmla="*/ 774000 h 774000"/>
              <a:gd name="connsiteX3" fmla="*/ 4027785 w 4204800"/>
              <a:gd name="connsiteY3" fmla="*/ 772984 h 774000"/>
              <a:gd name="connsiteX4" fmla="*/ 0 w 4204800"/>
              <a:gd name="connsiteY4" fmla="*/ 774000 h 774000"/>
              <a:gd name="connsiteX5" fmla="*/ 0 w 4204800"/>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204800 w 4205585"/>
              <a:gd name="connsiteY3" fmla="*/ 774000 h 774000"/>
              <a:gd name="connsiteX4" fmla="*/ 4027785 w 4205585"/>
              <a:gd name="connsiteY4" fmla="*/ 772984 h 774000"/>
              <a:gd name="connsiteX5" fmla="*/ 0 w 4205585"/>
              <a:gd name="connsiteY5" fmla="*/ 774000 h 774000"/>
              <a:gd name="connsiteX6" fmla="*/ 0 w 4205585"/>
              <a:gd name="connsiteY6" fmla="*/ 0 h 774000"/>
              <a:gd name="connsiteX0" fmla="*/ 0 w 4384772"/>
              <a:gd name="connsiteY0" fmla="*/ 0 h 774000"/>
              <a:gd name="connsiteX1" fmla="*/ 4204800 w 4384772"/>
              <a:gd name="connsiteY1" fmla="*/ 0 h 774000"/>
              <a:gd name="connsiteX2" fmla="*/ 4205585 w 4384772"/>
              <a:gd name="connsiteY2" fmla="*/ 576134 h 774000"/>
              <a:gd name="connsiteX3" fmla="*/ 4027785 w 4384772"/>
              <a:gd name="connsiteY3" fmla="*/ 772984 h 774000"/>
              <a:gd name="connsiteX4" fmla="*/ 0 w 4384772"/>
              <a:gd name="connsiteY4" fmla="*/ 774000 h 774000"/>
              <a:gd name="connsiteX5" fmla="*/ 0 w 4384772"/>
              <a:gd name="connsiteY5" fmla="*/ 0 h 774000"/>
              <a:gd name="connsiteX0" fmla="*/ 0 w 4392907"/>
              <a:gd name="connsiteY0" fmla="*/ 0 h 774000"/>
              <a:gd name="connsiteX1" fmla="*/ 4204800 w 4392907"/>
              <a:gd name="connsiteY1" fmla="*/ 0 h 774000"/>
              <a:gd name="connsiteX2" fmla="*/ 4205585 w 4392907"/>
              <a:gd name="connsiteY2" fmla="*/ 576134 h 774000"/>
              <a:gd name="connsiteX3" fmla="*/ 4027785 w 4392907"/>
              <a:gd name="connsiteY3" fmla="*/ 772984 h 774000"/>
              <a:gd name="connsiteX4" fmla="*/ 0 w 4392907"/>
              <a:gd name="connsiteY4" fmla="*/ 774000 h 774000"/>
              <a:gd name="connsiteX5" fmla="*/ 0 w 4392907"/>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27785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6382"/>
              <a:gd name="connsiteX1" fmla="*/ 4204800 w 4205585"/>
              <a:gd name="connsiteY1" fmla="*/ 0 h 776382"/>
              <a:gd name="connsiteX2" fmla="*/ 4205585 w 4205585"/>
              <a:gd name="connsiteY2" fmla="*/ 576134 h 776382"/>
              <a:gd name="connsiteX3" fmla="*/ 3834110 w 4205585"/>
              <a:gd name="connsiteY3" fmla="*/ 776159 h 776382"/>
              <a:gd name="connsiteX4" fmla="*/ 0 w 4205585"/>
              <a:gd name="connsiteY4" fmla="*/ 774000 h 776382"/>
              <a:gd name="connsiteX5" fmla="*/ 0 w 4205585"/>
              <a:gd name="connsiteY5" fmla="*/ 0 h 776382"/>
              <a:gd name="connsiteX0" fmla="*/ 0 w 4205585"/>
              <a:gd name="connsiteY0" fmla="*/ 0 h 776159"/>
              <a:gd name="connsiteX1" fmla="*/ 4204800 w 4205585"/>
              <a:gd name="connsiteY1" fmla="*/ 0 h 776159"/>
              <a:gd name="connsiteX2" fmla="*/ 4205585 w 4205585"/>
              <a:gd name="connsiteY2" fmla="*/ 576134 h 776159"/>
              <a:gd name="connsiteX3" fmla="*/ 3834110 w 4205585"/>
              <a:gd name="connsiteY3" fmla="*/ 776159 h 776159"/>
              <a:gd name="connsiteX4" fmla="*/ 0 w 4205585"/>
              <a:gd name="connsiteY4" fmla="*/ 774000 h 776159"/>
              <a:gd name="connsiteX5" fmla="*/ 0 w 4205585"/>
              <a:gd name="connsiteY5" fmla="*/ 0 h 776159"/>
              <a:gd name="connsiteX0" fmla="*/ 0 w 4205585"/>
              <a:gd name="connsiteY0" fmla="*/ 0 h 776284"/>
              <a:gd name="connsiteX1" fmla="*/ 4204800 w 4205585"/>
              <a:gd name="connsiteY1" fmla="*/ 0 h 776284"/>
              <a:gd name="connsiteX2" fmla="*/ 4205585 w 4205585"/>
              <a:gd name="connsiteY2" fmla="*/ 576134 h 776284"/>
              <a:gd name="connsiteX3" fmla="*/ 3834110 w 4205585"/>
              <a:gd name="connsiteY3" fmla="*/ 776159 h 776284"/>
              <a:gd name="connsiteX4" fmla="*/ 0 w 4205585"/>
              <a:gd name="connsiteY4" fmla="*/ 774000 h 776284"/>
              <a:gd name="connsiteX5" fmla="*/ 0 w 4205585"/>
              <a:gd name="connsiteY5" fmla="*/ 0 h 776284"/>
              <a:gd name="connsiteX0" fmla="*/ 0 w 4205634"/>
              <a:gd name="connsiteY0" fmla="*/ 0 h 776159"/>
              <a:gd name="connsiteX1" fmla="*/ 4204800 w 4205634"/>
              <a:gd name="connsiteY1" fmla="*/ 0 h 776159"/>
              <a:gd name="connsiteX2" fmla="*/ 4205585 w 4205634"/>
              <a:gd name="connsiteY2" fmla="*/ 576134 h 776159"/>
              <a:gd name="connsiteX3" fmla="*/ 3834110 w 4205634"/>
              <a:gd name="connsiteY3" fmla="*/ 776159 h 776159"/>
              <a:gd name="connsiteX4" fmla="*/ 0 w 4205634"/>
              <a:gd name="connsiteY4" fmla="*/ 774000 h 776159"/>
              <a:gd name="connsiteX5" fmla="*/ 0 w 4205634"/>
              <a:gd name="connsiteY5" fmla="*/ 0 h 776159"/>
              <a:gd name="connsiteX0" fmla="*/ 0 w 4205880"/>
              <a:gd name="connsiteY0" fmla="*/ 0 h 776159"/>
              <a:gd name="connsiteX1" fmla="*/ 4204800 w 4205880"/>
              <a:gd name="connsiteY1" fmla="*/ 0 h 776159"/>
              <a:gd name="connsiteX2" fmla="*/ 4205585 w 4205880"/>
              <a:gd name="connsiteY2" fmla="*/ 576134 h 776159"/>
              <a:gd name="connsiteX3" fmla="*/ 3904034 w 4205880"/>
              <a:gd name="connsiteY3" fmla="*/ 776159 h 776159"/>
              <a:gd name="connsiteX4" fmla="*/ 0 w 4205880"/>
              <a:gd name="connsiteY4" fmla="*/ 774000 h 776159"/>
              <a:gd name="connsiteX5" fmla="*/ 0 w 4205880"/>
              <a:gd name="connsiteY5" fmla="*/ 0 h 776159"/>
              <a:gd name="connsiteX0" fmla="*/ 0 w 4205699"/>
              <a:gd name="connsiteY0" fmla="*/ 0 h 776382"/>
              <a:gd name="connsiteX1" fmla="*/ 4204800 w 4205699"/>
              <a:gd name="connsiteY1" fmla="*/ 0 h 776382"/>
              <a:gd name="connsiteX2" fmla="*/ 4205585 w 4205699"/>
              <a:gd name="connsiteY2" fmla="*/ 576134 h 776382"/>
              <a:gd name="connsiteX3" fmla="*/ 3904034 w 4205699"/>
              <a:gd name="connsiteY3" fmla="*/ 776159 h 776382"/>
              <a:gd name="connsiteX4" fmla="*/ 0 w 4205699"/>
              <a:gd name="connsiteY4" fmla="*/ 774000 h 776382"/>
              <a:gd name="connsiteX5" fmla="*/ 0 w 4205699"/>
              <a:gd name="connsiteY5" fmla="*/ 0 h 776382"/>
              <a:gd name="connsiteX0" fmla="*/ 0 w 4205699"/>
              <a:gd name="connsiteY0" fmla="*/ 0 h 776795"/>
              <a:gd name="connsiteX1" fmla="*/ 4204800 w 4205699"/>
              <a:gd name="connsiteY1" fmla="*/ 0 h 776795"/>
              <a:gd name="connsiteX2" fmla="*/ 4205585 w 4205699"/>
              <a:gd name="connsiteY2" fmla="*/ 576134 h 776795"/>
              <a:gd name="connsiteX3" fmla="*/ 3904034 w 4205699"/>
              <a:gd name="connsiteY3" fmla="*/ 776159 h 776795"/>
              <a:gd name="connsiteX4" fmla="*/ 0 w 4205699"/>
              <a:gd name="connsiteY4" fmla="*/ 774000 h 776795"/>
              <a:gd name="connsiteX5" fmla="*/ 0 w 4205699"/>
              <a:gd name="connsiteY5" fmla="*/ 0 h 776795"/>
              <a:gd name="connsiteX0" fmla="*/ 0 w 4205611"/>
              <a:gd name="connsiteY0" fmla="*/ 0 h 776168"/>
              <a:gd name="connsiteX1" fmla="*/ 4204800 w 4205611"/>
              <a:gd name="connsiteY1" fmla="*/ 0 h 776168"/>
              <a:gd name="connsiteX2" fmla="*/ 4205585 w 4205611"/>
              <a:gd name="connsiteY2" fmla="*/ 576134 h 776168"/>
              <a:gd name="connsiteX3" fmla="*/ 3904034 w 4205611"/>
              <a:gd name="connsiteY3" fmla="*/ 776159 h 776168"/>
              <a:gd name="connsiteX4" fmla="*/ 0 w 4205611"/>
              <a:gd name="connsiteY4" fmla="*/ 774000 h 776168"/>
              <a:gd name="connsiteX5" fmla="*/ 0 w 4205611"/>
              <a:gd name="connsiteY5" fmla="*/ 0 h 776168"/>
              <a:gd name="connsiteX0" fmla="*/ 0 w 4205585"/>
              <a:gd name="connsiteY0" fmla="*/ 0 h 780814"/>
              <a:gd name="connsiteX1" fmla="*/ 4204800 w 4205585"/>
              <a:gd name="connsiteY1" fmla="*/ 0 h 780814"/>
              <a:gd name="connsiteX2" fmla="*/ 4205585 w 4205585"/>
              <a:gd name="connsiteY2" fmla="*/ 576134 h 780814"/>
              <a:gd name="connsiteX3" fmla="*/ 3904034 w 4205585"/>
              <a:gd name="connsiteY3" fmla="*/ 776159 h 780814"/>
              <a:gd name="connsiteX4" fmla="*/ 0 w 4205585"/>
              <a:gd name="connsiteY4" fmla="*/ 774000 h 780814"/>
              <a:gd name="connsiteX5" fmla="*/ 0 w 4205585"/>
              <a:gd name="connsiteY5" fmla="*/ 0 h 78081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4811"/>
              <a:gd name="connsiteY0" fmla="*/ 0 h 779764"/>
              <a:gd name="connsiteX1" fmla="*/ 4204800 w 4204811"/>
              <a:gd name="connsiteY1" fmla="*/ 0 h 779764"/>
              <a:gd name="connsiteX2" fmla="*/ 4200818 w 4204811"/>
              <a:gd name="connsiteY2" fmla="*/ 576134 h 779764"/>
              <a:gd name="connsiteX3" fmla="*/ 3904034 w 4204811"/>
              <a:gd name="connsiteY3" fmla="*/ 776159 h 779764"/>
              <a:gd name="connsiteX4" fmla="*/ 0 w 4204811"/>
              <a:gd name="connsiteY4" fmla="*/ 774000 h 779764"/>
              <a:gd name="connsiteX5" fmla="*/ 0 w 4204811"/>
              <a:gd name="connsiteY5" fmla="*/ 0 h 779764"/>
              <a:gd name="connsiteX0" fmla="*/ 0 w 4204811"/>
              <a:gd name="connsiteY0" fmla="*/ 0 h 777467"/>
              <a:gd name="connsiteX1" fmla="*/ 4204800 w 4204811"/>
              <a:gd name="connsiteY1" fmla="*/ 0 h 777467"/>
              <a:gd name="connsiteX2" fmla="*/ 4200818 w 4204811"/>
              <a:gd name="connsiteY2" fmla="*/ 576134 h 777467"/>
              <a:gd name="connsiteX3" fmla="*/ 3904034 w 4204811"/>
              <a:gd name="connsiteY3" fmla="*/ 776159 h 777467"/>
              <a:gd name="connsiteX4" fmla="*/ 0 w 4204811"/>
              <a:gd name="connsiteY4" fmla="*/ 774000 h 777467"/>
              <a:gd name="connsiteX5" fmla="*/ 0 w 4204811"/>
              <a:gd name="connsiteY5" fmla="*/ 0 h 777467"/>
              <a:gd name="connsiteX0" fmla="*/ 0 w 4205585"/>
              <a:gd name="connsiteY0" fmla="*/ 0 h 776832"/>
              <a:gd name="connsiteX1" fmla="*/ 4204800 w 4205585"/>
              <a:gd name="connsiteY1" fmla="*/ 0 h 776832"/>
              <a:gd name="connsiteX2" fmla="*/ 4205585 w 4205585"/>
              <a:gd name="connsiteY2" fmla="*/ 571372 h 776832"/>
              <a:gd name="connsiteX3" fmla="*/ 3904034 w 4205585"/>
              <a:gd name="connsiteY3" fmla="*/ 776159 h 776832"/>
              <a:gd name="connsiteX4" fmla="*/ 0 w 4205585"/>
              <a:gd name="connsiteY4" fmla="*/ 774000 h 776832"/>
              <a:gd name="connsiteX5" fmla="*/ 0 w 4205585"/>
              <a:gd name="connsiteY5" fmla="*/ 0 h 776832"/>
              <a:gd name="connsiteX0" fmla="*/ 0 w 4204822"/>
              <a:gd name="connsiteY0" fmla="*/ 0 h 776159"/>
              <a:gd name="connsiteX1" fmla="*/ 4204800 w 4204822"/>
              <a:gd name="connsiteY1" fmla="*/ 0 h 776159"/>
              <a:gd name="connsiteX2" fmla="*/ 4203201 w 4204822"/>
              <a:gd name="connsiteY2" fmla="*/ 564228 h 776159"/>
              <a:gd name="connsiteX3" fmla="*/ 3904034 w 4204822"/>
              <a:gd name="connsiteY3" fmla="*/ 776159 h 776159"/>
              <a:gd name="connsiteX4" fmla="*/ 0 w 4204822"/>
              <a:gd name="connsiteY4" fmla="*/ 774000 h 776159"/>
              <a:gd name="connsiteX5" fmla="*/ 0 w 4204822"/>
              <a:gd name="connsiteY5" fmla="*/ 0 h 776159"/>
              <a:gd name="connsiteX0" fmla="*/ 0 w 4204973"/>
              <a:gd name="connsiteY0" fmla="*/ 0 h 776159"/>
              <a:gd name="connsiteX1" fmla="*/ 4204800 w 4204973"/>
              <a:gd name="connsiteY1" fmla="*/ 0 h 776159"/>
              <a:gd name="connsiteX2" fmla="*/ 4203201 w 4204973"/>
              <a:gd name="connsiteY2" fmla="*/ 564228 h 776159"/>
              <a:gd name="connsiteX3" fmla="*/ 3904034 w 4204973"/>
              <a:gd name="connsiteY3" fmla="*/ 776159 h 776159"/>
              <a:gd name="connsiteX4" fmla="*/ 0 w 4204973"/>
              <a:gd name="connsiteY4" fmla="*/ 774000 h 776159"/>
              <a:gd name="connsiteX5" fmla="*/ 0 w 4204973"/>
              <a:gd name="connsiteY5" fmla="*/ 0 h 776159"/>
              <a:gd name="connsiteX0" fmla="*/ 0 w 4204973"/>
              <a:gd name="connsiteY0" fmla="*/ 0 h 777900"/>
              <a:gd name="connsiteX1" fmla="*/ 4204800 w 4204973"/>
              <a:gd name="connsiteY1" fmla="*/ 0 h 777900"/>
              <a:gd name="connsiteX2" fmla="*/ 4203201 w 4204973"/>
              <a:gd name="connsiteY2" fmla="*/ 564228 h 777900"/>
              <a:gd name="connsiteX3" fmla="*/ 3904034 w 4204973"/>
              <a:gd name="connsiteY3" fmla="*/ 776159 h 777900"/>
              <a:gd name="connsiteX4" fmla="*/ 0 w 4204973"/>
              <a:gd name="connsiteY4" fmla="*/ 774000 h 777900"/>
              <a:gd name="connsiteX5" fmla="*/ 0 w 4204973"/>
              <a:gd name="connsiteY5" fmla="*/ 0 h 777900"/>
              <a:gd name="connsiteX0" fmla="*/ 0 w 4204973"/>
              <a:gd name="connsiteY0" fmla="*/ 0 h 779286"/>
              <a:gd name="connsiteX1" fmla="*/ 4204800 w 4204973"/>
              <a:gd name="connsiteY1" fmla="*/ 0 h 779286"/>
              <a:gd name="connsiteX2" fmla="*/ 4203201 w 4204973"/>
              <a:gd name="connsiteY2" fmla="*/ 564228 h 779286"/>
              <a:gd name="connsiteX3" fmla="*/ 3904034 w 4204973"/>
              <a:gd name="connsiteY3" fmla="*/ 776159 h 779286"/>
              <a:gd name="connsiteX4" fmla="*/ 0 w 4204973"/>
              <a:gd name="connsiteY4" fmla="*/ 774000 h 779286"/>
              <a:gd name="connsiteX5" fmla="*/ 0 w 4204973"/>
              <a:gd name="connsiteY5" fmla="*/ 0 h 779286"/>
              <a:gd name="connsiteX0" fmla="*/ 0 w 4204822"/>
              <a:gd name="connsiteY0" fmla="*/ 0 h 786929"/>
              <a:gd name="connsiteX1" fmla="*/ 4204800 w 4204822"/>
              <a:gd name="connsiteY1" fmla="*/ 0 h 786929"/>
              <a:gd name="connsiteX2" fmla="*/ 4200818 w 4204822"/>
              <a:gd name="connsiteY2" fmla="*/ 597566 h 786929"/>
              <a:gd name="connsiteX3" fmla="*/ 3904034 w 4204822"/>
              <a:gd name="connsiteY3" fmla="*/ 776159 h 786929"/>
              <a:gd name="connsiteX4" fmla="*/ 0 w 4204822"/>
              <a:gd name="connsiteY4" fmla="*/ 774000 h 786929"/>
              <a:gd name="connsiteX5" fmla="*/ 0 w 4204822"/>
              <a:gd name="connsiteY5" fmla="*/ 0 h 786929"/>
              <a:gd name="connsiteX0" fmla="*/ 0 w 4204822"/>
              <a:gd name="connsiteY0" fmla="*/ 0 h 779486"/>
              <a:gd name="connsiteX1" fmla="*/ 4204800 w 4204822"/>
              <a:gd name="connsiteY1" fmla="*/ 0 h 779486"/>
              <a:gd name="connsiteX2" fmla="*/ 4200818 w 4204822"/>
              <a:gd name="connsiteY2" fmla="*/ 597566 h 779486"/>
              <a:gd name="connsiteX3" fmla="*/ 3904034 w 4204822"/>
              <a:gd name="connsiteY3" fmla="*/ 776159 h 779486"/>
              <a:gd name="connsiteX4" fmla="*/ 0 w 4204822"/>
              <a:gd name="connsiteY4" fmla="*/ 774000 h 779486"/>
              <a:gd name="connsiteX5" fmla="*/ 0 w 4204822"/>
              <a:gd name="connsiteY5" fmla="*/ 0 h 779486"/>
              <a:gd name="connsiteX0" fmla="*/ 0 w 4204822"/>
              <a:gd name="connsiteY0" fmla="*/ 0 h 780663"/>
              <a:gd name="connsiteX1" fmla="*/ 4204800 w 4204822"/>
              <a:gd name="connsiteY1" fmla="*/ 0 h 780663"/>
              <a:gd name="connsiteX2" fmla="*/ 4200818 w 4204822"/>
              <a:gd name="connsiteY2" fmla="*/ 597566 h 780663"/>
              <a:gd name="connsiteX3" fmla="*/ 3904034 w 4204822"/>
              <a:gd name="connsiteY3" fmla="*/ 776159 h 780663"/>
              <a:gd name="connsiteX4" fmla="*/ 0 w 4204822"/>
              <a:gd name="connsiteY4" fmla="*/ 774000 h 780663"/>
              <a:gd name="connsiteX5" fmla="*/ 0 w 4204822"/>
              <a:gd name="connsiteY5" fmla="*/ 0 h 780663"/>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81547"/>
              <a:gd name="connsiteX1" fmla="*/ 4204800 w 4204822"/>
              <a:gd name="connsiteY1" fmla="*/ 0 h 781547"/>
              <a:gd name="connsiteX2" fmla="*/ 4200818 w 4204822"/>
              <a:gd name="connsiteY2" fmla="*/ 597566 h 781547"/>
              <a:gd name="connsiteX3" fmla="*/ 3901650 w 4204822"/>
              <a:gd name="connsiteY3" fmla="*/ 778540 h 781547"/>
              <a:gd name="connsiteX4" fmla="*/ 0 w 4204822"/>
              <a:gd name="connsiteY4" fmla="*/ 774000 h 781547"/>
              <a:gd name="connsiteX5" fmla="*/ 0 w 4204822"/>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807"/>
              <a:gd name="connsiteY0" fmla="*/ 0 h 782489"/>
              <a:gd name="connsiteX1" fmla="*/ 4204800 w 4204807"/>
              <a:gd name="connsiteY1" fmla="*/ 0 h 782489"/>
              <a:gd name="connsiteX2" fmla="*/ 4196050 w 4204807"/>
              <a:gd name="connsiteY2" fmla="*/ 602328 h 782489"/>
              <a:gd name="connsiteX3" fmla="*/ 3901650 w 4204807"/>
              <a:gd name="connsiteY3" fmla="*/ 778540 h 782489"/>
              <a:gd name="connsiteX4" fmla="*/ 0 w 4204807"/>
              <a:gd name="connsiteY4" fmla="*/ 774000 h 782489"/>
              <a:gd name="connsiteX5" fmla="*/ 0 w 4204807"/>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809892"/>
              <a:gd name="connsiteX1" fmla="*/ 4204800 w 4206403"/>
              <a:gd name="connsiteY1" fmla="*/ 0 h 809892"/>
              <a:gd name="connsiteX2" fmla="*/ 4205585 w 4206403"/>
              <a:gd name="connsiteY2" fmla="*/ 602328 h 809892"/>
              <a:gd name="connsiteX3" fmla="*/ 3901650 w 4206403"/>
              <a:gd name="connsiteY3" fmla="*/ 778540 h 809892"/>
              <a:gd name="connsiteX4" fmla="*/ 0 w 4206403"/>
              <a:gd name="connsiteY4" fmla="*/ 774000 h 809892"/>
              <a:gd name="connsiteX5" fmla="*/ 0 w 4206403"/>
              <a:gd name="connsiteY5" fmla="*/ 0 h 809892"/>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68277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6403" h="782489">
                <a:moveTo>
                  <a:pt x="0" y="0"/>
                </a:moveTo>
                <a:lnTo>
                  <a:pt x="4204800" y="0"/>
                </a:lnTo>
                <a:cubicBezTo>
                  <a:pt x="4205062" y="192045"/>
                  <a:pt x="4207707" y="155490"/>
                  <a:pt x="4205585" y="602328"/>
                </a:cubicBezTo>
                <a:cubicBezTo>
                  <a:pt x="4207834" y="825616"/>
                  <a:pt x="4048385" y="778104"/>
                  <a:pt x="3877813" y="778540"/>
                </a:cubicBezTo>
                <a:lnTo>
                  <a:pt x="0" y="774000"/>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r>
              <a:rPr lang="nl-NL"/>
              <a:t>Klikken om een ondertitel toe te voegen </a:t>
            </a:r>
            <a:br>
              <a:rPr lang="nl-NL"/>
            </a:br>
            <a:r>
              <a:rPr lang="nl-NL"/>
              <a:t>(2 regels)</a:t>
            </a:r>
          </a:p>
        </p:txBody>
      </p:sp>
      <p:sp>
        <p:nvSpPr>
          <p:cNvPr id="17" name="Titel 14">
            <a:extLst>
              <a:ext uri="{FF2B5EF4-FFF2-40B4-BE49-F238E27FC236}">
                <a16:creationId xmlns:a16="http://schemas.microsoft.com/office/drawing/2014/main" id="{A43EC0AC-ECD8-42D4-9A07-9063A40B538E}"/>
              </a:ext>
            </a:extLst>
          </p:cNvPr>
          <p:cNvSpPr>
            <a:spLocks noGrp="1"/>
          </p:cNvSpPr>
          <p:nvPr>
            <p:ph type="title" hasCustomPrompt="1"/>
          </p:nvPr>
        </p:nvSpPr>
        <p:spPr>
          <a:xfrm>
            <a:off x="0" y="270000"/>
            <a:ext cx="4212000" cy="576000"/>
          </a:xfrm>
          <a:prstGeom prst="round1Rect">
            <a:avLst>
              <a:gd name="adj" fmla="val 25875"/>
            </a:avLst>
          </a:prstGeom>
          <a:solidFill>
            <a:schemeClr val="accent1">
              <a:alpha val="90000"/>
            </a:schemeClr>
          </a:solidFill>
          <a:ln w="19050" cmpd="sng">
            <a:noFill/>
          </a:ln>
        </p:spPr>
        <p:txBody>
          <a:bodyPr wrap="square" lIns="468000" tIns="36000" rIns="36000" bIns="36000" anchor="ctr"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en-US" err="1"/>
              <a:t>Klikken</a:t>
            </a:r>
            <a:r>
              <a:rPr lang="en-US"/>
              <a:t> om </a:t>
            </a:r>
            <a:r>
              <a:rPr lang="en-US" err="1"/>
              <a:t>een</a:t>
            </a:r>
            <a:r>
              <a:rPr lang="en-US"/>
              <a:t> </a:t>
            </a:r>
            <a:r>
              <a:rPr lang="en-US" err="1"/>
              <a:t>titel</a:t>
            </a:r>
            <a:r>
              <a:rPr lang="en-US"/>
              <a:t>...</a:t>
            </a:r>
            <a:endParaRPr lang="nl-NL"/>
          </a:p>
        </p:txBody>
      </p:sp>
      <p:sp>
        <p:nvSpPr>
          <p:cNvPr id="8"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9" name="Tijdelijke aanduiding voor tekst 20">
            <a:extLst>
              <a:ext uri="{FF2B5EF4-FFF2-40B4-BE49-F238E27FC236}">
                <a16:creationId xmlns:a16="http://schemas.microsoft.com/office/drawing/2014/main" id="{29C2B700-8385-4CFE-AFD3-E894073942C9}"/>
              </a:ext>
            </a:extLst>
          </p:cNvPr>
          <p:cNvSpPr>
            <a:spLocks noGrp="1" noChangeAspect="1"/>
          </p:cNvSpPr>
          <p:nvPr>
            <p:ph type="body" sz="quarter" idx="11"/>
          </p:nvPr>
        </p:nvSpPr>
        <p:spPr>
          <a:xfrm>
            <a:off x="7583014" y="3826963"/>
            <a:ext cx="108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l">
              <a:buNone/>
              <a:defRPr sz="2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endParaRPr lang="nl-NL"/>
          </a:p>
        </p:txBody>
      </p:sp>
      <p:sp>
        <p:nvSpPr>
          <p:cNvPr id="11"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9225755" y="3826963"/>
            <a:ext cx="2160000" cy="1080000"/>
          </a:xfrm>
          <a:prstGeom prst="round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85039403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 2 rg / Subtitel 2 rg ">
    <p:spTree>
      <p:nvGrpSpPr>
        <p:cNvPr id="1" name=""/>
        <p:cNvGrpSpPr/>
        <p:nvPr/>
      </p:nvGrpSpPr>
      <p:grpSpPr>
        <a:xfrm>
          <a:off x="0" y="0"/>
          <a:ext cx="0" cy="0"/>
          <a:chOff x="0" y="0"/>
          <a:chExt cx="0" cy="0"/>
        </a:xfrm>
      </p:grpSpPr>
      <p:sp>
        <p:nvSpPr>
          <p:cNvPr id="8" name="Tijdelijke aanduiding voor afbeelding 4">
            <a:extLst>
              <a:ext uri="{FF2B5EF4-FFF2-40B4-BE49-F238E27FC236}">
                <a16:creationId xmlns:a16="http://schemas.microsoft.com/office/drawing/2014/main" id="{538800A2-A9D4-4960-A9A1-E6679325E082}"/>
              </a:ext>
            </a:extLst>
          </p:cNvPr>
          <p:cNvSpPr>
            <a:spLocks noGrp="1"/>
          </p:cNvSpPr>
          <p:nvPr>
            <p:ph type="pic" sz="quarter" idx="10" hasCustomPrompt="1"/>
          </p:nvPr>
        </p:nvSpPr>
        <p:spPr>
          <a:xfrm>
            <a:off x="0" y="0"/>
            <a:ext cx="9144000" cy="5143500"/>
          </a:xfrm>
        </p:spPr>
        <p:txBody>
          <a:bodyPr/>
          <a:lstStyle>
            <a:lvl1pPr marL="0" indent="0" algn="ctr">
              <a:lnSpc>
                <a:spcPct val="100000"/>
              </a:lnSpc>
              <a:spcBef>
                <a:spcPts val="0"/>
              </a:spcBef>
              <a:buNone/>
              <a:defRPr sz="1200">
                <a:solidFill>
                  <a:schemeClr val="bg1">
                    <a:lumMod val="65000"/>
                  </a:schemeClr>
                </a:solidFill>
              </a:defRPr>
            </a:lvl1pPr>
          </a:lstStyle>
          <a:p>
            <a:r>
              <a:rPr lang="nl-NL"/>
              <a:t>Klik op het pictogram om een afbeelding in te voegen</a:t>
            </a:r>
          </a:p>
        </p:txBody>
      </p:sp>
      <p:sp>
        <p:nvSpPr>
          <p:cNvPr id="11" name="Ondertitel 14">
            <a:extLst>
              <a:ext uri="{FF2B5EF4-FFF2-40B4-BE49-F238E27FC236}">
                <a16:creationId xmlns:a16="http://schemas.microsoft.com/office/drawing/2014/main" id="{D4F6D10E-9CD3-40B0-A288-999A33301914}"/>
              </a:ext>
            </a:extLst>
          </p:cNvPr>
          <p:cNvSpPr>
            <a:spLocks noGrp="1"/>
          </p:cNvSpPr>
          <p:nvPr>
            <p:ph type="subTitle" idx="1" hasCustomPrompt="1"/>
          </p:nvPr>
        </p:nvSpPr>
        <p:spPr>
          <a:xfrm>
            <a:off x="0" y="1279218"/>
            <a:ext cx="4212000" cy="792000"/>
          </a:xfrm>
          <a:custGeom>
            <a:avLst/>
            <a:gdLst>
              <a:gd name="connsiteX0" fmla="*/ 0 w 4204800"/>
              <a:gd name="connsiteY0" fmla="*/ 0 h 774000"/>
              <a:gd name="connsiteX1" fmla="*/ 4204800 w 4204800"/>
              <a:gd name="connsiteY1" fmla="*/ 0 h 774000"/>
              <a:gd name="connsiteX2" fmla="*/ 4204800 w 4204800"/>
              <a:gd name="connsiteY2" fmla="*/ 774000 h 774000"/>
              <a:gd name="connsiteX3" fmla="*/ 0 w 4204800"/>
              <a:gd name="connsiteY3" fmla="*/ 774000 h 774000"/>
              <a:gd name="connsiteX4" fmla="*/ 0 w 4204800"/>
              <a:gd name="connsiteY4" fmla="*/ 0 h 774000"/>
              <a:gd name="connsiteX0" fmla="*/ 0 w 4204800"/>
              <a:gd name="connsiteY0" fmla="*/ 0 h 774000"/>
              <a:gd name="connsiteX1" fmla="*/ 4204800 w 4204800"/>
              <a:gd name="connsiteY1" fmla="*/ 0 h 774000"/>
              <a:gd name="connsiteX2" fmla="*/ 4204800 w 4204800"/>
              <a:gd name="connsiteY2" fmla="*/ 774000 h 774000"/>
              <a:gd name="connsiteX3" fmla="*/ 4027785 w 4204800"/>
              <a:gd name="connsiteY3" fmla="*/ 772984 h 774000"/>
              <a:gd name="connsiteX4" fmla="*/ 0 w 4204800"/>
              <a:gd name="connsiteY4" fmla="*/ 774000 h 774000"/>
              <a:gd name="connsiteX5" fmla="*/ 0 w 4204800"/>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204800 w 4205585"/>
              <a:gd name="connsiteY3" fmla="*/ 774000 h 774000"/>
              <a:gd name="connsiteX4" fmla="*/ 4027785 w 4205585"/>
              <a:gd name="connsiteY4" fmla="*/ 772984 h 774000"/>
              <a:gd name="connsiteX5" fmla="*/ 0 w 4205585"/>
              <a:gd name="connsiteY5" fmla="*/ 774000 h 774000"/>
              <a:gd name="connsiteX6" fmla="*/ 0 w 4205585"/>
              <a:gd name="connsiteY6" fmla="*/ 0 h 774000"/>
              <a:gd name="connsiteX0" fmla="*/ 0 w 4384772"/>
              <a:gd name="connsiteY0" fmla="*/ 0 h 774000"/>
              <a:gd name="connsiteX1" fmla="*/ 4204800 w 4384772"/>
              <a:gd name="connsiteY1" fmla="*/ 0 h 774000"/>
              <a:gd name="connsiteX2" fmla="*/ 4205585 w 4384772"/>
              <a:gd name="connsiteY2" fmla="*/ 576134 h 774000"/>
              <a:gd name="connsiteX3" fmla="*/ 4027785 w 4384772"/>
              <a:gd name="connsiteY3" fmla="*/ 772984 h 774000"/>
              <a:gd name="connsiteX4" fmla="*/ 0 w 4384772"/>
              <a:gd name="connsiteY4" fmla="*/ 774000 h 774000"/>
              <a:gd name="connsiteX5" fmla="*/ 0 w 4384772"/>
              <a:gd name="connsiteY5" fmla="*/ 0 h 774000"/>
              <a:gd name="connsiteX0" fmla="*/ 0 w 4392907"/>
              <a:gd name="connsiteY0" fmla="*/ 0 h 774000"/>
              <a:gd name="connsiteX1" fmla="*/ 4204800 w 4392907"/>
              <a:gd name="connsiteY1" fmla="*/ 0 h 774000"/>
              <a:gd name="connsiteX2" fmla="*/ 4205585 w 4392907"/>
              <a:gd name="connsiteY2" fmla="*/ 576134 h 774000"/>
              <a:gd name="connsiteX3" fmla="*/ 4027785 w 4392907"/>
              <a:gd name="connsiteY3" fmla="*/ 772984 h 774000"/>
              <a:gd name="connsiteX4" fmla="*/ 0 w 4392907"/>
              <a:gd name="connsiteY4" fmla="*/ 774000 h 774000"/>
              <a:gd name="connsiteX5" fmla="*/ 0 w 4392907"/>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27785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6382"/>
              <a:gd name="connsiteX1" fmla="*/ 4204800 w 4205585"/>
              <a:gd name="connsiteY1" fmla="*/ 0 h 776382"/>
              <a:gd name="connsiteX2" fmla="*/ 4205585 w 4205585"/>
              <a:gd name="connsiteY2" fmla="*/ 576134 h 776382"/>
              <a:gd name="connsiteX3" fmla="*/ 3834110 w 4205585"/>
              <a:gd name="connsiteY3" fmla="*/ 776159 h 776382"/>
              <a:gd name="connsiteX4" fmla="*/ 0 w 4205585"/>
              <a:gd name="connsiteY4" fmla="*/ 774000 h 776382"/>
              <a:gd name="connsiteX5" fmla="*/ 0 w 4205585"/>
              <a:gd name="connsiteY5" fmla="*/ 0 h 776382"/>
              <a:gd name="connsiteX0" fmla="*/ 0 w 4205585"/>
              <a:gd name="connsiteY0" fmla="*/ 0 h 776159"/>
              <a:gd name="connsiteX1" fmla="*/ 4204800 w 4205585"/>
              <a:gd name="connsiteY1" fmla="*/ 0 h 776159"/>
              <a:gd name="connsiteX2" fmla="*/ 4205585 w 4205585"/>
              <a:gd name="connsiteY2" fmla="*/ 576134 h 776159"/>
              <a:gd name="connsiteX3" fmla="*/ 3834110 w 4205585"/>
              <a:gd name="connsiteY3" fmla="*/ 776159 h 776159"/>
              <a:gd name="connsiteX4" fmla="*/ 0 w 4205585"/>
              <a:gd name="connsiteY4" fmla="*/ 774000 h 776159"/>
              <a:gd name="connsiteX5" fmla="*/ 0 w 4205585"/>
              <a:gd name="connsiteY5" fmla="*/ 0 h 776159"/>
              <a:gd name="connsiteX0" fmla="*/ 0 w 4205585"/>
              <a:gd name="connsiteY0" fmla="*/ 0 h 776284"/>
              <a:gd name="connsiteX1" fmla="*/ 4204800 w 4205585"/>
              <a:gd name="connsiteY1" fmla="*/ 0 h 776284"/>
              <a:gd name="connsiteX2" fmla="*/ 4205585 w 4205585"/>
              <a:gd name="connsiteY2" fmla="*/ 576134 h 776284"/>
              <a:gd name="connsiteX3" fmla="*/ 3834110 w 4205585"/>
              <a:gd name="connsiteY3" fmla="*/ 776159 h 776284"/>
              <a:gd name="connsiteX4" fmla="*/ 0 w 4205585"/>
              <a:gd name="connsiteY4" fmla="*/ 774000 h 776284"/>
              <a:gd name="connsiteX5" fmla="*/ 0 w 4205585"/>
              <a:gd name="connsiteY5" fmla="*/ 0 h 776284"/>
              <a:gd name="connsiteX0" fmla="*/ 0 w 4205634"/>
              <a:gd name="connsiteY0" fmla="*/ 0 h 776159"/>
              <a:gd name="connsiteX1" fmla="*/ 4204800 w 4205634"/>
              <a:gd name="connsiteY1" fmla="*/ 0 h 776159"/>
              <a:gd name="connsiteX2" fmla="*/ 4205585 w 4205634"/>
              <a:gd name="connsiteY2" fmla="*/ 576134 h 776159"/>
              <a:gd name="connsiteX3" fmla="*/ 3834110 w 4205634"/>
              <a:gd name="connsiteY3" fmla="*/ 776159 h 776159"/>
              <a:gd name="connsiteX4" fmla="*/ 0 w 4205634"/>
              <a:gd name="connsiteY4" fmla="*/ 774000 h 776159"/>
              <a:gd name="connsiteX5" fmla="*/ 0 w 4205634"/>
              <a:gd name="connsiteY5" fmla="*/ 0 h 776159"/>
              <a:gd name="connsiteX0" fmla="*/ 0 w 4205880"/>
              <a:gd name="connsiteY0" fmla="*/ 0 h 776159"/>
              <a:gd name="connsiteX1" fmla="*/ 4204800 w 4205880"/>
              <a:gd name="connsiteY1" fmla="*/ 0 h 776159"/>
              <a:gd name="connsiteX2" fmla="*/ 4205585 w 4205880"/>
              <a:gd name="connsiteY2" fmla="*/ 576134 h 776159"/>
              <a:gd name="connsiteX3" fmla="*/ 3904034 w 4205880"/>
              <a:gd name="connsiteY3" fmla="*/ 776159 h 776159"/>
              <a:gd name="connsiteX4" fmla="*/ 0 w 4205880"/>
              <a:gd name="connsiteY4" fmla="*/ 774000 h 776159"/>
              <a:gd name="connsiteX5" fmla="*/ 0 w 4205880"/>
              <a:gd name="connsiteY5" fmla="*/ 0 h 776159"/>
              <a:gd name="connsiteX0" fmla="*/ 0 w 4205699"/>
              <a:gd name="connsiteY0" fmla="*/ 0 h 776382"/>
              <a:gd name="connsiteX1" fmla="*/ 4204800 w 4205699"/>
              <a:gd name="connsiteY1" fmla="*/ 0 h 776382"/>
              <a:gd name="connsiteX2" fmla="*/ 4205585 w 4205699"/>
              <a:gd name="connsiteY2" fmla="*/ 576134 h 776382"/>
              <a:gd name="connsiteX3" fmla="*/ 3904034 w 4205699"/>
              <a:gd name="connsiteY3" fmla="*/ 776159 h 776382"/>
              <a:gd name="connsiteX4" fmla="*/ 0 w 4205699"/>
              <a:gd name="connsiteY4" fmla="*/ 774000 h 776382"/>
              <a:gd name="connsiteX5" fmla="*/ 0 w 4205699"/>
              <a:gd name="connsiteY5" fmla="*/ 0 h 776382"/>
              <a:gd name="connsiteX0" fmla="*/ 0 w 4205699"/>
              <a:gd name="connsiteY0" fmla="*/ 0 h 776795"/>
              <a:gd name="connsiteX1" fmla="*/ 4204800 w 4205699"/>
              <a:gd name="connsiteY1" fmla="*/ 0 h 776795"/>
              <a:gd name="connsiteX2" fmla="*/ 4205585 w 4205699"/>
              <a:gd name="connsiteY2" fmla="*/ 576134 h 776795"/>
              <a:gd name="connsiteX3" fmla="*/ 3904034 w 4205699"/>
              <a:gd name="connsiteY3" fmla="*/ 776159 h 776795"/>
              <a:gd name="connsiteX4" fmla="*/ 0 w 4205699"/>
              <a:gd name="connsiteY4" fmla="*/ 774000 h 776795"/>
              <a:gd name="connsiteX5" fmla="*/ 0 w 4205699"/>
              <a:gd name="connsiteY5" fmla="*/ 0 h 776795"/>
              <a:gd name="connsiteX0" fmla="*/ 0 w 4205611"/>
              <a:gd name="connsiteY0" fmla="*/ 0 h 776168"/>
              <a:gd name="connsiteX1" fmla="*/ 4204800 w 4205611"/>
              <a:gd name="connsiteY1" fmla="*/ 0 h 776168"/>
              <a:gd name="connsiteX2" fmla="*/ 4205585 w 4205611"/>
              <a:gd name="connsiteY2" fmla="*/ 576134 h 776168"/>
              <a:gd name="connsiteX3" fmla="*/ 3904034 w 4205611"/>
              <a:gd name="connsiteY3" fmla="*/ 776159 h 776168"/>
              <a:gd name="connsiteX4" fmla="*/ 0 w 4205611"/>
              <a:gd name="connsiteY4" fmla="*/ 774000 h 776168"/>
              <a:gd name="connsiteX5" fmla="*/ 0 w 4205611"/>
              <a:gd name="connsiteY5" fmla="*/ 0 h 776168"/>
              <a:gd name="connsiteX0" fmla="*/ 0 w 4205585"/>
              <a:gd name="connsiteY0" fmla="*/ 0 h 780814"/>
              <a:gd name="connsiteX1" fmla="*/ 4204800 w 4205585"/>
              <a:gd name="connsiteY1" fmla="*/ 0 h 780814"/>
              <a:gd name="connsiteX2" fmla="*/ 4205585 w 4205585"/>
              <a:gd name="connsiteY2" fmla="*/ 576134 h 780814"/>
              <a:gd name="connsiteX3" fmla="*/ 3904034 w 4205585"/>
              <a:gd name="connsiteY3" fmla="*/ 776159 h 780814"/>
              <a:gd name="connsiteX4" fmla="*/ 0 w 4205585"/>
              <a:gd name="connsiteY4" fmla="*/ 774000 h 780814"/>
              <a:gd name="connsiteX5" fmla="*/ 0 w 4205585"/>
              <a:gd name="connsiteY5" fmla="*/ 0 h 78081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4811"/>
              <a:gd name="connsiteY0" fmla="*/ 0 h 779764"/>
              <a:gd name="connsiteX1" fmla="*/ 4204800 w 4204811"/>
              <a:gd name="connsiteY1" fmla="*/ 0 h 779764"/>
              <a:gd name="connsiteX2" fmla="*/ 4200818 w 4204811"/>
              <a:gd name="connsiteY2" fmla="*/ 576134 h 779764"/>
              <a:gd name="connsiteX3" fmla="*/ 3904034 w 4204811"/>
              <a:gd name="connsiteY3" fmla="*/ 776159 h 779764"/>
              <a:gd name="connsiteX4" fmla="*/ 0 w 4204811"/>
              <a:gd name="connsiteY4" fmla="*/ 774000 h 779764"/>
              <a:gd name="connsiteX5" fmla="*/ 0 w 4204811"/>
              <a:gd name="connsiteY5" fmla="*/ 0 h 779764"/>
              <a:gd name="connsiteX0" fmla="*/ 0 w 4204811"/>
              <a:gd name="connsiteY0" fmla="*/ 0 h 777467"/>
              <a:gd name="connsiteX1" fmla="*/ 4204800 w 4204811"/>
              <a:gd name="connsiteY1" fmla="*/ 0 h 777467"/>
              <a:gd name="connsiteX2" fmla="*/ 4200818 w 4204811"/>
              <a:gd name="connsiteY2" fmla="*/ 576134 h 777467"/>
              <a:gd name="connsiteX3" fmla="*/ 3904034 w 4204811"/>
              <a:gd name="connsiteY3" fmla="*/ 776159 h 777467"/>
              <a:gd name="connsiteX4" fmla="*/ 0 w 4204811"/>
              <a:gd name="connsiteY4" fmla="*/ 774000 h 777467"/>
              <a:gd name="connsiteX5" fmla="*/ 0 w 4204811"/>
              <a:gd name="connsiteY5" fmla="*/ 0 h 777467"/>
              <a:gd name="connsiteX0" fmla="*/ 0 w 4205585"/>
              <a:gd name="connsiteY0" fmla="*/ 0 h 776832"/>
              <a:gd name="connsiteX1" fmla="*/ 4204800 w 4205585"/>
              <a:gd name="connsiteY1" fmla="*/ 0 h 776832"/>
              <a:gd name="connsiteX2" fmla="*/ 4205585 w 4205585"/>
              <a:gd name="connsiteY2" fmla="*/ 571372 h 776832"/>
              <a:gd name="connsiteX3" fmla="*/ 3904034 w 4205585"/>
              <a:gd name="connsiteY3" fmla="*/ 776159 h 776832"/>
              <a:gd name="connsiteX4" fmla="*/ 0 w 4205585"/>
              <a:gd name="connsiteY4" fmla="*/ 774000 h 776832"/>
              <a:gd name="connsiteX5" fmla="*/ 0 w 4205585"/>
              <a:gd name="connsiteY5" fmla="*/ 0 h 776832"/>
              <a:gd name="connsiteX0" fmla="*/ 0 w 4204822"/>
              <a:gd name="connsiteY0" fmla="*/ 0 h 776159"/>
              <a:gd name="connsiteX1" fmla="*/ 4204800 w 4204822"/>
              <a:gd name="connsiteY1" fmla="*/ 0 h 776159"/>
              <a:gd name="connsiteX2" fmla="*/ 4203201 w 4204822"/>
              <a:gd name="connsiteY2" fmla="*/ 564228 h 776159"/>
              <a:gd name="connsiteX3" fmla="*/ 3904034 w 4204822"/>
              <a:gd name="connsiteY3" fmla="*/ 776159 h 776159"/>
              <a:gd name="connsiteX4" fmla="*/ 0 w 4204822"/>
              <a:gd name="connsiteY4" fmla="*/ 774000 h 776159"/>
              <a:gd name="connsiteX5" fmla="*/ 0 w 4204822"/>
              <a:gd name="connsiteY5" fmla="*/ 0 h 776159"/>
              <a:gd name="connsiteX0" fmla="*/ 0 w 4204973"/>
              <a:gd name="connsiteY0" fmla="*/ 0 h 776159"/>
              <a:gd name="connsiteX1" fmla="*/ 4204800 w 4204973"/>
              <a:gd name="connsiteY1" fmla="*/ 0 h 776159"/>
              <a:gd name="connsiteX2" fmla="*/ 4203201 w 4204973"/>
              <a:gd name="connsiteY2" fmla="*/ 564228 h 776159"/>
              <a:gd name="connsiteX3" fmla="*/ 3904034 w 4204973"/>
              <a:gd name="connsiteY3" fmla="*/ 776159 h 776159"/>
              <a:gd name="connsiteX4" fmla="*/ 0 w 4204973"/>
              <a:gd name="connsiteY4" fmla="*/ 774000 h 776159"/>
              <a:gd name="connsiteX5" fmla="*/ 0 w 4204973"/>
              <a:gd name="connsiteY5" fmla="*/ 0 h 776159"/>
              <a:gd name="connsiteX0" fmla="*/ 0 w 4204973"/>
              <a:gd name="connsiteY0" fmla="*/ 0 h 777900"/>
              <a:gd name="connsiteX1" fmla="*/ 4204800 w 4204973"/>
              <a:gd name="connsiteY1" fmla="*/ 0 h 777900"/>
              <a:gd name="connsiteX2" fmla="*/ 4203201 w 4204973"/>
              <a:gd name="connsiteY2" fmla="*/ 564228 h 777900"/>
              <a:gd name="connsiteX3" fmla="*/ 3904034 w 4204973"/>
              <a:gd name="connsiteY3" fmla="*/ 776159 h 777900"/>
              <a:gd name="connsiteX4" fmla="*/ 0 w 4204973"/>
              <a:gd name="connsiteY4" fmla="*/ 774000 h 777900"/>
              <a:gd name="connsiteX5" fmla="*/ 0 w 4204973"/>
              <a:gd name="connsiteY5" fmla="*/ 0 h 777900"/>
              <a:gd name="connsiteX0" fmla="*/ 0 w 4204973"/>
              <a:gd name="connsiteY0" fmla="*/ 0 h 779286"/>
              <a:gd name="connsiteX1" fmla="*/ 4204800 w 4204973"/>
              <a:gd name="connsiteY1" fmla="*/ 0 h 779286"/>
              <a:gd name="connsiteX2" fmla="*/ 4203201 w 4204973"/>
              <a:gd name="connsiteY2" fmla="*/ 564228 h 779286"/>
              <a:gd name="connsiteX3" fmla="*/ 3904034 w 4204973"/>
              <a:gd name="connsiteY3" fmla="*/ 776159 h 779286"/>
              <a:gd name="connsiteX4" fmla="*/ 0 w 4204973"/>
              <a:gd name="connsiteY4" fmla="*/ 774000 h 779286"/>
              <a:gd name="connsiteX5" fmla="*/ 0 w 4204973"/>
              <a:gd name="connsiteY5" fmla="*/ 0 h 779286"/>
              <a:gd name="connsiteX0" fmla="*/ 0 w 4204822"/>
              <a:gd name="connsiteY0" fmla="*/ 0 h 786929"/>
              <a:gd name="connsiteX1" fmla="*/ 4204800 w 4204822"/>
              <a:gd name="connsiteY1" fmla="*/ 0 h 786929"/>
              <a:gd name="connsiteX2" fmla="*/ 4200818 w 4204822"/>
              <a:gd name="connsiteY2" fmla="*/ 597566 h 786929"/>
              <a:gd name="connsiteX3" fmla="*/ 3904034 w 4204822"/>
              <a:gd name="connsiteY3" fmla="*/ 776159 h 786929"/>
              <a:gd name="connsiteX4" fmla="*/ 0 w 4204822"/>
              <a:gd name="connsiteY4" fmla="*/ 774000 h 786929"/>
              <a:gd name="connsiteX5" fmla="*/ 0 w 4204822"/>
              <a:gd name="connsiteY5" fmla="*/ 0 h 786929"/>
              <a:gd name="connsiteX0" fmla="*/ 0 w 4204822"/>
              <a:gd name="connsiteY0" fmla="*/ 0 h 779486"/>
              <a:gd name="connsiteX1" fmla="*/ 4204800 w 4204822"/>
              <a:gd name="connsiteY1" fmla="*/ 0 h 779486"/>
              <a:gd name="connsiteX2" fmla="*/ 4200818 w 4204822"/>
              <a:gd name="connsiteY2" fmla="*/ 597566 h 779486"/>
              <a:gd name="connsiteX3" fmla="*/ 3904034 w 4204822"/>
              <a:gd name="connsiteY3" fmla="*/ 776159 h 779486"/>
              <a:gd name="connsiteX4" fmla="*/ 0 w 4204822"/>
              <a:gd name="connsiteY4" fmla="*/ 774000 h 779486"/>
              <a:gd name="connsiteX5" fmla="*/ 0 w 4204822"/>
              <a:gd name="connsiteY5" fmla="*/ 0 h 779486"/>
              <a:gd name="connsiteX0" fmla="*/ 0 w 4204822"/>
              <a:gd name="connsiteY0" fmla="*/ 0 h 780663"/>
              <a:gd name="connsiteX1" fmla="*/ 4204800 w 4204822"/>
              <a:gd name="connsiteY1" fmla="*/ 0 h 780663"/>
              <a:gd name="connsiteX2" fmla="*/ 4200818 w 4204822"/>
              <a:gd name="connsiteY2" fmla="*/ 597566 h 780663"/>
              <a:gd name="connsiteX3" fmla="*/ 3904034 w 4204822"/>
              <a:gd name="connsiteY3" fmla="*/ 776159 h 780663"/>
              <a:gd name="connsiteX4" fmla="*/ 0 w 4204822"/>
              <a:gd name="connsiteY4" fmla="*/ 774000 h 780663"/>
              <a:gd name="connsiteX5" fmla="*/ 0 w 4204822"/>
              <a:gd name="connsiteY5" fmla="*/ 0 h 780663"/>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81547"/>
              <a:gd name="connsiteX1" fmla="*/ 4204800 w 4204822"/>
              <a:gd name="connsiteY1" fmla="*/ 0 h 781547"/>
              <a:gd name="connsiteX2" fmla="*/ 4200818 w 4204822"/>
              <a:gd name="connsiteY2" fmla="*/ 597566 h 781547"/>
              <a:gd name="connsiteX3" fmla="*/ 3901650 w 4204822"/>
              <a:gd name="connsiteY3" fmla="*/ 778540 h 781547"/>
              <a:gd name="connsiteX4" fmla="*/ 0 w 4204822"/>
              <a:gd name="connsiteY4" fmla="*/ 774000 h 781547"/>
              <a:gd name="connsiteX5" fmla="*/ 0 w 4204822"/>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807"/>
              <a:gd name="connsiteY0" fmla="*/ 0 h 782489"/>
              <a:gd name="connsiteX1" fmla="*/ 4204800 w 4204807"/>
              <a:gd name="connsiteY1" fmla="*/ 0 h 782489"/>
              <a:gd name="connsiteX2" fmla="*/ 4196050 w 4204807"/>
              <a:gd name="connsiteY2" fmla="*/ 602328 h 782489"/>
              <a:gd name="connsiteX3" fmla="*/ 3901650 w 4204807"/>
              <a:gd name="connsiteY3" fmla="*/ 778540 h 782489"/>
              <a:gd name="connsiteX4" fmla="*/ 0 w 4204807"/>
              <a:gd name="connsiteY4" fmla="*/ 774000 h 782489"/>
              <a:gd name="connsiteX5" fmla="*/ 0 w 4204807"/>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809892"/>
              <a:gd name="connsiteX1" fmla="*/ 4204800 w 4206403"/>
              <a:gd name="connsiteY1" fmla="*/ 0 h 809892"/>
              <a:gd name="connsiteX2" fmla="*/ 4205585 w 4206403"/>
              <a:gd name="connsiteY2" fmla="*/ 602328 h 809892"/>
              <a:gd name="connsiteX3" fmla="*/ 3901650 w 4206403"/>
              <a:gd name="connsiteY3" fmla="*/ 778540 h 809892"/>
              <a:gd name="connsiteX4" fmla="*/ 0 w 4206403"/>
              <a:gd name="connsiteY4" fmla="*/ 774000 h 809892"/>
              <a:gd name="connsiteX5" fmla="*/ 0 w 4206403"/>
              <a:gd name="connsiteY5" fmla="*/ 0 h 809892"/>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68277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6403" h="782489">
                <a:moveTo>
                  <a:pt x="0" y="0"/>
                </a:moveTo>
                <a:lnTo>
                  <a:pt x="4204800" y="0"/>
                </a:lnTo>
                <a:cubicBezTo>
                  <a:pt x="4205062" y="192045"/>
                  <a:pt x="4207707" y="155490"/>
                  <a:pt x="4205585" y="602328"/>
                </a:cubicBezTo>
                <a:cubicBezTo>
                  <a:pt x="4207834" y="825616"/>
                  <a:pt x="4048385" y="778104"/>
                  <a:pt x="3877813" y="778540"/>
                </a:cubicBezTo>
                <a:lnTo>
                  <a:pt x="0" y="774000"/>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r>
              <a:rPr lang="nl-NL"/>
              <a:t>Klikken om een ondertitel toe te voegen </a:t>
            </a:r>
            <a:br>
              <a:rPr lang="nl-NL"/>
            </a:br>
            <a:r>
              <a:rPr lang="nl-NL"/>
              <a:t>(2 regels)</a:t>
            </a:r>
          </a:p>
        </p:txBody>
      </p:sp>
      <p:sp>
        <p:nvSpPr>
          <p:cNvPr id="9" name="Titel 14">
            <a:extLst>
              <a:ext uri="{FF2B5EF4-FFF2-40B4-BE49-F238E27FC236}">
                <a16:creationId xmlns:a16="http://schemas.microsoft.com/office/drawing/2014/main" id="{D8DC734C-BDEF-4F53-8985-B2A22AFABCA0}"/>
              </a:ext>
            </a:extLst>
          </p:cNvPr>
          <p:cNvSpPr>
            <a:spLocks noGrp="1"/>
          </p:cNvSpPr>
          <p:nvPr>
            <p:ph type="title" hasCustomPrompt="1"/>
          </p:nvPr>
        </p:nvSpPr>
        <p:spPr>
          <a:xfrm>
            <a:off x="0" y="270000"/>
            <a:ext cx="4212000" cy="1008000"/>
          </a:xfrm>
          <a:prstGeom prst="round1Rect">
            <a:avLst>
              <a:gd name="adj" fmla="val 15054"/>
            </a:avLst>
          </a:prstGeom>
          <a:solidFill>
            <a:schemeClr val="accent1">
              <a:alpha val="90000"/>
            </a:schemeClr>
          </a:solidFill>
          <a:ln w="19050" cmpd="sng">
            <a:noFill/>
          </a:ln>
        </p:spPr>
        <p:txBody>
          <a:bodyPr wrap="square" lIns="468000" tIns="36000" rIns="36000" bIns="36000" anchor="ctr"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nl-NL" noProof="0"/>
              <a:t>Klikken om een titel te maken (2 regels)</a:t>
            </a:r>
          </a:p>
        </p:txBody>
      </p:sp>
      <p:sp>
        <p:nvSpPr>
          <p:cNvPr id="7"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10" name="Tijdelijke aanduiding voor tekst 20">
            <a:extLst>
              <a:ext uri="{FF2B5EF4-FFF2-40B4-BE49-F238E27FC236}">
                <a16:creationId xmlns:a16="http://schemas.microsoft.com/office/drawing/2014/main" id="{29C2B700-8385-4CFE-AFD3-E894073942C9}"/>
              </a:ext>
            </a:extLst>
          </p:cNvPr>
          <p:cNvSpPr>
            <a:spLocks noGrp="1" noChangeAspect="1"/>
          </p:cNvSpPr>
          <p:nvPr>
            <p:ph type="body" sz="quarter" idx="11"/>
          </p:nvPr>
        </p:nvSpPr>
        <p:spPr>
          <a:xfrm>
            <a:off x="7583014" y="3826963"/>
            <a:ext cx="108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l">
              <a:buNone/>
              <a:defRPr sz="2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endParaRPr lang="nl-NL"/>
          </a:p>
        </p:txBody>
      </p:sp>
      <p:sp>
        <p:nvSpPr>
          <p:cNvPr id="13"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9225755" y="3826963"/>
            <a:ext cx="2160000" cy="1080000"/>
          </a:xfrm>
          <a:prstGeom prst="round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272120509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3 rg / Subtitel 2 rg ">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3331F178-4C7C-4273-840A-56633DA19E08}"/>
              </a:ext>
            </a:extLst>
          </p:cNvPr>
          <p:cNvSpPr>
            <a:spLocks noGrp="1"/>
          </p:cNvSpPr>
          <p:nvPr>
            <p:ph type="pic" sz="quarter" idx="10" hasCustomPrompt="1"/>
          </p:nvPr>
        </p:nvSpPr>
        <p:spPr>
          <a:xfrm>
            <a:off x="0" y="0"/>
            <a:ext cx="9144000" cy="5143500"/>
          </a:xfrm>
        </p:spPr>
        <p:txBody>
          <a:bodyPr/>
          <a:lstStyle>
            <a:lvl1pPr marL="0" indent="0" algn="ctr">
              <a:lnSpc>
                <a:spcPct val="100000"/>
              </a:lnSpc>
              <a:spcBef>
                <a:spcPts val="0"/>
              </a:spcBef>
              <a:buNone/>
              <a:defRPr sz="1200">
                <a:solidFill>
                  <a:schemeClr val="bg1">
                    <a:lumMod val="65000"/>
                  </a:schemeClr>
                </a:solidFill>
              </a:defRPr>
            </a:lvl1pPr>
          </a:lstStyle>
          <a:p>
            <a:r>
              <a:rPr lang="nl-NL"/>
              <a:t>Klik op het pictogram om een afbeelding in te voegen</a:t>
            </a:r>
          </a:p>
        </p:txBody>
      </p:sp>
      <p:sp>
        <p:nvSpPr>
          <p:cNvPr id="13" name="Ondertitel 14">
            <a:extLst>
              <a:ext uri="{FF2B5EF4-FFF2-40B4-BE49-F238E27FC236}">
                <a16:creationId xmlns:a16="http://schemas.microsoft.com/office/drawing/2014/main" id="{9718CACA-83B8-4B99-853E-639AE8FA4908}"/>
              </a:ext>
            </a:extLst>
          </p:cNvPr>
          <p:cNvSpPr>
            <a:spLocks noGrp="1"/>
          </p:cNvSpPr>
          <p:nvPr>
            <p:ph type="subTitle" idx="1" hasCustomPrompt="1"/>
          </p:nvPr>
        </p:nvSpPr>
        <p:spPr>
          <a:xfrm>
            <a:off x="0" y="1740699"/>
            <a:ext cx="4212000" cy="792000"/>
          </a:xfrm>
          <a:custGeom>
            <a:avLst/>
            <a:gdLst>
              <a:gd name="connsiteX0" fmla="*/ 0 w 4204800"/>
              <a:gd name="connsiteY0" fmla="*/ 0 h 774000"/>
              <a:gd name="connsiteX1" fmla="*/ 4204800 w 4204800"/>
              <a:gd name="connsiteY1" fmla="*/ 0 h 774000"/>
              <a:gd name="connsiteX2" fmla="*/ 4204800 w 4204800"/>
              <a:gd name="connsiteY2" fmla="*/ 774000 h 774000"/>
              <a:gd name="connsiteX3" fmla="*/ 0 w 4204800"/>
              <a:gd name="connsiteY3" fmla="*/ 774000 h 774000"/>
              <a:gd name="connsiteX4" fmla="*/ 0 w 4204800"/>
              <a:gd name="connsiteY4" fmla="*/ 0 h 774000"/>
              <a:gd name="connsiteX0" fmla="*/ 0 w 4204800"/>
              <a:gd name="connsiteY0" fmla="*/ 0 h 774000"/>
              <a:gd name="connsiteX1" fmla="*/ 4204800 w 4204800"/>
              <a:gd name="connsiteY1" fmla="*/ 0 h 774000"/>
              <a:gd name="connsiteX2" fmla="*/ 4204800 w 4204800"/>
              <a:gd name="connsiteY2" fmla="*/ 774000 h 774000"/>
              <a:gd name="connsiteX3" fmla="*/ 4027785 w 4204800"/>
              <a:gd name="connsiteY3" fmla="*/ 772984 h 774000"/>
              <a:gd name="connsiteX4" fmla="*/ 0 w 4204800"/>
              <a:gd name="connsiteY4" fmla="*/ 774000 h 774000"/>
              <a:gd name="connsiteX5" fmla="*/ 0 w 4204800"/>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204800 w 4205585"/>
              <a:gd name="connsiteY3" fmla="*/ 774000 h 774000"/>
              <a:gd name="connsiteX4" fmla="*/ 4027785 w 4205585"/>
              <a:gd name="connsiteY4" fmla="*/ 772984 h 774000"/>
              <a:gd name="connsiteX5" fmla="*/ 0 w 4205585"/>
              <a:gd name="connsiteY5" fmla="*/ 774000 h 774000"/>
              <a:gd name="connsiteX6" fmla="*/ 0 w 4205585"/>
              <a:gd name="connsiteY6" fmla="*/ 0 h 774000"/>
              <a:gd name="connsiteX0" fmla="*/ 0 w 4384772"/>
              <a:gd name="connsiteY0" fmla="*/ 0 h 774000"/>
              <a:gd name="connsiteX1" fmla="*/ 4204800 w 4384772"/>
              <a:gd name="connsiteY1" fmla="*/ 0 h 774000"/>
              <a:gd name="connsiteX2" fmla="*/ 4205585 w 4384772"/>
              <a:gd name="connsiteY2" fmla="*/ 576134 h 774000"/>
              <a:gd name="connsiteX3" fmla="*/ 4027785 w 4384772"/>
              <a:gd name="connsiteY3" fmla="*/ 772984 h 774000"/>
              <a:gd name="connsiteX4" fmla="*/ 0 w 4384772"/>
              <a:gd name="connsiteY4" fmla="*/ 774000 h 774000"/>
              <a:gd name="connsiteX5" fmla="*/ 0 w 4384772"/>
              <a:gd name="connsiteY5" fmla="*/ 0 h 774000"/>
              <a:gd name="connsiteX0" fmla="*/ 0 w 4392907"/>
              <a:gd name="connsiteY0" fmla="*/ 0 h 774000"/>
              <a:gd name="connsiteX1" fmla="*/ 4204800 w 4392907"/>
              <a:gd name="connsiteY1" fmla="*/ 0 h 774000"/>
              <a:gd name="connsiteX2" fmla="*/ 4205585 w 4392907"/>
              <a:gd name="connsiteY2" fmla="*/ 576134 h 774000"/>
              <a:gd name="connsiteX3" fmla="*/ 4027785 w 4392907"/>
              <a:gd name="connsiteY3" fmla="*/ 772984 h 774000"/>
              <a:gd name="connsiteX4" fmla="*/ 0 w 4392907"/>
              <a:gd name="connsiteY4" fmla="*/ 774000 h 774000"/>
              <a:gd name="connsiteX5" fmla="*/ 0 w 4392907"/>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27785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6382"/>
              <a:gd name="connsiteX1" fmla="*/ 4204800 w 4205585"/>
              <a:gd name="connsiteY1" fmla="*/ 0 h 776382"/>
              <a:gd name="connsiteX2" fmla="*/ 4205585 w 4205585"/>
              <a:gd name="connsiteY2" fmla="*/ 576134 h 776382"/>
              <a:gd name="connsiteX3" fmla="*/ 3834110 w 4205585"/>
              <a:gd name="connsiteY3" fmla="*/ 776159 h 776382"/>
              <a:gd name="connsiteX4" fmla="*/ 0 w 4205585"/>
              <a:gd name="connsiteY4" fmla="*/ 774000 h 776382"/>
              <a:gd name="connsiteX5" fmla="*/ 0 w 4205585"/>
              <a:gd name="connsiteY5" fmla="*/ 0 h 776382"/>
              <a:gd name="connsiteX0" fmla="*/ 0 w 4205585"/>
              <a:gd name="connsiteY0" fmla="*/ 0 h 776159"/>
              <a:gd name="connsiteX1" fmla="*/ 4204800 w 4205585"/>
              <a:gd name="connsiteY1" fmla="*/ 0 h 776159"/>
              <a:gd name="connsiteX2" fmla="*/ 4205585 w 4205585"/>
              <a:gd name="connsiteY2" fmla="*/ 576134 h 776159"/>
              <a:gd name="connsiteX3" fmla="*/ 3834110 w 4205585"/>
              <a:gd name="connsiteY3" fmla="*/ 776159 h 776159"/>
              <a:gd name="connsiteX4" fmla="*/ 0 w 4205585"/>
              <a:gd name="connsiteY4" fmla="*/ 774000 h 776159"/>
              <a:gd name="connsiteX5" fmla="*/ 0 w 4205585"/>
              <a:gd name="connsiteY5" fmla="*/ 0 h 776159"/>
              <a:gd name="connsiteX0" fmla="*/ 0 w 4205585"/>
              <a:gd name="connsiteY0" fmla="*/ 0 h 776284"/>
              <a:gd name="connsiteX1" fmla="*/ 4204800 w 4205585"/>
              <a:gd name="connsiteY1" fmla="*/ 0 h 776284"/>
              <a:gd name="connsiteX2" fmla="*/ 4205585 w 4205585"/>
              <a:gd name="connsiteY2" fmla="*/ 576134 h 776284"/>
              <a:gd name="connsiteX3" fmla="*/ 3834110 w 4205585"/>
              <a:gd name="connsiteY3" fmla="*/ 776159 h 776284"/>
              <a:gd name="connsiteX4" fmla="*/ 0 w 4205585"/>
              <a:gd name="connsiteY4" fmla="*/ 774000 h 776284"/>
              <a:gd name="connsiteX5" fmla="*/ 0 w 4205585"/>
              <a:gd name="connsiteY5" fmla="*/ 0 h 776284"/>
              <a:gd name="connsiteX0" fmla="*/ 0 w 4205634"/>
              <a:gd name="connsiteY0" fmla="*/ 0 h 776159"/>
              <a:gd name="connsiteX1" fmla="*/ 4204800 w 4205634"/>
              <a:gd name="connsiteY1" fmla="*/ 0 h 776159"/>
              <a:gd name="connsiteX2" fmla="*/ 4205585 w 4205634"/>
              <a:gd name="connsiteY2" fmla="*/ 576134 h 776159"/>
              <a:gd name="connsiteX3" fmla="*/ 3834110 w 4205634"/>
              <a:gd name="connsiteY3" fmla="*/ 776159 h 776159"/>
              <a:gd name="connsiteX4" fmla="*/ 0 w 4205634"/>
              <a:gd name="connsiteY4" fmla="*/ 774000 h 776159"/>
              <a:gd name="connsiteX5" fmla="*/ 0 w 4205634"/>
              <a:gd name="connsiteY5" fmla="*/ 0 h 776159"/>
              <a:gd name="connsiteX0" fmla="*/ 0 w 4205880"/>
              <a:gd name="connsiteY0" fmla="*/ 0 h 776159"/>
              <a:gd name="connsiteX1" fmla="*/ 4204800 w 4205880"/>
              <a:gd name="connsiteY1" fmla="*/ 0 h 776159"/>
              <a:gd name="connsiteX2" fmla="*/ 4205585 w 4205880"/>
              <a:gd name="connsiteY2" fmla="*/ 576134 h 776159"/>
              <a:gd name="connsiteX3" fmla="*/ 3904034 w 4205880"/>
              <a:gd name="connsiteY3" fmla="*/ 776159 h 776159"/>
              <a:gd name="connsiteX4" fmla="*/ 0 w 4205880"/>
              <a:gd name="connsiteY4" fmla="*/ 774000 h 776159"/>
              <a:gd name="connsiteX5" fmla="*/ 0 w 4205880"/>
              <a:gd name="connsiteY5" fmla="*/ 0 h 776159"/>
              <a:gd name="connsiteX0" fmla="*/ 0 w 4205699"/>
              <a:gd name="connsiteY0" fmla="*/ 0 h 776382"/>
              <a:gd name="connsiteX1" fmla="*/ 4204800 w 4205699"/>
              <a:gd name="connsiteY1" fmla="*/ 0 h 776382"/>
              <a:gd name="connsiteX2" fmla="*/ 4205585 w 4205699"/>
              <a:gd name="connsiteY2" fmla="*/ 576134 h 776382"/>
              <a:gd name="connsiteX3" fmla="*/ 3904034 w 4205699"/>
              <a:gd name="connsiteY3" fmla="*/ 776159 h 776382"/>
              <a:gd name="connsiteX4" fmla="*/ 0 w 4205699"/>
              <a:gd name="connsiteY4" fmla="*/ 774000 h 776382"/>
              <a:gd name="connsiteX5" fmla="*/ 0 w 4205699"/>
              <a:gd name="connsiteY5" fmla="*/ 0 h 776382"/>
              <a:gd name="connsiteX0" fmla="*/ 0 w 4205699"/>
              <a:gd name="connsiteY0" fmla="*/ 0 h 776795"/>
              <a:gd name="connsiteX1" fmla="*/ 4204800 w 4205699"/>
              <a:gd name="connsiteY1" fmla="*/ 0 h 776795"/>
              <a:gd name="connsiteX2" fmla="*/ 4205585 w 4205699"/>
              <a:gd name="connsiteY2" fmla="*/ 576134 h 776795"/>
              <a:gd name="connsiteX3" fmla="*/ 3904034 w 4205699"/>
              <a:gd name="connsiteY3" fmla="*/ 776159 h 776795"/>
              <a:gd name="connsiteX4" fmla="*/ 0 w 4205699"/>
              <a:gd name="connsiteY4" fmla="*/ 774000 h 776795"/>
              <a:gd name="connsiteX5" fmla="*/ 0 w 4205699"/>
              <a:gd name="connsiteY5" fmla="*/ 0 h 776795"/>
              <a:gd name="connsiteX0" fmla="*/ 0 w 4205611"/>
              <a:gd name="connsiteY0" fmla="*/ 0 h 776168"/>
              <a:gd name="connsiteX1" fmla="*/ 4204800 w 4205611"/>
              <a:gd name="connsiteY1" fmla="*/ 0 h 776168"/>
              <a:gd name="connsiteX2" fmla="*/ 4205585 w 4205611"/>
              <a:gd name="connsiteY2" fmla="*/ 576134 h 776168"/>
              <a:gd name="connsiteX3" fmla="*/ 3904034 w 4205611"/>
              <a:gd name="connsiteY3" fmla="*/ 776159 h 776168"/>
              <a:gd name="connsiteX4" fmla="*/ 0 w 4205611"/>
              <a:gd name="connsiteY4" fmla="*/ 774000 h 776168"/>
              <a:gd name="connsiteX5" fmla="*/ 0 w 4205611"/>
              <a:gd name="connsiteY5" fmla="*/ 0 h 776168"/>
              <a:gd name="connsiteX0" fmla="*/ 0 w 4205585"/>
              <a:gd name="connsiteY0" fmla="*/ 0 h 780814"/>
              <a:gd name="connsiteX1" fmla="*/ 4204800 w 4205585"/>
              <a:gd name="connsiteY1" fmla="*/ 0 h 780814"/>
              <a:gd name="connsiteX2" fmla="*/ 4205585 w 4205585"/>
              <a:gd name="connsiteY2" fmla="*/ 576134 h 780814"/>
              <a:gd name="connsiteX3" fmla="*/ 3904034 w 4205585"/>
              <a:gd name="connsiteY3" fmla="*/ 776159 h 780814"/>
              <a:gd name="connsiteX4" fmla="*/ 0 w 4205585"/>
              <a:gd name="connsiteY4" fmla="*/ 774000 h 780814"/>
              <a:gd name="connsiteX5" fmla="*/ 0 w 4205585"/>
              <a:gd name="connsiteY5" fmla="*/ 0 h 78081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4811"/>
              <a:gd name="connsiteY0" fmla="*/ 0 h 779764"/>
              <a:gd name="connsiteX1" fmla="*/ 4204800 w 4204811"/>
              <a:gd name="connsiteY1" fmla="*/ 0 h 779764"/>
              <a:gd name="connsiteX2" fmla="*/ 4200818 w 4204811"/>
              <a:gd name="connsiteY2" fmla="*/ 576134 h 779764"/>
              <a:gd name="connsiteX3" fmla="*/ 3904034 w 4204811"/>
              <a:gd name="connsiteY3" fmla="*/ 776159 h 779764"/>
              <a:gd name="connsiteX4" fmla="*/ 0 w 4204811"/>
              <a:gd name="connsiteY4" fmla="*/ 774000 h 779764"/>
              <a:gd name="connsiteX5" fmla="*/ 0 w 4204811"/>
              <a:gd name="connsiteY5" fmla="*/ 0 h 779764"/>
              <a:gd name="connsiteX0" fmla="*/ 0 w 4204811"/>
              <a:gd name="connsiteY0" fmla="*/ 0 h 777467"/>
              <a:gd name="connsiteX1" fmla="*/ 4204800 w 4204811"/>
              <a:gd name="connsiteY1" fmla="*/ 0 h 777467"/>
              <a:gd name="connsiteX2" fmla="*/ 4200818 w 4204811"/>
              <a:gd name="connsiteY2" fmla="*/ 576134 h 777467"/>
              <a:gd name="connsiteX3" fmla="*/ 3904034 w 4204811"/>
              <a:gd name="connsiteY3" fmla="*/ 776159 h 777467"/>
              <a:gd name="connsiteX4" fmla="*/ 0 w 4204811"/>
              <a:gd name="connsiteY4" fmla="*/ 774000 h 777467"/>
              <a:gd name="connsiteX5" fmla="*/ 0 w 4204811"/>
              <a:gd name="connsiteY5" fmla="*/ 0 h 777467"/>
              <a:gd name="connsiteX0" fmla="*/ 0 w 4205585"/>
              <a:gd name="connsiteY0" fmla="*/ 0 h 776832"/>
              <a:gd name="connsiteX1" fmla="*/ 4204800 w 4205585"/>
              <a:gd name="connsiteY1" fmla="*/ 0 h 776832"/>
              <a:gd name="connsiteX2" fmla="*/ 4205585 w 4205585"/>
              <a:gd name="connsiteY2" fmla="*/ 571372 h 776832"/>
              <a:gd name="connsiteX3" fmla="*/ 3904034 w 4205585"/>
              <a:gd name="connsiteY3" fmla="*/ 776159 h 776832"/>
              <a:gd name="connsiteX4" fmla="*/ 0 w 4205585"/>
              <a:gd name="connsiteY4" fmla="*/ 774000 h 776832"/>
              <a:gd name="connsiteX5" fmla="*/ 0 w 4205585"/>
              <a:gd name="connsiteY5" fmla="*/ 0 h 776832"/>
              <a:gd name="connsiteX0" fmla="*/ 0 w 4204822"/>
              <a:gd name="connsiteY0" fmla="*/ 0 h 776159"/>
              <a:gd name="connsiteX1" fmla="*/ 4204800 w 4204822"/>
              <a:gd name="connsiteY1" fmla="*/ 0 h 776159"/>
              <a:gd name="connsiteX2" fmla="*/ 4203201 w 4204822"/>
              <a:gd name="connsiteY2" fmla="*/ 564228 h 776159"/>
              <a:gd name="connsiteX3" fmla="*/ 3904034 w 4204822"/>
              <a:gd name="connsiteY3" fmla="*/ 776159 h 776159"/>
              <a:gd name="connsiteX4" fmla="*/ 0 w 4204822"/>
              <a:gd name="connsiteY4" fmla="*/ 774000 h 776159"/>
              <a:gd name="connsiteX5" fmla="*/ 0 w 4204822"/>
              <a:gd name="connsiteY5" fmla="*/ 0 h 776159"/>
              <a:gd name="connsiteX0" fmla="*/ 0 w 4204973"/>
              <a:gd name="connsiteY0" fmla="*/ 0 h 776159"/>
              <a:gd name="connsiteX1" fmla="*/ 4204800 w 4204973"/>
              <a:gd name="connsiteY1" fmla="*/ 0 h 776159"/>
              <a:gd name="connsiteX2" fmla="*/ 4203201 w 4204973"/>
              <a:gd name="connsiteY2" fmla="*/ 564228 h 776159"/>
              <a:gd name="connsiteX3" fmla="*/ 3904034 w 4204973"/>
              <a:gd name="connsiteY3" fmla="*/ 776159 h 776159"/>
              <a:gd name="connsiteX4" fmla="*/ 0 w 4204973"/>
              <a:gd name="connsiteY4" fmla="*/ 774000 h 776159"/>
              <a:gd name="connsiteX5" fmla="*/ 0 w 4204973"/>
              <a:gd name="connsiteY5" fmla="*/ 0 h 776159"/>
              <a:gd name="connsiteX0" fmla="*/ 0 w 4204973"/>
              <a:gd name="connsiteY0" fmla="*/ 0 h 777900"/>
              <a:gd name="connsiteX1" fmla="*/ 4204800 w 4204973"/>
              <a:gd name="connsiteY1" fmla="*/ 0 h 777900"/>
              <a:gd name="connsiteX2" fmla="*/ 4203201 w 4204973"/>
              <a:gd name="connsiteY2" fmla="*/ 564228 h 777900"/>
              <a:gd name="connsiteX3" fmla="*/ 3904034 w 4204973"/>
              <a:gd name="connsiteY3" fmla="*/ 776159 h 777900"/>
              <a:gd name="connsiteX4" fmla="*/ 0 w 4204973"/>
              <a:gd name="connsiteY4" fmla="*/ 774000 h 777900"/>
              <a:gd name="connsiteX5" fmla="*/ 0 w 4204973"/>
              <a:gd name="connsiteY5" fmla="*/ 0 h 777900"/>
              <a:gd name="connsiteX0" fmla="*/ 0 w 4204973"/>
              <a:gd name="connsiteY0" fmla="*/ 0 h 779286"/>
              <a:gd name="connsiteX1" fmla="*/ 4204800 w 4204973"/>
              <a:gd name="connsiteY1" fmla="*/ 0 h 779286"/>
              <a:gd name="connsiteX2" fmla="*/ 4203201 w 4204973"/>
              <a:gd name="connsiteY2" fmla="*/ 564228 h 779286"/>
              <a:gd name="connsiteX3" fmla="*/ 3904034 w 4204973"/>
              <a:gd name="connsiteY3" fmla="*/ 776159 h 779286"/>
              <a:gd name="connsiteX4" fmla="*/ 0 w 4204973"/>
              <a:gd name="connsiteY4" fmla="*/ 774000 h 779286"/>
              <a:gd name="connsiteX5" fmla="*/ 0 w 4204973"/>
              <a:gd name="connsiteY5" fmla="*/ 0 h 779286"/>
              <a:gd name="connsiteX0" fmla="*/ 0 w 4204822"/>
              <a:gd name="connsiteY0" fmla="*/ 0 h 786929"/>
              <a:gd name="connsiteX1" fmla="*/ 4204800 w 4204822"/>
              <a:gd name="connsiteY1" fmla="*/ 0 h 786929"/>
              <a:gd name="connsiteX2" fmla="*/ 4200818 w 4204822"/>
              <a:gd name="connsiteY2" fmla="*/ 597566 h 786929"/>
              <a:gd name="connsiteX3" fmla="*/ 3904034 w 4204822"/>
              <a:gd name="connsiteY3" fmla="*/ 776159 h 786929"/>
              <a:gd name="connsiteX4" fmla="*/ 0 w 4204822"/>
              <a:gd name="connsiteY4" fmla="*/ 774000 h 786929"/>
              <a:gd name="connsiteX5" fmla="*/ 0 w 4204822"/>
              <a:gd name="connsiteY5" fmla="*/ 0 h 786929"/>
              <a:gd name="connsiteX0" fmla="*/ 0 w 4204822"/>
              <a:gd name="connsiteY0" fmla="*/ 0 h 779486"/>
              <a:gd name="connsiteX1" fmla="*/ 4204800 w 4204822"/>
              <a:gd name="connsiteY1" fmla="*/ 0 h 779486"/>
              <a:gd name="connsiteX2" fmla="*/ 4200818 w 4204822"/>
              <a:gd name="connsiteY2" fmla="*/ 597566 h 779486"/>
              <a:gd name="connsiteX3" fmla="*/ 3904034 w 4204822"/>
              <a:gd name="connsiteY3" fmla="*/ 776159 h 779486"/>
              <a:gd name="connsiteX4" fmla="*/ 0 w 4204822"/>
              <a:gd name="connsiteY4" fmla="*/ 774000 h 779486"/>
              <a:gd name="connsiteX5" fmla="*/ 0 w 4204822"/>
              <a:gd name="connsiteY5" fmla="*/ 0 h 779486"/>
              <a:gd name="connsiteX0" fmla="*/ 0 w 4204822"/>
              <a:gd name="connsiteY0" fmla="*/ 0 h 780663"/>
              <a:gd name="connsiteX1" fmla="*/ 4204800 w 4204822"/>
              <a:gd name="connsiteY1" fmla="*/ 0 h 780663"/>
              <a:gd name="connsiteX2" fmla="*/ 4200818 w 4204822"/>
              <a:gd name="connsiteY2" fmla="*/ 597566 h 780663"/>
              <a:gd name="connsiteX3" fmla="*/ 3904034 w 4204822"/>
              <a:gd name="connsiteY3" fmla="*/ 776159 h 780663"/>
              <a:gd name="connsiteX4" fmla="*/ 0 w 4204822"/>
              <a:gd name="connsiteY4" fmla="*/ 774000 h 780663"/>
              <a:gd name="connsiteX5" fmla="*/ 0 w 4204822"/>
              <a:gd name="connsiteY5" fmla="*/ 0 h 780663"/>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81547"/>
              <a:gd name="connsiteX1" fmla="*/ 4204800 w 4204822"/>
              <a:gd name="connsiteY1" fmla="*/ 0 h 781547"/>
              <a:gd name="connsiteX2" fmla="*/ 4200818 w 4204822"/>
              <a:gd name="connsiteY2" fmla="*/ 597566 h 781547"/>
              <a:gd name="connsiteX3" fmla="*/ 3901650 w 4204822"/>
              <a:gd name="connsiteY3" fmla="*/ 778540 h 781547"/>
              <a:gd name="connsiteX4" fmla="*/ 0 w 4204822"/>
              <a:gd name="connsiteY4" fmla="*/ 774000 h 781547"/>
              <a:gd name="connsiteX5" fmla="*/ 0 w 4204822"/>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807"/>
              <a:gd name="connsiteY0" fmla="*/ 0 h 782489"/>
              <a:gd name="connsiteX1" fmla="*/ 4204800 w 4204807"/>
              <a:gd name="connsiteY1" fmla="*/ 0 h 782489"/>
              <a:gd name="connsiteX2" fmla="*/ 4196050 w 4204807"/>
              <a:gd name="connsiteY2" fmla="*/ 602328 h 782489"/>
              <a:gd name="connsiteX3" fmla="*/ 3901650 w 4204807"/>
              <a:gd name="connsiteY3" fmla="*/ 778540 h 782489"/>
              <a:gd name="connsiteX4" fmla="*/ 0 w 4204807"/>
              <a:gd name="connsiteY4" fmla="*/ 774000 h 782489"/>
              <a:gd name="connsiteX5" fmla="*/ 0 w 4204807"/>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809892"/>
              <a:gd name="connsiteX1" fmla="*/ 4204800 w 4206403"/>
              <a:gd name="connsiteY1" fmla="*/ 0 h 809892"/>
              <a:gd name="connsiteX2" fmla="*/ 4205585 w 4206403"/>
              <a:gd name="connsiteY2" fmla="*/ 602328 h 809892"/>
              <a:gd name="connsiteX3" fmla="*/ 3901650 w 4206403"/>
              <a:gd name="connsiteY3" fmla="*/ 778540 h 809892"/>
              <a:gd name="connsiteX4" fmla="*/ 0 w 4206403"/>
              <a:gd name="connsiteY4" fmla="*/ 774000 h 809892"/>
              <a:gd name="connsiteX5" fmla="*/ 0 w 4206403"/>
              <a:gd name="connsiteY5" fmla="*/ 0 h 809892"/>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68277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6403" h="782489">
                <a:moveTo>
                  <a:pt x="0" y="0"/>
                </a:moveTo>
                <a:lnTo>
                  <a:pt x="4204800" y="0"/>
                </a:lnTo>
                <a:cubicBezTo>
                  <a:pt x="4205062" y="192045"/>
                  <a:pt x="4207707" y="155490"/>
                  <a:pt x="4205585" y="602328"/>
                </a:cubicBezTo>
                <a:cubicBezTo>
                  <a:pt x="4207834" y="825616"/>
                  <a:pt x="4048385" y="778104"/>
                  <a:pt x="3877813" y="778540"/>
                </a:cubicBezTo>
                <a:lnTo>
                  <a:pt x="0" y="774000"/>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r>
              <a:rPr lang="nl-NL"/>
              <a:t>Klikken om een ondertitel toe te voegen </a:t>
            </a:r>
            <a:br>
              <a:rPr lang="nl-NL"/>
            </a:br>
            <a:r>
              <a:rPr lang="nl-NL"/>
              <a:t>(2 regels)</a:t>
            </a:r>
          </a:p>
        </p:txBody>
      </p:sp>
      <p:sp>
        <p:nvSpPr>
          <p:cNvPr id="8" name="Titel 14">
            <a:extLst>
              <a:ext uri="{FF2B5EF4-FFF2-40B4-BE49-F238E27FC236}">
                <a16:creationId xmlns:a16="http://schemas.microsoft.com/office/drawing/2014/main" id="{EA0FF0D3-5964-405D-8D31-F2EF82CACA9F}"/>
              </a:ext>
            </a:extLst>
          </p:cNvPr>
          <p:cNvSpPr>
            <a:spLocks noGrp="1"/>
          </p:cNvSpPr>
          <p:nvPr>
            <p:ph type="title" hasCustomPrompt="1"/>
          </p:nvPr>
        </p:nvSpPr>
        <p:spPr>
          <a:xfrm>
            <a:off x="0" y="270000"/>
            <a:ext cx="4212000" cy="1476000"/>
          </a:xfrm>
          <a:prstGeom prst="round1Rect">
            <a:avLst>
              <a:gd name="adj" fmla="val 10046"/>
            </a:avLst>
          </a:prstGeom>
          <a:solidFill>
            <a:schemeClr val="accent1">
              <a:alpha val="90000"/>
            </a:schemeClr>
          </a:solidFill>
          <a:ln w="19050" cmpd="sng">
            <a:noFill/>
          </a:ln>
        </p:spPr>
        <p:txBody>
          <a:bodyPr wrap="square" lIns="468000" tIns="36000" rIns="36000" bIns="36000" anchor="t"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nl-NL" noProof="0"/>
              <a:t>Klikken om een titel te maken (3 regels)</a:t>
            </a:r>
          </a:p>
        </p:txBody>
      </p:sp>
      <p:sp>
        <p:nvSpPr>
          <p:cNvPr id="9"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10" name="Tijdelijke aanduiding voor tekst 20">
            <a:extLst>
              <a:ext uri="{FF2B5EF4-FFF2-40B4-BE49-F238E27FC236}">
                <a16:creationId xmlns:a16="http://schemas.microsoft.com/office/drawing/2014/main" id="{29C2B700-8385-4CFE-AFD3-E894073942C9}"/>
              </a:ext>
            </a:extLst>
          </p:cNvPr>
          <p:cNvSpPr>
            <a:spLocks noGrp="1" noChangeAspect="1"/>
          </p:cNvSpPr>
          <p:nvPr>
            <p:ph type="body" sz="quarter" idx="11"/>
          </p:nvPr>
        </p:nvSpPr>
        <p:spPr>
          <a:xfrm>
            <a:off x="7583014" y="3826963"/>
            <a:ext cx="108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l">
              <a:buNone/>
              <a:defRPr sz="2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endParaRPr lang="nl-NL"/>
          </a:p>
        </p:txBody>
      </p:sp>
      <p:sp>
        <p:nvSpPr>
          <p:cNvPr id="12"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9225755" y="3826963"/>
            <a:ext cx="2160000" cy="1080000"/>
          </a:xfrm>
          <a:prstGeom prst="round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277876044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4 rg / Subtitel 2 rg ">
    <p:spTree>
      <p:nvGrpSpPr>
        <p:cNvPr id="1" name=""/>
        <p:cNvGrpSpPr/>
        <p:nvPr/>
      </p:nvGrpSpPr>
      <p:grpSpPr>
        <a:xfrm>
          <a:off x="0" y="0"/>
          <a:ext cx="0" cy="0"/>
          <a:chOff x="0" y="0"/>
          <a:chExt cx="0" cy="0"/>
        </a:xfrm>
      </p:grpSpPr>
      <p:sp>
        <p:nvSpPr>
          <p:cNvPr id="7" name="Tijdelijke aanduiding voor afbeelding 4">
            <a:extLst>
              <a:ext uri="{FF2B5EF4-FFF2-40B4-BE49-F238E27FC236}">
                <a16:creationId xmlns:a16="http://schemas.microsoft.com/office/drawing/2014/main" id="{9523DE7B-09F6-48A1-B622-0C275C27EA25}"/>
              </a:ext>
            </a:extLst>
          </p:cNvPr>
          <p:cNvSpPr>
            <a:spLocks noGrp="1"/>
          </p:cNvSpPr>
          <p:nvPr>
            <p:ph type="pic" sz="quarter" idx="10" hasCustomPrompt="1"/>
          </p:nvPr>
        </p:nvSpPr>
        <p:spPr>
          <a:xfrm>
            <a:off x="0" y="0"/>
            <a:ext cx="9144000" cy="5143500"/>
          </a:xfrm>
        </p:spPr>
        <p:txBody>
          <a:bodyPr/>
          <a:lstStyle>
            <a:lvl1pPr marL="0" indent="0" algn="ctr">
              <a:lnSpc>
                <a:spcPct val="100000"/>
              </a:lnSpc>
              <a:spcBef>
                <a:spcPts val="0"/>
              </a:spcBef>
              <a:buNone/>
              <a:defRPr sz="1200">
                <a:solidFill>
                  <a:schemeClr val="bg1">
                    <a:lumMod val="65000"/>
                  </a:schemeClr>
                </a:solidFill>
              </a:defRPr>
            </a:lvl1pPr>
          </a:lstStyle>
          <a:p>
            <a:r>
              <a:rPr lang="nl-NL"/>
              <a:t>Klik op het pictogram om een afbeelding in te voegen</a:t>
            </a:r>
          </a:p>
        </p:txBody>
      </p:sp>
      <p:sp>
        <p:nvSpPr>
          <p:cNvPr id="13" name="Ondertitel 14">
            <a:extLst>
              <a:ext uri="{FF2B5EF4-FFF2-40B4-BE49-F238E27FC236}">
                <a16:creationId xmlns:a16="http://schemas.microsoft.com/office/drawing/2014/main" id="{9F7D3FFA-EEEE-4CB4-A55B-EBB10883FE76}"/>
              </a:ext>
            </a:extLst>
          </p:cNvPr>
          <p:cNvSpPr>
            <a:spLocks noGrp="1"/>
          </p:cNvSpPr>
          <p:nvPr>
            <p:ph type="subTitle" idx="1" hasCustomPrompt="1"/>
          </p:nvPr>
        </p:nvSpPr>
        <p:spPr>
          <a:xfrm>
            <a:off x="0" y="2176838"/>
            <a:ext cx="4212000" cy="792000"/>
          </a:xfrm>
          <a:custGeom>
            <a:avLst/>
            <a:gdLst>
              <a:gd name="connsiteX0" fmla="*/ 0 w 4204800"/>
              <a:gd name="connsiteY0" fmla="*/ 0 h 774000"/>
              <a:gd name="connsiteX1" fmla="*/ 4204800 w 4204800"/>
              <a:gd name="connsiteY1" fmla="*/ 0 h 774000"/>
              <a:gd name="connsiteX2" fmla="*/ 4204800 w 4204800"/>
              <a:gd name="connsiteY2" fmla="*/ 774000 h 774000"/>
              <a:gd name="connsiteX3" fmla="*/ 0 w 4204800"/>
              <a:gd name="connsiteY3" fmla="*/ 774000 h 774000"/>
              <a:gd name="connsiteX4" fmla="*/ 0 w 4204800"/>
              <a:gd name="connsiteY4" fmla="*/ 0 h 774000"/>
              <a:gd name="connsiteX0" fmla="*/ 0 w 4204800"/>
              <a:gd name="connsiteY0" fmla="*/ 0 h 774000"/>
              <a:gd name="connsiteX1" fmla="*/ 4204800 w 4204800"/>
              <a:gd name="connsiteY1" fmla="*/ 0 h 774000"/>
              <a:gd name="connsiteX2" fmla="*/ 4204800 w 4204800"/>
              <a:gd name="connsiteY2" fmla="*/ 774000 h 774000"/>
              <a:gd name="connsiteX3" fmla="*/ 4027785 w 4204800"/>
              <a:gd name="connsiteY3" fmla="*/ 772984 h 774000"/>
              <a:gd name="connsiteX4" fmla="*/ 0 w 4204800"/>
              <a:gd name="connsiteY4" fmla="*/ 774000 h 774000"/>
              <a:gd name="connsiteX5" fmla="*/ 0 w 4204800"/>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204800 w 4205585"/>
              <a:gd name="connsiteY3" fmla="*/ 774000 h 774000"/>
              <a:gd name="connsiteX4" fmla="*/ 4027785 w 4205585"/>
              <a:gd name="connsiteY4" fmla="*/ 772984 h 774000"/>
              <a:gd name="connsiteX5" fmla="*/ 0 w 4205585"/>
              <a:gd name="connsiteY5" fmla="*/ 774000 h 774000"/>
              <a:gd name="connsiteX6" fmla="*/ 0 w 4205585"/>
              <a:gd name="connsiteY6" fmla="*/ 0 h 774000"/>
              <a:gd name="connsiteX0" fmla="*/ 0 w 4384772"/>
              <a:gd name="connsiteY0" fmla="*/ 0 h 774000"/>
              <a:gd name="connsiteX1" fmla="*/ 4204800 w 4384772"/>
              <a:gd name="connsiteY1" fmla="*/ 0 h 774000"/>
              <a:gd name="connsiteX2" fmla="*/ 4205585 w 4384772"/>
              <a:gd name="connsiteY2" fmla="*/ 576134 h 774000"/>
              <a:gd name="connsiteX3" fmla="*/ 4027785 w 4384772"/>
              <a:gd name="connsiteY3" fmla="*/ 772984 h 774000"/>
              <a:gd name="connsiteX4" fmla="*/ 0 w 4384772"/>
              <a:gd name="connsiteY4" fmla="*/ 774000 h 774000"/>
              <a:gd name="connsiteX5" fmla="*/ 0 w 4384772"/>
              <a:gd name="connsiteY5" fmla="*/ 0 h 774000"/>
              <a:gd name="connsiteX0" fmla="*/ 0 w 4392907"/>
              <a:gd name="connsiteY0" fmla="*/ 0 h 774000"/>
              <a:gd name="connsiteX1" fmla="*/ 4204800 w 4392907"/>
              <a:gd name="connsiteY1" fmla="*/ 0 h 774000"/>
              <a:gd name="connsiteX2" fmla="*/ 4205585 w 4392907"/>
              <a:gd name="connsiteY2" fmla="*/ 576134 h 774000"/>
              <a:gd name="connsiteX3" fmla="*/ 4027785 w 4392907"/>
              <a:gd name="connsiteY3" fmla="*/ 772984 h 774000"/>
              <a:gd name="connsiteX4" fmla="*/ 0 w 4392907"/>
              <a:gd name="connsiteY4" fmla="*/ 774000 h 774000"/>
              <a:gd name="connsiteX5" fmla="*/ 0 w 4392907"/>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27785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4000"/>
              <a:gd name="connsiteX1" fmla="*/ 4204800 w 4205585"/>
              <a:gd name="connsiteY1" fmla="*/ 0 h 774000"/>
              <a:gd name="connsiteX2" fmla="*/ 4205585 w 4205585"/>
              <a:gd name="connsiteY2" fmla="*/ 576134 h 774000"/>
              <a:gd name="connsiteX3" fmla="*/ 4005560 w 4205585"/>
              <a:gd name="connsiteY3" fmla="*/ 772984 h 774000"/>
              <a:gd name="connsiteX4" fmla="*/ 0 w 4205585"/>
              <a:gd name="connsiteY4" fmla="*/ 774000 h 774000"/>
              <a:gd name="connsiteX5" fmla="*/ 0 w 4205585"/>
              <a:gd name="connsiteY5" fmla="*/ 0 h 774000"/>
              <a:gd name="connsiteX0" fmla="*/ 0 w 4205585"/>
              <a:gd name="connsiteY0" fmla="*/ 0 h 776382"/>
              <a:gd name="connsiteX1" fmla="*/ 4204800 w 4205585"/>
              <a:gd name="connsiteY1" fmla="*/ 0 h 776382"/>
              <a:gd name="connsiteX2" fmla="*/ 4205585 w 4205585"/>
              <a:gd name="connsiteY2" fmla="*/ 576134 h 776382"/>
              <a:gd name="connsiteX3" fmla="*/ 3834110 w 4205585"/>
              <a:gd name="connsiteY3" fmla="*/ 776159 h 776382"/>
              <a:gd name="connsiteX4" fmla="*/ 0 w 4205585"/>
              <a:gd name="connsiteY4" fmla="*/ 774000 h 776382"/>
              <a:gd name="connsiteX5" fmla="*/ 0 w 4205585"/>
              <a:gd name="connsiteY5" fmla="*/ 0 h 776382"/>
              <a:gd name="connsiteX0" fmla="*/ 0 w 4205585"/>
              <a:gd name="connsiteY0" fmla="*/ 0 h 776159"/>
              <a:gd name="connsiteX1" fmla="*/ 4204800 w 4205585"/>
              <a:gd name="connsiteY1" fmla="*/ 0 h 776159"/>
              <a:gd name="connsiteX2" fmla="*/ 4205585 w 4205585"/>
              <a:gd name="connsiteY2" fmla="*/ 576134 h 776159"/>
              <a:gd name="connsiteX3" fmla="*/ 3834110 w 4205585"/>
              <a:gd name="connsiteY3" fmla="*/ 776159 h 776159"/>
              <a:gd name="connsiteX4" fmla="*/ 0 w 4205585"/>
              <a:gd name="connsiteY4" fmla="*/ 774000 h 776159"/>
              <a:gd name="connsiteX5" fmla="*/ 0 w 4205585"/>
              <a:gd name="connsiteY5" fmla="*/ 0 h 776159"/>
              <a:gd name="connsiteX0" fmla="*/ 0 w 4205585"/>
              <a:gd name="connsiteY0" fmla="*/ 0 h 776284"/>
              <a:gd name="connsiteX1" fmla="*/ 4204800 w 4205585"/>
              <a:gd name="connsiteY1" fmla="*/ 0 h 776284"/>
              <a:gd name="connsiteX2" fmla="*/ 4205585 w 4205585"/>
              <a:gd name="connsiteY2" fmla="*/ 576134 h 776284"/>
              <a:gd name="connsiteX3" fmla="*/ 3834110 w 4205585"/>
              <a:gd name="connsiteY3" fmla="*/ 776159 h 776284"/>
              <a:gd name="connsiteX4" fmla="*/ 0 w 4205585"/>
              <a:gd name="connsiteY4" fmla="*/ 774000 h 776284"/>
              <a:gd name="connsiteX5" fmla="*/ 0 w 4205585"/>
              <a:gd name="connsiteY5" fmla="*/ 0 h 776284"/>
              <a:gd name="connsiteX0" fmla="*/ 0 w 4205634"/>
              <a:gd name="connsiteY0" fmla="*/ 0 h 776159"/>
              <a:gd name="connsiteX1" fmla="*/ 4204800 w 4205634"/>
              <a:gd name="connsiteY1" fmla="*/ 0 h 776159"/>
              <a:gd name="connsiteX2" fmla="*/ 4205585 w 4205634"/>
              <a:gd name="connsiteY2" fmla="*/ 576134 h 776159"/>
              <a:gd name="connsiteX3" fmla="*/ 3834110 w 4205634"/>
              <a:gd name="connsiteY3" fmla="*/ 776159 h 776159"/>
              <a:gd name="connsiteX4" fmla="*/ 0 w 4205634"/>
              <a:gd name="connsiteY4" fmla="*/ 774000 h 776159"/>
              <a:gd name="connsiteX5" fmla="*/ 0 w 4205634"/>
              <a:gd name="connsiteY5" fmla="*/ 0 h 776159"/>
              <a:gd name="connsiteX0" fmla="*/ 0 w 4205880"/>
              <a:gd name="connsiteY0" fmla="*/ 0 h 776159"/>
              <a:gd name="connsiteX1" fmla="*/ 4204800 w 4205880"/>
              <a:gd name="connsiteY1" fmla="*/ 0 h 776159"/>
              <a:gd name="connsiteX2" fmla="*/ 4205585 w 4205880"/>
              <a:gd name="connsiteY2" fmla="*/ 576134 h 776159"/>
              <a:gd name="connsiteX3" fmla="*/ 3904034 w 4205880"/>
              <a:gd name="connsiteY3" fmla="*/ 776159 h 776159"/>
              <a:gd name="connsiteX4" fmla="*/ 0 w 4205880"/>
              <a:gd name="connsiteY4" fmla="*/ 774000 h 776159"/>
              <a:gd name="connsiteX5" fmla="*/ 0 w 4205880"/>
              <a:gd name="connsiteY5" fmla="*/ 0 h 776159"/>
              <a:gd name="connsiteX0" fmla="*/ 0 w 4205699"/>
              <a:gd name="connsiteY0" fmla="*/ 0 h 776382"/>
              <a:gd name="connsiteX1" fmla="*/ 4204800 w 4205699"/>
              <a:gd name="connsiteY1" fmla="*/ 0 h 776382"/>
              <a:gd name="connsiteX2" fmla="*/ 4205585 w 4205699"/>
              <a:gd name="connsiteY2" fmla="*/ 576134 h 776382"/>
              <a:gd name="connsiteX3" fmla="*/ 3904034 w 4205699"/>
              <a:gd name="connsiteY3" fmla="*/ 776159 h 776382"/>
              <a:gd name="connsiteX4" fmla="*/ 0 w 4205699"/>
              <a:gd name="connsiteY4" fmla="*/ 774000 h 776382"/>
              <a:gd name="connsiteX5" fmla="*/ 0 w 4205699"/>
              <a:gd name="connsiteY5" fmla="*/ 0 h 776382"/>
              <a:gd name="connsiteX0" fmla="*/ 0 w 4205699"/>
              <a:gd name="connsiteY0" fmla="*/ 0 h 776795"/>
              <a:gd name="connsiteX1" fmla="*/ 4204800 w 4205699"/>
              <a:gd name="connsiteY1" fmla="*/ 0 h 776795"/>
              <a:gd name="connsiteX2" fmla="*/ 4205585 w 4205699"/>
              <a:gd name="connsiteY2" fmla="*/ 576134 h 776795"/>
              <a:gd name="connsiteX3" fmla="*/ 3904034 w 4205699"/>
              <a:gd name="connsiteY3" fmla="*/ 776159 h 776795"/>
              <a:gd name="connsiteX4" fmla="*/ 0 w 4205699"/>
              <a:gd name="connsiteY4" fmla="*/ 774000 h 776795"/>
              <a:gd name="connsiteX5" fmla="*/ 0 w 4205699"/>
              <a:gd name="connsiteY5" fmla="*/ 0 h 776795"/>
              <a:gd name="connsiteX0" fmla="*/ 0 w 4205611"/>
              <a:gd name="connsiteY0" fmla="*/ 0 h 776168"/>
              <a:gd name="connsiteX1" fmla="*/ 4204800 w 4205611"/>
              <a:gd name="connsiteY1" fmla="*/ 0 h 776168"/>
              <a:gd name="connsiteX2" fmla="*/ 4205585 w 4205611"/>
              <a:gd name="connsiteY2" fmla="*/ 576134 h 776168"/>
              <a:gd name="connsiteX3" fmla="*/ 3904034 w 4205611"/>
              <a:gd name="connsiteY3" fmla="*/ 776159 h 776168"/>
              <a:gd name="connsiteX4" fmla="*/ 0 w 4205611"/>
              <a:gd name="connsiteY4" fmla="*/ 774000 h 776168"/>
              <a:gd name="connsiteX5" fmla="*/ 0 w 4205611"/>
              <a:gd name="connsiteY5" fmla="*/ 0 h 776168"/>
              <a:gd name="connsiteX0" fmla="*/ 0 w 4205585"/>
              <a:gd name="connsiteY0" fmla="*/ 0 h 780814"/>
              <a:gd name="connsiteX1" fmla="*/ 4204800 w 4205585"/>
              <a:gd name="connsiteY1" fmla="*/ 0 h 780814"/>
              <a:gd name="connsiteX2" fmla="*/ 4205585 w 4205585"/>
              <a:gd name="connsiteY2" fmla="*/ 576134 h 780814"/>
              <a:gd name="connsiteX3" fmla="*/ 3904034 w 4205585"/>
              <a:gd name="connsiteY3" fmla="*/ 776159 h 780814"/>
              <a:gd name="connsiteX4" fmla="*/ 0 w 4205585"/>
              <a:gd name="connsiteY4" fmla="*/ 774000 h 780814"/>
              <a:gd name="connsiteX5" fmla="*/ 0 w 4205585"/>
              <a:gd name="connsiteY5" fmla="*/ 0 h 78081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5585"/>
              <a:gd name="connsiteY0" fmla="*/ 0 h 779764"/>
              <a:gd name="connsiteX1" fmla="*/ 4204800 w 4205585"/>
              <a:gd name="connsiteY1" fmla="*/ 0 h 779764"/>
              <a:gd name="connsiteX2" fmla="*/ 4205585 w 4205585"/>
              <a:gd name="connsiteY2" fmla="*/ 576134 h 779764"/>
              <a:gd name="connsiteX3" fmla="*/ 3904034 w 4205585"/>
              <a:gd name="connsiteY3" fmla="*/ 776159 h 779764"/>
              <a:gd name="connsiteX4" fmla="*/ 0 w 4205585"/>
              <a:gd name="connsiteY4" fmla="*/ 774000 h 779764"/>
              <a:gd name="connsiteX5" fmla="*/ 0 w 4205585"/>
              <a:gd name="connsiteY5" fmla="*/ 0 h 779764"/>
              <a:gd name="connsiteX0" fmla="*/ 0 w 4204811"/>
              <a:gd name="connsiteY0" fmla="*/ 0 h 779764"/>
              <a:gd name="connsiteX1" fmla="*/ 4204800 w 4204811"/>
              <a:gd name="connsiteY1" fmla="*/ 0 h 779764"/>
              <a:gd name="connsiteX2" fmla="*/ 4200818 w 4204811"/>
              <a:gd name="connsiteY2" fmla="*/ 576134 h 779764"/>
              <a:gd name="connsiteX3" fmla="*/ 3904034 w 4204811"/>
              <a:gd name="connsiteY3" fmla="*/ 776159 h 779764"/>
              <a:gd name="connsiteX4" fmla="*/ 0 w 4204811"/>
              <a:gd name="connsiteY4" fmla="*/ 774000 h 779764"/>
              <a:gd name="connsiteX5" fmla="*/ 0 w 4204811"/>
              <a:gd name="connsiteY5" fmla="*/ 0 h 779764"/>
              <a:gd name="connsiteX0" fmla="*/ 0 w 4204811"/>
              <a:gd name="connsiteY0" fmla="*/ 0 h 777467"/>
              <a:gd name="connsiteX1" fmla="*/ 4204800 w 4204811"/>
              <a:gd name="connsiteY1" fmla="*/ 0 h 777467"/>
              <a:gd name="connsiteX2" fmla="*/ 4200818 w 4204811"/>
              <a:gd name="connsiteY2" fmla="*/ 576134 h 777467"/>
              <a:gd name="connsiteX3" fmla="*/ 3904034 w 4204811"/>
              <a:gd name="connsiteY3" fmla="*/ 776159 h 777467"/>
              <a:gd name="connsiteX4" fmla="*/ 0 w 4204811"/>
              <a:gd name="connsiteY4" fmla="*/ 774000 h 777467"/>
              <a:gd name="connsiteX5" fmla="*/ 0 w 4204811"/>
              <a:gd name="connsiteY5" fmla="*/ 0 h 777467"/>
              <a:gd name="connsiteX0" fmla="*/ 0 w 4205585"/>
              <a:gd name="connsiteY0" fmla="*/ 0 h 776832"/>
              <a:gd name="connsiteX1" fmla="*/ 4204800 w 4205585"/>
              <a:gd name="connsiteY1" fmla="*/ 0 h 776832"/>
              <a:gd name="connsiteX2" fmla="*/ 4205585 w 4205585"/>
              <a:gd name="connsiteY2" fmla="*/ 571372 h 776832"/>
              <a:gd name="connsiteX3" fmla="*/ 3904034 w 4205585"/>
              <a:gd name="connsiteY3" fmla="*/ 776159 h 776832"/>
              <a:gd name="connsiteX4" fmla="*/ 0 w 4205585"/>
              <a:gd name="connsiteY4" fmla="*/ 774000 h 776832"/>
              <a:gd name="connsiteX5" fmla="*/ 0 w 4205585"/>
              <a:gd name="connsiteY5" fmla="*/ 0 h 776832"/>
              <a:gd name="connsiteX0" fmla="*/ 0 w 4204822"/>
              <a:gd name="connsiteY0" fmla="*/ 0 h 776159"/>
              <a:gd name="connsiteX1" fmla="*/ 4204800 w 4204822"/>
              <a:gd name="connsiteY1" fmla="*/ 0 h 776159"/>
              <a:gd name="connsiteX2" fmla="*/ 4203201 w 4204822"/>
              <a:gd name="connsiteY2" fmla="*/ 564228 h 776159"/>
              <a:gd name="connsiteX3" fmla="*/ 3904034 w 4204822"/>
              <a:gd name="connsiteY3" fmla="*/ 776159 h 776159"/>
              <a:gd name="connsiteX4" fmla="*/ 0 w 4204822"/>
              <a:gd name="connsiteY4" fmla="*/ 774000 h 776159"/>
              <a:gd name="connsiteX5" fmla="*/ 0 w 4204822"/>
              <a:gd name="connsiteY5" fmla="*/ 0 h 776159"/>
              <a:gd name="connsiteX0" fmla="*/ 0 w 4204973"/>
              <a:gd name="connsiteY0" fmla="*/ 0 h 776159"/>
              <a:gd name="connsiteX1" fmla="*/ 4204800 w 4204973"/>
              <a:gd name="connsiteY1" fmla="*/ 0 h 776159"/>
              <a:gd name="connsiteX2" fmla="*/ 4203201 w 4204973"/>
              <a:gd name="connsiteY2" fmla="*/ 564228 h 776159"/>
              <a:gd name="connsiteX3" fmla="*/ 3904034 w 4204973"/>
              <a:gd name="connsiteY3" fmla="*/ 776159 h 776159"/>
              <a:gd name="connsiteX4" fmla="*/ 0 w 4204973"/>
              <a:gd name="connsiteY4" fmla="*/ 774000 h 776159"/>
              <a:gd name="connsiteX5" fmla="*/ 0 w 4204973"/>
              <a:gd name="connsiteY5" fmla="*/ 0 h 776159"/>
              <a:gd name="connsiteX0" fmla="*/ 0 w 4204973"/>
              <a:gd name="connsiteY0" fmla="*/ 0 h 777900"/>
              <a:gd name="connsiteX1" fmla="*/ 4204800 w 4204973"/>
              <a:gd name="connsiteY1" fmla="*/ 0 h 777900"/>
              <a:gd name="connsiteX2" fmla="*/ 4203201 w 4204973"/>
              <a:gd name="connsiteY2" fmla="*/ 564228 h 777900"/>
              <a:gd name="connsiteX3" fmla="*/ 3904034 w 4204973"/>
              <a:gd name="connsiteY3" fmla="*/ 776159 h 777900"/>
              <a:gd name="connsiteX4" fmla="*/ 0 w 4204973"/>
              <a:gd name="connsiteY4" fmla="*/ 774000 h 777900"/>
              <a:gd name="connsiteX5" fmla="*/ 0 w 4204973"/>
              <a:gd name="connsiteY5" fmla="*/ 0 h 777900"/>
              <a:gd name="connsiteX0" fmla="*/ 0 w 4204973"/>
              <a:gd name="connsiteY0" fmla="*/ 0 h 779286"/>
              <a:gd name="connsiteX1" fmla="*/ 4204800 w 4204973"/>
              <a:gd name="connsiteY1" fmla="*/ 0 h 779286"/>
              <a:gd name="connsiteX2" fmla="*/ 4203201 w 4204973"/>
              <a:gd name="connsiteY2" fmla="*/ 564228 h 779286"/>
              <a:gd name="connsiteX3" fmla="*/ 3904034 w 4204973"/>
              <a:gd name="connsiteY3" fmla="*/ 776159 h 779286"/>
              <a:gd name="connsiteX4" fmla="*/ 0 w 4204973"/>
              <a:gd name="connsiteY4" fmla="*/ 774000 h 779286"/>
              <a:gd name="connsiteX5" fmla="*/ 0 w 4204973"/>
              <a:gd name="connsiteY5" fmla="*/ 0 h 779286"/>
              <a:gd name="connsiteX0" fmla="*/ 0 w 4204822"/>
              <a:gd name="connsiteY0" fmla="*/ 0 h 786929"/>
              <a:gd name="connsiteX1" fmla="*/ 4204800 w 4204822"/>
              <a:gd name="connsiteY1" fmla="*/ 0 h 786929"/>
              <a:gd name="connsiteX2" fmla="*/ 4200818 w 4204822"/>
              <a:gd name="connsiteY2" fmla="*/ 597566 h 786929"/>
              <a:gd name="connsiteX3" fmla="*/ 3904034 w 4204822"/>
              <a:gd name="connsiteY3" fmla="*/ 776159 h 786929"/>
              <a:gd name="connsiteX4" fmla="*/ 0 w 4204822"/>
              <a:gd name="connsiteY4" fmla="*/ 774000 h 786929"/>
              <a:gd name="connsiteX5" fmla="*/ 0 w 4204822"/>
              <a:gd name="connsiteY5" fmla="*/ 0 h 786929"/>
              <a:gd name="connsiteX0" fmla="*/ 0 w 4204822"/>
              <a:gd name="connsiteY0" fmla="*/ 0 h 779486"/>
              <a:gd name="connsiteX1" fmla="*/ 4204800 w 4204822"/>
              <a:gd name="connsiteY1" fmla="*/ 0 h 779486"/>
              <a:gd name="connsiteX2" fmla="*/ 4200818 w 4204822"/>
              <a:gd name="connsiteY2" fmla="*/ 597566 h 779486"/>
              <a:gd name="connsiteX3" fmla="*/ 3904034 w 4204822"/>
              <a:gd name="connsiteY3" fmla="*/ 776159 h 779486"/>
              <a:gd name="connsiteX4" fmla="*/ 0 w 4204822"/>
              <a:gd name="connsiteY4" fmla="*/ 774000 h 779486"/>
              <a:gd name="connsiteX5" fmla="*/ 0 w 4204822"/>
              <a:gd name="connsiteY5" fmla="*/ 0 h 779486"/>
              <a:gd name="connsiteX0" fmla="*/ 0 w 4204822"/>
              <a:gd name="connsiteY0" fmla="*/ 0 h 780663"/>
              <a:gd name="connsiteX1" fmla="*/ 4204800 w 4204822"/>
              <a:gd name="connsiteY1" fmla="*/ 0 h 780663"/>
              <a:gd name="connsiteX2" fmla="*/ 4200818 w 4204822"/>
              <a:gd name="connsiteY2" fmla="*/ 597566 h 780663"/>
              <a:gd name="connsiteX3" fmla="*/ 3904034 w 4204822"/>
              <a:gd name="connsiteY3" fmla="*/ 776159 h 780663"/>
              <a:gd name="connsiteX4" fmla="*/ 0 w 4204822"/>
              <a:gd name="connsiteY4" fmla="*/ 774000 h 780663"/>
              <a:gd name="connsiteX5" fmla="*/ 0 w 4204822"/>
              <a:gd name="connsiteY5" fmla="*/ 0 h 780663"/>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8580"/>
              <a:gd name="connsiteX1" fmla="*/ 4204800 w 4204822"/>
              <a:gd name="connsiteY1" fmla="*/ 0 h 778580"/>
              <a:gd name="connsiteX2" fmla="*/ 4200818 w 4204822"/>
              <a:gd name="connsiteY2" fmla="*/ 597566 h 778580"/>
              <a:gd name="connsiteX3" fmla="*/ 3904034 w 4204822"/>
              <a:gd name="connsiteY3" fmla="*/ 776159 h 778580"/>
              <a:gd name="connsiteX4" fmla="*/ 0 w 4204822"/>
              <a:gd name="connsiteY4" fmla="*/ 774000 h 778580"/>
              <a:gd name="connsiteX5" fmla="*/ 0 w 4204822"/>
              <a:gd name="connsiteY5" fmla="*/ 0 h 778580"/>
              <a:gd name="connsiteX0" fmla="*/ 0 w 4204822"/>
              <a:gd name="connsiteY0" fmla="*/ 0 h 779621"/>
              <a:gd name="connsiteX1" fmla="*/ 4204800 w 4204822"/>
              <a:gd name="connsiteY1" fmla="*/ 0 h 779621"/>
              <a:gd name="connsiteX2" fmla="*/ 4200818 w 4204822"/>
              <a:gd name="connsiteY2" fmla="*/ 597566 h 779621"/>
              <a:gd name="connsiteX3" fmla="*/ 3904034 w 4204822"/>
              <a:gd name="connsiteY3" fmla="*/ 776159 h 779621"/>
              <a:gd name="connsiteX4" fmla="*/ 0 w 4204822"/>
              <a:gd name="connsiteY4" fmla="*/ 774000 h 779621"/>
              <a:gd name="connsiteX5" fmla="*/ 0 w 4204822"/>
              <a:gd name="connsiteY5" fmla="*/ 0 h 779621"/>
              <a:gd name="connsiteX0" fmla="*/ 0 w 4204822"/>
              <a:gd name="connsiteY0" fmla="*/ 0 h 781547"/>
              <a:gd name="connsiteX1" fmla="*/ 4204800 w 4204822"/>
              <a:gd name="connsiteY1" fmla="*/ 0 h 781547"/>
              <a:gd name="connsiteX2" fmla="*/ 4200818 w 4204822"/>
              <a:gd name="connsiteY2" fmla="*/ 597566 h 781547"/>
              <a:gd name="connsiteX3" fmla="*/ 3901650 w 4204822"/>
              <a:gd name="connsiteY3" fmla="*/ 778540 h 781547"/>
              <a:gd name="connsiteX4" fmla="*/ 0 w 4204822"/>
              <a:gd name="connsiteY4" fmla="*/ 774000 h 781547"/>
              <a:gd name="connsiteX5" fmla="*/ 0 w 4204822"/>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973"/>
              <a:gd name="connsiteY0" fmla="*/ 0 h 781547"/>
              <a:gd name="connsiteX1" fmla="*/ 4204800 w 4204973"/>
              <a:gd name="connsiteY1" fmla="*/ 0 h 781547"/>
              <a:gd name="connsiteX2" fmla="*/ 4203201 w 4204973"/>
              <a:gd name="connsiteY2" fmla="*/ 597566 h 781547"/>
              <a:gd name="connsiteX3" fmla="*/ 3901650 w 4204973"/>
              <a:gd name="connsiteY3" fmla="*/ 778540 h 781547"/>
              <a:gd name="connsiteX4" fmla="*/ 0 w 4204973"/>
              <a:gd name="connsiteY4" fmla="*/ 774000 h 781547"/>
              <a:gd name="connsiteX5" fmla="*/ 0 w 4204973"/>
              <a:gd name="connsiteY5" fmla="*/ 0 h 781547"/>
              <a:gd name="connsiteX0" fmla="*/ 0 w 4204807"/>
              <a:gd name="connsiteY0" fmla="*/ 0 h 782489"/>
              <a:gd name="connsiteX1" fmla="*/ 4204800 w 4204807"/>
              <a:gd name="connsiteY1" fmla="*/ 0 h 782489"/>
              <a:gd name="connsiteX2" fmla="*/ 4196050 w 4204807"/>
              <a:gd name="connsiteY2" fmla="*/ 602328 h 782489"/>
              <a:gd name="connsiteX3" fmla="*/ 3901650 w 4204807"/>
              <a:gd name="connsiteY3" fmla="*/ 778540 h 782489"/>
              <a:gd name="connsiteX4" fmla="*/ 0 w 4204807"/>
              <a:gd name="connsiteY4" fmla="*/ 774000 h 782489"/>
              <a:gd name="connsiteX5" fmla="*/ 0 w 4204807"/>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809892"/>
              <a:gd name="connsiteX1" fmla="*/ 4204800 w 4206403"/>
              <a:gd name="connsiteY1" fmla="*/ 0 h 809892"/>
              <a:gd name="connsiteX2" fmla="*/ 4205585 w 4206403"/>
              <a:gd name="connsiteY2" fmla="*/ 602328 h 809892"/>
              <a:gd name="connsiteX3" fmla="*/ 3901650 w 4206403"/>
              <a:gd name="connsiteY3" fmla="*/ 778540 h 809892"/>
              <a:gd name="connsiteX4" fmla="*/ 0 w 4206403"/>
              <a:gd name="connsiteY4" fmla="*/ 774000 h 809892"/>
              <a:gd name="connsiteX5" fmla="*/ 0 w 4206403"/>
              <a:gd name="connsiteY5" fmla="*/ 0 h 809892"/>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901650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68277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 name="connsiteX0" fmla="*/ 0 w 4206403"/>
              <a:gd name="connsiteY0" fmla="*/ 0 h 782489"/>
              <a:gd name="connsiteX1" fmla="*/ 4204800 w 4206403"/>
              <a:gd name="connsiteY1" fmla="*/ 0 h 782489"/>
              <a:gd name="connsiteX2" fmla="*/ 4205585 w 4206403"/>
              <a:gd name="connsiteY2" fmla="*/ 602328 h 782489"/>
              <a:gd name="connsiteX3" fmla="*/ 3877813 w 4206403"/>
              <a:gd name="connsiteY3" fmla="*/ 778540 h 782489"/>
              <a:gd name="connsiteX4" fmla="*/ 0 w 4206403"/>
              <a:gd name="connsiteY4" fmla="*/ 774000 h 782489"/>
              <a:gd name="connsiteX5" fmla="*/ 0 w 4206403"/>
              <a:gd name="connsiteY5" fmla="*/ 0 h 78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6403" h="782489">
                <a:moveTo>
                  <a:pt x="0" y="0"/>
                </a:moveTo>
                <a:lnTo>
                  <a:pt x="4204800" y="0"/>
                </a:lnTo>
                <a:cubicBezTo>
                  <a:pt x="4205062" y="192045"/>
                  <a:pt x="4207707" y="155490"/>
                  <a:pt x="4205585" y="602328"/>
                </a:cubicBezTo>
                <a:cubicBezTo>
                  <a:pt x="4207834" y="825616"/>
                  <a:pt x="4048385" y="778104"/>
                  <a:pt x="3877813" y="778540"/>
                </a:cubicBezTo>
                <a:lnTo>
                  <a:pt x="0" y="774000"/>
                </a:lnTo>
                <a:lnTo>
                  <a:pt x="0" y="0"/>
                </a:lnTo>
                <a:close/>
              </a:path>
            </a:pathLst>
          </a:custGeom>
          <a:solidFill>
            <a:schemeClr val="accent2">
              <a:alpha val="90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lvl1pPr marL="0" indent="0" algn="l" defTabSz="456988" rtl="0" eaLnBrk="1" latinLnBrk="0" hangingPunct="1">
              <a:lnSpc>
                <a:spcPct val="100000"/>
              </a:lnSpc>
              <a:spcBef>
                <a:spcPct val="0"/>
              </a:spcBef>
              <a:buNone/>
              <a:defRPr lang="nl-NL" sz="1800" b="1" i="1" kern="1200" dirty="0">
                <a:solidFill>
                  <a:schemeClr val="bg1"/>
                </a:solidFill>
                <a:latin typeface="Calibri Light" panose="020F0302020204030204" pitchFamily="34" charset="0"/>
                <a:ea typeface="+mn-ea"/>
                <a:cs typeface="Calibri Light" panose="020F0302020204030204" pitchFamily="34" charset="0"/>
              </a:defRPr>
            </a:lvl1pPr>
            <a:lvl2pPr marL="456988" indent="0" algn="ctr">
              <a:buNone/>
              <a:defRPr>
                <a:solidFill>
                  <a:schemeClr val="tx1">
                    <a:tint val="75000"/>
                  </a:schemeClr>
                </a:solidFill>
              </a:defRPr>
            </a:lvl2pPr>
            <a:lvl3pPr marL="913976" indent="0" algn="ctr">
              <a:buNone/>
              <a:defRPr>
                <a:solidFill>
                  <a:schemeClr val="tx1">
                    <a:tint val="75000"/>
                  </a:schemeClr>
                </a:solidFill>
              </a:defRPr>
            </a:lvl3pPr>
            <a:lvl4pPr marL="1370964" indent="0" algn="ctr">
              <a:buNone/>
              <a:defRPr>
                <a:solidFill>
                  <a:schemeClr val="tx1">
                    <a:tint val="75000"/>
                  </a:schemeClr>
                </a:solidFill>
              </a:defRPr>
            </a:lvl4pPr>
            <a:lvl5pPr marL="1827951" indent="0" algn="ctr">
              <a:buNone/>
              <a:defRPr>
                <a:solidFill>
                  <a:schemeClr val="tx1">
                    <a:tint val="75000"/>
                  </a:schemeClr>
                </a:solidFill>
              </a:defRPr>
            </a:lvl5pPr>
            <a:lvl6pPr marL="2284940" indent="0" algn="ctr">
              <a:buNone/>
              <a:defRPr>
                <a:solidFill>
                  <a:schemeClr val="tx1">
                    <a:tint val="75000"/>
                  </a:schemeClr>
                </a:solidFill>
              </a:defRPr>
            </a:lvl6pPr>
            <a:lvl7pPr marL="2741929" indent="0" algn="ctr">
              <a:buNone/>
              <a:defRPr>
                <a:solidFill>
                  <a:schemeClr val="tx1">
                    <a:tint val="75000"/>
                  </a:schemeClr>
                </a:solidFill>
              </a:defRPr>
            </a:lvl7pPr>
            <a:lvl8pPr marL="3198915" indent="0" algn="ctr">
              <a:buNone/>
              <a:defRPr>
                <a:solidFill>
                  <a:schemeClr val="tx1">
                    <a:tint val="75000"/>
                  </a:schemeClr>
                </a:solidFill>
              </a:defRPr>
            </a:lvl8pPr>
            <a:lvl9pPr marL="3655904" indent="0" algn="ctr">
              <a:buNone/>
              <a:defRPr>
                <a:solidFill>
                  <a:schemeClr val="tx1">
                    <a:tint val="75000"/>
                  </a:schemeClr>
                </a:solidFill>
              </a:defRPr>
            </a:lvl9pPr>
          </a:lstStyle>
          <a:p>
            <a:r>
              <a:rPr lang="nl-NL"/>
              <a:t>Klikken om een ondertitel toe te voegen </a:t>
            </a:r>
            <a:br>
              <a:rPr lang="nl-NL"/>
            </a:br>
            <a:r>
              <a:rPr lang="nl-NL"/>
              <a:t>(2 regels)</a:t>
            </a:r>
          </a:p>
        </p:txBody>
      </p:sp>
      <p:sp>
        <p:nvSpPr>
          <p:cNvPr id="8" name="Titel 14">
            <a:extLst>
              <a:ext uri="{FF2B5EF4-FFF2-40B4-BE49-F238E27FC236}">
                <a16:creationId xmlns:a16="http://schemas.microsoft.com/office/drawing/2014/main" id="{E28576DE-CC5F-476F-9305-D6DA1AB7835F}"/>
              </a:ext>
            </a:extLst>
          </p:cNvPr>
          <p:cNvSpPr>
            <a:spLocks noGrp="1"/>
          </p:cNvSpPr>
          <p:nvPr>
            <p:ph type="title" hasCustomPrompt="1"/>
          </p:nvPr>
        </p:nvSpPr>
        <p:spPr>
          <a:xfrm>
            <a:off x="0" y="270000"/>
            <a:ext cx="4212000" cy="1908000"/>
          </a:xfrm>
          <a:prstGeom prst="round1Rect">
            <a:avLst>
              <a:gd name="adj" fmla="val 7595"/>
            </a:avLst>
          </a:prstGeom>
          <a:solidFill>
            <a:schemeClr val="accent1">
              <a:alpha val="90000"/>
            </a:schemeClr>
          </a:solidFill>
          <a:ln w="19050" cmpd="sng">
            <a:noFill/>
          </a:ln>
        </p:spPr>
        <p:txBody>
          <a:bodyPr wrap="square" lIns="468000" tIns="36000" rIns="36000" bIns="36000" anchor="t" anchorCtr="0">
            <a:noAutofit/>
          </a:bodyPr>
          <a:lstStyle>
            <a:lvl1pPr>
              <a:lnSpc>
                <a:spcPts val="3000"/>
              </a:lnSpc>
              <a:defRPr sz="2800" b="1" i="1">
                <a:solidFill>
                  <a:srgbClr val="FFFFFF"/>
                </a:solidFill>
                <a:latin typeface="Calibri" panose="020F0502020204030204" pitchFamily="34" charset="0"/>
                <a:cs typeface="Calibri" panose="020F0502020204030204" pitchFamily="34" charset="0"/>
              </a:defRPr>
            </a:lvl1pPr>
          </a:lstStyle>
          <a:p>
            <a:r>
              <a:rPr lang="nl-NL" noProof="0"/>
              <a:t>Klikken om een titel te maken (4 regels)</a:t>
            </a:r>
          </a:p>
        </p:txBody>
      </p:sp>
      <p:sp>
        <p:nvSpPr>
          <p:cNvPr id="9" name="Text Placeholder 2"/>
          <p:cNvSpPr>
            <a:spLocks noGrp="1"/>
          </p:cNvSpPr>
          <p:nvPr>
            <p:ph type="body" sz="quarter" idx="13" hasCustomPrompt="1"/>
          </p:nvPr>
        </p:nvSpPr>
        <p:spPr>
          <a:xfrm>
            <a:off x="469276" y="4655399"/>
            <a:ext cx="2267865" cy="246221"/>
          </a:xfrm>
        </p:spPr>
        <p:txBody>
          <a:bodyPr wrap="none" anchor="b">
            <a:spAutoFit/>
          </a:bodyPr>
          <a:lstStyle>
            <a:lvl1pPr marL="0" indent="0">
              <a:lnSpc>
                <a:spcPct val="100000"/>
              </a:lnSpc>
              <a:spcBef>
                <a:spcPts val="0"/>
              </a:spcBef>
              <a:buNone/>
              <a:defRPr sz="1600" b="1" i="1">
                <a:solidFill>
                  <a:schemeClr val="bg1"/>
                </a:solidFill>
              </a:defRPr>
            </a:lvl1pPr>
          </a:lstStyle>
          <a:p>
            <a:pPr lvl="0"/>
            <a:r>
              <a:rPr lang="en-US"/>
              <a:t>Datum [</a:t>
            </a:r>
            <a:r>
              <a:rPr lang="en-US" err="1"/>
              <a:t>dd</a:t>
            </a:r>
            <a:r>
              <a:rPr lang="en-US"/>
              <a:t>/mm/</a:t>
            </a:r>
            <a:r>
              <a:rPr lang="en-US" err="1"/>
              <a:t>jjjj</a:t>
            </a:r>
            <a:r>
              <a:rPr lang="en-US"/>
              <a:t>] | </a:t>
            </a:r>
            <a:r>
              <a:rPr lang="en-US" err="1"/>
              <a:t>Versie</a:t>
            </a:r>
            <a:endParaRPr lang="en-US"/>
          </a:p>
        </p:txBody>
      </p:sp>
      <p:sp>
        <p:nvSpPr>
          <p:cNvPr id="10" name="Tijdelijke aanduiding voor tekst 20">
            <a:extLst>
              <a:ext uri="{FF2B5EF4-FFF2-40B4-BE49-F238E27FC236}">
                <a16:creationId xmlns:a16="http://schemas.microsoft.com/office/drawing/2014/main" id="{29C2B700-8385-4CFE-AFD3-E894073942C9}"/>
              </a:ext>
            </a:extLst>
          </p:cNvPr>
          <p:cNvSpPr>
            <a:spLocks noGrp="1" noChangeAspect="1"/>
          </p:cNvSpPr>
          <p:nvPr>
            <p:ph type="body" sz="quarter" idx="11"/>
          </p:nvPr>
        </p:nvSpPr>
        <p:spPr>
          <a:xfrm>
            <a:off x="7583014" y="3826963"/>
            <a:ext cx="1080000" cy="1080000"/>
          </a:xfrm>
          <a:prstGeom prst="round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marL="0" indent="0" algn="l">
              <a:buNone/>
              <a:defRPr sz="2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endParaRPr lang="nl-NL"/>
          </a:p>
        </p:txBody>
      </p:sp>
      <p:sp>
        <p:nvSpPr>
          <p:cNvPr id="12" name="Tijdelijke aanduiding voor tekst 20">
            <a:extLst>
              <a:ext uri="{FF2B5EF4-FFF2-40B4-BE49-F238E27FC236}">
                <a16:creationId xmlns:a16="http://schemas.microsoft.com/office/drawing/2014/main" id="{3994F1CA-F81F-4AA8-B810-231783050342}"/>
              </a:ext>
            </a:extLst>
          </p:cNvPr>
          <p:cNvSpPr>
            <a:spLocks noGrp="1" noChangeAspect="1"/>
          </p:cNvSpPr>
          <p:nvPr>
            <p:ph type="body" sz="quarter" idx="14" hasCustomPrompt="1"/>
          </p:nvPr>
        </p:nvSpPr>
        <p:spPr>
          <a:xfrm>
            <a:off x="9225755" y="3826963"/>
            <a:ext cx="2160000" cy="1080000"/>
          </a:xfrm>
          <a:prstGeom prst="roundRect">
            <a:avLst/>
          </a:prstGeom>
          <a:blipFill dpi="0" rotWithShape="1">
            <a:blip r:embed="rId3" cstate="print">
              <a:extLst>
                <a:ext uri="{28A0092B-C50C-407E-A947-70E740481C1C}">
                  <a14:useLocalDpi xmlns:a14="http://schemas.microsoft.com/office/drawing/2010/main"/>
                </a:ext>
              </a:extLst>
            </a:blip>
            <a:srcRect/>
            <a:stretch>
              <a:fillRect/>
            </a:stretch>
          </a:blipFill>
        </p:spPr>
        <p:txBody>
          <a:bodyPr/>
          <a:lstStyle>
            <a:lvl1pPr marL="0" indent="0" algn="ctr">
              <a:buNone/>
              <a:defRPr sz="800">
                <a:solidFill>
                  <a:schemeClr val="bg1"/>
                </a:solidFill>
              </a:defRPr>
            </a:lvl1pPr>
            <a:lvl2pPr>
              <a:defRPr>
                <a:noFill/>
              </a:defRPr>
            </a:lvl2pPr>
            <a:lvl3pPr>
              <a:defRPr>
                <a:noFill/>
              </a:defRPr>
            </a:lvl3pPr>
            <a:lvl4pPr>
              <a:defRPr>
                <a:noFill/>
              </a:defRPr>
            </a:lvl4pPr>
            <a:lvl5pPr marL="287331" indent="-285743">
              <a:buFont typeface="Arial" panose="020B0604020202020204" pitchFamily="34" charset="0"/>
              <a:buChar char="•"/>
              <a:defRPr>
                <a:noFill/>
              </a:defRPr>
            </a:lvl5pPr>
          </a:lstStyle>
          <a:p>
            <a:pPr lvl="0"/>
            <a:r>
              <a:rPr lang="nl-NL"/>
              <a:t>.</a:t>
            </a:r>
          </a:p>
        </p:txBody>
      </p:sp>
    </p:spTree>
    <p:extLst>
      <p:ext uri="{BB962C8B-B14F-4D97-AF65-F5344CB8AC3E}">
        <p14:creationId xmlns:p14="http://schemas.microsoft.com/office/powerpoint/2010/main" val="3135258201"/>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Heading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000" y="191292"/>
            <a:ext cx="8208000" cy="504000"/>
          </a:xfrm>
        </p:spPr>
        <p:txBody>
          <a:bodyPr/>
          <a:lstStyle/>
          <a:p>
            <a:r>
              <a:rPr lang="en-US"/>
              <a:t>Click to edit title</a:t>
            </a:r>
            <a:endParaRPr lang="en-GB"/>
          </a:p>
        </p:txBody>
      </p:sp>
      <p:sp>
        <p:nvSpPr>
          <p:cNvPr id="3" name="Footer Placeholder 2"/>
          <p:cNvSpPr>
            <a:spLocks noGrp="1"/>
          </p:cNvSpPr>
          <p:nvPr>
            <p:ph type="ftr" sz="quarter" idx="10"/>
          </p:nvPr>
        </p:nvSpPr>
        <p:spPr/>
        <p:txBody>
          <a:bodyPr/>
          <a:lstStyle/>
          <a:p>
            <a:r>
              <a:rPr lang="en-GB"/>
              <a:t>Source</a:t>
            </a:r>
          </a:p>
        </p:txBody>
      </p:sp>
      <p:sp>
        <p:nvSpPr>
          <p:cNvPr id="4" name="Slide Number Placeholder 3"/>
          <p:cNvSpPr>
            <a:spLocks noGrp="1"/>
          </p:cNvSpPr>
          <p:nvPr>
            <p:ph type="sldNum" sz="quarter" idx="11"/>
          </p:nvPr>
        </p:nvSpPr>
        <p:spPr/>
        <p:txBody>
          <a:bodyPr/>
          <a:lstStyle/>
          <a:p>
            <a:fld id="{7CC030A7-D003-45E0-94AF-9D435D41739D}" type="slidenum">
              <a:rPr lang="nl-NL" smtClean="0"/>
              <a:pPr/>
              <a:t>‹#›</a:t>
            </a:fld>
            <a:endParaRPr lang="nl-NL"/>
          </a:p>
        </p:txBody>
      </p:sp>
      <p:sp>
        <p:nvSpPr>
          <p:cNvPr id="7" name="Text Placeholder 6"/>
          <p:cNvSpPr>
            <a:spLocks noGrp="1"/>
          </p:cNvSpPr>
          <p:nvPr>
            <p:ph type="body" sz="quarter" idx="13" hasCustomPrompt="1"/>
          </p:nvPr>
        </p:nvSpPr>
        <p:spPr>
          <a:xfrm>
            <a:off x="468000" y="686094"/>
            <a:ext cx="8208000" cy="252000"/>
          </a:xfrm>
        </p:spPr>
        <p:txBody>
          <a:bodyPr vert="horz" lIns="0" tIns="0" rIns="0" bIns="0" rtlCol="0">
            <a:noAutofit/>
          </a:bodyPr>
          <a:lstStyle>
            <a:lvl1pPr marL="0" indent="0">
              <a:buNone/>
              <a:defRPr lang="en-GB" sz="1600" dirty="0">
                <a:solidFill>
                  <a:schemeClr val="accent2"/>
                </a:solidFill>
              </a:defRPr>
            </a:lvl1pPr>
          </a:lstStyle>
          <a:p>
            <a:pPr marL="266700" lvl="0" indent="-266700"/>
            <a:r>
              <a:rPr lang="en-US"/>
              <a:t>Click to add subtitle</a:t>
            </a:r>
            <a:endParaRPr lang="en-GB"/>
          </a:p>
        </p:txBody>
      </p:sp>
    </p:spTree>
    <p:extLst>
      <p:ext uri="{BB962C8B-B14F-4D97-AF65-F5344CB8AC3E}">
        <p14:creationId xmlns:p14="http://schemas.microsoft.com/office/powerpoint/2010/main" val="118782305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18" Type="http://schemas.openxmlformats.org/officeDocument/2006/relationships/slideLayout" Target="../slideLayouts/slideLayout18.xml" /><Relationship Id="rId26" Type="http://schemas.openxmlformats.org/officeDocument/2006/relationships/slideLayout" Target="../slideLayouts/slideLayout26.xml" /><Relationship Id="rId3" Type="http://schemas.openxmlformats.org/officeDocument/2006/relationships/slideLayout" Target="../slideLayouts/slideLayout3.xml" /><Relationship Id="rId21" Type="http://schemas.openxmlformats.org/officeDocument/2006/relationships/slideLayout" Target="../slideLayouts/slideLayout21.xml" /><Relationship Id="rId34" Type="http://schemas.openxmlformats.org/officeDocument/2006/relationships/slideLayout" Target="../slideLayouts/slideLayout34.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17" Type="http://schemas.openxmlformats.org/officeDocument/2006/relationships/slideLayout" Target="../slideLayouts/slideLayout17.xml" /><Relationship Id="rId25" Type="http://schemas.openxmlformats.org/officeDocument/2006/relationships/slideLayout" Target="../slideLayouts/slideLayout25.xml" /><Relationship Id="rId33" Type="http://schemas.openxmlformats.org/officeDocument/2006/relationships/slideLayout" Target="../slideLayouts/slideLayout33.xml"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0" Type="http://schemas.openxmlformats.org/officeDocument/2006/relationships/slideLayout" Target="../slideLayouts/slideLayout20.xml" /><Relationship Id="rId29" Type="http://schemas.openxmlformats.org/officeDocument/2006/relationships/slideLayout" Target="../slideLayouts/slideLayout29.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24" Type="http://schemas.openxmlformats.org/officeDocument/2006/relationships/slideLayout" Target="../slideLayouts/slideLayout24.xml" /><Relationship Id="rId32" Type="http://schemas.openxmlformats.org/officeDocument/2006/relationships/slideLayout" Target="../slideLayouts/slideLayout32.xml" /><Relationship Id="rId37" Type="http://schemas.openxmlformats.org/officeDocument/2006/relationships/theme" Target="../theme/theme1.xml" /><Relationship Id="rId5" Type="http://schemas.openxmlformats.org/officeDocument/2006/relationships/slideLayout" Target="../slideLayouts/slideLayout5.xml" /><Relationship Id="rId15" Type="http://schemas.openxmlformats.org/officeDocument/2006/relationships/slideLayout" Target="../slideLayouts/slideLayout15.xml" /><Relationship Id="rId23" Type="http://schemas.openxmlformats.org/officeDocument/2006/relationships/slideLayout" Target="../slideLayouts/slideLayout23.xml" /><Relationship Id="rId28" Type="http://schemas.openxmlformats.org/officeDocument/2006/relationships/slideLayout" Target="../slideLayouts/slideLayout28.xml" /><Relationship Id="rId36" Type="http://schemas.openxmlformats.org/officeDocument/2006/relationships/slideLayout" Target="../slideLayouts/slideLayout36.xml" /><Relationship Id="rId10" Type="http://schemas.openxmlformats.org/officeDocument/2006/relationships/slideLayout" Target="../slideLayouts/slideLayout10.xml" /><Relationship Id="rId19" Type="http://schemas.openxmlformats.org/officeDocument/2006/relationships/slideLayout" Target="../slideLayouts/slideLayout19.xml" /><Relationship Id="rId31" Type="http://schemas.openxmlformats.org/officeDocument/2006/relationships/slideLayout" Target="../slideLayouts/slideLayout31.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 Id="rId22" Type="http://schemas.openxmlformats.org/officeDocument/2006/relationships/slideLayout" Target="../slideLayouts/slideLayout22.xml" /><Relationship Id="rId27" Type="http://schemas.openxmlformats.org/officeDocument/2006/relationships/slideLayout" Target="../slideLayouts/slideLayout27.xml" /><Relationship Id="rId30" Type="http://schemas.openxmlformats.org/officeDocument/2006/relationships/slideLayout" Target="../slideLayouts/slideLayout30.xml" /><Relationship Id="rId35" Type="http://schemas.openxmlformats.org/officeDocument/2006/relationships/slideLayout" Target="../slideLayouts/slideLayout35.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68000" y="191292"/>
            <a:ext cx="8208000" cy="504000"/>
          </a:xfrm>
          <a:prstGeom prst="rect">
            <a:avLst/>
          </a:prstGeom>
        </p:spPr>
        <p:txBody>
          <a:bodyPr vert="horz" lIns="0" tIns="0" rIns="0" bIns="0" rtlCol="0" anchor="b" anchorCtr="0">
            <a:noAutofit/>
          </a:bodyPr>
          <a:lstStyle/>
          <a:p>
            <a:r>
              <a:rPr lang="en-US"/>
              <a:t>Click to edit title</a:t>
            </a:r>
            <a:endParaRPr lang="en-GB" noProof="0"/>
          </a:p>
        </p:txBody>
      </p:sp>
      <p:sp>
        <p:nvSpPr>
          <p:cNvPr id="5" name="Kader 4" hidden="1"/>
          <p:cNvSpPr/>
          <p:nvPr/>
        </p:nvSpPr>
        <p:spPr>
          <a:xfrm>
            <a:off x="-540568" y="-408592"/>
            <a:ext cx="10225136" cy="5960686"/>
          </a:xfrm>
          <a:prstGeom prst="frame">
            <a:avLst>
              <a:gd name="adj1" fmla="val 6674"/>
            </a:avLst>
          </a:prstGeom>
          <a:noFill/>
          <a:ln w="6350" cap="flat" cmpd="sng" algn="ctr">
            <a:solidFill>
              <a:schemeClr val="accent2"/>
            </a:solidFill>
            <a:prstDash val="solid"/>
          </a:ln>
          <a:effectLst/>
        </p:spPr>
        <p:txBody>
          <a:bodyPr rot="0" spcFirstLastPara="0" vertOverflow="overflow" horzOverflow="overflow" vert="horz" wrap="square" lIns="91440" tIns="36000" rIns="91440" bIns="72000" numCol="1" spcCol="0" rtlCol="0" fromWordArt="0" anchor="ctr" anchorCtr="0" forceAA="0" compatLnSpc="1">
            <a:prstTxWarp prst="textNoShape">
              <a:avLst/>
            </a:prstTxWarp>
            <a:noAutofit/>
          </a:bodyPr>
          <a:lstStyle/>
          <a:p>
            <a:pPr marL="0" marR="0" indent="0" algn="ctr" defTabSz="914400" eaLnBrk="1" fontAlgn="auto" latinLnBrk="0" hangingPunct="1">
              <a:lnSpc>
                <a:spcPct val="110000"/>
              </a:lnSpc>
              <a:spcBef>
                <a:spcPts val="0"/>
              </a:spcBef>
              <a:spcAft>
                <a:spcPts val="0"/>
              </a:spcAft>
              <a:buClrTx/>
              <a:buSzTx/>
              <a:buFontTx/>
              <a:buNone/>
              <a:tabLst/>
            </a:pPr>
            <a:endParaRPr kumimoji="0" lang="nl-NL" sz="1800" b="0" i="0" u="none" strike="noStrike" kern="0" cap="none" spc="0" normalizeH="0" baseline="0" noProof="0">
              <a:ln>
                <a:noFill/>
              </a:ln>
              <a:solidFill>
                <a:srgbClr val="000000"/>
              </a:solidFill>
              <a:effectLst/>
              <a:uLnTx/>
              <a:uFillTx/>
              <a:latin typeface="Myriad Pro"/>
              <a:ea typeface="+mn-ea"/>
              <a:cs typeface="Myriad Pro"/>
            </a:endParaRPr>
          </a:p>
        </p:txBody>
      </p:sp>
      <p:sp>
        <p:nvSpPr>
          <p:cNvPr id="8" name="Tijdelijke aanduiding voor tekst 7"/>
          <p:cNvSpPr>
            <a:spLocks noGrp="1"/>
          </p:cNvSpPr>
          <p:nvPr>
            <p:ph type="body" idx="1"/>
          </p:nvPr>
        </p:nvSpPr>
        <p:spPr>
          <a:xfrm>
            <a:off x="468000" y="1158875"/>
            <a:ext cx="8208000" cy="3420000"/>
          </a:xfrm>
          <a:prstGeom prst="rect">
            <a:avLst/>
          </a:prstGeom>
        </p:spPr>
        <p:txBody>
          <a:bodyPr vert="horz" lIns="0" tIns="0" rIns="0" bIns="0" rtlCol="0">
            <a:noAutofit/>
          </a:bodyPr>
          <a:lstStyle/>
          <a:p>
            <a:pPr lvl="0"/>
            <a:r>
              <a:rPr lang="en-US"/>
              <a:t>Click to edit text</a:t>
            </a:r>
            <a:endParaRPr lang="en-GB" noProof="0"/>
          </a:p>
          <a:p>
            <a:pPr lvl="1"/>
            <a:r>
              <a:rPr lang="en-GB" noProof="0"/>
              <a:t>Second level</a:t>
            </a:r>
          </a:p>
          <a:p>
            <a:pPr lvl="2"/>
            <a:r>
              <a:rPr lang="en-GB" noProof="0"/>
              <a:t>Third level</a:t>
            </a:r>
          </a:p>
          <a:p>
            <a:pPr lvl="3"/>
            <a:r>
              <a:rPr lang="en-GB" noProof="0"/>
              <a:t>Fourth level</a:t>
            </a:r>
          </a:p>
          <a:p>
            <a:pPr lvl="4"/>
            <a:r>
              <a:rPr lang="nl-NL" noProof="0" err="1"/>
              <a:t>Fifth</a:t>
            </a:r>
            <a:r>
              <a:rPr lang="nl-NL" noProof="0"/>
              <a:t> level</a:t>
            </a:r>
            <a:endParaRPr lang="en-GB" noProof="0"/>
          </a:p>
        </p:txBody>
      </p:sp>
      <p:sp>
        <p:nvSpPr>
          <p:cNvPr id="4" name="Tijdelijke aanduiding voor voettekst 3"/>
          <p:cNvSpPr>
            <a:spLocks noGrp="1"/>
          </p:cNvSpPr>
          <p:nvPr>
            <p:ph type="ftr" sz="quarter" idx="3"/>
          </p:nvPr>
        </p:nvSpPr>
        <p:spPr>
          <a:xfrm>
            <a:off x="475812" y="4724672"/>
            <a:ext cx="7200000" cy="180000"/>
          </a:xfrm>
          <a:prstGeom prst="rect">
            <a:avLst/>
          </a:prstGeom>
        </p:spPr>
        <p:txBody>
          <a:bodyPr vert="horz" lIns="0" tIns="0" rIns="0" bIns="0" rtlCol="0" anchor="b" anchorCtr="0"/>
          <a:lstStyle>
            <a:lvl1pPr algn="l">
              <a:defRPr sz="1000" i="1">
                <a:solidFill>
                  <a:schemeClr val="bg1">
                    <a:lumMod val="50000"/>
                  </a:schemeClr>
                </a:solidFill>
                <a:latin typeface="Calibri Light" panose="020F0302020204030204" pitchFamily="34" charset="0"/>
                <a:cs typeface="Calibri Light" panose="020F0302020204030204" pitchFamily="34" charset="0"/>
              </a:defRPr>
            </a:lvl1pPr>
          </a:lstStyle>
          <a:p>
            <a:endParaRPr lang="en-GB"/>
          </a:p>
        </p:txBody>
      </p:sp>
      <p:sp>
        <p:nvSpPr>
          <p:cNvPr id="3" name="Slide Number Placeholder 2"/>
          <p:cNvSpPr>
            <a:spLocks noGrp="1"/>
          </p:cNvSpPr>
          <p:nvPr>
            <p:ph type="sldNum" sz="quarter" idx="4"/>
          </p:nvPr>
        </p:nvSpPr>
        <p:spPr>
          <a:xfrm>
            <a:off x="8689178" y="4760871"/>
            <a:ext cx="288000" cy="180000"/>
          </a:xfrm>
          <a:prstGeom prst="rect">
            <a:avLst/>
          </a:prstGeom>
        </p:spPr>
        <p:txBody>
          <a:bodyPr vert="horz" lIns="0" tIns="0" rIns="0" bIns="0" rtlCol="0" anchor="b" anchorCtr="0"/>
          <a:lstStyle>
            <a:lvl1pPr algn="r">
              <a:defRPr sz="1000">
                <a:solidFill>
                  <a:schemeClr val="tx1">
                    <a:tint val="75000"/>
                  </a:schemeClr>
                </a:solidFill>
                <a:latin typeface="+mj-lt"/>
              </a:defRPr>
            </a:lvl1pPr>
          </a:lstStyle>
          <a:p>
            <a:fld id="{7CC030A7-D003-45E0-94AF-9D435D41739D}" type="slidenum">
              <a:rPr lang="nl-NL" smtClean="0"/>
              <a:pPr/>
              <a:t>‹#›</a:t>
            </a:fld>
            <a:endParaRPr lang="nl-NL"/>
          </a:p>
        </p:txBody>
      </p:sp>
    </p:spTree>
    <p:extLst>
      <p:ext uri="{BB962C8B-B14F-4D97-AF65-F5344CB8AC3E}">
        <p14:creationId xmlns:p14="http://schemas.microsoft.com/office/powerpoint/2010/main" val="3772061598"/>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45" r:id="rId9"/>
    <p:sldLayoutId id="2147483755" r:id="rId10"/>
    <p:sldLayoutId id="2147483752" r:id="rId11"/>
    <p:sldLayoutId id="2147483739" r:id="rId12"/>
    <p:sldLayoutId id="2147483756" r:id="rId13"/>
    <p:sldLayoutId id="2147483740" r:id="rId14"/>
    <p:sldLayoutId id="2147483741" r:id="rId15"/>
    <p:sldLayoutId id="2147483743" r:id="rId16"/>
    <p:sldLayoutId id="2147483753" r:id="rId17"/>
    <p:sldLayoutId id="2147483754" r:id="rId18"/>
    <p:sldLayoutId id="2147483751" r:id="rId19"/>
    <p:sldLayoutId id="2147483742" r:id="rId20"/>
    <p:sldLayoutId id="2147483744" r:id="rId21"/>
    <p:sldLayoutId id="2147483746" r:id="rId22"/>
    <p:sldLayoutId id="2147483747" r:id="rId23"/>
    <p:sldLayoutId id="2147483748" r:id="rId24"/>
    <p:sldLayoutId id="2147483684" r:id="rId25"/>
    <p:sldLayoutId id="2147483749" r:id="rId26"/>
    <p:sldLayoutId id="2147483750" r:id="rId27"/>
    <p:sldLayoutId id="2147483685" r:id="rId28"/>
    <p:sldLayoutId id="2147483757" r:id="rId29"/>
    <p:sldLayoutId id="2147483758" r:id="rId30"/>
    <p:sldLayoutId id="2147483759" r:id="rId31"/>
    <p:sldLayoutId id="2147483760" r:id="rId32"/>
    <p:sldLayoutId id="2147483761" r:id="rId33"/>
    <p:sldLayoutId id="2147483762" r:id="rId34"/>
    <p:sldLayoutId id="2147483764" r:id="rId35"/>
    <p:sldLayoutId id="2147483765" r:id="rId36"/>
  </p:sldLayoutIdLst>
  <p:transition>
    <p:fade/>
  </p:transition>
  <p:hf hdr="0" dt="0"/>
  <p:txStyles>
    <p:titleStyle>
      <a:lvl1pPr algn="l" defTabSz="456999" rtl="0" eaLnBrk="1" latinLnBrk="0" hangingPunct="1">
        <a:lnSpc>
          <a:spcPct val="90000"/>
        </a:lnSpc>
        <a:spcBef>
          <a:spcPct val="0"/>
        </a:spcBef>
        <a:buNone/>
        <a:defRPr sz="2400" b="1" i="1" kern="1200">
          <a:solidFill>
            <a:schemeClr val="tx2"/>
          </a:solidFill>
          <a:latin typeface="Calibri" panose="020F0502020204030204" pitchFamily="34" charset="0"/>
          <a:ea typeface="+mj-ea"/>
          <a:cs typeface="Calibri" panose="020F0502020204030204" pitchFamily="34" charset="0"/>
        </a:defRPr>
      </a:lvl1pPr>
    </p:titleStyle>
    <p:bodyStyle>
      <a:lvl1pPr marL="266700" marR="0" indent="-266700" algn="l" defTabSz="914400" rtl="0" eaLnBrk="1" fontAlgn="auto" latinLnBrk="0" hangingPunct="1">
        <a:lnSpc>
          <a:spcPct val="110000"/>
        </a:lnSpc>
        <a:spcBef>
          <a:spcPts val="400"/>
        </a:spcBef>
        <a:spcAft>
          <a:spcPts val="0"/>
        </a:spcAft>
        <a:buClr>
          <a:schemeClr val="accent2"/>
        </a:buClr>
        <a:buSzPct val="90000"/>
        <a:buFont typeface="Lucida Grande"/>
        <a:buChar char="•"/>
        <a:tabLst/>
        <a:defRPr kumimoji="0" lang="nl-NL" sz="18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defRPr>
      </a:lvl1pPr>
      <a:lvl2pPr marL="541338" marR="0" indent="-266700" algn="l" defTabSz="914400" rtl="0" eaLnBrk="1" fontAlgn="auto" latinLnBrk="0" hangingPunct="1">
        <a:lnSpc>
          <a:spcPct val="110000"/>
        </a:lnSpc>
        <a:spcBef>
          <a:spcPts val="400"/>
        </a:spcBef>
        <a:spcAft>
          <a:spcPts val="0"/>
        </a:spcAft>
        <a:buClr>
          <a:schemeClr val="tx2"/>
        </a:buClr>
        <a:buSzPct val="90000"/>
        <a:buFont typeface="Lucida Grande"/>
        <a:buChar char="•"/>
        <a:tabLst/>
        <a:defRPr kumimoji="0" lang="nl-NL" sz="16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defRPr>
      </a:lvl2pPr>
      <a:lvl3pPr marL="808038" marR="0" indent="-266700" algn="l" defTabSz="914400" rtl="0" eaLnBrk="1" fontAlgn="auto" latinLnBrk="0" hangingPunct="1">
        <a:lnSpc>
          <a:spcPct val="110000"/>
        </a:lnSpc>
        <a:spcBef>
          <a:spcPts val="400"/>
        </a:spcBef>
        <a:spcAft>
          <a:spcPts val="0"/>
        </a:spcAft>
        <a:buClr>
          <a:schemeClr val="accent2"/>
        </a:buClr>
        <a:buSzPct val="90000"/>
        <a:buFont typeface="Lucida Grande"/>
        <a:buChar char="•"/>
        <a:tabLst/>
        <a:defRPr kumimoji="0" lang="nl-NL" sz="16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defRPr>
      </a:lvl3pPr>
      <a:lvl4pPr marL="0" marR="0" indent="0" algn="l" defTabSz="914400" rtl="0" eaLnBrk="1" fontAlgn="auto" latinLnBrk="0" hangingPunct="1">
        <a:lnSpc>
          <a:spcPct val="110000"/>
        </a:lnSpc>
        <a:spcBef>
          <a:spcPts val="400"/>
        </a:spcBef>
        <a:spcAft>
          <a:spcPts val="0"/>
        </a:spcAft>
        <a:buClr>
          <a:srgbClr val="5E6A71"/>
        </a:buClr>
        <a:buSzPct val="80000"/>
        <a:buFont typeface="Arial" pitchFamily="34" charset="0"/>
        <a:buNone/>
        <a:tabLst/>
        <a:defRPr kumimoji="0" lang="nl-NL" sz="1800" b="1" i="1" u="none" strike="noStrike" kern="1200" cap="none" spc="0" normalizeH="0" baseline="0" noProof="0">
          <a:ln>
            <a:noFill/>
          </a:ln>
          <a:solidFill>
            <a:schemeClr val="accent2"/>
          </a:solidFill>
          <a:effectLst/>
          <a:uLnTx/>
          <a:uFillTx/>
          <a:latin typeface="Calibri" panose="020F0502020204030204" pitchFamily="34" charset="0"/>
          <a:ea typeface="+mn-ea"/>
          <a:cs typeface="Calibri" panose="020F0502020204030204" pitchFamily="34" charset="0"/>
        </a:defRPr>
      </a:lvl4pPr>
      <a:lvl5pPr marL="1588" marR="0" indent="0" algn="l" defTabSz="914400" rtl="0" eaLnBrk="1" fontAlgn="auto" latinLnBrk="0" hangingPunct="1">
        <a:lnSpc>
          <a:spcPct val="110000"/>
        </a:lnSpc>
        <a:spcBef>
          <a:spcPts val="400"/>
        </a:spcBef>
        <a:spcAft>
          <a:spcPts val="0"/>
        </a:spcAft>
        <a:buClrTx/>
        <a:buSzTx/>
        <a:buFont typeface="Arial"/>
        <a:buNone/>
        <a:tabLst/>
        <a:defRPr kumimoji="0" lang="nl-NL" sz="1800" b="1" i="1"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defRPr>
      </a:lvl5pPr>
      <a:lvl6pPr marL="177800" indent="-177800" algn="l" defTabSz="456999" rtl="0" eaLnBrk="1" latinLnBrk="0" hangingPunct="1">
        <a:lnSpc>
          <a:spcPct val="90000"/>
        </a:lnSpc>
        <a:spcBef>
          <a:spcPct val="20000"/>
        </a:spcBef>
        <a:buFont typeface="Arial"/>
        <a:buChar char="•"/>
        <a:defRPr sz="1600" kern="1200">
          <a:solidFill>
            <a:schemeClr val="tx1"/>
          </a:solidFill>
          <a:latin typeface="+mn-lt"/>
          <a:ea typeface="+mn-ea"/>
          <a:cs typeface="+mn-cs"/>
        </a:defRPr>
      </a:lvl6pPr>
      <a:lvl7pPr marL="177800" indent="-177800" algn="l" defTabSz="456999" rtl="0" eaLnBrk="1" latinLnBrk="0" hangingPunct="1">
        <a:lnSpc>
          <a:spcPct val="90000"/>
        </a:lnSpc>
        <a:spcBef>
          <a:spcPct val="20000"/>
        </a:spcBef>
        <a:buFont typeface="Arial"/>
        <a:buChar char="•"/>
        <a:defRPr sz="1600" kern="1200">
          <a:solidFill>
            <a:schemeClr val="tx1"/>
          </a:solidFill>
          <a:latin typeface="+mn-lt"/>
          <a:ea typeface="+mn-ea"/>
          <a:cs typeface="+mn-cs"/>
        </a:defRPr>
      </a:lvl7pPr>
      <a:lvl8pPr marL="3427495" indent="-228500" algn="l" defTabSz="456999" rtl="0" eaLnBrk="1" latinLnBrk="0" hangingPunct="1">
        <a:spcBef>
          <a:spcPct val="20000"/>
        </a:spcBef>
        <a:buFont typeface="Arial"/>
        <a:buChar char="•"/>
        <a:defRPr sz="2000" kern="1200">
          <a:solidFill>
            <a:schemeClr val="tx1"/>
          </a:solidFill>
          <a:latin typeface="+mn-lt"/>
          <a:ea typeface="+mn-ea"/>
          <a:cs typeface="+mn-cs"/>
        </a:defRPr>
      </a:lvl8pPr>
      <a:lvl9pPr marL="3884495" indent="-228500" algn="l" defTabSz="45699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91" userDrawn="1">
          <p15:clr>
            <a:srgbClr val="F26B43"/>
          </p15:clr>
        </p15:guide>
        <p15:guide id="5" pos="5469" userDrawn="1">
          <p15:clr>
            <a:srgbClr val="F26B43"/>
          </p15:clr>
        </p15:guide>
        <p15:guide id="6" orient="horz" pos="441" userDrawn="1">
          <p15:clr>
            <a:srgbClr val="F26B43"/>
          </p15:clr>
        </p15:guide>
        <p15:guide id="7" orient="horz" pos="594" userDrawn="1">
          <p15:clr>
            <a:srgbClr val="F26B43"/>
          </p15:clr>
        </p15:guide>
        <p15:guide id="8" orient="horz" pos="730" userDrawn="1">
          <p15:clr>
            <a:srgbClr val="F26B43"/>
          </p15:clr>
        </p15:guide>
        <p15:guide id="9" orient="horz" pos="2890" userDrawn="1">
          <p15:clr>
            <a:srgbClr val="F26B43"/>
          </p15:clr>
        </p15:guide>
        <p15:guide id="10" orient="horz" pos="309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4.xml" /></Relationships>
</file>

<file path=ppt/slides/_rels/slide10.xml.rels><?xml version="1.0" encoding="UTF-8" standalone="yes"?>
<Relationships xmlns="http://schemas.openxmlformats.org/package/2006/relationships"><Relationship Id="rId2" Type="http://schemas.openxmlformats.org/officeDocument/2006/relationships/image" Target="../media/image27.png" /><Relationship Id="rId1" Type="http://schemas.openxmlformats.org/officeDocument/2006/relationships/slideLayout" Target="../slideLayouts/slideLayout14.xml" /></Relationships>
</file>

<file path=ppt/slides/_rels/slide11.xml.rels><?xml version="1.0" encoding="UTF-8" standalone="yes"?>
<Relationships xmlns="http://schemas.openxmlformats.org/package/2006/relationships"><Relationship Id="rId2" Type="http://schemas.openxmlformats.org/officeDocument/2006/relationships/image" Target="../media/image28.png" /><Relationship Id="rId1" Type="http://schemas.openxmlformats.org/officeDocument/2006/relationships/slideLayout" Target="../slideLayouts/slideLayout13.xml" /></Relationships>
</file>

<file path=ppt/slides/_rels/slide12.xml.rels><?xml version="1.0" encoding="UTF-8" standalone="yes"?>
<Relationships xmlns="http://schemas.openxmlformats.org/package/2006/relationships"><Relationship Id="rId8" Type="http://schemas.openxmlformats.org/officeDocument/2006/relationships/image" Target="../media/image34.svg" /><Relationship Id="rId13" Type="http://schemas.openxmlformats.org/officeDocument/2006/relationships/image" Target="../media/image38.png" /><Relationship Id="rId3" Type="http://schemas.openxmlformats.org/officeDocument/2006/relationships/image" Target="../media/image29.png" /><Relationship Id="rId7" Type="http://schemas.openxmlformats.org/officeDocument/2006/relationships/image" Target="../media/image33.png" /><Relationship Id="rId12" Type="http://schemas.microsoft.com/office/2007/relationships/hdphoto" Target="../media/hdphoto1.wdp" /><Relationship Id="rId2" Type="http://schemas.openxmlformats.org/officeDocument/2006/relationships/notesSlide" Target="../notesSlides/notesSlide3.xml" /><Relationship Id="rId1" Type="http://schemas.openxmlformats.org/officeDocument/2006/relationships/slideLayout" Target="../slideLayouts/slideLayout13.xml" /><Relationship Id="rId6" Type="http://schemas.openxmlformats.org/officeDocument/2006/relationships/image" Target="../media/image32.svg" /><Relationship Id="rId11" Type="http://schemas.openxmlformats.org/officeDocument/2006/relationships/image" Target="../media/image37.png" /><Relationship Id="rId5" Type="http://schemas.openxmlformats.org/officeDocument/2006/relationships/image" Target="../media/image31.png" /><Relationship Id="rId10" Type="http://schemas.openxmlformats.org/officeDocument/2006/relationships/image" Target="../media/image36.svg" /><Relationship Id="rId4" Type="http://schemas.openxmlformats.org/officeDocument/2006/relationships/image" Target="../media/image30.svg" /><Relationship Id="rId9" Type="http://schemas.openxmlformats.org/officeDocument/2006/relationships/image" Target="../media/image35.png" /><Relationship Id="rId14" Type="http://schemas.openxmlformats.org/officeDocument/2006/relationships/image" Target="../media/image39.svg" /></Relationships>
</file>

<file path=ppt/slides/_rels/slide13.xml.rels><?xml version="1.0" encoding="UTF-8" standalone="yes"?>
<Relationships xmlns="http://schemas.openxmlformats.org/package/2006/relationships"><Relationship Id="rId2" Type="http://schemas.openxmlformats.org/officeDocument/2006/relationships/image" Target="../media/image40.jpeg" /><Relationship Id="rId1" Type="http://schemas.openxmlformats.org/officeDocument/2006/relationships/slideLayout" Target="../slideLayouts/slideLayout2.xml" /></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3.xml" /></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6.xml" /></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 /></Relationships>
</file>

<file path=ppt/slides/_rels/slide3.xml.rels><?xml version="1.0" encoding="UTF-8" standalone="yes"?>
<Relationships xmlns="http://schemas.openxmlformats.org/package/2006/relationships"><Relationship Id="rId8" Type="http://schemas.openxmlformats.org/officeDocument/2006/relationships/image" Target="../media/image15.emf" /><Relationship Id="rId13" Type="http://schemas.openxmlformats.org/officeDocument/2006/relationships/image" Target="../media/image21.png" /><Relationship Id="rId3" Type="http://schemas.openxmlformats.org/officeDocument/2006/relationships/tags" Target="../tags/tag9.xml" /><Relationship Id="rId7" Type="http://schemas.openxmlformats.org/officeDocument/2006/relationships/oleObject" Target="../embeddings/oleObject5.bin" /><Relationship Id="rId12" Type="http://schemas.openxmlformats.org/officeDocument/2006/relationships/image" Target="../media/image20.png" /><Relationship Id="rId2" Type="http://schemas.openxmlformats.org/officeDocument/2006/relationships/tags" Target="../tags/tag8.xml" /><Relationship Id="rId1" Type="http://schemas.openxmlformats.org/officeDocument/2006/relationships/vmlDrawing" Target="../drawings/vmlDrawing5.vml" /><Relationship Id="rId6" Type="http://schemas.openxmlformats.org/officeDocument/2006/relationships/image" Target="../media/image16.jpeg" /><Relationship Id="rId11" Type="http://schemas.openxmlformats.org/officeDocument/2006/relationships/image" Target="../media/image19.png" /><Relationship Id="rId5" Type="http://schemas.openxmlformats.org/officeDocument/2006/relationships/notesSlide" Target="../notesSlides/notesSlide1.xml" /><Relationship Id="rId10" Type="http://schemas.openxmlformats.org/officeDocument/2006/relationships/image" Target="../media/image18.png" /><Relationship Id="rId4" Type="http://schemas.openxmlformats.org/officeDocument/2006/relationships/slideLayout" Target="../slideLayouts/slideLayout13.xml" /><Relationship Id="rId9" Type="http://schemas.openxmlformats.org/officeDocument/2006/relationships/image" Target="../media/image17.png" /><Relationship Id="rId14" Type="http://schemas.openxmlformats.org/officeDocument/2006/relationships/image" Target="../media/image22.png" /></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 /><Relationship Id="rId2" Type="http://schemas.openxmlformats.org/officeDocument/2006/relationships/tags" Target="../tags/tag10.xml" /><Relationship Id="rId1" Type="http://schemas.openxmlformats.org/officeDocument/2006/relationships/vmlDrawing" Target="../drawings/vmlDrawing6.vml" /><Relationship Id="rId5" Type="http://schemas.openxmlformats.org/officeDocument/2006/relationships/image" Target="../media/image15.emf" /><Relationship Id="rId4" Type="http://schemas.openxmlformats.org/officeDocument/2006/relationships/oleObject" Target="../embeddings/oleObject6.bin" /></Relationships>
</file>

<file path=ppt/slides/_rels/slide5.xml.rels><?xml version="1.0" encoding="UTF-8" standalone="yes"?>
<Relationships xmlns="http://schemas.openxmlformats.org/package/2006/relationships"><Relationship Id="rId3" Type="http://schemas.openxmlformats.org/officeDocument/2006/relationships/image" Target="../media/image23.png" /><Relationship Id="rId2" Type="http://schemas.openxmlformats.org/officeDocument/2006/relationships/slideLayout" Target="../slideLayouts/slideLayout13.xml" /><Relationship Id="rId1" Type="http://schemas.openxmlformats.org/officeDocument/2006/relationships/tags" Target="../tags/tag11.xml" /></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3.xml" /><Relationship Id="rId2" Type="http://schemas.openxmlformats.org/officeDocument/2006/relationships/tags" Target="../tags/tag12.xml" /><Relationship Id="rId1" Type="http://schemas.openxmlformats.org/officeDocument/2006/relationships/vmlDrawing" Target="../drawings/vmlDrawing7.vml" /><Relationship Id="rId6" Type="http://schemas.openxmlformats.org/officeDocument/2006/relationships/image" Target="../media/image15.emf" /><Relationship Id="rId5" Type="http://schemas.openxmlformats.org/officeDocument/2006/relationships/oleObject" Target="../embeddings/oleObject7.bin" /><Relationship Id="rId4" Type="http://schemas.openxmlformats.org/officeDocument/2006/relationships/notesSlide" Target="../notesSlides/notesSlide2.xml" /></Relationships>
</file>

<file path=ppt/slides/_rels/slide7.xml.rels><?xml version="1.0" encoding="UTF-8" standalone="yes"?>
<Relationships xmlns="http://schemas.openxmlformats.org/package/2006/relationships"><Relationship Id="rId2" Type="http://schemas.openxmlformats.org/officeDocument/2006/relationships/image" Target="../media/image24.png" /><Relationship Id="rId1" Type="http://schemas.openxmlformats.org/officeDocument/2006/relationships/slideLayout" Target="../slideLayouts/slideLayout2.xml" /></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 /></Relationships>
</file>

<file path=ppt/slides/_rels/slide9.xml.rels><?xml version="1.0" encoding="UTF-8" standalone="yes"?>
<Relationships xmlns="http://schemas.openxmlformats.org/package/2006/relationships"><Relationship Id="rId3" Type="http://schemas.openxmlformats.org/officeDocument/2006/relationships/image" Target="../media/image26.png" /><Relationship Id="rId2" Type="http://schemas.openxmlformats.org/officeDocument/2006/relationships/image" Target="../media/image25.png" /><Relationship Id="rId1" Type="http://schemas.openxmlformats.org/officeDocument/2006/relationships/slideLayout" Target="../slideLayouts/slideLayout35.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416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a:extLst>
              <a:ext uri="{FF2B5EF4-FFF2-40B4-BE49-F238E27FC236}">
                <a16:creationId xmlns:a16="http://schemas.microsoft.com/office/drawing/2014/main" id="{817DD66B-B4D0-41D0-1757-413343E6160C}"/>
              </a:ext>
            </a:extLst>
          </p:cNvPr>
          <p:cNvSpPr>
            <a:spLocks noGrp="1"/>
          </p:cNvSpPr>
          <p:nvPr>
            <p:ph type="title"/>
          </p:nvPr>
        </p:nvSpPr>
        <p:spPr>
          <a:xfrm>
            <a:off x="468000" y="182094"/>
            <a:ext cx="8208000" cy="659014"/>
          </a:xfrm>
        </p:spPr>
        <p:txBody>
          <a:bodyPr/>
          <a:lstStyle/>
          <a:p>
            <a:pPr algn="ctr"/>
            <a:r>
              <a:rPr lang="en-US" dirty="0">
                <a:solidFill>
                  <a:srgbClr val="FFC000"/>
                </a:solidFill>
              </a:rPr>
              <a:t>PROCESO PROGRAMA DE COMPESACIONES – CAFÉ DEL FUTURO</a:t>
            </a:r>
            <a:br>
              <a:rPr lang="en-US" dirty="0">
                <a:solidFill>
                  <a:srgbClr val="FFC000"/>
                </a:solidFill>
              </a:rPr>
            </a:br>
            <a:r>
              <a:rPr lang="en-US" dirty="0">
                <a:solidFill>
                  <a:srgbClr val="FFC000"/>
                </a:solidFill>
              </a:rPr>
              <a:t>SOLIDARIDAD / ACORN</a:t>
            </a:r>
          </a:p>
        </p:txBody>
      </p:sp>
      <p:sp>
        <p:nvSpPr>
          <p:cNvPr id="3" name="Marcador de pie de página 2">
            <a:extLst>
              <a:ext uri="{FF2B5EF4-FFF2-40B4-BE49-F238E27FC236}">
                <a16:creationId xmlns:a16="http://schemas.microsoft.com/office/drawing/2014/main" id="{3FD7EB56-68EA-F317-52D9-1FE0E6E0144B}"/>
              </a:ext>
            </a:extLst>
          </p:cNvPr>
          <p:cNvSpPr>
            <a:spLocks noGrp="1"/>
          </p:cNvSpPr>
          <p:nvPr>
            <p:ph type="ftr" sz="quarter" idx="10"/>
          </p:nvPr>
        </p:nvSpPr>
        <p:spPr>
          <a:xfrm>
            <a:off x="475812" y="4724672"/>
            <a:ext cx="7200000" cy="180000"/>
          </a:xfrm>
        </p:spPr>
        <p:txBody>
          <a:bodyPr anchor="b">
            <a:normAutofit/>
          </a:bodyPr>
          <a:lstStyle/>
          <a:p>
            <a:pPr>
              <a:spcAft>
                <a:spcPts val="600"/>
              </a:spcAft>
            </a:pPr>
            <a:r>
              <a:rPr lang="en-GB"/>
              <a:t>Source</a:t>
            </a:r>
          </a:p>
        </p:txBody>
      </p:sp>
      <p:sp>
        <p:nvSpPr>
          <p:cNvPr id="24" name="Slide Number Placeholder 3">
            <a:extLst>
              <a:ext uri="{FF2B5EF4-FFF2-40B4-BE49-F238E27FC236}">
                <a16:creationId xmlns:a16="http://schemas.microsoft.com/office/drawing/2014/main" id="{5C37A3CB-DB1D-628D-D1B4-5DAB28BCF760}"/>
              </a:ext>
            </a:extLst>
          </p:cNvPr>
          <p:cNvSpPr>
            <a:spLocks noGrp="1"/>
          </p:cNvSpPr>
          <p:nvPr>
            <p:ph type="sldNum" sz="quarter" idx="11"/>
          </p:nvPr>
        </p:nvSpPr>
        <p:spPr>
          <a:xfrm>
            <a:off x="8689178" y="4760871"/>
            <a:ext cx="288000" cy="180000"/>
          </a:xfrm>
        </p:spPr>
        <p:txBody>
          <a:bodyPr/>
          <a:lstStyle/>
          <a:p>
            <a:pPr>
              <a:spcAft>
                <a:spcPts val="600"/>
              </a:spcAft>
            </a:pPr>
            <a:fld id="{7CC030A7-D003-45E0-94AF-9D435D41739D}" type="slidenum">
              <a:rPr lang="nl-NL" smtClean="0"/>
              <a:pPr>
                <a:spcAft>
                  <a:spcPts val="600"/>
                </a:spcAft>
              </a:pPr>
              <a:t>10</a:t>
            </a:fld>
            <a:endParaRPr lang="nl-NL"/>
          </a:p>
        </p:txBody>
      </p:sp>
      <p:sp>
        <p:nvSpPr>
          <p:cNvPr id="36" name="Content Placeholder 4">
            <a:extLst>
              <a:ext uri="{FF2B5EF4-FFF2-40B4-BE49-F238E27FC236}">
                <a16:creationId xmlns:a16="http://schemas.microsoft.com/office/drawing/2014/main" id="{0743E85D-1E4C-1C5A-FC1B-ACC4E0C05880}"/>
              </a:ext>
            </a:extLst>
          </p:cNvPr>
          <p:cNvSpPr>
            <a:spLocks noGrp="1"/>
          </p:cNvSpPr>
          <p:nvPr>
            <p:ph sz="quarter" idx="12"/>
          </p:nvPr>
        </p:nvSpPr>
        <p:spPr>
          <a:xfrm>
            <a:off x="173648" y="870198"/>
            <a:ext cx="4376820" cy="3737767"/>
          </a:xfrm>
        </p:spPr>
        <p:txBody>
          <a:bodyPr/>
          <a:lstStyle/>
          <a:p>
            <a:r>
              <a:rPr lang="en-US" sz="2400" dirty="0" err="1"/>
              <a:t>Entrevistas</a:t>
            </a:r>
            <a:r>
              <a:rPr lang="en-US" sz="2400" dirty="0"/>
              <a:t> personal  </a:t>
            </a:r>
            <a:r>
              <a:rPr lang="en-US" sz="2400" dirty="0" err="1"/>
              <a:t>cafetalero</a:t>
            </a:r>
            <a:r>
              <a:rPr lang="en-US" sz="2400" dirty="0"/>
              <a:t> (</a:t>
            </a:r>
            <a:r>
              <a:rPr lang="en-US" sz="2400" dirty="0" err="1"/>
              <a:t>ficha</a:t>
            </a:r>
            <a:r>
              <a:rPr lang="en-US" sz="2400" dirty="0"/>
              <a:t> de </a:t>
            </a:r>
            <a:r>
              <a:rPr lang="en-US" sz="2400" dirty="0" err="1"/>
              <a:t>registro</a:t>
            </a:r>
            <a:r>
              <a:rPr lang="en-US" sz="2400" dirty="0"/>
              <a:t> y </a:t>
            </a:r>
            <a:r>
              <a:rPr lang="en-US" sz="2400" dirty="0" err="1"/>
              <a:t>convenio</a:t>
            </a:r>
            <a:r>
              <a:rPr lang="en-US" sz="2400" dirty="0"/>
              <a:t>).</a:t>
            </a:r>
          </a:p>
          <a:p>
            <a:r>
              <a:rPr lang="en-US" sz="2400" dirty="0" err="1"/>
              <a:t>Levantamiento</a:t>
            </a:r>
            <a:r>
              <a:rPr lang="en-US" sz="2400" dirty="0"/>
              <a:t> </a:t>
            </a:r>
            <a:r>
              <a:rPr lang="en-US" sz="2400" dirty="0" err="1"/>
              <a:t>geoespacial</a:t>
            </a:r>
            <a:r>
              <a:rPr lang="en-US" sz="2400" dirty="0"/>
              <a:t> finca y </a:t>
            </a:r>
            <a:r>
              <a:rPr lang="en-US" sz="2400" dirty="0" err="1"/>
              <a:t>parcelas</a:t>
            </a:r>
            <a:r>
              <a:rPr lang="en-US" sz="2400" dirty="0"/>
              <a:t>.</a:t>
            </a:r>
          </a:p>
          <a:p>
            <a:r>
              <a:rPr lang="en-US" sz="2400" dirty="0" err="1"/>
              <a:t>Procesamiento</a:t>
            </a:r>
            <a:r>
              <a:rPr lang="en-US" sz="2400" dirty="0"/>
              <a:t> de data.</a:t>
            </a:r>
          </a:p>
          <a:p>
            <a:r>
              <a:rPr lang="en-US" sz="2400" dirty="0"/>
              <a:t>Pre-</a:t>
            </a:r>
            <a:r>
              <a:rPr lang="en-US" sz="2400" dirty="0" err="1"/>
              <a:t>aprobación</a:t>
            </a:r>
            <a:r>
              <a:rPr lang="en-US" sz="2400" dirty="0"/>
              <a:t> de </a:t>
            </a:r>
            <a:r>
              <a:rPr lang="en-US" sz="2400" dirty="0" err="1"/>
              <a:t>expedientes</a:t>
            </a:r>
            <a:r>
              <a:rPr lang="en-US" sz="2400" dirty="0"/>
              <a:t>.</a:t>
            </a:r>
          </a:p>
          <a:p>
            <a:r>
              <a:rPr lang="en-US" sz="2400" dirty="0" err="1"/>
              <a:t>Envío</a:t>
            </a:r>
            <a:r>
              <a:rPr lang="en-US" sz="2400" dirty="0"/>
              <a:t> a la Plataforma ACORN</a:t>
            </a:r>
            <a:r>
              <a:rPr lang="en-US" dirty="0"/>
              <a:t>.</a:t>
            </a:r>
          </a:p>
          <a:p>
            <a:r>
              <a:rPr lang="en-US" sz="2400" dirty="0" err="1"/>
              <a:t>Evaluación</a:t>
            </a:r>
            <a:r>
              <a:rPr lang="en-US" sz="2400" dirty="0"/>
              <a:t> y </a:t>
            </a:r>
            <a:r>
              <a:rPr lang="en-US" sz="2400" dirty="0" err="1"/>
              <a:t>generación</a:t>
            </a:r>
            <a:r>
              <a:rPr lang="en-US" sz="2400" dirty="0"/>
              <a:t> de CRUs.</a:t>
            </a:r>
          </a:p>
          <a:p>
            <a:endParaRPr lang="en-US" dirty="0"/>
          </a:p>
        </p:txBody>
      </p:sp>
      <p:sp>
        <p:nvSpPr>
          <p:cNvPr id="4" name="Marcador de número de diapositiva 3" hidden="1">
            <a:extLst>
              <a:ext uri="{FF2B5EF4-FFF2-40B4-BE49-F238E27FC236}">
                <a16:creationId xmlns:a16="http://schemas.microsoft.com/office/drawing/2014/main" id="{1F494411-6FB8-29DC-2689-3D797305B4E9}"/>
              </a:ext>
            </a:extLst>
          </p:cNvPr>
          <p:cNvSpPr>
            <a:spLocks noGrp="1"/>
          </p:cNvSpPr>
          <p:nvPr>
            <p:ph type="sldNum" sz="quarter" idx="4294967295"/>
          </p:nvPr>
        </p:nvSpPr>
        <p:spPr>
          <a:xfrm>
            <a:off x="8689178" y="4760871"/>
            <a:ext cx="288000" cy="180000"/>
          </a:xfrm>
        </p:spPr>
        <p:txBody>
          <a:bodyPr/>
          <a:lstStyle/>
          <a:p>
            <a:pPr>
              <a:spcAft>
                <a:spcPts val="600"/>
              </a:spcAft>
            </a:pPr>
            <a:fld id="{7CC030A7-D003-45E0-94AF-9D435D41739D}" type="slidenum">
              <a:rPr lang="nl-NL" smtClean="0"/>
              <a:pPr>
                <a:spcAft>
                  <a:spcPts val="600"/>
                </a:spcAft>
              </a:pPr>
              <a:t>10</a:t>
            </a:fld>
            <a:endParaRPr lang="nl-NL"/>
          </a:p>
        </p:txBody>
      </p:sp>
      <p:pic>
        <p:nvPicPr>
          <p:cNvPr id="8" name="Imagen 7">
            <a:extLst>
              <a:ext uri="{FF2B5EF4-FFF2-40B4-BE49-F238E27FC236}">
                <a16:creationId xmlns:a16="http://schemas.microsoft.com/office/drawing/2014/main" id="{84E741C2-33ED-5222-F99D-AC47280FDF10}"/>
              </a:ext>
            </a:extLst>
          </p:cNvPr>
          <p:cNvPicPr>
            <a:picLocks noChangeAspect="1"/>
          </p:cNvPicPr>
          <p:nvPr/>
        </p:nvPicPr>
        <p:blipFill>
          <a:blip r:embed="rId2"/>
          <a:stretch>
            <a:fillRect/>
          </a:stretch>
        </p:blipFill>
        <p:spPr>
          <a:xfrm>
            <a:off x="4587180" y="957815"/>
            <a:ext cx="4101997" cy="3938827"/>
          </a:xfrm>
          <a:prstGeom prst="rect">
            <a:avLst/>
          </a:prstGeom>
        </p:spPr>
      </p:pic>
      <p:sp>
        <p:nvSpPr>
          <p:cNvPr id="10" name="Marcador de contenido 9">
            <a:extLst>
              <a:ext uri="{FF2B5EF4-FFF2-40B4-BE49-F238E27FC236}">
                <a16:creationId xmlns:a16="http://schemas.microsoft.com/office/drawing/2014/main" id="{4711F477-8506-CA91-3A93-9C4C4076B04C}"/>
              </a:ext>
            </a:extLst>
          </p:cNvPr>
          <p:cNvSpPr>
            <a:spLocks noGrp="1"/>
          </p:cNvSpPr>
          <p:nvPr>
            <p:ph sz="quarter" idx="13"/>
          </p:nvPr>
        </p:nvSpPr>
        <p:spPr/>
        <p:txBody>
          <a:bodyPr/>
          <a:lstStyle/>
          <a:p>
            <a:endParaRPr lang="es-PE" dirty="0"/>
          </a:p>
        </p:txBody>
      </p:sp>
    </p:spTree>
    <p:extLst>
      <p:ext uri="{BB962C8B-B14F-4D97-AF65-F5344CB8AC3E}">
        <p14:creationId xmlns:p14="http://schemas.microsoft.com/office/powerpoint/2010/main" val="39597497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B686AF7-6B63-2338-16E8-636C8774DC68}"/>
              </a:ext>
            </a:extLst>
          </p:cNvPr>
          <p:cNvSpPr>
            <a:spLocks noGrp="1"/>
          </p:cNvSpPr>
          <p:nvPr>
            <p:ph type="title"/>
          </p:nvPr>
        </p:nvSpPr>
        <p:spPr/>
        <p:txBody>
          <a:bodyPr/>
          <a:lstStyle/>
          <a:p>
            <a:endParaRPr lang="es-PE" dirty="0"/>
          </a:p>
        </p:txBody>
      </p:sp>
      <p:sp>
        <p:nvSpPr>
          <p:cNvPr id="3" name="Marcador de pie de página 2">
            <a:extLst>
              <a:ext uri="{FF2B5EF4-FFF2-40B4-BE49-F238E27FC236}">
                <a16:creationId xmlns:a16="http://schemas.microsoft.com/office/drawing/2014/main" id="{62ED1830-B434-608D-1600-4F5B32272FFC}"/>
              </a:ext>
            </a:extLst>
          </p:cNvPr>
          <p:cNvSpPr>
            <a:spLocks noGrp="1"/>
          </p:cNvSpPr>
          <p:nvPr>
            <p:ph type="ftr" sz="quarter" idx="10"/>
          </p:nvPr>
        </p:nvSpPr>
        <p:spPr/>
        <p:txBody>
          <a:bodyPr/>
          <a:lstStyle/>
          <a:p>
            <a:r>
              <a:rPr lang="en-GB"/>
              <a:t>Source</a:t>
            </a:r>
          </a:p>
        </p:txBody>
      </p:sp>
      <p:sp>
        <p:nvSpPr>
          <p:cNvPr id="4" name="Marcador de número de diapositiva 3">
            <a:extLst>
              <a:ext uri="{FF2B5EF4-FFF2-40B4-BE49-F238E27FC236}">
                <a16:creationId xmlns:a16="http://schemas.microsoft.com/office/drawing/2014/main" id="{BDF5FDD5-1126-5469-09CB-6B8B7B4A5781}"/>
              </a:ext>
            </a:extLst>
          </p:cNvPr>
          <p:cNvSpPr>
            <a:spLocks noGrp="1"/>
          </p:cNvSpPr>
          <p:nvPr>
            <p:ph type="sldNum" sz="quarter" idx="11"/>
          </p:nvPr>
        </p:nvSpPr>
        <p:spPr/>
        <p:txBody>
          <a:bodyPr/>
          <a:lstStyle/>
          <a:p>
            <a:fld id="{7CC030A7-D003-45E0-94AF-9D435D41739D}" type="slidenum">
              <a:rPr lang="nl-NL" smtClean="0"/>
              <a:pPr/>
              <a:t>11</a:t>
            </a:fld>
            <a:endParaRPr lang="nl-NL"/>
          </a:p>
        </p:txBody>
      </p:sp>
      <p:sp>
        <p:nvSpPr>
          <p:cNvPr id="5" name="Marcador de contenido 4">
            <a:extLst>
              <a:ext uri="{FF2B5EF4-FFF2-40B4-BE49-F238E27FC236}">
                <a16:creationId xmlns:a16="http://schemas.microsoft.com/office/drawing/2014/main" id="{B8E3E863-1CDE-90D4-5A27-7C9B2A3C78C2}"/>
              </a:ext>
            </a:extLst>
          </p:cNvPr>
          <p:cNvSpPr>
            <a:spLocks noGrp="1"/>
          </p:cNvSpPr>
          <p:nvPr>
            <p:ph sz="quarter" idx="12"/>
          </p:nvPr>
        </p:nvSpPr>
        <p:spPr/>
        <p:txBody>
          <a:bodyPr/>
          <a:lstStyle/>
          <a:p>
            <a:endParaRPr lang="es-PE"/>
          </a:p>
        </p:txBody>
      </p:sp>
      <p:pic>
        <p:nvPicPr>
          <p:cNvPr id="7" name="Imagen 6">
            <a:extLst>
              <a:ext uri="{FF2B5EF4-FFF2-40B4-BE49-F238E27FC236}">
                <a16:creationId xmlns:a16="http://schemas.microsoft.com/office/drawing/2014/main" id="{85431056-8CE9-9FDC-BA13-6D8672C3171A}"/>
              </a:ext>
            </a:extLst>
          </p:cNvPr>
          <p:cNvPicPr>
            <a:picLocks noChangeAspect="1"/>
          </p:cNvPicPr>
          <p:nvPr/>
        </p:nvPicPr>
        <p:blipFill>
          <a:blip r:embed="rId2"/>
          <a:stretch>
            <a:fillRect/>
          </a:stretch>
        </p:blipFill>
        <p:spPr>
          <a:xfrm>
            <a:off x="0" y="0"/>
            <a:ext cx="9144000" cy="5143500"/>
          </a:xfrm>
          <a:prstGeom prst="rect">
            <a:avLst/>
          </a:prstGeom>
        </p:spPr>
      </p:pic>
    </p:spTree>
    <p:extLst>
      <p:ext uri="{BB962C8B-B14F-4D97-AF65-F5344CB8AC3E}">
        <p14:creationId xmlns:p14="http://schemas.microsoft.com/office/powerpoint/2010/main" val="125022028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9FCCC8C-8490-498B-9B40-6EDC067F4693}"/>
              </a:ext>
            </a:extLst>
          </p:cNvPr>
          <p:cNvSpPr>
            <a:spLocks noGrp="1"/>
          </p:cNvSpPr>
          <p:nvPr>
            <p:ph type="sldNum" sz="quarter" idx="11"/>
          </p:nvPr>
        </p:nvSpPr>
        <p:spPr>
          <a:xfrm>
            <a:off x="8874374" y="3557096"/>
            <a:ext cx="288000" cy="180000"/>
          </a:xfrm>
        </p:spPr>
        <p:txBody>
          <a:bodyPr/>
          <a:lstStyle/>
          <a:p>
            <a:fld id="{7CC030A7-D003-45E0-94AF-9D435D41739D}" type="slidenum">
              <a:rPr lang="nl-NL" smtClean="0"/>
              <a:pPr/>
              <a:t>12</a:t>
            </a:fld>
            <a:endParaRPr lang="nl-NL"/>
          </a:p>
        </p:txBody>
      </p:sp>
      <p:sp>
        <p:nvSpPr>
          <p:cNvPr id="13" name="TextBox 12">
            <a:extLst>
              <a:ext uri="{FF2B5EF4-FFF2-40B4-BE49-F238E27FC236}">
                <a16:creationId xmlns:a16="http://schemas.microsoft.com/office/drawing/2014/main" id="{7927BEE2-3C0B-4E98-9C3E-A0C207060E52}"/>
              </a:ext>
            </a:extLst>
          </p:cNvPr>
          <p:cNvSpPr txBox="1"/>
          <p:nvPr/>
        </p:nvSpPr>
        <p:spPr>
          <a:xfrm>
            <a:off x="4209404" y="3004031"/>
            <a:ext cx="2664377" cy="461665"/>
          </a:xfrm>
          <a:prstGeom prst="rect">
            <a:avLst/>
          </a:prstGeom>
          <a:noFill/>
          <a:ln w="12700">
            <a:noFill/>
          </a:ln>
        </p:spPr>
        <p:txBody>
          <a:bodyPr wrap="square">
            <a:spAutoFit/>
          </a:bodyPr>
          <a:lstStyle/>
          <a:p>
            <a:r>
              <a:rPr lang="en-GB" sz="1600" b="1" dirty="0"/>
              <a:t>con</a:t>
            </a:r>
            <a:r>
              <a:rPr lang="en-GB" b="1" dirty="0"/>
              <a:t> </a:t>
            </a:r>
            <a:r>
              <a:rPr lang="en-GB" sz="2400" b="1" dirty="0"/>
              <a:t>1,554</a:t>
            </a:r>
            <a:r>
              <a:rPr lang="en-GB" b="1" dirty="0"/>
              <a:t> </a:t>
            </a:r>
            <a:r>
              <a:rPr lang="en-GB" sz="1600" b="1" dirty="0" err="1"/>
              <a:t>parcelas</a:t>
            </a:r>
            <a:r>
              <a:rPr lang="en-GB" sz="1600" b="1" dirty="0"/>
              <a:t> de</a:t>
            </a:r>
          </a:p>
        </p:txBody>
      </p:sp>
      <p:sp>
        <p:nvSpPr>
          <p:cNvPr id="15" name="TextBox 14">
            <a:extLst>
              <a:ext uri="{FF2B5EF4-FFF2-40B4-BE49-F238E27FC236}">
                <a16:creationId xmlns:a16="http://schemas.microsoft.com/office/drawing/2014/main" id="{B7210B03-4132-4D88-A4E4-7854A624BC5B}"/>
              </a:ext>
            </a:extLst>
          </p:cNvPr>
          <p:cNvSpPr txBox="1"/>
          <p:nvPr/>
        </p:nvSpPr>
        <p:spPr>
          <a:xfrm>
            <a:off x="7595398" y="3115553"/>
            <a:ext cx="3530459" cy="369332"/>
          </a:xfrm>
          <a:prstGeom prst="rect">
            <a:avLst/>
          </a:prstGeom>
          <a:noFill/>
          <a:ln w="12700">
            <a:noFill/>
          </a:ln>
        </p:spPr>
        <p:txBody>
          <a:bodyPr wrap="square">
            <a:spAutoFit/>
          </a:bodyPr>
          <a:lstStyle/>
          <a:p>
            <a:r>
              <a:rPr lang="en-GB" b="1" dirty="0" err="1"/>
              <a:t>en</a:t>
            </a:r>
            <a:r>
              <a:rPr lang="en-GB" b="1" dirty="0"/>
              <a:t> </a:t>
            </a:r>
            <a:r>
              <a:rPr lang="en-GB" b="1" dirty="0" err="1"/>
              <a:t>promedio</a:t>
            </a:r>
            <a:endParaRPr lang="en-GB" sz="2400" b="1" dirty="0"/>
          </a:p>
        </p:txBody>
      </p:sp>
      <p:sp>
        <p:nvSpPr>
          <p:cNvPr id="17" name="TextBox 16">
            <a:extLst>
              <a:ext uri="{FF2B5EF4-FFF2-40B4-BE49-F238E27FC236}">
                <a16:creationId xmlns:a16="http://schemas.microsoft.com/office/drawing/2014/main" id="{1FD74013-F454-4BB9-88C2-8F99391ECB6C}"/>
              </a:ext>
            </a:extLst>
          </p:cNvPr>
          <p:cNvSpPr txBox="1"/>
          <p:nvPr/>
        </p:nvSpPr>
        <p:spPr>
          <a:xfrm>
            <a:off x="1469912" y="4273431"/>
            <a:ext cx="2619684" cy="646331"/>
          </a:xfrm>
          <a:prstGeom prst="rect">
            <a:avLst/>
          </a:prstGeom>
          <a:noFill/>
          <a:ln w="12700">
            <a:noFill/>
          </a:ln>
        </p:spPr>
        <p:txBody>
          <a:bodyPr wrap="square">
            <a:spAutoFit/>
          </a:bodyPr>
          <a:lstStyle/>
          <a:p>
            <a:r>
              <a:rPr lang="en-GB" sz="2000" b="1" dirty="0"/>
              <a:t>+ 9,500 TM CO</a:t>
            </a:r>
            <a:r>
              <a:rPr lang="en-GB" sz="1400" b="1" dirty="0"/>
              <a:t>2eq</a:t>
            </a:r>
            <a:r>
              <a:rPr lang="en-GB" sz="2000" b="1" dirty="0"/>
              <a:t> </a:t>
            </a:r>
            <a:r>
              <a:rPr lang="en-GB" sz="1600" b="1" dirty="0" err="1"/>
              <a:t>removidas</a:t>
            </a:r>
            <a:r>
              <a:rPr lang="en-GB" sz="1600" b="1" dirty="0"/>
              <a:t> de la </a:t>
            </a:r>
            <a:r>
              <a:rPr lang="en-GB" sz="1600" b="1" dirty="0" err="1"/>
              <a:t>atmósfera</a:t>
            </a:r>
            <a:endParaRPr lang="en-GB" sz="1600" b="1" dirty="0"/>
          </a:p>
        </p:txBody>
      </p:sp>
      <p:sp>
        <p:nvSpPr>
          <p:cNvPr id="9" name="TextBox 8">
            <a:extLst>
              <a:ext uri="{FF2B5EF4-FFF2-40B4-BE49-F238E27FC236}">
                <a16:creationId xmlns:a16="http://schemas.microsoft.com/office/drawing/2014/main" id="{A844D100-1227-434E-8646-C132DB024C25}"/>
              </a:ext>
            </a:extLst>
          </p:cNvPr>
          <p:cNvSpPr txBox="1"/>
          <p:nvPr/>
        </p:nvSpPr>
        <p:spPr>
          <a:xfrm>
            <a:off x="3282976" y="1562004"/>
            <a:ext cx="2474106" cy="584775"/>
          </a:xfrm>
          <a:prstGeom prst="rect">
            <a:avLst/>
          </a:prstGeom>
          <a:noFill/>
          <a:ln w="12700">
            <a:noFill/>
          </a:ln>
        </p:spPr>
        <p:txBody>
          <a:bodyPr wrap="square">
            <a:spAutoFit/>
          </a:bodyPr>
          <a:lstStyle/>
          <a:p>
            <a:r>
              <a:rPr lang="en-GB" sz="1600" b="1" dirty="0"/>
              <a:t>Café </a:t>
            </a:r>
            <a:r>
              <a:rPr lang="en-GB" sz="1600" b="1" dirty="0" err="1"/>
              <a:t>cultivado</a:t>
            </a:r>
            <a:r>
              <a:rPr lang="en-GB" sz="1600" b="1" dirty="0"/>
              <a:t> bajo </a:t>
            </a:r>
          </a:p>
          <a:p>
            <a:r>
              <a:rPr lang="en-GB" sz="1600" b="1" dirty="0" err="1"/>
              <a:t>sistema</a:t>
            </a:r>
            <a:r>
              <a:rPr lang="en-GB" sz="1600" b="1" dirty="0"/>
              <a:t> </a:t>
            </a:r>
            <a:r>
              <a:rPr lang="en-GB" sz="1600" b="1" dirty="0" err="1"/>
              <a:t>agroforestal</a:t>
            </a:r>
            <a:endParaRPr lang="en-GB" sz="1600" b="1" dirty="0"/>
          </a:p>
        </p:txBody>
      </p:sp>
      <p:pic>
        <p:nvPicPr>
          <p:cNvPr id="26" name="Graphic 25" descr="Farmer female with solid fill">
            <a:extLst>
              <a:ext uri="{FF2B5EF4-FFF2-40B4-BE49-F238E27FC236}">
                <a16:creationId xmlns:a16="http://schemas.microsoft.com/office/drawing/2014/main" id="{394E955B-1214-4B69-A98B-7E383358721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452418" y="2787530"/>
            <a:ext cx="830850" cy="830281"/>
          </a:xfrm>
          <a:prstGeom prst="rect">
            <a:avLst/>
          </a:prstGeom>
        </p:spPr>
      </p:pic>
      <p:pic>
        <p:nvPicPr>
          <p:cNvPr id="28" name="Graphic 27" descr="Farmer male with solid fill">
            <a:extLst>
              <a:ext uri="{FF2B5EF4-FFF2-40B4-BE49-F238E27FC236}">
                <a16:creationId xmlns:a16="http://schemas.microsoft.com/office/drawing/2014/main" id="{F07841E1-671C-4DC6-9844-2DE6DE6B97A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28755" y="2782649"/>
            <a:ext cx="835162" cy="835162"/>
          </a:xfrm>
          <a:prstGeom prst="rect">
            <a:avLst/>
          </a:prstGeom>
        </p:spPr>
      </p:pic>
      <p:pic>
        <p:nvPicPr>
          <p:cNvPr id="24" name="Graphic 23" descr="Coffee Beans with solid fill">
            <a:extLst>
              <a:ext uri="{FF2B5EF4-FFF2-40B4-BE49-F238E27FC236}">
                <a16:creationId xmlns:a16="http://schemas.microsoft.com/office/drawing/2014/main" id="{26A3954E-CF55-46AA-9BE6-443363940DB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487345" y="1523174"/>
            <a:ext cx="822310" cy="822310"/>
          </a:xfrm>
          <a:prstGeom prst="rect">
            <a:avLst/>
          </a:prstGeom>
        </p:spPr>
      </p:pic>
      <p:sp>
        <p:nvSpPr>
          <p:cNvPr id="32" name="TextBox 31">
            <a:extLst>
              <a:ext uri="{FF2B5EF4-FFF2-40B4-BE49-F238E27FC236}">
                <a16:creationId xmlns:a16="http://schemas.microsoft.com/office/drawing/2014/main" id="{2437D73D-2498-4E15-B96B-937FA89AA4A2}"/>
              </a:ext>
            </a:extLst>
          </p:cNvPr>
          <p:cNvSpPr txBox="1"/>
          <p:nvPr/>
        </p:nvSpPr>
        <p:spPr>
          <a:xfrm>
            <a:off x="3241369" y="3555220"/>
            <a:ext cx="985858" cy="338554"/>
          </a:xfrm>
          <a:prstGeom prst="rect">
            <a:avLst/>
          </a:prstGeom>
          <a:noFill/>
          <a:ln w="12700">
            <a:noFill/>
          </a:ln>
        </p:spPr>
        <p:txBody>
          <a:bodyPr wrap="square">
            <a:spAutoFit/>
          </a:bodyPr>
          <a:lstStyle/>
          <a:p>
            <a:pPr algn="ctr"/>
            <a:r>
              <a:rPr lang="en-GB" sz="1600" b="1" dirty="0"/>
              <a:t>795</a:t>
            </a:r>
            <a:endParaRPr lang="en-GB" sz="1200" b="1" dirty="0"/>
          </a:p>
        </p:txBody>
      </p:sp>
      <p:sp>
        <p:nvSpPr>
          <p:cNvPr id="33" name="TextBox 32">
            <a:extLst>
              <a:ext uri="{FF2B5EF4-FFF2-40B4-BE49-F238E27FC236}">
                <a16:creationId xmlns:a16="http://schemas.microsoft.com/office/drawing/2014/main" id="{E182AFC4-400E-45FA-8486-2FD0E4BB8809}"/>
              </a:ext>
            </a:extLst>
          </p:cNvPr>
          <p:cNvSpPr txBox="1"/>
          <p:nvPr/>
        </p:nvSpPr>
        <p:spPr>
          <a:xfrm>
            <a:off x="2362875" y="3555220"/>
            <a:ext cx="1009935" cy="338554"/>
          </a:xfrm>
          <a:prstGeom prst="rect">
            <a:avLst/>
          </a:prstGeom>
          <a:noFill/>
          <a:ln w="12700">
            <a:noFill/>
          </a:ln>
        </p:spPr>
        <p:txBody>
          <a:bodyPr wrap="square">
            <a:spAutoFit/>
          </a:bodyPr>
          <a:lstStyle/>
          <a:p>
            <a:pPr algn="ctr"/>
            <a:r>
              <a:rPr lang="en-GB" sz="1600" b="1" dirty="0"/>
              <a:t>187</a:t>
            </a:r>
            <a:endParaRPr lang="en-GB" sz="1200" b="1" dirty="0"/>
          </a:p>
        </p:txBody>
      </p:sp>
      <p:sp>
        <p:nvSpPr>
          <p:cNvPr id="48" name="Oval 47">
            <a:extLst>
              <a:ext uri="{FF2B5EF4-FFF2-40B4-BE49-F238E27FC236}">
                <a16:creationId xmlns:a16="http://schemas.microsoft.com/office/drawing/2014/main" id="{8B6C14CB-791B-4152-B0B6-F2E35E257928}"/>
              </a:ext>
            </a:extLst>
          </p:cNvPr>
          <p:cNvSpPr/>
          <p:nvPr/>
        </p:nvSpPr>
        <p:spPr>
          <a:xfrm>
            <a:off x="350659" y="2899881"/>
            <a:ext cx="842804" cy="724436"/>
          </a:xfrm>
          <a:prstGeom prst="ellipse">
            <a:avLst/>
          </a:prstGeom>
          <a:solidFill>
            <a:schemeClr val="accent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l-NL" sz="1600" dirty="0">
              <a:solidFill>
                <a:srgbClr val="5E6A71"/>
              </a:solidFill>
            </a:endParaRPr>
          </a:p>
        </p:txBody>
      </p:sp>
      <p:sp>
        <p:nvSpPr>
          <p:cNvPr id="30" name="TextBox 29">
            <a:extLst>
              <a:ext uri="{FF2B5EF4-FFF2-40B4-BE49-F238E27FC236}">
                <a16:creationId xmlns:a16="http://schemas.microsoft.com/office/drawing/2014/main" id="{6CB36BDD-9ECF-4AFA-8727-2AE2EEB5428F}"/>
              </a:ext>
            </a:extLst>
          </p:cNvPr>
          <p:cNvSpPr txBox="1"/>
          <p:nvPr/>
        </p:nvSpPr>
        <p:spPr>
          <a:xfrm>
            <a:off x="359954" y="3012666"/>
            <a:ext cx="2158986" cy="461665"/>
          </a:xfrm>
          <a:prstGeom prst="rect">
            <a:avLst/>
          </a:prstGeom>
          <a:noFill/>
          <a:ln w="12700">
            <a:noFill/>
          </a:ln>
        </p:spPr>
        <p:txBody>
          <a:bodyPr wrap="square">
            <a:spAutoFit/>
          </a:bodyPr>
          <a:lstStyle/>
          <a:p>
            <a:r>
              <a:rPr lang="en-GB" sz="2400" b="1" dirty="0">
                <a:solidFill>
                  <a:schemeClr val="bg1"/>
                </a:solidFill>
              </a:rPr>
              <a:t>  982</a:t>
            </a:r>
            <a:r>
              <a:rPr lang="en-GB" b="1" dirty="0"/>
              <a:t>    </a:t>
            </a:r>
            <a:r>
              <a:rPr lang="en-GB" b="1" dirty="0" err="1"/>
              <a:t>P</a:t>
            </a:r>
            <a:r>
              <a:rPr lang="en-GB" sz="1600" b="1" dirty="0" err="1"/>
              <a:t>roductores</a:t>
            </a:r>
            <a:r>
              <a:rPr lang="en-GB" b="1" dirty="0"/>
              <a:t> </a:t>
            </a:r>
            <a:endParaRPr lang="nl-NL" b="1" dirty="0"/>
          </a:p>
        </p:txBody>
      </p:sp>
      <p:sp>
        <p:nvSpPr>
          <p:cNvPr id="51" name="Oval 50">
            <a:extLst>
              <a:ext uri="{FF2B5EF4-FFF2-40B4-BE49-F238E27FC236}">
                <a16:creationId xmlns:a16="http://schemas.microsoft.com/office/drawing/2014/main" id="{165EEA6D-293B-4484-888E-A88553C1FC9A}"/>
              </a:ext>
            </a:extLst>
          </p:cNvPr>
          <p:cNvSpPr/>
          <p:nvPr/>
        </p:nvSpPr>
        <p:spPr>
          <a:xfrm>
            <a:off x="6429110" y="2875017"/>
            <a:ext cx="1132580" cy="870047"/>
          </a:xfrm>
          <a:prstGeom prst="ellipse">
            <a:avLst/>
          </a:prstGeom>
          <a:solidFill>
            <a:srgbClr val="FFC000"/>
          </a:solidFill>
          <a:ln w="12700" cap="rnd" cmpd="sng" algn="ctr">
            <a:solidFill>
              <a:schemeClr val="accent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l-NL" sz="1600" dirty="0">
              <a:solidFill>
                <a:srgbClr val="5E6A71"/>
              </a:solidFill>
            </a:endParaRPr>
          </a:p>
        </p:txBody>
      </p:sp>
      <p:sp>
        <p:nvSpPr>
          <p:cNvPr id="50" name="TextBox 49">
            <a:extLst>
              <a:ext uri="{FF2B5EF4-FFF2-40B4-BE49-F238E27FC236}">
                <a16:creationId xmlns:a16="http://schemas.microsoft.com/office/drawing/2014/main" id="{89AC8F69-D0C7-4AB7-9AF2-1FDFAD5E70A2}"/>
              </a:ext>
            </a:extLst>
          </p:cNvPr>
          <p:cNvSpPr txBox="1"/>
          <p:nvPr/>
        </p:nvSpPr>
        <p:spPr>
          <a:xfrm>
            <a:off x="6429109" y="2923545"/>
            <a:ext cx="1166289" cy="677108"/>
          </a:xfrm>
          <a:prstGeom prst="rect">
            <a:avLst/>
          </a:prstGeom>
          <a:noFill/>
          <a:ln w="12700">
            <a:noFill/>
          </a:ln>
        </p:spPr>
        <p:txBody>
          <a:bodyPr wrap="square">
            <a:spAutoFit/>
          </a:bodyPr>
          <a:lstStyle/>
          <a:p>
            <a:pPr algn="ctr"/>
            <a:r>
              <a:rPr lang="en-GB" sz="2000" b="1" dirty="0"/>
              <a:t>1.3</a:t>
            </a:r>
            <a:r>
              <a:rPr lang="en-GB" sz="1800" b="1" dirty="0"/>
              <a:t> </a:t>
            </a:r>
          </a:p>
          <a:p>
            <a:pPr algn="ctr"/>
            <a:r>
              <a:rPr lang="en-GB" sz="1800" b="1" dirty="0" err="1"/>
              <a:t>hectáreas</a:t>
            </a:r>
            <a:endParaRPr lang="en-GB" sz="1800" b="1" dirty="0"/>
          </a:p>
        </p:txBody>
      </p:sp>
      <p:grpSp>
        <p:nvGrpSpPr>
          <p:cNvPr id="2" name="Group 1">
            <a:extLst>
              <a:ext uri="{FF2B5EF4-FFF2-40B4-BE49-F238E27FC236}">
                <a16:creationId xmlns:a16="http://schemas.microsoft.com/office/drawing/2014/main" id="{BE60CBCB-9D79-4792-A877-B2AFCDDF9C3E}"/>
              </a:ext>
            </a:extLst>
          </p:cNvPr>
          <p:cNvGrpSpPr/>
          <p:nvPr/>
        </p:nvGrpSpPr>
        <p:grpSpPr>
          <a:xfrm>
            <a:off x="4208027" y="3583186"/>
            <a:ext cx="4698806" cy="1515990"/>
            <a:chOff x="4549688" y="2260383"/>
            <a:chExt cx="4698806" cy="1515990"/>
          </a:xfrm>
          <a:solidFill>
            <a:srgbClr val="FFC000"/>
          </a:solidFill>
        </p:grpSpPr>
        <p:cxnSp>
          <p:nvCxnSpPr>
            <p:cNvPr id="53" name="Straight Connector 52">
              <a:extLst>
                <a:ext uri="{FF2B5EF4-FFF2-40B4-BE49-F238E27FC236}">
                  <a16:creationId xmlns:a16="http://schemas.microsoft.com/office/drawing/2014/main" id="{C5579AC0-55F7-4026-9E2C-1A0C86F3FF3A}"/>
                </a:ext>
              </a:extLst>
            </p:cNvPr>
            <p:cNvCxnSpPr/>
            <p:nvPr/>
          </p:nvCxnSpPr>
          <p:spPr>
            <a:xfrm>
              <a:off x="4549688" y="3296636"/>
              <a:ext cx="2506059" cy="0"/>
            </a:xfrm>
            <a:prstGeom prst="line">
              <a:avLst/>
            </a:prstGeom>
            <a:grpFill/>
            <a:ln>
              <a:tailEnd type="none"/>
            </a:ln>
          </p:spPr>
          <p:style>
            <a:lnRef idx="3">
              <a:schemeClr val="dk1"/>
            </a:lnRef>
            <a:fillRef idx="0">
              <a:schemeClr val="dk1"/>
            </a:fillRef>
            <a:effectRef idx="2">
              <a:schemeClr val="dk1"/>
            </a:effectRef>
            <a:fontRef idx="minor">
              <a:schemeClr val="tx1"/>
            </a:fontRef>
          </p:style>
        </p:cxnSp>
        <p:sp>
          <p:nvSpPr>
            <p:cNvPr id="54" name="Arrow: Up 53">
              <a:extLst>
                <a:ext uri="{FF2B5EF4-FFF2-40B4-BE49-F238E27FC236}">
                  <a16:creationId xmlns:a16="http://schemas.microsoft.com/office/drawing/2014/main" id="{7350FD74-23FB-49A1-A626-45BF039AF050}"/>
                </a:ext>
              </a:extLst>
            </p:cNvPr>
            <p:cNvSpPr/>
            <p:nvPr/>
          </p:nvSpPr>
          <p:spPr>
            <a:xfrm>
              <a:off x="4740752" y="2599932"/>
              <a:ext cx="520861" cy="707886"/>
            </a:xfrm>
            <a:prstGeom prst="upArrow">
              <a:avLst/>
            </a:prstGeom>
            <a:grpFill/>
            <a:ln w="12700" cap="rnd" cmpd="sng" algn="ctr">
              <a:solidFill>
                <a:schemeClr val="accent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l-NL" sz="1600" dirty="0">
                <a:solidFill>
                  <a:srgbClr val="5E6A71"/>
                </a:solidFill>
              </a:endParaRPr>
            </a:p>
          </p:txBody>
        </p:sp>
        <p:sp>
          <p:nvSpPr>
            <p:cNvPr id="55" name="Arrow: Up 54">
              <a:extLst>
                <a:ext uri="{FF2B5EF4-FFF2-40B4-BE49-F238E27FC236}">
                  <a16:creationId xmlns:a16="http://schemas.microsoft.com/office/drawing/2014/main" id="{E6DE9CA6-9A9C-4870-AED8-720E4878CF9E}"/>
                </a:ext>
              </a:extLst>
            </p:cNvPr>
            <p:cNvSpPr/>
            <p:nvPr/>
          </p:nvSpPr>
          <p:spPr>
            <a:xfrm flipV="1">
              <a:off x="5087806" y="3308923"/>
              <a:ext cx="520861" cy="322887"/>
            </a:xfrm>
            <a:prstGeom prst="upArrow">
              <a:avLst/>
            </a:prstGeom>
            <a:solidFill>
              <a:srgbClr val="000099"/>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l-NL" sz="1600" dirty="0">
                <a:solidFill>
                  <a:srgbClr val="5E6A71"/>
                </a:solidFill>
              </a:endParaRPr>
            </a:p>
          </p:txBody>
        </p:sp>
        <p:sp>
          <p:nvSpPr>
            <p:cNvPr id="56" name="TextBox 55">
              <a:extLst>
                <a:ext uri="{FF2B5EF4-FFF2-40B4-BE49-F238E27FC236}">
                  <a16:creationId xmlns:a16="http://schemas.microsoft.com/office/drawing/2014/main" id="{666C8DAF-3B22-43AF-9451-BE2CCA921425}"/>
                </a:ext>
              </a:extLst>
            </p:cNvPr>
            <p:cNvSpPr txBox="1"/>
            <p:nvPr/>
          </p:nvSpPr>
          <p:spPr>
            <a:xfrm>
              <a:off x="5164187" y="2883886"/>
              <a:ext cx="1498761" cy="338554"/>
            </a:xfrm>
            <a:prstGeom prst="rect">
              <a:avLst/>
            </a:prstGeom>
            <a:grpFill/>
            <a:ln w="12700">
              <a:noFill/>
            </a:ln>
          </p:spPr>
          <p:txBody>
            <a:bodyPr wrap="square">
              <a:spAutoFit/>
            </a:bodyPr>
            <a:lstStyle/>
            <a:p>
              <a:r>
                <a:rPr lang="en-GB" sz="1600" b="1" dirty="0"/>
                <a:t>60% con delta +</a:t>
              </a:r>
            </a:p>
          </p:txBody>
        </p:sp>
        <p:sp>
          <p:nvSpPr>
            <p:cNvPr id="57" name="TextBox 56">
              <a:extLst>
                <a:ext uri="{FF2B5EF4-FFF2-40B4-BE49-F238E27FC236}">
                  <a16:creationId xmlns:a16="http://schemas.microsoft.com/office/drawing/2014/main" id="{E426C5C9-8E51-494A-8E96-128C44B430E1}"/>
                </a:ext>
              </a:extLst>
            </p:cNvPr>
            <p:cNvSpPr txBox="1"/>
            <p:nvPr/>
          </p:nvSpPr>
          <p:spPr>
            <a:xfrm>
              <a:off x="5706317" y="3395763"/>
              <a:ext cx="1457784" cy="338554"/>
            </a:xfrm>
            <a:prstGeom prst="rect">
              <a:avLst/>
            </a:prstGeom>
            <a:solidFill>
              <a:srgbClr val="000099"/>
            </a:solidFill>
            <a:ln w="12700">
              <a:noFill/>
            </a:ln>
          </p:spPr>
          <p:txBody>
            <a:bodyPr wrap="square">
              <a:spAutoFit/>
            </a:bodyPr>
            <a:lstStyle/>
            <a:p>
              <a:r>
                <a:rPr lang="en-GB" sz="1600" b="1" dirty="0">
                  <a:solidFill>
                    <a:schemeClr val="bg1"/>
                  </a:solidFill>
                </a:rPr>
                <a:t>40% con delta -</a:t>
              </a:r>
            </a:p>
          </p:txBody>
        </p:sp>
        <p:pic>
          <p:nvPicPr>
            <p:cNvPr id="60" name="Graphic 59" descr="Money with solid fill">
              <a:extLst>
                <a:ext uri="{FF2B5EF4-FFF2-40B4-BE49-F238E27FC236}">
                  <a16:creationId xmlns:a16="http://schemas.microsoft.com/office/drawing/2014/main" id="{80976A1F-9539-44E1-AFB9-E4238FD63A4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365152" y="2260383"/>
              <a:ext cx="715775" cy="715775"/>
            </a:xfrm>
            <a:prstGeom prst="rect">
              <a:avLst/>
            </a:prstGeom>
          </p:spPr>
        </p:pic>
        <p:sp>
          <p:nvSpPr>
            <p:cNvPr id="61" name="TextBox 60">
              <a:extLst>
                <a:ext uri="{FF2B5EF4-FFF2-40B4-BE49-F238E27FC236}">
                  <a16:creationId xmlns:a16="http://schemas.microsoft.com/office/drawing/2014/main" id="{2F3DBDDA-7F6E-4C47-AE67-884CC5CDE572}"/>
                </a:ext>
              </a:extLst>
            </p:cNvPr>
            <p:cNvSpPr txBox="1"/>
            <p:nvPr/>
          </p:nvSpPr>
          <p:spPr>
            <a:xfrm>
              <a:off x="7365242" y="2883821"/>
              <a:ext cx="1883252" cy="892552"/>
            </a:xfrm>
            <a:prstGeom prst="rect">
              <a:avLst/>
            </a:prstGeom>
            <a:grpFill/>
            <a:ln w="12700">
              <a:noFill/>
            </a:ln>
          </p:spPr>
          <p:txBody>
            <a:bodyPr wrap="square">
              <a:spAutoFit/>
            </a:bodyPr>
            <a:lstStyle/>
            <a:p>
              <a:pPr algn="ctr"/>
              <a:r>
                <a:rPr lang="en-GB" sz="1600" b="1" dirty="0" err="1"/>
                <a:t>Promedio</a:t>
              </a:r>
              <a:r>
                <a:rPr lang="en-GB" sz="1600" b="1" dirty="0"/>
                <a:t> de </a:t>
              </a:r>
            </a:p>
            <a:p>
              <a:pPr algn="ctr"/>
              <a:r>
                <a:rPr lang="en-GB" b="1" dirty="0"/>
                <a:t>9.7 CRUs/Productor</a:t>
              </a:r>
            </a:p>
          </p:txBody>
        </p:sp>
      </p:grpSp>
      <p:sp>
        <p:nvSpPr>
          <p:cNvPr id="63" name="Title 1">
            <a:extLst>
              <a:ext uri="{FF2B5EF4-FFF2-40B4-BE49-F238E27FC236}">
                <a16:creationId xmlns:a16="http://schemas.microsoft.com/office/drawing/2014/main" id="{151A1646-63A8-45A4-ABB3-9D9F05DF8B10}"/>
              </a:ext>
            </a:extLst>
          </p:cNvPr>
          <p:cNvSpPr>
            <a:spLocks noGrp="1"/>
          </p:cNvSpPr>
          <p:nvPr>
            <p:ph type="title"/>
          </p:nvPr>
        </p:nvSpPr>
        <p:spPr>
          <a:xfrm>
            <a:off x="468000" y="294583"/>
            <a:ext cx="8352472" cy="736104"/>
          </a:xfrm>
        </p:spPr>
        <p:txBody>
          <a:bodyPr vert="horz" anchor="t"/>
          <a:lstStyle/>
          <a:p>
            <a:pPr algn="ctr"/>
            <a:r>
              <a:rPr lang="en-GB" i="0" dirty="0" err="1">
                <a:solidFill>
                  <a:srgbClr val="FFC000"/>
                </a:solidFill>
                <a:latin typeface="Calibri"/>
                <a:cs typeface="Calibri"/>
              </a:rPr>
              <a:t>Impactos</a:t>
            </a:r>
            <a:r>
              <a:rPr lang="en-GB" i="0" dirty="0">
                <a:solidFill>
                  <a:srgbClr val="FFC000"/>
                </a:solidFill>
                <a:latin typeface="Calibri"/>
                <a:cs typeface="Calibri"/>
              </a:rPr>
              <a:t> </a:t>
            </a:r>
            <a:r>
              <a:rPr lang="en-GB" i="0" dirty="0" err="1">
                <a:solidFill>
                  <a:srgbClr val="FFC000"/>
                </a:solidFill>
                <a:latin typeface="Calibri"/>
                <a:cs typeface="Calibri"/>
              </a:rPr>
              <a:t>generados</a:t>
            </a:r>
            <a:r>
              <a:rPr lang="en-GB" i="0" dirty="0">
                <a:solidFill>
                  <a:srgbClr val="FFC000"/>
                </a:solidFill>
                <a:latin typeface="Calibri"/>
                <a:cs typeface="Calibri"/>
              </a:rPr>
              <a:t> CAFÉ DEL FUTURO </a:t>
            </a:r>
            <a:r>
              <a:rPr lang="en-GB" i="0" dirty="0" err="1">
                <a:solidFill>
                  <a:srgbClr val="FFC000"/>
                </a:solidFill>
                <a:latin typeface="Calibri"/>
                <a:cs typeface="Calibri"/>
              </a:rPr>
              <a:t>en</a:t>
            </a:r>
            <a:r>
              <a:rPr lang="en-GB" i="0" dirty="0">
                <a:solidFill>
                  <a:srgbClr val="FFC000"/>
                </a:solidFill>
                <a:latin typeface="Calibri"/>
                <a:cs typeface="Calibri"/>
              </a:rPr>
              <a:t> </a:t>
            </a:r>
            <a:r>
              <a:rPr lang="en-GB" i="0" dirty="0" err="1">
                <a:solidFill>
                  <a:srgbClr val="FFC000"/>
                </a:solidFill>
                <a:latin typeface="Calibri"/>
                <a:cs typeface="Calibri"/>
              </a:rPr>
              <a:t>su</a:t>
            </a:r>
            <a:r>
              <a:rPr lang="en-GB" i="0" dirty="0">
                <a:solidFill>
                  <a:srgbClr val="FFC000"/>
                </a:solidFill>
                <a:latin typeface="Calibri"/>
                <a:cs typeface="Calibri"/>
              </a:rPr>
              <a:t> primer </a:t>
            </a:r>
            <a:r>
              <a:rPr lang="en-GB" i="0" dirty="0" err="1">
                <a:solidFill>
                  <a:srgbClr val="FFC000"/>
                </a:solidFill>
                <a:latin typeface="Calibri"/>
                <a:cs typeface="Calibri"/>
              </a:rPr>
              <a:t>año</a:t>
            </a:r>
            <a:r>
              <a:rPr lang="en-GB" i="0" dirty="0">
                <a:solidFill>
                  <a:srgbClr val="FFC000"/>
                </a:solidFill>
                <a:latin typeface="Calibri"/>
                <a:cs typeface="Calibri"/>
              </a:rPr>
              <a:t> con Acorn</a:t>
            </a:r>
            <a:endParaRPr lang="en-GB" i="0" dirty="0">
              <a:solidFill>
                <a:srgbClr val="FFC000"/>
              </a:solidFill>
            </a:endParaRPr>
          </a:p>
        </p:txBody>
      </p:sp>
      <p:pic>
        <p:nvPicPr>
          <p:cNvPr id="98" name="Picture 97">
            <a:extLst>
              <a:ext uri="{FF2B5EF4-FFF2-40B4-BE49-F238E27FC236}">
                <a16:creationId xmlns:a16="http://schemas.microsoft.com/office/drawing/2014/main" id="{4894A74C-AE7E-478D-85F8-B8DA7843D245}"/>
              </a:ext>
            </a:extLst>
          </p:cNvPr>
          <p:cNvPicPr>
            <a:picLocks noChangeAspect="1"/>
          </p:cNvPicPr>
          <p:nvPr/>
        </p:nvPicPr>
        <p:blipFill>
          <a:blip r:embed="rId11">
            <a:duotone>
              <a:schemeClr val="accent1">
                <a:shade val="45000"/>
                <a:satMod val="135000"/>
              </a:schemeClr>
              <a:prstClr val="white"/>
            </a:duotone>
            <a:extLst>
              <a:ext uri="{BEBA8EAE-BF5A-486C-A8C5-ECC9F3942E4B}">
                <a14:imgProps xmlns:a14="http://schemas.microsoft.com/office/drawing/2010/main">
                  <a14:imgLayer r:embed="rId12">
                    <a14:imgEffect>
                      <a14:backgroundRemoval t="1826" b="89498" l="7333" r="90000">
                        <a14:foregroundMark x1="46667" y1="10502" x2="48667" y2="6393"/>
                        <a14:foregroundMark x1="50667" y1="3196" x2="48667" y2="2283"/>
                        <a14:foregroundMark x1="7333" y1="20548" x2="14000" y2="33333"/>
                      </a14:backgroundRemoval>
                    </a14:imgEffect>
                  </a14:imgLayer>
                </a14:imgProps>
              </a:ext>
            </a:extLst>
          </a:blip>
          <a:stretch>
            <a:fillRect/>
          </a:stretch>
        </p:blipFill>
        <p:spPr>
          <a:xfrm>
            <a:off x="300943" y="1072737"/>
            <a:ext cx="1719552" cy="1922406"/>
          </a:xfrm>
          <a:prstGeom prst="rect">
            <a:avLst/>
          </a:prstGeom>
        </p:spPr>
      </p:pic>
      <p:pic>
        <p:nvPicPr>
          <p:cNvPr id="99" name="Graphic 98" descr="Marker with solid fill">
            <a:extLst>
              <a:ext uri="{FF2B5EF4-FFF2-40B4-BE49-F238E27FC236}">
                <a16:creationId xmlns:a16="http://schemas.microsoft.com/office/drawing/2014/main" id="{D418FD34-4CE1-46D2-8784-79BB5776A9B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6158" y="1239783"/>
            <a:ext cx="649984" cy="649984"/>
          </a:xfrm>
          <a:prstGeom prst="rect">
            <a:avLst/>
          </a:prstGeom>
        </p:spPr>
      </p:pic>
      <p:sp>
        <p:nvSpPr>
          <p:cNvPr id="7" name="TextBox 6">
            <a:extLst>
              <a:ext uri="{FF2B5EF4-FFF2-40B4-BE49-F238E27FC236}">
                <a16:creationId xmlns:a16="http://schemas.microsoft.com/office/drawing/2014/main" id="{4E23A7CC-9FAC-4E7F-B937-3B46B18F5101}"/>
              </a:ext>
            </a:extLst>
          </p:cNvPr>
          <p:cNvSpPr txBox="1"/>
          <p:nvPr/>
        </p:nvSpPr>
        <p:spPr>
          <a:xfrm>
            <a:off x="1120509" y="1653650"/>
            <a:ext cx="1141659" cy="338554"/>
          </a:xfrm>
          <a:prstGeom prst="rect">
            <a:avLst/>
          </a:prstGeom>
          <a:noFill/>
          <a:ln w="12700">
            <a:noFill/>
          </a:ln>
        </p:spPr>
        <p:txBody>
          <a:bodyPr wrap="square">
            <a:spAutoFit/>
          </a:bodyPr>
          <a:lstStyle/>
          <a:p>
            <a:r>
              <a:rPr lang="en-GB" sz="1600" b="1" dirty="0"/>
              <a:t>San Martín</a:t>
            </a:r>
            <a:endParaRPr lang="nl-NL" sz="1400" b="1" dirty="0"/>
          </a:p>
        </p:txBody>
      </p:sp>
      <p:grpSp>
        <p:nvGrpSpPr>
          <p:cNvPr id="40" name="Group 39">
            <a:extLst>
              <a:ext uri="{FF2B5EF4-FFF2-40B4-BE49-F238E27FC236}">
                <a16:creationId xmlns:a16="http://schemas.microsoft.com/office/drawing/2014/main" id="{FC452BE7-6DEB-4EA8-A1AC-83AAB44E5FEE}"/>
              </a:ext>
            </a:extLst>
          </p:cNvPr>
          <p:cNvGrpSpPr/>
          <p:nvPr/>
        </p:nvGrpSpPr>
        <p:grpSpPr>
          <a:xfrm>
            <a:off x="685338" y="4502838"/>
            <a:ext cx="565582" cy="511942"/>
            <a:chOff x="538163" y="2776538"/>
            <a:chExt cx="633412" cy="509587"/>
          </a:xfrm>
          <a:solidFill>
            <a:schemeClr val="accent2"/>
          </a:solidFill>
        </p:grpSpPr>
        <p:sp>
          <p:nvSpPr>
            <p:cNvPr id="41" name="Freeform 20">
              <a:extLst>
                <a:ext uri="{FF2B5EF4-FFF2-40B4-BE49-F238E27FC236}">
                  <a16:creationId xmlns:a16="http://schemas.microsoft.com/office/drawing/2014/main" id="{E2A15F8D-D537-4812-85D6-469F6AD2B727}"/>
                </a:ext>
              </a:extLst>
            </p:cNvPr>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sp>
          <p:nvSpPr>
            <p:cNvPr id="42" name="Freeform 21">
              <a:extLst>
                <a:ext uri="{FF2B5EF4-FFF2-40B4-BE49-F238E27FC236}">
                  <a16:creationId xmlns:a16="http://schemas.microsoft.com/office/drawing/2014/main" id="{C2968A6F-0124-4CD1-A535-762D64E2B0DE}"/>
                </a:ext>
              </a:extLst>
            </p:cNvPr>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sp>
          <p:nvSpPr>
            <p:cNvPr id="43" name="Freeform 22">
              <a:extLst>
                <a:ext uri="{FF2B5EF4-FFF2-40B4-BE49-F238E27FC236}">
                  <a16:creationId xmlns:a16="http://schemas.microsoft.com/office/drawing/2014/main" id="{0EC8130D-1F52-4D8F-A2B6-9DCC83C142D9}"/>
                </a:ext>
              </a:extLst>
            </p:cNvPr>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grpSp>
      <p:grpSp>
        <p:nvGrpSpPr>
          <p:cNvPr id="44" name="Group 43">
            <a:extLst>
              <a:ext uri="{FF2B5EF4-FFF2-40B4-BE49-F238E27FC236}">
                <a16:creationId xmlns:a16="http://schemas.microsoft.com/office/drawing/2014/main" id="{9293B2A9-72F2-4D9F-8B7B-B0CD2280AB5D}"/>
              </a:ext>
            </a:extLst>
          </p:cNvPr>
          <p:cNvGrpSpPr/>
          <p:nvPr/>
        </p:nvGrpSpPr>
        <p:grpSpPr>
          <a:xfrm>
            <a:off x="335215" y="4206624"/>
            <a:ext cx="565582" cy="511942"/>
            <a:chOff x="538163" y="2776538"/>
            <a:chExt cx="633412" cy="509587"/>
          </a:xfrm>
          <a:solidFill>
            <a:schemeClr val="accent2"/>
          </a:solidFill>
        </p:grpSpPr>
        <p:sp>
          <p:nvSpPr>
            <p:cNvPr id="45" name="Freeform 20">
              <a:extLst>
                <a:ext uri="{FF2B5EF4-FFF2-40B4-BE49-F238E27FC236}">
                  <a16:creationId xmlns:a16="http://schemas.microsoft.com/office/drawing/2014/main" id="{2DBB10E2-B944-4C59-97C5-D37F48DE1055}"/>
                </a:ext>
              </a:extLst>
            </p:cNvPr>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sp>
          <p:nvSpPr>
            <p:cNvPr id="46" name="Freeform 21">
              <a:extLst>
                <a:ext uri="{FF2B5EF4-FFF2-40B4-BE49-F238E27FC236}">
                  <a16:creationId xmlns:a16="http://schemas.microsoft.com/office/drawing/2014/main" id="{62C86057-FB6F-4505-AEE1-B2F46D132977}"/>
                </a:ext>
              </a:extLst>
            </p:cNvPr>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sp>
          <p:nvSpPr>
            <p:cNvPr id="47" name="Freeform 22">
              <a:extLst>
                <a:ext uri="{FF2B5EF4-FFF2-40B4-BE49-F238E27FC236}">
                  <a16:creationId xmlns:a16="http://schemas.microsoft.com/office/drawing/2014/main" id="{F4D3272C-75C9-4C7E-B1FA-D5BF47BBD6A8}"/>
                </a:ext>
              </a:extLst>
            </p:cNvPr>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grpSp>
      <p:grpSp>
        <p:nvGrpSpPr>
          <p:cNvPr id="49" name="Group 48">
            <a:extLst>
              <a:ext uri="{FF2B5EF4-FFF2-40B4-BE49-F238E27FC236}">
                <a16:creationId xmlns:a16="http://schemas.microsoft.com/office/drawing/2014/main" id="{C6ABD41D-3CEF-4FD8-9E0D-1CB7E8FBCDBE}"/>
              </a:ext>
            </a:extLst>
          </p:cNvPr>
          <p:cNvGrpSpPr/>
          <p:nvPr/>
        </p:nvGrpSpPr>
        <p:grpSpPr>
          <a:xfrm>
            <a:off x="931982" y="4115021"/>
            <a:ext cx="565582" cy="511942"/>
            <a:chOff x="538163" y="2776538"/>
            <a:chExt cx="633412" cy="509587"/>
          </a:xfrm>
          <a:solidFill>
            <a:schemeClr val="accent2"/>
          </a:solidFill>
        </p:grpSpPr>
        <p:sp>
          <p:nvSpPr>
            <p:cNvPr id="52" name="Freeform 20">
              <a:extLst>
                <a:ext uri="{FF2B5EF4-FFF2-40B4-BE49-F238E27FC236}">
                  <a16:creationId xmlns:a16="http://schemas.microsoft.com/office/drawing/2014/main" id="{039E7D11-28CC-4990-9A7B-6F66B7EB1C41}"/>
                </a:ext>
              </a:extLst>
            </p:cNvPr>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sp>
          <p:nvSpPr>
            <p:cNvPr id="58" name="Freeform 21">
              <a:extLst>
                <a:ext uri="{FF2B5EF4-FFF2-40B4-BE49-F238E27FC236}">
                  <a16:creationId xmlns:a16="http://schemas.microsoft.com/office/drawing/2014/main" id="{DF92F65C-CAB6-4751-A064-98301C86E4B2}"/>
                </a:ext>
              </a:extLst>
            </p:cNvPr>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sp>
          <p:nvSpPr>
            <p:cNvPr id="59" name="Freeform 22">
              <a:extLst>
                <a:ext uri="{FF2B5EF4-FFF2-40B4-BE49-F238E27FC236}">
                  <a16:creationId xmlns:a16="http://schemas.microsoft.com/office/drawing/2014/main" id="{74B79589-EB25-45E7-8DB8-E2A77721EBC5}"/>
                </a:ext>
              </a:extLst>
            </p:cNvPr>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w="9525">
              <a:solidFill>
                <a:schemeClr val="bg1"/>
              </a:solidFill>
              <a:round/>
              <a:headEnd/>
              <a:tailEnd/>
            </a:ln>
          </p:spPr>
          <p:txBody>
            <a:bodyPr vert="horz" wrap="none" lIns="91440" tIns="45720" rIns="91440" bIns="45720" numCol="1" anchor="t" anchorCtr="0" compatLnSpc="1">
              <a:prstTxWarp prst="textNoShape">
                <a:avLst/>
              </a:prstTxWarp>
            </a:bodyPr>
            <a:lstStyle/>
            <a:p>
              <a:endParaRPr lang="en-GB"/>
            </a:p>
          </p:txBody>
        </p:sp>
      </p:grpSp>
      <p:sp>
        <p:nvSpPr>
          <p:cNvPr id="62" name="TextBox 61">
            <a:extLst>
              <a:ext uri="{FF2B5EF4-FFF2-40B4-BE49-F238E27FC236}">
                <a16:creationId xmlns:a16="http://schemas.microsoft.com/office/drawing/2014/main" id="{A7EBFF84-1FC8-48C1-8640-A22CFDD02591}"/>
              </a:ext>
            </a:extLst>
          </p:cNvPr>
          <p:cNvSpPr txBox="1"/>
          <p:nvPr/>
        </p:nvSpPr>
        <p:spPr>
          <a:xfrm>
            <a:off x="5461056" y="1416500"/>
            <a:ext cx="3530459" cy="1077218"/>
          </a:xfrm>
          <a:prstGeom prst="rect">
            <a:avLst/>
          </a:prstGeom>
          <a:noFill/>
          <a:ln w="12700">
            <a:noFill/>
          </a:ln>
        </p:spPr>
        <p:txBody>
          <a:bodyPr wrap="square">
            <a:spAutoFit/>
          </a:bodyPr>
          <a:lstStyle/>
          <a:p>
            <a:pPr marL="285750" indent="-285750">
              <a:buClr>
                <a:schemeClr val="accent1"/>
              </a:buClr>
              <a:buFont typeface="Wingdings" panose="05000000000000000000" pitchFamily="2" charset="2"/>
              <a:buChar char="ü"/>
            </a:pPr>
            <a:r>
              <a:rPr lang="en-GB" sz="1600" b="1" dirty="0" err="1"/>
              <a:t>Resiliencia</a:t>
            </a:r>
            <a:r>
              <a:rPr lang="en-GB" sz="1600" b="1" dirty="0"/>
              <a:t> al </a:t>
            </a:r>
            <a:r>
              <a:rPr lang="en-GB" sz="1600" b="1" dirty="0" err="1"/>
              <a:t>cambio</a:t>
            </a:r>
            <a:r>
              <a:rPr lang="en-GB" sz="1600" b="1" dirty="0"/>
              <a:t> </a:t>
            </a:r>
            <a:r>
              <a:rPr lang="en-GB" sz="1600" b="1" dirty="0" err="1"/>
              <a:t>climático</a:t>
            </a:r>
            <a:endParaRPr lang="en-GB" sz="1600" b="1" dirty="0"/>
          </a:p>
          <a:p>
            <a:pPr marL="285750" indent="-285750">
              <a:buClr>
                <a:schemeClr val="accent1"/>
              </a:buClr>
              <a:buFont typeface="Wingdings" panose="05000000000000000000" pitchFamily="2" charset="2"/>
              <a:buChar char="ü"/>
            </a:pPr>
            <a:r>
              <a:rPr lang="en-GB" sz="1600" b="1" dirty="0" err="1"/>
              <a:t>Aumento</a:t>
            </a:r>
            <a:r>
              <a:rPr lang="en-GB" sz="1600" b="1" dirty="0"/>
              <a:t> </a:t>
            </a:r>
            <a:r>
              <a:rPr lang="en-GB" sz="1600" b="1" dirty="0" err="1"/>
              <a:t>en</a:t>
            </a:r>
            <a:r>
              <a:rPr lang="en-GB" sz="1600" b="1" dirty="0"/>
              <a:t> </a:t>
            </a:r>
            <a:r>
              <a:rPr lang="en-GB" sz="1600" b="1" dirty="0" err="1"/>
              <a:t>producción</a:t>
            </a:r>
            <a:r>
              <a:rPr lang="en-GB" sz="1600" b="1" dirty="0"/>
              <a:t> y </a:t>
            </a:r>
            <a:r>
              <a:rPr lang="en-GB" sz="1600" b="1" dirty="0" err="1"/>
              <a:t>calidad</a:t>
            </a:r>
            <a:r>
              <a:rPr lang="en-GB" sz="1600" b="1" dirty="0"/>
              <a:t> café</a:t>
            </a:r>
          </a:p>
          <a:p>
            <a:pPr marL="285750" indent="-285750">
              <a:buClr>
                <a:schemeClr val="accent1"/>
              </a:buClr>
              <a:buFont typeface="Wingdings" panose="05000000000000000000" pitchFamily="2" charset="2"/>
              <a:buChar char="ü"/>
            </a:pPr>
            <a:r>
              <a:rPr lang="en-GB" sz="1600" b="1" dirty="0" err="1"/>
              <a:t>Diversificación</a:t>
            </a:r>
            <a:r>
              <a:rPr lang="en-GB" sz="1600" b="1" dirty="0"/>
              <a:t> del </a:t>
            </a:r>
            <a:r>
              <a:rPr lang="en-GB" sz="1600" b="1" dirty="0" err="1"/>
              <a:t>ingreso</a:t>
            </a:r>
            <a:r>
              <a:rPr lang="en-GB" sz="1600" b="1" dirty="0"/>
              <a:t> del </a:t>
            </a:r>
            <a:r>
              <a:rPr lang="en-GB" sz="1600" b="1" dirty="0" err="1"/>
              <a:t>hogar</a:t>
            </a:r>
            <a:endParaRPr lang="en-GB" sz="1600" b="1" dirty="0"/>
          </a:p>
          <a:p>
            <a:pPr marL="285750" indent="-285750">
              <a:buClr>
                <a:schemeClr val="accent1"/>
              </a:buClr>
              <a:buFont typeface="Wingdings" panose="05000000000000000000" pitchFamily="2" charset="2"/>
              <a:buChar char="ü"/>
            </a:pPr>
            <a:r>
              <a:rPr lang="en-GB" sz="1600" b="1" dirty="0" err="1"/>
              <a:t>Cuidado</a:t>
            </a:r>
            <a:r>
              <a:rPr lang="en-GB" sz="1600" b="1" dirty="0"/>
              <a:t> del </a:t>
            </a:r>
            <a:r>
              <a:rPr lang="en-GB" sz="1600" b="1" dirty="0" err="1"/>
              <a:t>medioambiente</a:t>
            </a:r>
            <a:endParaRPr lang="en-GB" sz="1600" b="1" dirty="0"/>
          </a:p>
        </p:txBody>
      </p:sp>
      <p:sp>
        <p:nvSpPr>
          <p:cNvPr id="3" name="Left Brace 2">
            <a:extLst>
              <a:ext uri="{FF2B5EF4-FFF2-40B4-BE49-F238E27FC236}">
                <a16:creationId xmlns:a16="http://schemas.microsoft.com/office/drawing/2014/main" id="{18A3BF3F-BD3A-4872-93D0-5D0D37A2DFC2}"/>
              </a:ext>
            </a:extLst>
          </p:cNvPr>
          <p:cNvSpPr/>
          <p:nvPr/>
        </p:nvSpPr>
        <p:spPr>
          <a:xfrm>
            <a:off x="5219383" y="1338948"/>
            <a:ext cx="316980" cy="1165317"/>
          </a:xfrm>
          <a:prstGeom prst="leftBrace">
            <a:avLst/>
          </a:prstGeom>
          <a:ln>
            <a:tailEnd type="none"/>
          </a:ln>
        </p:spPr>
        <p:style>
          <a:lnRef idx="3">
            <a:schemeClr val="accent2"/>
          </a:lnRef>
          <a:fillRef idx="0">
            <a:schemeClr val="accent2"/>
          </a:fillRef>
          <a:effectRef idx="2">
            <a:schemeClr val="accent2"/>
          </a:effectRef>
          <a:fontRef idx="minor">
            <a:schemeClr val="tx1"/>
          </a:fontRef>
        </p:style>
        <p:txBody>
          <a:bodyPr rtlCol="0" anchor="ctr"/>
          <a:lstStyle/>
          <a:p>
            <a:pPr algn="ctr"/>
            <a:endParaRPr lang="nl-NL"/>
          </a:p>
        </p:txBody>
      </p:sp>
    </p:spTree>
    <p:extLst>
      <p:ext uri="{BB962C8B-B14F-4D97-AF65-F5344CB8AC3E}">
        <p14:creationId xmlns:p14="http://schemas.microsoft.com/office/powerpoint/2010/main" val="38617391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5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7"/>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44"/>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3" grpId="0"/>
      <p:bldP spid="15" grpId="0"/>
      <p:bldP spid="17" grpId="0"/>
      <p:bldP spid="9" grpId="0"/>
      <p:bldP spid="32" grpId="0"/>
      <p:bldP spid="33" grpId="0"/>
      <p:bldP spid="48" grpId="0" animBg="1"/>
      <p:bldP spid="30" grpId="0"/>
      <p:bldP spid="51" grpId="0" animBg="1"/>
      <p:bldP spid="50" grpId="0"/>
      <p:bldP spid="7" grpId="0"/>
      <p:bldP spid="62" grpId="0"/>
      <p:bldP spid="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a:extLst>
              <a:ext uri="{FF2B5EF4-FFF2-40B4-BE49-F238E27FC236}">
                <a16:creationId xmlns:a16="http://schemas.microsoft.com/office/drawing/2014/main" id="{45FE4F56-4125-5988-FCAC-DEDCC89D4D66}"/>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t="7786" b="7786"/>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9439971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texto 3">
            <a:extLst>
              <a:ext uri="{FF2B5EF4-FFF2-40B4-BE49-F238E27FC236}">
                <a16:creationId xmlns:a16="http://schemas.microsoft.com/office/drawing/2014/main" id="{3E298563-E4F5-A457-B514-81D476F50290}"/>
              </a:ext>
            </a:extLst>
          </p:cNvPr>
          <p:cNvSpPr>
            <a:spLocks noGrp="1"/>
          </p:cNvSpPr>
          <p:nvPr>
            <p:ph type="body" sz="quarter" idx="10"/>
          </p:nvPr>
        </p:nvSpPr>
        <p:spPr/>
        <p:txBody>
          <a:bodyPr/>
          <a:lstStyle/>
          <a:p>
            <a:pPr algn="ctr"/>
            <a:r>
              <a:rPr lang="es-MX" sz="4400" dirty="0"/>
              <a:t>MUCHAS GRACIAS</a:t>
            </a:r>
            <a:endParaRPr lang="es-PE" sz="4400" dirty="0"/>
          </a:p>
        </p:txBody>
      </p:sp>
    </p:spTree>
    <p:extLst>
      <p:ext uri="{BB962C8B-B14F-4D97-AF65-F5344CB8AC3E}">
        <p14:creationId xmlns:p14="http://schemas.microsoft.com/office/powerpoint/2010/main" val="36579650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el 2"/>
          <p:cNvSpPr>
            <a:spLocks noGrp="1"/>
          </p:cNvSpPr>
          <p:nvPr>
            <p:ph type="subTitle" idx="1"/>
          </p:nvPr>
        </p:nvSpPr>
        <p:spPr>
          <a:xfrm>
            <a:off x="461729" y="1599379"/>
            <a:ext cx="7915275" cy="574790"/>
          </a:xfrm>
        </p:spPr>
        <p:txBody>
          <a:bodyPr numCol="1"/>
          <a:lstStyle/>
          <a:p>
            <a:r>
              <a:rPr lang="nl-NL" altLang="nl-NL" sz="2000" dirty="0">
                <a:solidFill>
                  <a:schemeClr val="tx1"/>
                </a:solidFill>
                <a:latin typeface="Aharoni" panose="02010803020104030203" pitchFamily="2" charset="-79"/>
                <a:cs typeface="Aharoni" panose="02010803020104030203" pitchFamily="2" charset="-79"/>
              </a:rPr>
              <a:t>EZIO.VARESE@solidaridadnetwork.org</a:t>
            </a:r>
          </a:p>
        </p:txBody>
      </p:sp>
      <p:sp>
        <p:nvSpPr>
          <p:cNvPr id="4" name="Tijdelijke aanduiding voor dianummer 3"/>
          <p:cNvSpPr>
            <a:spLocks noGrp="1"/>
          </p:cNvSpPr>
          <p:nvPr>
            <p:ph type="sldNum" sz="quarter" idx="10"/>
          </p:nvPr>
        </p:nvSpPr>
        <p:spPr/>
        <p:txBody>
          <a:bodyPr numCol="1"/>
          <a:lstStyle/>
          <a:p>
            <a:pPr>
              <a:defRPr/>
            </a:pPr>
            <a:fld id="{5063E88E-3530-40D2-AAD2-16C9E0374B45}" type="slidenum">
              <a:rPr lang="en-GB" altLang="en-GB" smtClean="0"/>
              <a:pPr>
                <a:defRPr/>
              </a:pPr>
              <a:t>15</a:t>
            </a:fld>
            <a:endParaRPr lang="en-GB" altLang="en-GB" dirty="0"/>
          </a:p>
        </p:txBody>
      </p:sp>
    </p:spTree>
    <p:extLst>
      <p:ext uri="{BB962C8B-B14F-4D97-AF65-F5344CB8AC3E}">
        <p14:creationId xmlns:p14="http://schemas.microsoft.com/office/powerpoint/2010/main" val="26908266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958250" y="1506764"/>
            <a:ext cx="7227500" cy="1566220"/>
          </a:xfrm>
        </p:spPr>
        <p:txBody>
          <a:bodyPr numCol="1"/>
          <a:lstStyle/>
          <a:p>
            <a:br>
              <a:rPr lang="es-ES" altLang="nl-NL" sz="3200" dirty="0">
                <a:solidFill>
                  <a:schemeClr val="bg1"/>
                </a:solidFill>
              </a:rPr>
            </a:br>
            <a:r>
              <a:rPr lang="es-ES" altLang="nl-NL" sz="4000" dirty="0">
                <a:solidFill>
                  <a:schemeClr val="bg1"/>
                </a:solidFill>
              </a:rPr>
              <a:t>Iniciativa Plataforma ACORN / Rabobank una Solución al Cambio Climático</a:t>
            </a:r>
            <a:endParaRPr lang="nl-NL" altLang="nl-NL" sz="4000" dirty="0"/>
          </a:p>
        </p:txBody>
      </p:sp>
      <p:sp>
        <p:nvSpPr>
          <p:cNvPr id="5" name="Subtitel 4"/>
          <p:cNvSpPr>
            <a:spLocks noGrp="1"/>
          </p:cNvSpPr>
          <p:nvPr>
            <p:ph type="subTitle" idx="1"/>
          </p:nvPr>
        </p:nvSpPr>
        <p:spPr>
          <a:xfrm>
            <a:off x="1017885" y="3232603"/>
            <a:ext cx="6365838" cy="934789"/>
          </a:xfrm>
        </p:spPr>
        <p:txBody>
          <a:bodyPr numCol="1"/>
          <a:lstStyle/>
          <a:p>
            <a:r>
              <a:rPr lang="nl-NL" altLang="nl-NL" sz="2400" b="1" dirty="0">
                <a:solidFill>
                  <a:schemeClr val="tx1"/>
                </a:solidFill>
                <a:latin typeface="Calibri" panose="020F0502020204030204" pitchFamily="34" charset="0"/>
                <a:ea typeface="Calibri" panose="020F0502020204030204" pitchFamily="34" charset="0"/>
                <a:cs typeface="Calibri" panose="020F0502020204030204" pitchFamily="34" charset="0"/>
              </a:rPr>
              <a:t>EZIO VARESE ZEPPILLI</a:t>
            </a:r>
          </a:p>
          <a:p>
            <a:r>
              <a:rPr lang="nl-NL" altLang="nl-NL" b="1" dirty="0">
                <a:solidFill>
                  <a:schemeClr val="tx1"/>
                </a:solidFill>
              </a:rPr>
              <a:t>Gerente Programa Café – Solidaridad Perú</a:t>
            </a:r>
          </a:p>
        </p:txBody>
      </p:sp>
      <p:sp>
        <p:nvSpPr>
          <p:cNvPr id="6" name="CuadroTexto 5">
            <a:extLst>
              <a:ext uri="{FF2B5EF4-FFF2-40B4-BE49-F238E27FC236}">
                <a16:creationId xmlns:a16="http://schemas.microsoft.com/office/drawing/2014/main" id="{4DF02A55-8B03-4DAB-88A6-BF18A5487722}"/>
              </a:ext>
            </a:extLst>
          </p:cNvPr>
          <p:cNvSpPr txBox="1"/>
          <p:nvPr/>
        </p:nvSpPr>
        <p:spPr>
          <a:xfrm>
            <a:off x="900019" y="563543"/>
            <a:ext cx="7345366" cy="461665"/>
          </a:xfrm>
          <a:prstGeom prst="rect">
            <a:avLst/>
          </a:prstGeom>
          <a:noFill/>
        </p:spPr>
        <p:txBody>
          <a:bodyPr wrap="square">
            <a:spAutoFit/>
          </a:bodyPr>
          <a:lstStyle/>
          <a:p>
            <a:pPr algn="ctr"/>
            <a:r>
              <a:rPr lang="es-ES" sz="2400" b="1" dirty="0">
                <a:latin typeface="Arial" panose="020B0604020202020204" pitchFamily="34" charset="0"/>
              </a:rPr>
              <a:t>Alianza: Plataforma ACORN / SOLIDARIDAD</a:t>
            </a:r>
            <a:endParaRPr lang="es-PE" sz="2400" b="1" dirty="0"/>
          </a:p>
        </p:txBody>
      </p:sp>
    </p:spTree>
    <p:extLst>
      <p:ext uri="{BB962C8B-B14F-4D97-AF65-F5344CB8AC3E}">
        <p14:creationId xmlns:p14="http://schemas.microsoft.com/office/powerpoint/2010/main" val="240636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6" descr="Microsoft Core Infrastructure Suite (YJD-01040) kopen » Centralpoint">
            <a:extLst>
              <a:ext uri="{FF2B5EF4-FFF2-40B4-BE49-F238E27FC236}">
                <a16:creationId xmlns:a16="http://schemas.microsoft.com/office/drawing/2014/main" id="{69A2DF96-9A58-4C07-903D-F5761FCBE1F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4608" y="3301711"/>
            <a:ext cx="1205373" cy="42722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p:custDataLst>
              <p:tags r:id="rId2"/>
            </p:custDataLst>
          </p:nvPr>
        </p:nvGraphicFramePr>
        <p:xfrm>
          <a:off x="1192" y="1192"/>
          <a:ext cx="1191" cy="1191"/>
        </p:xfrm>
        <a:graphic>
          <a:graphicData uri="http://schemas.openxmlformats.org/presentationml/2006/ole">
            <mc:AlternateContent xmlns:mc="http://schemas.openxmlformats.org/markup-compatibility/2006">
              <mc:Choice xmlns:v="urn:schemas-microsoft-com:vml" Requires="v">
                <p:oleObj spid="_x0000_s5121" name="think-cell Slide" r:id="rId7" imgW="395" imgH="394" progId="TCLayout.ActiveDocument.1">
                  <p:embed/>
                </p:oleObj>
              </mc:Choice>
              <mc:Fallback>
                <p:oleObj name="think-cell Slide" r:id="rId7" imgW="395" imgH="394" progId="TCLayout.ActiveDocument.1">
                  <p:embed/>
                  <p:pic>
                    <p:nvPicPr>
                      <p:cNvPr id="2" name="Object 1" hidden="1"/>
                      <p:cNvPicPr/>
                      <p:nvPr/>
                    </p:nvPicPr>
                    <p:blipFill>
                      <a:blip r:embed="rId8"/>
                      <a:stretch>
                        <a:fillRect/>
                      </a:stretch>
                    </p:blipFill>
                    <p:spPr>
                      <a:xfrm>
                        <a:off x="1192" y="1192"/>
                        <a:ext cx="1191" cy="1191"/>
                      </a:xfrm>
                      <a:prstGeom prst="rect">
                        <a:avLst/>
                      </a:prstGeom>
                    </p:spPr>
                  </p:pic>
                </p:oleObj>
              </mc:Fallback>
            </mc:AlternateContent>
          </a:graphicData>
        </a:graphic>
      </p:graphicFrame>
      <p:sp>
        <p:nvSpPr>
          <p:cNvPr id="1036" name="Rectangle 1035" hidden="1"/>
          <p:cNvSpPr/>
          <p:nvPr>
            <p:custDataLst>
              <p:tags r:id="rId3"/>
            </p:custDataLst>
          </p:nvPr>
        </p:nvSpPr>
        <p:spPr bwMode="auto">
          <a:xfrm>
            <a:off x="1" y="1"/>
            <a:ext cx="119063" cy="1190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defTabSz="699337" fontAlgn="base">
              <a:spcBef>
                <a:spcPct val="0"/>
              </a:spcBef>
              <a:spcAft>
                <a:spcPct val="0"/>
              </a:spcAft>
            </a:pPr>
            <a:endParaRPr lang="en-US" sz="2700" b="1">
              <a:gradFill>
                <a:gsLst>
                  <a:gs pos="0">
                    <a:srgbClr val="FFFFFF"/>
                  </a:gs>
                  <a:gs pos="100000">
                    <a:srgbClr val="FFFFFF"/>
                  </a:gs>
                </a:gsLst>
                <a:lin ang="5400000" scaled="0"/>
              </a:gradFill>
              <a:latin typeface="Segoe UI Semibold" panose="020B0702040204020203" pitchFamily="34" charset="0"/>
              <a:cs typeface="Segoe UI" panose="020B0502040204020203" pitchFamily="34" charset="0"/>
              <a:sym typeface="Segoe UI Semibold" panose="020B0702040204020203" pitchFamily="34" charset="0"/>
            </a:endParaRPr>
          </a:p>
        </p:txBody>
      </p:sp>
      <p:sp>
        <p:nvSpPr>
          <p:cNvPr id="13" name="Title 12"/>
          <p:cNvSpPr>
            <a:spLocks noGrp="1"/>
          </p:cNvSpPr>
          <p:nvPr>
            <p:ph type="title"/>
          </p:nvPr>
        </p:nvSpPr>
        <p:spPr>
          <a:xfrm>
            <a:off x="393999" y="71737"/>
            <a:ext cx="8344484" cy="756000"/>
          </a:xfrm>
        </p:spPr>
        <p:txBody>
          <a:bodyPr/>
          <a:lstStyle/>
          <a:p>
            <a:pPr algn="ctr"/>
            <a:r>
              <a:rPr lang="es-ES_tradnl" i="0" dirty="0">
                <a:solidFill>
                  <a:srgbClr val="FFC000"/>
                </a:solidFill>
              </a:rPr>
              <a:t>Mecanismo del funcionamiento de la Plataforma ACORN / </a:t>
            </a:r>
            <a:r>
              <a:rPr lang="es-ES_tradnl" i="0" dirty="0" err="1">
                <a:solidFill>
                  <a:srgbClr val="FFC000"/>
                </a:solidFill>
              </a:rPr>
              <a:t>Rabobank</a:t>
            </a:r>
            <a:endParaRPr lang="es-ES_tradnl" i="0" dirty="0">
              <a:solidFill>
                <a:srgbClr val="FFC000"/>
              </a:solidFill>
            </a:endParaRPr>
          </a:p>
        </p:txBody>
      </p:sp>
      <p:sp>
        <p:nvSpPr>
          <p:cNvPr id="6" name="Content Placeholder 5"/>
          <p:cNvSpPr>
            <a:spLocks noGrp="1"/>
          </p:cNvSpPr>
          <p:nvPr>
            <p:ph sz="quarter" idx="12"/>
          </p:nvPr>
        </p:nvSpPr>
        <p:spPr/>
        <p:txBody>
          <a:bodyPr/>
          <a:lstStyle/>
          <a:p>
            <a:pPr lvl="3"/>
            <a:r>
              <a:rPr lang="en-US" dirty="0" err="1">
                <a:sym typeface="+mn-lt"/>
              </a:rPr>
              <a:t>Mecanismo</a:t>
            </a:r>
            <a:endParaRPr lang="en-US" dirty="0">
              <a:sym typeface="+mn-lt"/>
            </a:endParaRPr>
          </a:p>
          <a:p>
            <a:endParaRPr lang="en-GB" dirty="0"/>
          </a:p>
        </p:txBody>
      </p:sp>
      <p:sp>
        <p:nvSpPr>
          <p:cNvPr id="1018" name="Rectangle 1017">
            <a:extLst>
              <a:ext uri="{FF2B5EF4-FFF2-40B4-BE49-F238E27FC236}">
                <a16:creationId xmlns:a16="http://schemas.microsoft.com/office/drawing/2014/main" id="{B02D8382-1F5C-47C3-9552-108996E46CFD}"/>
              </a:ext>
            </a:extLst>
          </p:cNvPr>
          <p:cNvSpPr/>
          <p:nvPr/>
        </p:nvSpPr>
        <p:spPr bwMode="auto">
          <a:xfrm>
            <a:off x="3320993" y="1348290"/>
            <a:ext cx="2520000" cy="3240000"/>
          </a:xfrm>
          <a:prstGeom prst="rect">
            <a:avLst/>
          </a:prstGeom>
          <a:solidFill>
            <a:schemeClr val="bg1">
              <a:lumMod val="85000"/>
              <a:alpha val="60000"/>
            </a:schemeClr>
          </a:solidFill>
          <a:ln>
            <a:solidFill>
              <a:schemeClr val="accent3">
                <a:lumMod val="20000"/>
                <a:lumOff val="8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37" fontAlgn="base">
              <a:lnSpc>
                <a:spcPct val="90000"/>
              </a:lnSpc>
              <a:spcBef>
                <a:spcPct val="0"/>
              </a:spcBef>
              <a:spcAft>
                <a:spcPts val="150"/>
              </a:spcAft>
            </a:pPr>
            <a:r>
              <a:rPr lang="en-GB" sz="1350" b="1">
                <a:solidFill>
                  <a:srgbClr val="107C10"/>
                </a:solidFill>
                <a:latin typeface="Segoe UI"/>
                <a:ea typeface="Segoe UI" pitchFamily="34" charset="0"/>
                <a:cs typeface="Segoe UI" pitchFamily="34" charset="0"/>
              </a:rPr>
              <a:t> </a:t>
            </a:r>
          </a:p>
        </p:txBody>
      </p:sp>
      <p:grpSp>
        <p:nvGrpSpPr>
          <p:cNvPr id="27" name="Group 26"/>
          <p:cNvGrpSpPr/>
          <p:nvPr/>
        </p:nvGrpSpPr>
        <p:grpSpPr>
          <a:xfrm>
            <a:off x="4057299" y="2682416"/>
            <a:ext cx="1080000" cy="1080000"/>
            <a:chOff x="4057299" y="2682416"/>
            <a:chExt cx="1080000" cy="1080000"/>
          </a:xfrm>
        </p:grpSpPr>
        <p:sp>
          <p:nvSpPr>
            <p:cNvPr id="66" name="Freeform: Shape 1635">
              <a:extLst>
                <a:ext uri="{FF2B5EF4-FFF2-40B4-BE49-F238E27FC236}">
                  <a16:creationId xmlns:a16="http://schemas.microsoft.com/office/drawing/2014/main" id="{F8F5EF62-515F-432D-ACA3-99EECBEC33AE}"/>
                </a:ext>
              </a:extLst>
            </p:cNvPr>
            <p:cNvSpPr/>
            <p:nvPr/>
          </p:nvSpPr>
          <p:spPr>
            <a:xfrm>
              <a:off x="4057299" y="2682416"/>
              <a:ext cx="1080000" cy="1080000"/>
            </a:xfrm>
            <a:custGeom>
              <a:avLst/>
              <a:gdLst>
                <a:gd name="connsiteX0" fmla="*/ 3673142 w 3673141"/>
                <a:gd name="connsiteY0" fmla="*/ 1836564 h 3673128"/>
                <a:gd name="connsiteX1" fmla="*/ 1836570 w 3673141"/>
                <a:gd name="connsiteY1" fmla="*/ 3673128 h 3673128"/>
                <a:gd name="connsiteX2" fmla="*/ 0 w 3673141"/>
                <a:gd name="connsiteY2" fmla="*/ 1836564 h 3673128"/>
                <a:gd name="connsiteX3" fmla="*/ 1836570 w 3673141"/>
                <a:gd name="connsiteY3" fmla="*/ 0 h 3673128"/>
                <a:gd name="connsiteX4" fmla="*/ 3673142 w 3673141"/>
                <a:gd name="connsiteY4" fmla="*/ 1836564 h 3673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3141" h="3673128">
                  <a:moveTo>
                    <a:pt x="3673142" y="1836564"/>
                  </a:moveTo>
                  <a:cubicBezTo>
                    <a:pt x="3673142" y="2850870"/>
                    <a:pt x="2850881" y="3673128"/>
                    <a:pt x="1836570" y="3673128"/>
                  </a:cubicBezTo>
                  <a:cubicBezTo>
                    <a:pt x="822260" y="3673128"/>
                    <a:pt x="0" y="2850870"/>
                    <a:pt x="0" y="1836564"/>
                  </a:cubicBezTo>
                  <a:cubicBezTo>
                    <a:pt x="0" y="822258"/>
                    <a:pt x="822260" y="0"/>
                    <a:pt x="1836570" y="0"/>
                  </a:cubicBezTo>
                  <a:cubicBezTo>
                    <a:pt x="2850881" y="0"/>
                    <a:pt x="3673142" y="822258"/>
                    <a:pt x="3673142" y="1836564"/>
                  </a:cubicBezTo>
                  <a:close/>
                </a:path>
              </a:pathLst>
            </a:custGeom>
            <a:solidFill>
              <a:schemeClr val="bg1"/>
            </a:solidFill>
            <a:ln w="128152" cap="flat">
              <a:noFill/>
              <a:prstDash val="solid"/>
              <a:miter/>
            </a:ln>
          </p:spPr>
          <p:txBody>
            <a:bodyPr rtlCol="0" anchor="ctr"/>
            <a:lstStyle/>
            <a:p>
              <a:pPr defTabSz="685758"/>
              <a:endParaRPr lang="en-IN" sz="1350">
                <a:solidFill>
                  <a:srgbClr val="1A1A1A"/>
                </a:solidFill>
                <a:latin typeface="Segoe UI"/>
              </a:endParaRPr>
            </a:p>
          </p:txBody>
        </p:sp>
        <p:grpSp>
          <p:nvGrpSpPr>
            <p:cNvPr id="67" name="Graphic 379285">
              <a:extLst>
                <a:ext uri="{FF2B5EF4-FFF2-40B4-BE49-F238E27FC236}">
                  <a16:creationId xmlns:a16="http://schemas.microsoft.com/office/drawing/2014/main" id="{D973D960-FBCD-4D6F-9AA8-88935B4C1FE3}"/>
                </a:ext>
              </a:extLst>
            </p:cNvPr>
            <p:cNvGrpSpPr/>
            <p:nvPr/>
          </p:nvGrpSpPr>
          <p:grpSpPr>
            <a:xfrm>
              <a:off x="4057299" y="2754416"/>
              <a:ext cx="1080000" cy="936000"/>
              <a:chOff x="4111629" y="2082376"/>
              <a:chExt cx="3669609" cy="3225650"/>
            </a:xfrm>
            <a:solidFill>
              <a:schemeClr val="tx2"/>
            </a:solidFill>
          </p:grpSpPr>
          <p:sp>
            <p:nvSpPr>
              <p:cNvPr id="185" name="Freeform: Shape 1637">
                <a:extLst>
                  <a:ext uri="{FF2B5EF4-FFF2-40B4-BE49-F238E27FC236}">
                    <a16:creationId xmlns:a16="http://schemas.microsoft.com/office/drawing/2014/main" id="{CC53F4EA-2CEB-4E09-A550-B30FD9B8804D}"/>
                  </a:ext>
                </a:extLst>
              </p:cNvPr>
              <p:cNvSpPr/>
              <p:nvPr/>
            </p:nvSpPr>
            <p:spPr>
              <a:xfrm>
                <a:off x="4978154" y="2366880"/>
                <a:ext cx="15212" cy="17122"/>
              </a:xfrm>
              <a:custGeom>
                <a:avLst/>
                <a:gdLst>
                  <a:gd name="connsiteX0" fmla="*/ 333 w 15212"/>
                  <a:gd name="connsiteY0" fmla="*/ 11534 h 17122"/>
                  <a:gd name="connsiteX1" fmla="*/ 5460 w 15212"/>
                  <a:gd name="connsiteY1" fmla="*/ 16660 h 17122"/>
                  <a:gd name="connsiteX2" fmla="*/ 13149 w 15212"/>
                  <a:gd name="connsiteY2" fmla="*/ 0 h 17122"/>
                  <a:gd name="connsiteX3" fmla="*/ 10586 w 15212"/>
                  <a:gd name="connsiteY3" fmla="*/ 0 h 17122"/>
                  <a:gd name="connsiteX4" fmla="*/ 333 w 15212"/>
                  <a:gd name="connsiteY4" fmla="*/ 11534 h 17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2" h="17122">
                    <a:moveTo>
                      <a:pt x="333" y="11534"/>
                    </a:moveTo>
                    <a:cubicBezTo>
                      <a:pt x="-948" y="16660"/>
                      <a:pt x="1615" y="17942"/>
                      <a:pt x="5460" y="16660"/>
                    </a:cubicBezTo>
                    <a:cubicBezTo>
                      <a:pt x="13149" y="12815"/>
                      <a:pt x="18275" y="1282"/>
                      <a:pt x="13149" y="0"/>
                    </a:cubicBezTo>
                    <a:cubicBezTo>
                      <a:pt x="11867" y="0"/>
                      <a:pt x="11867" y="0"/>
                      <a:pt x="10586" y="0"/>
                    </a:cubicBezTo>
                    <a:cubicBezTo>
                      <a:pt x="5460" y="2563"/>
                      <a:pt x="1615" y="7689"/>
                      <a:pt x="333"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86" name="Freeform: Shape 1638">
                <a:extLst>
                  <a:ext uri="{FF2B5EF4-FFF2-40B4-BE49-F238E27FC236}">
                    <a16:creationId xmlns:a16="http://schemas.microsoft.com/office/drawing/2014/main" id="{9862D379-FD8F-4821-8D5B-89849E1A8D9C}"/>
                  </a:ext>
                </a:extLst>
              </p:cNvPr>
              <p:cNvSpPr/>
              <p:nvPr/>
            </p:nvSpPr>
            <p:spPr>
              <a:xfrm>
                <a:off x="4999941" y="2361753"/>
                <a:ext cx="15212" cy="15840"/>
              </a:xfrm>
              <a:custGeom>
                <a:avLst/>
                <a:gdLst>
                  <a:gd name="connsiteX0" fmla="*/ 333 w 15212"/>
                  <a:gd name="connsiteY0" fmla="*/ 10252 h 15840"/>
                  <a:gd name="connsiteX1" fmla="*/ 5460 w 15212"/>
                  <a:gd name="connsiteY1" fmla="*/ 15379 h 15840"/>
                  <a:gd name="connsiteX2" fmla="*/ 13149 w 15212"/>
                  <a:gd name="connsiteY2" fmla="*/ 0 h 15840"/>
                  <a:gd name="connsiteX3" fmla="*/ 10586 w 15212"/>
                  <a:gd name="connsiteY3" fmla="*/ 0 h 15840"/>
                  <a:gd name="connsiteX4" fmla="*/ 333 w 15212"/>
                  <a:gd name="connsiteY4" fmla="*/ 10252 h 158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2" h="15840">
                    <a:moveTo>
                      <a:pt x="333" y="10252"/>
                    </a:moveTo>
                    <a:cubicBezTo>
                      <a:pt x="-948" y="15379"/>
                      <a:pt x="1615" y="16660"/>
                      <a:pt x="5460" y="15379"/>
                    </a:cubicBezTo>
                    <a:cubicBezTo>
                      <a:pt x="13149" y="11534"/>
                      <a:pt x="18275" y="1282"/>
                      <a:pt x="13149" y="0"/>
                    </a:cubicBezTo>
                    <a:cubicBezTo>
                      <a:pt x="11867" y="0"/>
                      <a:pt x="10586" y="0"/>
                      <a:pt x="10586" y="0"/>
                    </a:cubicBezTo>
                    <a:cubicBezTo>
                      <a:pt x="5460" y="1282"/>
                      <a:pt x="1615" y="6408"/>
                      <a:pt x="333"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87" name="Freeform: Shape 1639">
                <a:extLst>
                  <a:ext uri="{FF2B5EF4-FFF2-40B4-BE49-F238E27FC236}">
                    <a16:creationId xmlns:a16="http://schemas.microsoft.com/office/drawing/2014/main" id="{750E34A6-C6F3-40C6-99CE-2948F46802DA}"/>
                  </a:ext>
                </a:extLst>
              </p:cNvPr>
              <p:cNvSpPr/>
              <p:nvPr/>
            </p:nvSpPr>
            <p:spPr>
              <a:xfrm>
                <a:off x="5022893" y="2330996"/>
                <a:ext cx="23965" cy="39817"/>
              </a:xfrm>
              <a:custGeom>
                <a:avLst/>
                <a:gdLst>
                  <a:gd name="connsiteX0" fmla="*/ 9419 w 23965"/>
                  <a:gd name="connsiteY0" fmla="*/ 11534 h 39817"/>
                  <a:gd name="connsiteX1" fmla="*/ 11983 w 23965"/>
                  <a:gd name="connsiteY1" fmla="*/ 16660 h 39817"/>
                  <a:gd name="connsiteX2" fmla="*/ 9419 w 23965"/>
                  <a:gd name="connsiteY2" fmla="*/ 24349 h 39817"/>
                  <a:gd name="connsiteX3" fmla="*/ 1730 w 23965"/>
                  <a:gd name="connsiteY3" fmla="*/ 39728 h 39817"/>
                  <a:gd name="connsiteX4" fmla="*/ 14546 w 23965"/>
                  <a:gd name="connsiteY4" fmla="*/ 24349 h 39817"/>
                  <a:gd name="connsiteX5" fmla="*/ 11983 w 23965"/>
                  <a:gd name="connsiteY5" fmla="*/ 23068 h 39817"/>
                  <a:gd name="connsiteX6" fmla="*/ 14546 w 23965"/>
                  <a:gd name="connsiteY6" fmla="*/ 15379 h 39817"/>
                  <a:gd name="connsiteX7" fmla="*/ 22235 w 23965"/>
                  <a:gd name="connsiteY7" fmla="*/ 0 h 39817"/>
                  <a:gd name="connsiteX8" fmla="*/ 19672 w 23965"/>
                  <a:gd name="connsiteY8" fmla="*/ 0 h 39817"/>
                  <a:gd name="connsiteX9" fmla="*/ 9419 w 23965"/>
                  <a:gd name="connsiteY9" fmla="*/ 11534 h 3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5" h="39817">
                    <a:moveTo>
                      <a:pt x="9419" y="11534"/>
                    </a:moveTo>
                    <a:cubicBezTo>
                      <a:pt x="8138" y="16660"/>
                      <a:pt x="10701" y="16660"/>
                      <a:pt x="11983" y="16660"/>
                    </a:cubicBezTo>
                    <a:cubicBezTo>
                      <a:pt x="10701" y="19223"/>
                      <a:pt x="9419" y="21786"/>
                      <a:pt x="9419" y="24349"/>
                    </a:cubicBezTo>
                    <a:cubicBezTo>
                      <a:pt x="449" y="29476"/>
                      <a:pt x="-2115" y="39728"/>
                      <a:pt x="1730" y="39728"/>
                    </a:cubicBezTo>
                    <a:cubicBezTo>
                      <a:pt x="8138" y="41009"/>
                      <a:pt x="18390" y="28194"/>
                      <a:pt x="14546" y="24349"/>
                    </a:cubicBezTo>
                    <a:cubicBezTo>
                      <a:pt x="13264" y="23068"/>
                      <a:pt x="13264" y="23068"/>
                      <a:pt x="11983" y="23068"/>
                    </a:cubicBezTo>
                    <a:cubicBezTo>
                      <a:pt x="13264" y="20505"/>
                      <a:pt x="14546" y="17942"/>
                      <a:pt x="14546" y="15379"/>
                    </a:cubicBezTo>
                    <a:cubicBezTo>
                      <a:pt x="23517" y="10252"/>
                      <a:pt x="26080" y="1282"/>
                      <a:pt x="22235" y="0"/>
                    </a:cubicBezTo>
                    <a:cubicBezTo>
                      <a:pt x="20953" y="0"/>
                      <a:pt x="20953" y="0"/>
                      <a:pt x="19672" y="0"/>
                    </a:cubicBezTo>
                    <a:cubicBezTo>
                      <a:pt x="11983" y="2563"/>
                      <a:pt x="9419" y="11534"/>
                      <a:pt x="9419"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88" name="Freeform: Shape 1640">
                <a:extLst>
                  <a:ext uri="{FF2B5EF4-FFF2-40B4-BE49-F238E27FC236}">
                    <a16:creationId xmlns:a16="http://schemas.microsoft.com/office/drawing/2014/main" id="{616528DB-8654-464F-B58B-EF8557E2D6D4}"/>
                  </a:ext>
                </a:extLst>
              </p:cNvPr>
              <p:cNvSpPr/>
              <p:nvPr/>
            </p:nvSpPr>
            <p:spPr>
              <a:xfrm>
                <a:off x="5187380" y="2307929"/>
                <a:ext cx="17028" cy="15050"/>
              </a:xfrm>
              <a:custGeom>
                <a:avLst/>
                <a:gdLst>
                  <a:gd name="connsiteX0" fmla="*/ 0 w 17028"/>
                  <a:gd name="connsiteY0" fmla="*/ 10252 h 15050"/>
                  <a:gd name="connsiteX1" fmla="*/ 11534 w 17028"/>
                  <a:gd name="connsiteY1" fmla="*/ 12815 h 15050"/>
                  <a:gd name="connsiteX2" fmla="*/ 12815 w 17028"/>
                  <a:gd name="connsiteY2" fmla="*/ 0 h 15050"/>
                  <a:gd name="connsiteX3" fmla="*/ 10253 w 17028"/>
                  <a:gd name="connsiteY3" fmla="*/ 0 h 15050"/>
                  <a:gd name="connsiteX4" fmla="*/ 0 w 17028"/>
                  <a:gd name="connsiteY4" fmla="*/ 10252 h 15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8" h="15050">
                    <a:moveTo>
                      <a:pt x="0" y="10252"/>
                    </a:moveTo>
                    <a:cubicBezTo>
                      <a:pt x="0" y="15379"/>
                      <a:pt x="6408" y="16660"/>
                      <a:pt x="11534" y="12815"/>
                    </a:cubicBezTo>
                    <a:cubicBezTo>
                      <a:pt x="17942" y="7689"/>
                      <a:pt x="19223" y="0"/>
                      <a:pt x="12815" y="0"/>
                    </a:cubicBezTo>
                    <a:cubicBezTo>
                      <a:pt x="11534" y="0"/>
                      <a:pt x="10253" y="0"/>
                      <a:pt x="10253" y="0"/>
                    </a:cubicBezTo>
                    <a:cubicBezTo>
                      <a:pt x="3844" y="1282"/>
                      <a:pt x="1281" y="6408"/>
                      <a:pt x="0"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89" name="Freeform: Shape 1641">
                <a:extLst>
                  <a:ext uri="{FF2B5EF4-FFF2-40B4-BE49-F238E27FC236}">
                    <a16:creationId xmlns:a16="http://schemas.microsoft.com/office/drawing/2014/main" id="{C7E04584-6CD8-4FFE-A687-D71122077C51}"/>
                  </a:ext>
                </a:extLst>
              </p:cNvPr>
              <p:cNvSpPr/>
              <p:nvPr/>
            </p:nvSpPr>
            <p:spPr>
              <a:xfrm>
                <a:off x="5264273" y="2286142"/>
                <a:ext cx="17028" cy="16513"/>
              </a:xfrm>
              <a:custGeom>
                <a:avLst/>
                <a:gdLst>
                  <a:gd name="connsiteX0" fmla="*/ 0 w 17028"/>
                  <a:gd name="connsiteY0" fmla="*/ 11534 h 16513"/>
                  <a:gd name="connsiteX1" fmla="*/ 12816 w 17028"/>
                  <a:gd name="connsiteY1" fmla="*/ 12815 h 16513"/>
                  <a:gd name="connsiteX2" fmla="*/ 11534 w 17028"/>
                  <a:gd name="connsiteY2" fmla="*/ 0 h 16513"/>
                  <a:gd name="connsiteX3" fmla="*/ 8971 w 17028"/>
                  <a:gd name="connsiteY3" fmla="*/ 0 h 16513"/>
                  <a:gd name="connsiteX4" fmla="*/ 0 w 17028"/>
                  <a:gd name="connsiteY4" fmla="*/ 11534 h 165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28" h="16513">
                    <a:moveTo>
                      <a:pt x="0" y="11534"/>
                    </a:moveTo>
                    <a:cubicBezTo>
                      <a:pt x="0" y="17942"/>
                      <a:pt x="7689" y="17942"/>
                      <a:pt x="12816" y="12815"/>
                    </a:cubicBezTo>
                    <a:cubicBezTo>
                      <a:pt x="19223" y="7689"/>
                      <a:pt x="17942" y="0"/>
                      <a:pt x="11534" y="0"/>
                    </a:cubicBezTo>
                    <a:cubicBezTo>
                      <a:pt x="10253" y="0"/>
                      <a:pt x="10253" y="0"/>
                      <a:pt x="8971" y="0"/>
                    </a:cubicBezTo>
                    <a:cubicBezTo>
                      <a:pt x="2563" y="2563"/>
                      <a:pt x="0" y="7689"/>
                      <a:pt x="0"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0" name="Freeform: Shape 1642">
                <a:extLst>
                  <a:ext uri="{FF2B5EF4-FFF2-40B4-BE49-F238E27FC236}">
                    <a16:creationId xmlns:a16="http://schemas.microsoft.com/office/drawing/2014/main" id="{643A6319-834D-454B-9404-145312D7C07D}"/>
                  </a:ext>
                </a:extLst>
              </p:cNvPr>
              <p:cNvSpPr/>
              <p:nvPr/>
            </p:nvSpPr>
            <p:spPr>
              <a:xfrm>
                <a:off x="4729664" y="2448899"/>
                <a:ext cx="71970" cy="175837"/>
              </a:xfrm>
              <a:custGeom>
                <a:avLst/>
                <a:gdLst>
                  <a:gd name="connsiteX0" fmla="*/ 56591 w 71970"/>
                  <a:gd name="connsiteY0" fmla="*/ 12815 h 175837"/>
                  <a:gd name="connsiteX1" fmla="*/ 56591 w 71970"/>
                  <a:gd name="connsiteY1" fmla="*/ 17942 h 175837"/>
                  <a:gd name="connsiteX2" fmla="*/ 62999 w 71970"/>
                  <a:gd name="connsiteY2" fmla="*/ 15379 h 175837"/>
                  <a:gd name="connsiteX3" fmla="*/ 66844 w 71970"/>
                  <a:gd name="connsiteY3" fmla="*/ 29476 h 175837"/>
                  <a:gd name="connsiteX4" fmla="*/ 10455 w 71970"/>
                  <a:gd name="connsiteY4" fmla="*/ 156349 h 175837"/>
                  <a:gd name="connsiteX5" fmla="*/ 1484 w 71970"/>
                  <a:gd name="connsiteY5" fmla="*/ 175572 h 175837"/>
                  <a:gd name="connsiteX6" fmla="*/ 15582 w 71970"/>
                  <a:gd name="connsiteY6" fmla="*/ 156349 h 175837"/>
                  <a:gd name="connsiteX7" fmla="*/ 13018 w 71970"/>
                  <a:gd name="connsiteY7" fmla="*/ 155067 h 175837"/>
                  <a:gd name="connsiteX8" fmla="*/ 70688 w 71970"/>
                  <a:gd name="connsiteY8" fmla="*/ 26912 h 175837"/>
                  <a:gd name="connsiteX9" fmla="*/ 66844 w 71970"/>
                  <a:gd name="connsiteY9" fmla="*/ 11534 h 175837"/>
                  <a:gd name="connsiteX10" fmla="*/ 71970 w 71970"/>
                  <a:gd name="connsiteY10" fmla="*/ 0 h 175837"/>
                  <a:gd name="connsiteX11" fmla="*/ 69407 w 71970"/>
                  <a:gd name="connsiteY11" fmla="*/ 0 h 175837"/>
                  <a:gd name="connsiteX12" fmla="*/ 56591 w 71970"/>
                  <a:gd name="connsiteY12" fmla="*/ 12815 h 175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970" h="175837">
                    <a:moveTo>
                      <a:pt x="56591" y="12815"/>
                    </a:moveTo>
                    <a:cubicBezTo>
                      <a:pt x="55310" y="15379"/>
                      <a:pt x="55310" y="16660"/>
                      <a:pt x="56591" y="17942"/>
                    </a:cubicBezTo>
                    <a:cubicBezTo>
                      <a:pt x="57873" y="19223"/>
                      <a:pt x="59154" y="19223"/>
                      <a:pt x="62999" y="15379"/>
                    </a:cubicBezTo>
                    <a:lnTo>
                      <a:pt x="66844" y="29476"/>
                    </a:lnTo>
                    <a:cubicBezTo>
                      <a:pt x="46339" y="70485"/>
                      <a:pt x="27116" y="111494"/>
                      <a:pt x="10455" y="156349"/>
                    </a:cubicBezTo>
                    <a:cubicBezTo>
                      <a:pt x="1484" y="162756"/>
                      <a:pt x="-2360" y="174290"/>
                      <a:pt x="1484" y="175572"/>
                    </a:cubicBezTo>
                    <a:cubicBezTo>
                      <a:pt x="6611" y="178135"/>
                      <a:pt x="18145" y="161475"/>
                      <a:pt x="15582" y="156349"/>
                    </a:cubicBezTo>
                    <a:cubicBezTo>
                      <a:pt x="15582" y="155067"/>
                      <a:pt x="14300" y="155067"/>
                      <a:pt x="13018" y="155067"/>
                    </a:cubicBezTo>
                    <a:cubicBezTo>
                      <a:pt x="30961" y="110213"/>
                      <a:pt x="48902" y="67922"/>
                      <a:pt x="70688" y="26912"/>
                    </a:cubicBezTo>
                    <a:cubicBezTo>
                      <a:pt x="69407" y="21786"/>
                      <a:pt x="68125" y="16660"/>
                      <a:pt x="66844" y="11534"/>
                    </a:cubicBezTo>
                    <a:cubicBezTo>
                      <a:pt x="70688" y="6408"/>
                      <a:pt x="71970" y="2563"/>
                      <a:pt x="71970" y="0"/>
                    </a:cubicBezTo>
                    <a:cubicBezTo>
                      <a:pt x="70688" y="0"/>
                      <a:pt x="70688" y="0"/>
                      <a:pt x="69407" y="0"/>
                    </a:cubicBezTo>
                    <a:cubicBezTo>
                      <a:pt x="61717" y="3845"/>
                      <a:pt x="57873" y="11534"/>
                      <a:pt x="56591"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1" name="Freeform: Shape 1643">
                <a:extLst>
                  <a:ext uri="{FF2B5EF4-FFF2-40B4-BE49-F238E27FC236}">
                    <a16:creationId xmlns:a16="http://schemas.microsoft.com/office/drawing/2014/main" id="{C0D2907F-C0FF-4CB7-A950-61404F957E24}"/>
                  </a:ext>
                </a:extLst>
              </p:cNvPr>
              <p:cNvSpPr/>
              <p:nvPr/>
            </p:nvSpPr>
            <p:spPr>
              <a:xfrm>
                <a:off x="4750941" y="2443772"/>
                <a:ext cx="68888" cy="173257"/>
              </a:xfrm>
              <a:custGeom>
                <a:avLst/>
                <a:gdLst>
                  <a:gd name="connsiteX0" fmla="*/ 53255 w 68888"/>
                  <a:gd name="connsiteY0" fmla="*/ 11534 h 173257"/>
                  <a:gd name="connsiteX1" fmla="*/ 53255 w 68888"/>
                  <a:gd name="connsiteY1" fmla="*/ 16660 h 173257"/>
                  <a:gd name="connsiteX2" fmla="*/ 59664 w 68888"/>
                  <a:gd name="connsiteY2" fmla="*/ 14097 h 173257"/>
                  <a:gd name="connsiteX3" fmla="*/ 63508 w 68888"/>
                  <a:gd name="connsiteY3" fmla="*/ 28194 h 173257"/>
                  <a:gd name="connsiteX4" fmla="*/ 9683 w 68888"/>
                  <a:gd name="connsiteY4" fmla="*/ 153785 h 173257"/>
                  <a:gd name="connsiteX5" fmla="*/ 712 w 68888"/>
                  <a:gd name="connsiteY5" fmla="*/ 165319 h 173257"/>
                  <a:gd name="connsiteX6" fmla="*/ 4557 w 68888"/>
                  <a:gd name="connsiteY6" fmla="*/ 173009 h 173257"/>
                  <a:gd name="connsiteX7" fmla="*/ 14809 w 68888"/>
                  <a:gd name="connsiteY7" fmla="*/ 153785 h 173257"/>
                  <a:gd name="connsiteX8" fmla="*/ 13528 w 68888"/>
                  <a:gd name="connsiteY8" fmla="*/ 153785 h 173257"/>
                  <a:gd name="connsiteX9" fmla="*/ 68634 w 68888"/>
                  <a:gd name="connsiteY9" fmla="*/ 26912 h 173257"/>
                  <a:gd name="connsiteX10" fmla="*/ 63508 w 68888"/>
                  <a:gd name="connsiteY10" fmla="*/ 11534 h 173257"/>
                  <a:gd name="connsiteX11" fmla="*/ 68634 w 68888"/>
                  <a:gd name="connsiteY11" fmla="*/ 0 h 173257"/>
                  <a:gd name="connsiteX12" fmla="*/ 66071 w 68888"/>
                  <a:gd name="connsiteY12" fmla="*/ 0 h 173257"/>
                  <a:gd name="connsiteX13" fmla="*/ 53255 w 68888"/>
                  <a:gd name="connsiteY13" fmla="*/ 11534 h 173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888" h="173257">
                    <a:moveTo>
                      <a:pt x="53255" y="11534"/>
                    </a:moveTo>
                    <a:cubicBezTo>
                      <a:pt x="51974" y="14097"/>
                      <a:pt x="51974" y="15379"/>
                      <a:pt x="53255" y="16660"/>
                    </a:cubicBezTo>
                    <a:cubicBezTo>
                      <a:pt x="54537" y="17942"/>
                      <a:pt x="55819" y="17942"/>
                      <a:pt x="59664" y="14097"/>
                    </a:cubicBezTo>
                    <a:lnTo>
                      <a:pt x="63508" y="28194"/>
                    </a:lnTo>
                    <a:cubicBezTo>
                      <a:pt x="46848" y="65359"/>
                      <a:pt x="26343" y="116621"/>
                      <a:pt x="9683" y="153785"/>
                    </a:cubicBezTo>
                    <a:cubicBezTo>
                      <a:pt x="7120" y="158912"/>
                      <a:pt x="1994" y="160193"/>
                      <a:pt x="712" y="165319"/>
                    </a:cubicBezTo>
                    <a:cubicBezTo>
                      <a:pt x="-570" y="170446"/>
                      <a:pt x="-570" y="174290"/>
                      <a:pt x="4557" y="173009"/>
                    </a:cubicBezTo>
                    <a:cubicBezTo>
                      <a:pt x="12246" y="170446"/>
                      <a:pt x="18654" y="156349"/>
                      <a:pt x="14809" y="153785"/>
                    </a:cubicBezTo>
                    <a:cubicBezTo>
                      <a:pt x="14809" y="153785"/>
                      <a:pt x="13528" y="153785"/>
                      <a:pt x="13528" y="153785"/>
                    </a:cubicBezTo>
                    <a:cubicBezTo>
                      <a:pt x="30188" y="115339"/>
                      <a:pt x="50693" y="64077"/>
                      <a:pt x="68634" y="26912"/>
                    </a:cubicBezTo>
                    <a:cubicBezTo>
                      <a:pt x="66071" y="21786"/>
                      <a:pt x="64789" y="15379"/>
                      <a:pt x="63508" y="11534"/>
                    </a:cubicBezTo>
                    <a:cubicBezTo>
                      <a:pt x="66071" y="7689"/>
                      <a:pt x="69916" y="2563"/>
                      <a:pt x="68634" y="0"/>
                    </a:cubicBezTo>
                    <a:cubicBezTo>
                      <a:pt x="67352" y="0"/>
                      <a:pt x="67352" y="0"/>
                      <a:pt x="66071" y="0"/>
                    </a:cubicBezTo>
                    <a:cubicBezTo>
                      <a:pt x="58382" y="2563"/>
                      <a:pt x="54537" y="10252"/>
                      <a:pt x="53255"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2" name="Freeform: Shape 1644">
                <a:extLst>
                  <a:ext uri="{FF2B5EF4-FFF2-40B4-BE49-F238E27FC236}">
                    <a16:creationId xmlns:a16="http://schemas.microsoft.com/office/drawing/2014/main" id="{EE210662-D9AD-4CCB-B7CD-60EF8A36CF78}"/>
                  </a:ext>
                </a:extLst>
              </p:cNvPr>
              <p:cNvSpPr/>
              <p:nvPr/>
            </p:nvSpPr>
            <p:spPr>
              <a:xfrm>
                <a:off x="4816809" y="2436083"/>
                <a:ext cx="21989" cy="64159"/>
              </a:xfrm>
              <a:custGeom>
                <a:avLst/>
                <a:gdLst>
                  <a:gd name="connsiteX0" fmla="*/ 6611 w 21989"/>
                  <a:gd name="connsiteY0" fmla="*/ 12815 h 64159"/>
                  <a:gd name="connsiteX1" fmla="*/ 9174 w 21989"/>
                  <a:gd name="connsiteY1" fmla="*/ 17942 h 64159"/>
                  <a:gd name="connsiteX2" fmla="*/ 13018 w 21989"/>
                  <a:gd name="connsiteY2" fmla="*/ 15379 h 64159"/>
                  <a:gd name="connsiteX3" fmla="*/ 18145 w 21989"/>
                  <a:gd name="connsiteY3" fmla="*/ 29476 h 64159"/>
                  <a:gd name="connsiteX4" fmla="*/ 10455 w 21989"/>
                  <a:gd name="connsiteY4" fmla="*/ 46136 h 64159"/>
                  <a:gd name="connsiteX5" fmla="*/ 1484 w 21989"/>
                  <a:gd name="connsiteY5" fmla="*/ 64077 h 64159"/>
                  <a:gd name="connsiteX6" fmla="*/ 15582 w 21989"/>
                  <a:gd name="connsiteY6" fmla="*/ 46136 h 64159"/>
                  <a:gd name="connsiteX7" fmla="*/ 13018 w 21989"/>
                  <a:gd name="connsiteY7" fmla="*/ 44854 h 64159"/>
                  <a:gd name="connsiteX8" fmla="*/ 21989 w 21989"/>
                  <a:gd name="connsiteY8" fmla="*/ 26912 h 64159"/>
                  <a:gd name="connsiteX9" fmla="*/ 16863 w 21989"/>
                  <a:gd name="connsiteY9" fmla="*/ 11534 h 64159"/>
                  <a:gd name="connsiteX10" fmla="*/ 19426 w 21989"/>
                  <a:gd name="connsiteY10" fmla="*/ 0 h 64159"/>
                  <a:gd name="connsiteX11" fmla="*/ 18145 w 21989"/>
                  <a:gd name="connsiteY11" fmla="*/ 0 h 64159"/>
                  <a:gd name="connsiteX12" fmla="*/ 6611 w 21989"/>
                  <a:gd name="connsiteY12" fmla="*/ 12815 h 6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989" h="64159">
                    <a:moveTo>
                      <a:pt x="6611" y="12815"/>
                    </a:moveTo>
                    <a:cubicBezTo>
                      <a:pt x="5329" y="16660"/>
                      <a:pt x="6611" y="19223"/>
                      <a:pt x="9174" y="17942"/>
                    </a:cubicBezTo>
                    <a:cubicBezTo>
                      <a:pt x="10455" y="16660"/>
                      <a:pt x="11737" y="16660"/>
                      <a:pt x="13018" y="15379"/>
                    </a:cubicBezTo>
                    <a:lnTo>
                      <a:pt x="18145" y="29476"/>
                    </a:lnTo>
                    <a:cubicBezTo>
                      <a:pt x="15582" y="34602"/>
                      <a:pt x="13018" y="39728"/>
                      <a:pt x="10455" y="46136"/>
                    </a:cubicBezTo>
                    <a:cubicBezTo>
                      <a:pt x="1484" y="51262"/>
                      <a:pt x="-2360" y="62796"/>
                      <a:pt x="1484" y="64077"/>
                    </a:cubicBezTo>
                    <a:cubicBezTo>
                      <a:pt x="6611" y="65359"/>
                      <a:pt x="18145" y="51262"/>
                      <a:pt x="15582" y="46136"/>
                    </a:cubicBezTo>
                    <a:cubicBezTo>
                      <a:pt x="15582" y="44854"/>
                      <a:pt x="14300" y="44854"/>
                      <a:pt x="13018" y="44854"/>
                    </a:cubicBezTo>
                    <a:cubicBezTo>
                      <a:pt x="15582" y="38446"/>
                      <a:pt x="18145" y="33320"/>
                      <a:pt x="21989" y="26912"/>
                    </a:cubicBezTo>
                    <a:cubicBezTo>
                      <a:pt x="20708" y="21786"/>
                      <a:pt x="18145" y="16660"/>
                      <a:pt x="16863" y="11534"/>
                    </a:cubicBezTo>
                    <a:cubicBezTo>
                      <a:pt x="21989" y="5126"/>
                      <a:pt x="23271" y="0"/>
                      <a:pt x="19426" y="0"/>
                    </a:cubicBezTo>
                    <a:cubicBezTo>
                      <a:pt x="19426" y="0"/>
                      <a:pt x="18145" y="0"/>
                      <a:pt x="18145" y="0"/>
                    </a:cubicBezTo>
                    <a:cubicBezTo>
                      <a:pt x="11737" y="3845"/>
                      <a:pt x="7893" y="11534"/>
                      <a:pt x="6611"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3" name="Freeform: Shape 1645">
                <a:extLst>
                  <a:ext uri="{FF2B5EF4-FFF2-40B4-BE49-F238E27FC236}">
                    <a16:creationId xmlns:a16="http://schemas.microsoft.com/office/drawing/2014/main" id="{DBADA393-6974-44CF-9333-9CCAF63779BA}"/>
                  </a:ext>
                </a:extLst>
              </p:cNvPr>
              <p:cNvSpPr/>
              <p:nvPr/>
            </p:nvSpPr>
            <p:spPr>
              <a:xfrm>
                <a:off x="4902673" y="2386103"/>
                <a:ext cx="27318" cy="42380"/>
              </a:xfrm>
              <a:custGeom>
                <a:avLst/>
                <a:gdLst>
                  <a:gd name="connsiteX0" fmla="*/ 13019 w 27318"/>
                  <a:gd name="connsiteY0" fmla="*/ 12816 h 42380"/>
                  <a:gd name="connsiteX1" fmla="*/ 14300 w 27318"/>
                  <a:gd name="connsiteY1" fmla="*/ 17942 h 42380"/>
                  <a:gd name="connsiteX2" fmla="*/ 10455 w 27318"/>
                  <a:gd name="connsiteY2" fmla="*/ 25631 h 42380"/>
                  <a:gd name="connsiteX3" fmla="*/ 1485 w 27318"/>
                  <a:gd name="connsiteY3" fmla="*/ 42291 h 42380"/>
                  <a:gd name="connsiteX4" fmla="*/ 15582 w 27318"/>
                  <a:gd name="connsiteY4" fmla="*/ 25631 h 42380"/>
                  <a:gd name="connsiteX5" fmla="*/ 13019 w 27318"/>
                  <a:gd name="connsiteY5" fmla="*/ 24349 h 42380"/>
                  <a:gd name="connsiteX6" fmla="*/ 16863 w 27318"/>
                  <a:gd name="connsiteY6" fmla="*/ 16660 h 42380"/>
                  <a:gd name="connsiteX7" fmla="*/ 25834 w 27318"/>
                  <a:gd name="connsiteY7" fmla="*/ 0 h 42380"/>
                  <a:gd name="connsiteX8" fmla="*/ 23271 w 27318"/>
                  <a:gd name="connsiteY8" fmla="*/ 0 h 42380"/>
                  <a:gd name="connsiteX9" fmla="*/ 13019 w 27318"/>
                  <a:gd name="connsiteY9" fmla="*/ 12816 h 4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18" h="42380">
                    <a:moveTo>
                      <a:pt x="13019" y="12816"/>
                    </a:moveTo>
                    <a:cubicBezTo>
                      <a:pt x="11737" y="17942"/>
                      <a:pt x="14300" y="17942"/>
                      <a:pt x="14300" y="17942"/>
                    </a:cubicBezTo>
                    <a:cubicBezTo>
                      <a:pt x="13019" y="20505"/>
                      <a:pt x="11737" y="23068"/>
                      <a:pt x="10455" y="25631"/>
                    </a:cubicBezTo>
                    <a:cubicBezTo>
                      <a:pt x="1485" y="30757"/>
                      <a:pt x="-2360" y="41009"/>
                      <a:pt x="1485" y="42291"/>
                    </a:cubicBezTo>
                    <a:cubicBezTo>
                      <a:pt x="6611" y="43573"/>
                      <a:pt x="18145" y="30757"/>
                      <a:pt x="15582" y="25631"/>
                    </a:cubicBezTo>
                    <a:cubicBezTo>
                      <a:pt x="15582" y="24349"/>
                      <a:pt x="14300" y="24349"/>
                      <a:pt x="13019" y="24349"/>
                    </a:cubicBezTo>
                    <a:cubicBezTo>
                      <a:pt x="14300" y="21786"/>
                      <a:pt x="15582" y="19223"/>
                      <a:pt x="16863" y="16660"/>
                    </a:cubicBezTo>
                    <a:cubicBezTo>
                      <a:pt x="25834" y="11534"/>
                      <a:pt x="29678" y="1282"/>
                      <a:pt x="25834" y="0"/>
                    </a:cubicBezTo>
                    <a:cubicBezTo>
                      <a:pt x="25834" y="0"/>
                      <a:pt x="24553" y="0"/>
                      <a:pt x="23271" y="0"/>
                    </a:cubicBezTo>
                    <a:cubicBezTo>
                      <a:pt x="15582" y="3845"/>
                      <a:pt x="13019" y="12816"/>
                      <a:pt x="13019"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4" name="Freeform: Shape 1646">
                <a:extLst>
                  <a:ext uri="{FF2B5EF4-FFF2-40B4-BE49-F238E27FC236}">
                    <a16:creationId xmlns:a16="http://schemas.microsoft.com/office/drawing/2014/main" id="{3F6C5371-99D3-4341-928F-5ED47577E8BF}"/>
                  </a:ext>
                </a:extLst>
              </p:cNvPr>
              <p:cNvSpPr/>
              <p:nvPr/>
            </p:nvSpPr>
            <p:spPr>
              <a:xfrm>
                <a:off x="4945434" y="2373287"/>
                <a:ext cx="27659" cy="42380"/>
              </a:xfrm>
              <a:custGeom>
                <a:avLst/>
                <a:gdLst>
                  <a:gd name="connsiteX0" fmla="*/ 11267 w 27659"/>
                  <a:gd name="connsiteY0" fmla="*/ 12815 h 42380"/>
                  <a:gd name="connsiteX1" fmla="*/ 13830 w 27659"/>
                  <a:gd name="connsiteY1" fmla="*/ 17942 h 42380"/>
                  <a:gd name="connsiteX2" fmla="*/ 9985 w 27659"/>
                  <a:gd name="connsiteY2" fmla="*/ 25631 h 42380"/>
                  <a:gd name="connsiteX3" fmla="*/ 2296 w 27659"/>
                  <a:gd name="connsiteY3" fmla="*/ 42291 h 42380"/>
                  <a:gd name="connsiteX4" fmla="*/ 16393 w 27659"/>
                  <a:gd name="connsiteY4" fmla="*/ 25631 h 42380"/>
                  <a:gd name="connsiteX5" fmla="*/ 13830 w 27659"/>
                  <a:gd name="connsiteY5" fmla="*/ 24349 h 42380"/>
                  <a:gd name="connsiteX6" fmla="*/ 17675 w 27659"/>
                  <a:gd name="connsiteY6" fmla="*/ 16660 h 42380"/>
                  <a:gd name="connsiteX7" fmla="*/ 25364 w 27659"/>
                  <a:gd name="connsiteY7" fmla="*/ 0 h 42380"/>
                  <a:gd name="connsiteX8" fmla="*/ 22801 w 27659"/>
                  <a:gd name="connsiteY8" fmla="*/ 0 h 42380"/>
                  <a:gd name="connsiteX9" fmla="*/ 11267 w 27659"/>
                  <a:gd name="connsiteY9" fmla="*/ 12815 h 4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59" h="42380">
                    <a:moveTo>
                      <a:pt x="11267" y="12815"/>
                    </a:moveTo>
                    <a:cubicBezTo>
                      <a:pt x="9985" y="17942"/>
                      <a:pt x="12548" y="17942"/>
                      <a:pt x="13830" y="17942"/>
                    </a:cubicBezTo>
                    <a:cubicBezTo>
                      <a:pt x="12548" y="20505"/>
                      <a:pt x="11267" y="23068"/>
                      <a:pt x="9985" y="25631"/>
                    </a:cubicBezTo>
                    <a:cubicBezTo>
                      <a:pt x="1014" y="30757"/>
                      <a:pt x="-2830" y="41009"/>
                      <a:pt x="2296" y="42291"/>
                    </a:cubicBezTo>
                    <a:cubicBezTo>
                      <a:pt x="7422" y="43573"/>
                      <a:pt x="18956" y="30757"/>
                      <a:pt x="16393" y="25631"/>
                    </a:cubicBezTo>
                    <a:cubicBezTo>
                      <a:pt x="16393" y="24349"/>
                      <a:pt x="15111" y="24349"/>
                      <a:pt x="13830" y="24349"/>
                    </a:cubicBezTo>
                    <a:cubicBezTo>
                      <a:pt x="15111" y="21786"/>
                      <a:pt x="16393" y="19223"/>
                      <a:pt x="17675" y="16660"/>
                    </a:cubicBezTo>
                    <a:cubicBezTo>
                      <a:pt x="26645" y="11534"/>
                      <a:pt x="30490" y="1282"/>
                      <a:pt x="25364" y="0"/>
                    </a:cubicBezTo>
                    <a:cubicBezTo>
                      <a:pt x="24082" y="0"/>
                      <a:pt x="24082" y="0"/>
                      <a:pt x="22801" y="0"/>
                    </a:cubicBezTo>
                    <a:cubicBezTo>
                      <a:pt x="15111" y="3845"/>
                      <a:pt x="11267" y="11534"/>
                      <a:pt x="11267"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5" name="Freeform: Shape 1647">
                <a:extLst>
                  <a:ext uri="{FF2B5EF4-FFF2-40B4-BE49-F238E27FC236}">
                    <a16:creationId xmlns:a16="http://schemas.microsoft.com/office/drawing/2014/main" id="{2FC96A30-73DD-47D8-B420-24D8C6143D31}"/>
                  </a:ext>
                </a:extLst>
              </p:cNvPr>
              <p:cNvSpPr/>
              <p:nvPr/>
            </p:nvSpPr>
            <p:spPr>
              <a:xfrm>
                <a:off x="5004047" y="2373287"/>
                <a:ext cx="47937" cy="244864"/>
              </a:xfrm>
              <a:custGeom>
                <a:avLst/>
                <a:gdLst>
                  <a:gd name="connsiteX0" fmla="*/ 32111 w 47937"/>
                  <a:gd name="connsiteY0" fmla="*/ 10252 h 244864"/>
                  <a:gd name="connsiteX1" fmla="*/ 35955 w 47937"/>
                  <a:gd name="connsiteY1" fmla="*/ 15379 h 244864"/>
                  <a:gd name="connsiteX2" fmla="*/ 23140 w 47937"/>
                  <a:gd name="connsiteY2" fmla="*/ 57670 h 244864"/>
                  <a:gd name="connsiteX3" fmla="*/ 41082 w 47937"/>
                  <a:gd name="connsiteY3" fmla="*/ 75611 h 244864"/>
                  <a:gd name="connsiteX4" fmla="*/ 9043 w 47937"/>
                  <a:gd name="connsiteY4" fmla="*/ 225552 h 244864"/>
                  <a:gd name="connsiteX5" fmla="*/ 3916 w 47937"/>
                  <a:gd name="connsiteY5" fmla="*/ 244775 h 244864"/>
                  <a:gd name="connsiteX6" fmla="*/ 16732 w 47937"/>
                  <a:gd name="connsiteY6" fmla="*/ 226834 h 244864"/>
                  <a:gd name="connsiteX7" fmla="*/ 11606 w 47937"/>
                  <a:gd name="connsiteY7" fmla="*/ 225552 h 244864"/>
                  <a:gd name="connsiteX8" fmla="*/ 43645 w 47937"/>
                  <a:gd name="connsiteY8" fmla="*/ 73048 h 244864"/>
                  <a:gd name="connsiteX9" fmla="*/ 25703 w 47937"/>
                  <a:gd name="connsiteY9" fmla="*/ 55106 h 244864"/>
                  <a:gd name="connsiteX10" fmla="*/ 38518 w 47937"/>
                  <a:gd name="connsiteY10" fmla="*/ 15379 h 244864"/>
                  <a:gd name="connsiteX11" fmla="*/ 46208 w 47937"/>
                  <a:gd name="connsiteY11" fmla="*/ 0 h 244864"/>
                  <a:gd name="connsiteX12" fmla="*/ 42363 w 47937"/>
                  <a:gd name="connsiteY12" fmla="*/ 0 h 244864"/>
                  <a:gd name="connsiteX13" fmla="*/ 32111 w 47937"/>
                  <a:gd name="connsiteY13" fmla="*/ 10252 h 24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937" h="244864">
                    <a:moveTo>
                      <a:pt x="32111" y="10252"/>
                    </a:moveTo>
                    <a:cubicBezTo>
                      <a:pt x="30829" y="14097"/>
                      <a:pt x="33393" y="15379"/>
                      <a:pt x="35955" y="15379"/>
                    </a:cubicBezTo>
                    <a:cubicBezTo>
                      <a:pt x="30829" y="29476"/>
                      <a:pt x="26984" y="43573"/>
                      <a:pt x="23140" y="57670"/>
                    </a:cubicBezTo>
                    <a:lnTo>
                      <a:pt x="41082" y="75611"/>
                    </a:lnTo>
                    <a:cubicBezTo>
                      <a:pt x="28266" y="123028"/>
                      <a:pt x="18014" y="173009"/>
                      <a:pt x="9043" y="225552"/>
                    </a:cubicBezTo>
                    <a:cubicBezTo>
                      <a:pt x="-1209" y="231960"/>
                      <a:pt x="-2491" y="243494"/>
                      <a:pt x="3916" y="244775"/>
                    </a:cubicBezTo>
                    <a:cubicBezTo>
                      <a:pt x="12888" y="246057"/>
                      <a:pt x="21859" y="233241"/>
                      <a:pt x="16732" y="226834"/>
                    </a:cubicBezTo>
                    <a:cubicBezTo>
                      <a:pt x="15450" y="225552"/>
                      <a:pt x="14169" y="225552"/>
                      <a:pt x="11606" y="225552"/>
                    </a:cubicBezTo>
                    <a:cubicBezTo>
                      <a:pt x="20577" y="171727"/>
                      <a:pt x="30829" y="121747"/>
                      <a:pt x="43645" y="73048"/>
                    </a:cubicBezTo>
                    <a:lnTo>
                      <a:pt x="25703" y="55106"/>
                    </a:lnTo>
                    <a:cubicBezTo>
                      <a:pt x="29548" y="41009"/>
                      <a:pt x="34674" y="28194"/>
                      <a:pt x="38518" y="15379"/>
                    </a:cubicBezTo>
                    <a:cubicBezTo>
                      <a:pt x="47489" y="10252"/>
                      <a:pt x="50052" y="1282"/>
                      <a:pt x="46208" y="0"/>
                    </a:cubicBezTo>
                    <a:cubicBezTo>
                      <a:pt x="44927" y="0"/>
                      <a:pt x="43645" y="0"/>
                      <a:pt x="42363" y="0"/>
                    </a:cubicBezTo>
                    <a:cubicBezTo>
                      <a:pt x="34674" y="1282"/>
                      <a:pt x="32111" y="8971"/>
                      <a:pt x="32111"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6" name="Freeform: Shape 1648">
                <a:extLst>
                  <a:ext uri="{FF2B5EF4-FFF2-40B4-BE49-F238E27FC236}">
                    <a16:creationId xmlns:a16="http://schemas.microsoft.com/office/drawing/2014/main" id="{FAC938D5-5211-4D64-A793-1644E52911D0}"/>
                  </a:ext>
                </a:extLst>
              </p:cNvPr>
              <p:cNvSpPr/>
              <p:nvPr/>
            </p:nvSpPr>
            <p:spPr>
              <a:xfrm>
                <a:off x="5208732" y="2301521"/>
                <a:ext cx="21375" cy="38849"/>
              </a:xfrm>
              <a:custGeom>
                <a:avLst/>
                <a:gdLst>
                  <a:gd name="connsiteX0" fmla="*/ 4280 w 21375"/>
                  <a:gd name="connsiteY0" fmla="*/ 10252 h 38849"/>
                  <a:gd name="connsiteX1" fmla="*/ 9406 w 21375"/>
                  <a:gd name="connsiteY1" fmla="*/ 15379 h 38849"/>
                  <a:gd name="connsiteX2" fmla="*/ 8124 w 21375"/>
                  <a:gd name="connsiteY2" fmla="*/ 23068 h 38849"/>
                  <a:gd name="connsiteX3" fmla="*/ 2998 w 21375"/>
                  <a:gd name="connsiteY3" fmla="*/ 38446 h 38849"/>
                  <a:gd name="connsiteX4" fmla="*/ 17095 w 21375"/>
                  <a:gd name="connsiteY4" fmla="*/ 24349 h 38849"/>
                  <a:gd name="connsiteX5" fmla="*/ 11969 w 21375"/>
                  <a:gd name="connsiteY5" fmla="*/ 21786 h 38849"/>
                  <a:gd name="connsiteX6" fmla="*/ 13251 w 21375"/>
                  <a:gd name="connsiteY6" fmla="*/ 14097 h 38849"/>
                  <a:gd name="connsiteX7" fmla="*/ 18377 w 21375"/>
                  <a:gd name="connsiteY7" fmla="*/ 0 h 38849"/>
                  <a:gd name="connsiteX8" fmla="*/ 14532 w 21375"/>
                  <a:gd name="connsiteY8" fmla="*/ 0 h 38849"/>
                  <a:gd name="connsiteX9" fmla="*/ 4280 w 21375"/>
                  <a:gd name="connsiteY9" fmla="*/ 10252 h 38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75" h="38849">
                    <a:moveTo>
                      <a:pt x="4280" y="10252"/>
                    </a:moveTo>
                    <a:cubicBezTo>
                      <a:pt x="4280" y="14097"/>
                      <a:pt x="8124" y="14097"/>
                      <a:pt x="9406" y="15379"/>
                    </a:cubicBezTo>
                    <a:cubicBezTo>
                      <a:pt x="9406" y="17942"/>
                      <a:pt x="8124" y="20505"/>
                      <a:pt x="8124" y="23068"/>
                    </a:cubicBezTo>
                    <a:cubicBezTo>
                      <a:pt x="-846" y="28194"/>
                      <a:pt x="-2128" y="35883"/>
                      <a:pt x="2998" y="38446"/>
                    </a:cubicBezTo>
                    <a:cubicBezTo>
                      <a:pt x="9406" y="41009"/>
                      <a:pt x="19658" y="30757"/>
                      <a:pt x="17095" y="24349"/>
                    </a:cubicBezTo>
                    <a:cubicBezTo>
                      <a:pt x="15814" y="21786"/>
                      <a:pt x="13251" y="21786"/>
                      <a:pt x="11969" y="21786"/>
                    </a:cubicBezTo>
                    <a:cubicBezTo>
                      <a:pt x="11969" y="19223"/>
                      <a:pt x="13251" y="16660"/>
                      <a:pt x="13251" y="14097"/>
                    </a:cubicBezTo>
                    <a:cubicBezTo>
                      <a:pt x="22222" y="8971"/>
                      <a:pt x="23503" y="1282"/>
                      <a:pt x="18377" y="0"/>
                    </a:cubicBezTo>
                    <a:cubicBezTo>
                      <a:pt x="17095" y="0"/>
                      <a:pt x="15814" y="0"/>
                      <a:pt x="14532" y="0"/>
                    </a:cubicBezTo>
                    <a:cubicBezTo>
                      <a:pt x="5561" y="1282"/>
                      <a:pt x="4280" y="7689"/>
                      <a:pt x="4280"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7" name="Freeform: Shape 1649">
                <a:extLst>
                  <a:ext uri="{FF2B5EF4-FFF2-40B4-BE49-F238E27FC236}">
                    <a16:creationId xmlns:a16="http://schemas.microsoft.com/office/drawing/2014/main" id="{98ABAE35-4959-4A34-B2C2-C0CCD8686E76}"/>
                  </a:ext>
                </a:extLst>
              </p:cNvPr>
              <p:cNvSpPr/>
              <p:nvPr/>
            </p:nvSpPr>
            <p:spPr>
              <a:xfrm>
                <a:off x="5260429" y="2279529"/>
                <a:ext cx="46582" cy="45427"/>
              </a:xfrm>
              <a:custGeom>
                <a:avLst/>
                <a:gdLst>
                  <a:gd name="connsiteX0" fmla="*/ 0 w 46582"/>
                  <a:gd name="connsiteY0" fmla="*/ 41215 h 45427"/>
                  <a:gd name="connsiteX1" fmla="*/ 15378 w 46582"/>
                  <a:gd name="connsiteY1" fmla="*/ 39933 h 45427"/>
                  <a:gd name="connsiteX2" fmla="*/ 16660 w 46582"/>
                  <a:gd name="connsiteY2" fmla="*/ 30962 h 45427"/>
                  <a:gd name="connsiteX3" fmla="*/ 32039 w 46582"/>
                  <a:gd name="connsiteY3" fmla="*/ 15584 h 45427"/>
                  <a:gd name="connsiteX4" fmla="*/ 46136 w 46582"/>
                  <a:gd name="connsiteY4" fmla="*/ 2768 h 45427"/>
                  <a:gd name="connsiteX5" fmla="*/ 38446 w 46582"/>
                  <a:gd name="connsiteY5" fmla="*/ 205 h 45427"/>
                  <a:gd name="connsiteX6" fmla="*/ 29476 w 46582"/>
                  <a:gd name="connsiteY6" fmla="*/ 13020 h 45427"/>
                  <a:gd name="connsiteX7" fmla="*/ 14097 w 46582"/>
                  <a:gd name="connsiteY7" fmla="*/ 28399 h 45427"/>
                  <a:gd name="connsiteX8" fmla="*/ 0 w 46582"/>
                  <a:gd name="connsiteY8" fmla="*/ 41215 h 45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582" h="45427">
                    <a:moveTo>
                      <a:pt x="0" y="41215"/>
                    </a:moveTo>
                    <a:cubicBezTo>
                      <a:pt x="0" y="47622"/>
                      <a:pt x="10253" y="46341"/>
                      <a:pt x="15378" y="39933"/>
                    </a:cubicBezTo>
                    <a:cubicBezTo>
                      <a:pt x="16660" y="38651"/>
                      <a:pt x="19223" y="34807"/>
                      <a:pt x="16660" y="30962"/>
                    </a:cubicBezTo>
                    <a:cubicBezTo>
                      <a:pt x="21787" y="25836"/>
                      <a:pt x="28194" y="19428"/>
                      <a:pt x="32039" y="15584"/>
                    </a:cubicBezTo>
                    <a:cubicBezTo>
                      <a:pt x="39728" y="18147"/>
                      <a:pt x="48699" y="7894"/>
                      <a:pt x="46136" y="2768"/>
                    </a:cubicBezTo>
                    <a:cubicBezTo>
                      <a:pt x="44855" y="-1076"/>
                      <a:pt x="41010" y="205"/>
                      <a:pt x="38446" y="205"/>
                    </a:cubicBezTo>
                    <a:cubicBezTo>
                      <a:pt x="29476" y="2768"/>
                      <a:pt x="26912" y="10457"/>
                      <a:pt x="29476" y="13020"/>
                    </a:cubicBezTo>
                    <a:cubicBezTo>
                      <a:pt x="24349" y="18147"/>
                      <a:pt x="17942" y="24554"/>
                      <a:pt x="14097" y="28399"/>
                    </a:cubicBezTo>
                    <a:cubicBezTo>
                      <a:pt x="7689" y="27117"/>
                      <a:pt x="0" y="34807"/>
                      <a:pt x="0" y="412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8" name="Freeform: Shape 1650">
                <a:extLst>
                  <a:ext uri="{FF2B5EF4-FFF2-40B4-BE49-F238E27FC236}">
                    <a16:creationId xmlns:a16="http://schemas.microsoft.com/office/drawing/2014/main" id="{8FBD0A67-6951-48D3-AEB8-FA3C778DA2DD}"/>
                  </a:ext>
                </a:extLst>
              </p:cNvPr>
              <p:cNvSpPr/>
              <p:nvPr/>
            </p:nvSpPr>
            <p:spPr>
              <a:xfrm>
                <a:off x="4869353" y="2416860"/>
                <a:ext cx="27318" cy="42373"/>
              </a:xfrm>
              <a:custGeom>
                <a:avLst/>
                <a:gdLst>
                  <a:gd name="connsiteX0" fmla="*/ 13018 w 27318"/>
                  <a:gd name="connsiteY0" fmla="*/ 12815 h 42373"/>
                  <a:gd name="connsiteX1" fmla="*/ 14300 w 27318"/>
                  <a:gd name="connsiteY1" fmla="*/ 17942 h 42373"/>
                  <a:gd name="connsiteX2" fmla="*/ 10455 w 27318"/>
                  <a:gd name="connsiteY2" fmla="*/ 25631 h 42373"/>
                  <a:gd name="connsiteX3" fmla="*/ 1484 w 27318"/>
                  <a:gd name="connsiteY3" fmla="*/ 42291 h 42373"/>
                  <a:gd name="connsiteX4" fmla="*/ 15582 w 27318"/>
                  <a:gd name="connsiteY4" fmla="*/ 25631 h 42373"/>
                  <a:gd name="connsiteX5" fmla="*/ 13018 w 27318"/>
                  <a:gd name="connsiteY5" fmla="*/ 24349 h 42373"/>
                  <a:gd name="connsiteX6" fmla="*/ 16863 w 27318"/>
                  <a:gd name="connsiteY6" fmla="*/ 16660 h 42373"/>
                  <a:gd name="connsiteX7" fmla="*/ 25834 w 27318"/>
                  <a:gd name="connsiteY7" fmla="*/ 0 h 42373"/>
                  <a:gd name="connsiteX8" fmla="*/ 23271 w 27318"/>
                  <a:gd name="connsiteY8" fmla="*/ 0 h 42373"/>
                  <a:gd name="connsiteX9" fmla="*/ 13018 w 27318"/>
                  <a:gd name="connsiteY9" fmla="*/ 12815 h 4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18" h="42373">
                    <a:moveTo>
                      <a:pt x="13018" y="12815"/>
                    </a:moveTo>
                    <a:cubicBezTo>
                      <a:pt x="11737" y="16660"/>
                      <a:pt x="13018" y="17942"/>
                      <a:pt x="14300" y="17942"/>
                    </a:cubicBezTo>
                    <a:cubicBezTo>
                      <a:pt x="13018" y="20505"/>
                      <a:pt x="11737" y="23068"/>
                      <a:pt x="10455" y="25631"/>
                    </a:cubicBezTo>
                    <a:cubicBezTo>
                      <a:pt x="1484" y="30757"/>
                      <a:pt x="-2360" y="41009"/>
                      <a:pt x="1484" y="42291"/>
                    </a:cubicBezTo>
                    <a:cubicBezTo>
                      <a:pt x="6611" y="43573"/>
                      <a:pt x="18145" y="29476"/>
                      <a:pt x="15582" y="25631"/>
                    </a:cubicBezTo>
                    <a:cubicBezTo>
                      <a:pt x="15582" y="24349"/>
                      <a:pt x="14300" y="24349"/>
                      <a:pt x="13018" y="24349"/>
                    </a:cubicBezTo>
                    <a:cubicBezTo>
                      <a:pt x="14300" y="21786"/>
                      <a:pt x="15582" y="19223"/>
                      <a:pt x="16863" y="16660"/>
                    </a:cubicBezTo>
                    <a:cubicBezTo>
                      <a:pt x="25834" y="11534"/>
                      <a:pt x="29679" y="1282"/>
                      <a:pt x="25834" y="0"/>
                    </a:cubicBezTo>
                    <a:cubicBezTo>
                      <a:pt x="24552" y="0"/>
                      <a:pt x="24552" y="0"/>
                      <a:pt x="23271" y="0"/>
                    </a:cubicBezTo>
                    <a:cubicBezTo>
                      <a:pt x="16863" y="3845"/>
                      <a:pt x="13018" y="12815"/>
                      <a:pt x="13018"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99" name="Freeform: Shape 1651">
                <a:extLst>
                  <a:ext uri="{FF2B5EF4-FFF2-40B4-BE49-F238E27FC236}">
                    <a16:creationId xmlns:a16="http://schemas.microsoft.com/office/drawing/2014/main" id="{8591DDD9-99CD-47F3-B4C6-8461B2BB4E6A}"/>
                  </a:ext>
                </a:extLst>
              </p:cNvPr>
              <p:cNvSpPr/>
              <p:nvPr/>
            </p:nvSpPr>
            <p:spPr>
              <a:xfrm>
                <a:off x="4892290" y="2379695"/>
                <a:ext cx="59487" cy="74329"/>
              </a:xfrm>
              <a:custGeom>
                <a:avLst/>
                <a:gdLst>
                  <a:gd name="connsiteX0" fmla="*/ 333 w 59487"/>
                  <a:gd name="connsiteY0" fmla="*/ 69203 h 74329"/>
                  <a:gd name="connsiteX1" fmla="*/ 5460 w 59487"/>
                  <a:gd name="connsiteY1" fmla="*/ 73048 h 74329"/>
                  <a:gd name="connsiteX2" fmla="*/ 15712 w 59487"/>
                  <a:gd name="connsiteY2" fmla="*/ 58951 h 74329"/>
                  <a:gd name="connsiteX3" fmla="*/ 41343 w 59487"/>
                  <a:gd name="connsiteY3" fmla="*/ 33320 h 74329"/>
                  <a:gd name="connsiteX4" fmla="*/ 49033 w 59487"/>
                  <a:gd name="connsiteY4" fmla="*/ 16660 h 74329"/>
                  <a:gd name="connsiteX5" fmla="*/ 58003 w 59487"/>
                  <a:gd name="connsiteY5" fmla="*/ 0 h 74329"/>
                  <a:gd name="connsiteX6" fmla="*/ 55440 w 59487"/>
                  <a:gd name="connsiteY6" fmla="*/ 0 h 74329"/>
                  <a:gd name="connsiteX7" fmla="*/ 45188 w 59487"/>
                  <a:gd name="connsiteY7" fmla="*/ 16660 h 74329"/>
                  <a:gd name="connsiteX8" fmla="*/ 46469 w 59487"/>
                  <a:gd name="connsiteY8" fmla="*/ 16660 h 74329"/>
                  <a:gd name="connsiteX9" fmla="*/ 40061 w 59487"/>
                  <a:gd name="connsiteY9" fmla="*/ 32039 h 74329"/>
                  <a:gd name="connsiteX10" fmla="*/ 15712 w 59487"/>
                  <a:gd name="connsiteY10" fmla="*/ 55106 h 74329"/>
                  <a:gd name="connsiteX11" fmla="*/ 333 w 59487"/>
                  <a:gd name="connsiteY11" fmla="*/ 69203 h 7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487" h="74329">
                    <a:moveTo>
                      <a:pt x="333" y="69203"/>
                    </a:moveTo>
                    <a:cubicBezTo>
                      <a:pt x="-948" y="74330"/>
                      <a:pt x="1615" y="75611"/>
                      <a:pt x="5460" y="73048"/>
                    </a:cubicBezTo>
                    <a:cubicBezTo>
                      <a:pt x="9304" y="70485"/>
                      <a:pt x="15712" y="64077"/>
                      <a:pt x="15712" y="58951"/>
                    </a:cubicBezTo>
                    <a:lnTo>
                      <a:pt x="41343" y="33320"/>
                    </a:lnTo>
                    <a:cubicBezTo>
                      <a:pt x="43906" y="28194"/>
                      <a:pt x="46469" y="21786"/>
                      <a:pt x="49033" y="16660"/>
                    </a:cubicBezTo>
                    <a:cubicBezTo>
                      <a:pt x="58003" y="11534"/>
                      <a:pt x="61848" y="1282"/>
                      <a:pt x="58003" y="0"/>
                    </a:cubicBezTo>
                    <a:cubicBezTo>
                      <a:pt x="56722" y="0"/>
                      <a:pt x="56722" y="0"/>
                      <a:pt x="55440" y="0"/>
                    </a:cubicBezTo>
                    <a:cubicBezTo>
                      <a:pt x="46469" y="3845"/>
                      <a:pt x="41343" y="15379"/>
                      <a:pt x="45188" y="16660"/>
                    </a:cubicBezTo>
                    <a:cubicBezTo>
                      <a:pt x="45188" y="16660"/>
                      <a:pt x="45188" y="16660"/>
                      <a:pt x="46469" y="16660"/>
                    </a:cubicBezTo>
                    <a:cubicBezTo>
                      <a:pt x="43906" y="21786"/>
                      <a:pt x="41343" y="26912"/>
                      <a:pt x="40061" y="32039"/>
                    </a:cubicBezTo>
                    <a:cubicBezTo>
                      <a:pt x="32372" y="39728"/>
                      <a:pt x="23401" y="48699"/>
                      <a:pt x="15712" y="55106"/>
                    </a:cubicBezTo>
                    <a:cubicBezTo>
                      <a:pt x="10586" y="53825"/>
                      <a:pt x="1615" y="62796"/>
                      <a:pt x="333" y="692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0" name="Freeform: Shape 1652">
                <a:extLst>
                  <a:ext uri="{FF2B5EF4-FFF2-40B4-BE49-F238E27FC236}">
                    <a16:creationId xmlns:a16="http://schemas.microsoft.com/office/drawing/2014/main" id="{DF6644AE-F220-4460-84A7-2B299978F4EF}"/>
                  </a:ext>
                </a:extLst>
              </p:cNvPr>
              <p:cNvSpPr/>
              <p:nvPr/>
            </p:nvSpPr>
            <p:spPr>
              <a:xfrm>
                <a:off x="4954138" y="2415578"/>
                <a:ext cx="25857" cy="61514"/>
              </a:xfrm>
              <a:custGeom>
                <a:avLst/>
                <a:gdLst>
                  <a:gd name="connsiteX0" fmla="*/ 3844 w 25857"/>
                  <a:gd name="connsiteY0" fmla="*/ 12816 h 61514"/>
                  <a:gd name="connsiteX1" fmla="*/ 6408 w 25857"/>
                  <a:gd name="connsiteY1" fmla="*/ 17942 h 61514"/>
                  <a:gd name="connsiteX2" fmla="*/ 0 w 25857"/>
                  <a:gd name="connsiteY2" fmla="*/ 35883 h 61514"/>
                  <a:gd name="connsiteX3" fmla="*/ 11534 w 25857"/>
                  <a:gd name="connsiteY3" fmla="*/ 49980 h 61514"/>
                  <a:gd name="connsiteX4" fmla="*/ 12815 w 25857"/>
                  <a:gd name="connsiteY4" fmla="*/ 61514 h 61514"/>
                  <a:gd name="connsiteX5" fmla="*/ 24349 w 25857"/>
                  <a:gd name="connsiteY5" fmla="*/ 43573 h 61514"/>
                  <a:gd name="connsiteX6" fmla="*/ 15378 w 25857"/>
                  <a:gd name="connsiteY6" fmla="*/ 46136 h 61514"/>
                  <a:gd name="connsiteX7" fmla="*/ 5126 w 25857"/>
                  <a:gd name="connsiteY7" fmla="*/ 32039 h 61514"/>
                  <a:gd name="connsiteX8" fmla="*/ 11534 w 25857"/>
                  <a:gd name="connsiteY8" fmla="*/ 16660 h 61514"/>
                  <a:gd name="connsiteX9" fmla="*/ 19223 w 25857"/>
                  <a:gd name="connsiteY9" fmla="*/ 0 h 61514"/>
                  <a:gd name="connsiteX10" fmla="*/ 16660 w 25857"/>
                  <a:gd name="connsiteY10" fmla="*/ 0 h 61514"/>
                  <a:gd name="connsiteX11" fmla="*/ 3844 w 25857"/>
                  <a:gd name="connsiteY11" fmla="*/ 12816 h 6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857" h="61514">
                    <a:moveTo>
                      <a:pt x="3844" y="12816"/>
                    </a:moveTo>
                    <a:cubicBezTo>
                      <a:pt x="3844" y="15379"/>
                      <a:pt x="3844" y="17942"/>
                      <a:pt x="6408" y="17942"/>
                    </a:cubicBezTo>
                    <a:cubicBezTo>
                      <a:pt x="3844" y="24349"/>
                      <a:pt x="2563" y="29476"/>
                      <a:pt x="0" y="35883"/>
                    </a:cubicBezTo>
                    <a:cubicBezTo>
                      <a:pt x="3844" y="39728"/>
                      <a:pt x="7689" y="46136"/>
                      <a:pt x="11534" y="49980"/>
                    </a:cubicBezTo>
                    <a:cubicBezTo>
                      <a:pt x="6408" y="56388"/>
                      <a:pt x="7689" y="61514"/>
                      <a:pt x="12815" y="61514"/>
                    </a:cubicBezTo>
                    <a:cubicBezTo>
                      <a:pt x="20505" y="61514"/>
                      <a:pt x="29476" y="47417"/>
                      <a:pt x="24349" y="43573"/>
                    </a:cubicBezTo>
                    <a:cubicBezTo>
                      <a:pt x="23068" y="43573"/>
                      <a:pt x="20505" y="42291"/>
                      <a:pt x="15378" y="46136"/>
                    </a:cubicBezTo>
                    <a:lnTo>
                      <a:pt x="5126" y="32039"/>
                    </a:lnTo>
                    <a:cubicBezTo>
                      <a:pt x="6408" y="26912"/>
                      <a:pt x="8971" y="21786"/>
                      <a:pt x="11534" y="16660"/>
                    </a:cubicBezTo>
                    <a:cubicBezTo>
                      <a:pt x="20505" y="11534"/>
                      <a:pt x="23068" y="1282"/>
                      <a:pt x="19223" y="0"/>
                    </a:cubicBezTo>
                    <a:cubicBezTo>
                      <a:pt x="17942" y="0"/>
                      <a:pt x="17942" y="0"/>
                      <a:pt x="16660" y="0"/>
                    </a:cubicBezTo>
                    <a:cubicBezTo>
                      <a:pt x="6408" y="3845"/>
                      <a:pt x="3844" y="12816"/>
                      <a:pt x="3844"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1" name="Freeform: Shape 1653">
                <a:extLst>
                  <a:ext uri="{FF2B5EF4-FFF2-40B4-BE49-F238E27FC236}">
                    <a16:creationId xmlns:a16="http://schemas.microsoft.com/office/drawing/2014/main" id="{9A4BB97B-06D3-4617-931D-E225BFC72325}"/>
                  </a:ext>
                </a:extLst>
              </p:cNvPr>
              <p:cNvSpPr/>
              <p:nvPr/>
            </p:nvSpPr>
            <p:spPr>
              <a:xfrm>
                <a:off x="5002837" y="2402763"/>
                <a:ext cx="26653" cy="60232"/>
              </a:xfrm>
              <a:custGeom>
                <a:avLst/>
                <a:gdLst>
                  <a:gd name="connsiteX0" fmla="*/ 1281 w 26653"/>
                  <a:gd name="connsiteY0" fmla="*/ 11534 h 60232"/>
                  <a:gd name="connsiteX1" fmla="*/ 5126 w 26653"/>
                  <a:gd name="connsiteY1" fmla="*/ 16660 h 60232"/>
                  <a:gd name="connsiteX2" fmla="*/ 0 w 26653"/>
                  <a:gd name="connsiteY2" fmla="*/ 34602 h 60232"/>
                  <a:gd name="connsiteX3" fmla="*/ 12815 w 26653"/>
                  <a:gd name="connsiteY3" fmla="*/ 48699 h 60232"/>
                  <a:gd name="connsiteX4" fmla="*/ 14097 w 26653"/>
                  <a:gd name="connsiteY4" fmla="*/ 60233 h 60232"/>
                  <a:gd name="connsiteX5" fmla="*/ 25631 w 26653"/>
                  <a:gd name="connsiteY5" fmla="*/ 43573 h 60232"/>
                  <a:gd name="connsiteX6" fmla="*/ 15378 w 26653"/>
                  <a:gd name="connsiteY6" fmla="*/ 46136 h 60232"/>
                  <a:gd name="connsiteX7" fmla="*/ 2563 w 26653"/>
                  <a:gd name="connsiteY7" fmla="*/ 32039 h 60232"/>
                  <a:gd name="connsiteX8" fmla="*/ 7689 w 26653"/>
                  <a:gd name="connsiteY8" fmla="*/ 16660 h 60232"/>
                  <a:gd name="connsiteX9" fmla="*/ 14097 w 26653"/>
                  <a:gd name="connsiteY9" fmla="*/ 0 h 60232"/>
                  <a:gd name="connsiteX10" fmla="*/ 11534 w 26653"/>
                  <a:gd name="connsiteY10" fmla="*/ 0 h 60232"/>
                  <a:gd name="connsiteX11" fmla="*/ 1281 w 26653"/>
                  <a:gd name="connsiteY11" fmla="*/ 11534 h 6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653" h="60232">
                    <a:moveTo>
                      <a:pt x="1281" y="11534"/>
                    </a:moveTo>
                    <a:cubicBezTo>
                      <a:pt x="1281" y="14097"/>
                      <a:pt x="1281" y="16660"/>
                      <a:pt x="5126" y="16660"/>
                    </a:cubicBezTo>
                    <a:cubicBezTo>
                      <a:pt x="2563" y="21786"/>
                      <a:pt x="1281" y="28194"/>
                      <a:pt x="0" y="34602"/>
                    </a:cubicBezTo>
                    <a:cubicBezTo>
                      <a:pt x="3844" y="38446"/>
                      <a:pt x="8971" y="44854"/>
                      <a:pt x="12815" y="48699"/>
                    </a:cubicBezTo>
                    <a:cubicBezTo>
                      <a:pt x="7689" y="55106"/>
                      <a:pt x="10252" y="60233"/>
                      <a:pt x="14097" y="60233"/>
                    </a:cubicBezTo>
                    <a:cubicBezTo>
                      <a:pt x="21786" y="60233"/>
                      <a:pt x="29476" y="47417"/>
                      <a:pt x="25631" y="43573"/>
                    </a:cubicBezTo>
                    <a:cubicBezTo>
                      <a:pt x="24349" y="42291"/>
                      <a:pt x="20505" y="41009"/>
                      <a:pt x="15378" y="46136"/>
                    </a:cubicBezTo>
                    <a:lnTo>
                      <a:pt x="2563" y="32039"/>
                    </a:lnTo>
                    <a:cubicBezTo>
                      <a:pt x="3844" y="26912"/>
                      <a:pt x="6408" y="21786"/>
                      <a:pt x="7689" y="16660"/>
                    </a:cubicBezTo>
                    <a:cubicBezTo>
                      <a:pt x="16660" y="11534"/>
                      <a:pt x="19223" y="1282"/>
                      <a:pt x="14097" y="0"/>
                    </a:cubicBezTo>
                    <a:cubicBezTo>
                      <a:pt x="12815" y="0"/>
                      <a:pt x="11534" y="0"/>
                      <a:pt x="11534" y="0"/>
                    </a:cubicBezTo>
                    <a:cubicBezTo>
                      <a:pt x="3844" y="2563"/>
                      <a:pt x="1281" y="11534"/>
                      <a:pt x="1281"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2" name="Freeform: Shape 1654">
                <a:extLst>
                  <a:ext uri="{FF2B5EF4-FFF2-40B4-BE49-F238E27FC236}">
                    <a16:creationId xmlns:a16="http://schemas.microsoft.com/office/drawing/2014/main" id="{4B48CBA8-7364-4172-91B8-341E22674B5C}"/>
                  </a:ext>
                </a:extLst>
              </p:cNvPr>
              <p:cNvSpPr/>
              <p:nvPr/>
            </p:nvSpPr>
            <p:spPr>
              <a:xfrm>
                <a:off x="5276524" y="2324589"/>
                <a:ext cx="27096" cy="138809"/>
              </a:xfrm>
              <a:custGeom>
                <a:avLst/>
                <a:gdLst>
                  <a:gd name="connsiteX0" fmla="*/ 8254 w 27096"/>
                  <a:gd name="connsiteY0" fmla="*/ 11534 h 138809"/>
                  <a:gd name="connsiteX1" fmla="*/ 14662 w 27096"/>
                  <a:gd name="connsiteY1" fmla="*/ 16660 h 138809"/>
                  <a:gd name="connsiteX2" fmla="*/ 8254 w 27096"/>
                  <a:gd name="connsiteY2" fmla="*/ 121747 h 138809"/>
                  <a:gd name="connsiteX3" fmla="*/ 4409 w 27096"/>
                  <a:gd name="connsiteY3" fmla="*/ 138407 h 138809"/>
                  <a:gd name="connsiteX4" fmla="*/ 19788 w 27096"/>
                  <a:gd name="connsiteY4" fmla="*/ 124310 h 138809"/>
                  <a:gd name="connsiteX5" fmla="*/ 13380 w 27096"/>
                  <a:gd name="connsiteY5" fmla="*/ 120465 h 138809"/>
                  <a:gd name="connsiteX6" fmla="*/ 19788 w 27096"/>
                  <a:gd name="connsiteY6" fmla="*/ 15379 h 138809"/>
                  <a:gd name="connsiteX7" fmla="*/ 23633 w 27096"/>
                  <a:gd name="connsiteY7" fmla="*/ 0 h 138809"/>
                  <a:gd name="connsiteX8" fmla="*/ 18506 w 27096"/>
                  <a:gd name="connsiteY8" fmla="*/ 0 h 138809"/>
                  <a:gd name="connsiteX9" fmla="*/ 8254 w 27096"/>
                  <a:gd name="connsiteY9" fmla="*/ 11534 h 13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96" h="138809">
                    <a:moveTo>
                      <a:pt x="8254" y="11534"/>
                    </a:moveTo>
                    <a:cubicBezTo>
                      <a:pt x="8254" y="14097"/>
                      <a:pt x="9535" y="15379"/>
                      <a:pt x="14662" y="16660"/>
                    </a:cubicBezTo>
                    <a:cubicBezTo>
                      <a:pt x="12099" y="49980"/>
                      <a:pt x="9535" y="84582"/>
                      <a:pt x="8254" y="121747"/>
                    </a:cubicBezTo>
                    <a:cubicBezTo>
                      <a:pt x="-1999" y="126873"/>
                      <a:pt x="-1999" y="137125"/>
                      <a:pt x="4409" y="138407"/>
                    </a:cubicBezTo>
                    <a:cubicBezTo>
                      <a:pt x="12099" y="140970"/>
                      <a:pt x="22351" y="130718"/>
                      <a:pt x="19788" y="124310"/>
                    </a:cubicBezTo>
                    <a:cubicBezTo>
                      <a:pt x="18506" y="120465"/>
                      <a:pt x="14662" y="120465"/>
                      <a:pt x="13380" y="120465"/>
                    </a:cubicBezTo>
                    <a:cubicBezTo>
                      <a:pt x="14662" y="84582"/>
                      <a:pt x="17225" y="48699"/>
                      <a:pt x="19788" y="15379"/>
                    </a:cubicBezTo>
                    <a:cubicBezTo>
                      <a:pt x="28759" y="10252"/>
                      <a:pt x="28759" y="2563"/>
                      <a:pt x="23633" y="0"/>
                    </a:cubicBezTo>
                    <a:cubicBezTo>
                      <a:pt x="22351" y="0"/>
                      <a:pt x="19788" y="0"/>
                      <a:pt x="18506" y="0"/>
                    </a:cubicBezTo>
                    <a:cubicBezTo>
                      <a:pt x="8254" y="2563"/>
                      <a:pt x="8254" y="11534"/>
                      <a:pt x="8254"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3" name="Freeform: Shape 1655">
                <a:extLst>
                  <a:ext uri="{FF2B5EF4-FFF2-40B4-BE49-F238E27FC236}">
                    <a16:creationId xmlns:a16="http://schemas.microsoft.com/office/drawing/2014/main" id="{E48F1717-19FA-4F61-8EFD-66F90012DA77}"/>
                  </a:ext>
                </a:extLst>
              </p:cNvPr>
              <p:cNvSpPr/>
              <p:nvPr/>
            </p:nvSpPr>
            <p:spPr>
              <a:xfrm>
                <a:off x="5396874" y="2251541"/>
                <a:ext cx="19303" cy="58118"/>
              </a:xfrm>
              <a:custGeom>
                <a:avLst/>
                <a:gdLst>
                  <a:gd name="connsiteX0" fmla="*/ 681 w 19303"/>
                  <a:gd name="connsiteY0" fmla="*/ 11534 h 58118"/>
                  <a:gd name="connsiteX1" fmla="*/ 7089 w 19303"/>
                  <a:gd name="connsiteY1" fmla="*/ 15379 h 58118"/>
                  <a:gd name="connsiteX2" fmla="*/ 7089 w 19303"/>
                  <a:gd name="connsiteY2" fmla="*/ 43573 h 58118"/>
                  <a:gd name="connsiteX3" fmla="*/ 4526 w 19303"/>
                  <a:gd name="connsiteY3" fmla="*/ 57670 h 58118"/>
                  <a:gd name="connsiteX4" fmla="*/ 18623 w 19303"/>
                  <a:gd name="connsiteY4" fmla="*/ 44854 h 58118"/>
                  <a:gd name="connsiteX5" fmla="*/ 12215 w 19303"/>
                  <a:gd name="connsiteY5" fmla="*/ 42291 h 58118"/>
                  <a:gd name="connsiteX6" fmla="*/ 12215 w 19303"/>
                  <a:gd name="connsiteY6" fmla="*/ 14097 h 58118"/>
                  <a:gd name="connsiteX7" fmla="*/ 14778 w 19303"/>
                  <a:gd name="connsiteY7" fmla="*/ 0 h 58118"/>
                  <a:gd name="connsiteX8" fmla="*/ 9652 w 19303"/>
                  <a:gd name="connsiteY8" fmla="*/ 0 h 58118"/>
                  <a:gd name="connsiteX9" fmla="*/ 681 w 19303"/>
                  <a:gd name="connsiteY9" fmla="*/ 11534 h 5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03" h="58118">
                    <a:moveTo>
                      <a:pt x="681" y="11534"/>
                    </a:moveTo>
                    <a:cubicBezTo>
                      <a:pt x="681" y="12815"/>
                      <a:pt x="1963" y="15379"/>
                      <a:pt x="7089" y="15379"/>
                    </a:cubicBezTo>
                    <a:cubicBezTo>
                      <a:pt x="7089" y="24349"/>
                      <a:pt x="7089" y="34602"/>
                      <a:pt x="7089" y="43573"/>
                    </a:cubicBezTo>
                    <a:cubicBezTo>
                      <a:pt x="-1882" y="48699"/>
                      <a:pt x="-1882" y="56388"/>
                      <a:pt x="4526" y="57670"/>
                    </a:cubicBezTo>
                    <a:cubicBezTo>
                      <a:pt x="12215" y="60233"/>
                      <a:pt x="21186" y="51262"/>
                      <a:pt x="18623" y="44854"/>
                    </a:cubicBezTo>
                    <a:cubicBezTo>
                      <a:pt x="17341" y="42291"/>
                      <a:pt x="13497" y="42291"/>
                      <a:pt x="12215" y="42291"/>
                    </a:cubicBezTo>
                    <a:cubicBezTo>
                      <a:pt x="12215" y="32039"/>
                      <a:pt x="12215" y="23068"/>
                      <a:pt x="12215" y="14097"/>
                    </a:cubicBezTo>
                    <a:cubicBezTo>
                      <a:pt x="21186" y="8971"/>
                      <a:pt x="21186" y="1282"/>
                      <a:pt x="14778" y="0"/>
                    </a:cubicBezTo>
                    <a:cubicBezTo>
                      <a:pt x="13497" y="0"/>
                      <a:pt x="10934" y="0"/>
                      <a:pt x="9652" y="0"/>
                    </a:cubicBezTo>
                    <a:cubicBezTo>
                      <a:pt x="681" y="3845"/>
                      <a:pt x="681" y="10252"/>
                      <a:pt x="681"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4" name="Freeform: Shape 1656">
                <a:extLst>
                  <a:ext uri="{FF2B5EF4-FFF2-40B4-BE49-F238E27FC236}">
                    <a16:creationId xmlns:a16="http://schemas.microsoft.com/office/drawing/2014/main" id="{BBF910BE-732B-426A-9862-FE52E6ECD1D0}"/>
                  </a:ext>
                </a:extLst>
              </p:cNvPr>
              <p:cNvSpPr/>
              <p:nvPr/>
            </p:nvSpPr>
            <p:spPr>
              <a:xfrm>
                <a:off x="4838596" y="2392510"/>
                <a:ext cx="72068" cy="101324"/>
              </a:xfrm>
              <a:custGeom>
                <a:avLst/>
                <a:gdLst>
                  <a:gd name="connsiteX0" fmla="*/ 24553 w 72068"/>
                  <a:gd name="connsiteY0" fmla="*/ 43573 h 101324"/>
                  <a:gd name="connsiteX1" fmla="*/ 25834 w 72068"/>
                  <a:gd name="connsiteY1" fmla="*/ 48699 h 101324"/>
                  <a:gd name="connsiteX2" fmla="*/ 10455 w 72068"/>
                  <a:gd name="connsiteY2" fmla="*/ 83300 h 101324"/>
                  <a:gd name="connsiteX3" fmla="*/ 1485 w 72068"/>
                  <a:gd name="connsiteY3" fmla="*/ 101242 h 101324"/>
                  <a:gd name="connsiteX4" fmla="*/ 15582 w 72068"/>
                  <a:gd name="connsiteY4" fmla="*/ 83300 h 101324"/>
                  <a:gd name="connsiteX5" fmla="*/ 13019 w 72068"/>
                  <a:gd name="connsiteY5" fmla="*/ 82019 h 101324"/>
                  <a:gd name="connsiteX6" fmla="*/ 28397 w 72068"/>
                  <a:gd name="connsiteY6" fmla="*/ 47417 h 101324"/>
                  <a:gd name="connsiteX7" fmla="*/ 38650 w 72068"/>
                  <a:gd name="connsiteY7" fmla="*/ 33320 h 101324"/>
                  <a:gd name="connsiteX8" fmla="*/ 56591 w 72068"/>
                  <a:gd name="connsiteY8" fmla="*/ 16660 h 101324"/>
                  <a:gd name="connsiteX9" fmla="*/ 71970 w 72068"/>
                  <a:gd name="connsiteY9" fmla="*/ 1282 h 101324"/>
                  <a:gd name="connsiteX10" fmla="*/ 68125 w 72068"/>
                  <a:gd name="connsiteY10" fmla="*/ 0 h 101324"/>
                  <a:gd name="connsiteX11" fmla="*/ 56591 w 72068"/>
                  <a:gd name="connsiteY11" fmla="*/ 14097 h 101324"/>
                  <a:gd name="connsiteX12" fmla="*/ 38650 w 72068"/>
                  <a:gd name="connsiteY12" fmla="*/ 30757 h 101324"/>
                  <a:gd name="connsiteX13" fmla="*/ 24553 w 72068"/>
                  <a:gd name="connsiteY13" fmla="*/ 43573 h 10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068" h="101324">
                    <a:moveTo>
                      <a:pt x="24553" y="43573"/>
                    </a:moveTo>
                    <a:cubicBezTo>
                      <a:pt x="23271" y="47417"/>
                      <a:pt x="23271" y="48699"/>
                      <a:pt x="25834" y="48699"/>
                    </a:cubicBezTo>
                    <a:cubicBezTo>
                      <a:pt x="20708" y="60233"/>
                      <a:pt x="15582" y="71767"/>
                      <a:pt x="10455" y="83300"/>
                    </a:cubicBezTo>
                    <a:cubicBezTo>
                      <a:pt x="1485" y="88427"/>
                      <a:pt x="-2360" y="99961"/>
                      <a:pt x="1485" y="101242"/>
                    </a:cubicBezTo>
                    <a:cubicBezTo>
                      <a:pt x="6611" y="102524"/>
                      <a:pt x="18145" y="88427"/>
                      <a:pt x="15582" y="83300"/>
                    </a:cubicBezTo>
                    <a:cubicBezTo>
                      <a:pt x="15582" y="82019"/>
                      <a:pt x="14300" y="82019"/>
                      <a:pt x="13019" y="82019"/>
                    </a:cubicBezTo>
                    <a:cubicBezTo>
                      <a:pt x="18145" y="70485"/>
                      <a:pt x="23271" y="58951"/>
                      <a:pt x="28397" y="47417"/>
                    </a:cubicBezTo>
                    <a:cubicBezTo>
                      <a:pt x="34805" y="43573"/>
                      <a:pt x="38650" y="37165"/>
                      <a:pt x="38650" y="33320"/>
                    </a:cubicBezTo>
                    <a:cubicBezTo>
                      <a:pt x="43776" y="28194"/>
                      <a:pt x="51465" y="21786"/>
                      <a:pt x="56591" y="16660"/>
                    </a:cubicBezTo>
                    <a:cubicBezTo>
                      <a:pt x="61717" y="20505"/>
                      <a:pt x="73251" y="5126"/>
                      <a:pt x="71970" y="1282"/>
                    </a:cubicBezTo>
                    <a:cubicBezTo>
                      <a:pt x="71970" y="0"/>
                      <a:pt x="69407" y="0"/>
                      <a:pt x="68125" y="0"/>
                    </a:cubicBezTo>
                    <a:cubicBezTo>
                      <a:pt x="61717" y="2563"/>
                      <a:pt x="56591" y="10252"/>
                      <a:pt x="56591" y="14097"/>
                    </a:cubicBezTo>
                    <a:cubicBezTo>
                      <a:pt x="51465" y="19223"/>
                      <a:pt x="43776" y="25631"/>
                      <a:pt x="38650" y="30757"/>
                    </a:cubicBezTo>
                    <a:cubicBezTo>
                      <a:pt x="34805" y="29476"/>
                      <a:pt x="25834" y="37165"/>
                      <a:pt x="24553" y="4357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5" name="Freeform: Shape 1657">
                <a:extLst>
                  <a:ext uri="{FF2B5EF4-FFF2-40B4-BE49-F238E27FC236}">
                    <a16:creationId xmlns:a16="http://schemas.microsoft.com/office/drawing/2014/main" id="{EC5B5D05-E2FC-4D3D-8AAD-3A5697B0A998}"/>
                  </a:ext>
                </a:extLst>
              </p:cNvPr>
              <p:cNvSpPr/>
              <p:nvPr/>
            </p:nvSpPr>
            <p:spPr>
              <a:xfrm>
                <a:off x="4972996" y="2407889"/>
                <a:ext cx="25163" cy="42389"/>
              </a:xfrm>
              <a:custGeom>
                <a:avLst/>
                <a:gdLst>
                  <a:gd name="connsiteX0" fmla="*/ 8055 w 25163"/>
                  <a:gd name="connsiteY0" fmla="*/ 12815 h 42389"/>
                  <a:gd name="connsiteX1" fmla="*/ 11900 w 25163"/>
                  <a:gd name="connsiteY1" fmla="*/ 17942 h 42389"/>
                  <a:gd name="connsiteX2" fmla="*/ 9337 w 25163"/>
                  <a:gd name="connsiteY2" fmla="*/ 25631 h 42389"/>
                  <a:gd name="connsiteX3" fmla="*/ 2928 w 25163"/>
                  <a:gd name="connsiteY3" fmla="*/ 42291 h 42389"/>
                  <a:gd name="connsiteX4" fmla="*/ 17026 w 25163"/>
                  <a:gd name="connsiteY4" fmla="*/ 25631 h 42389"/>
                  <a:gd name="connsiteX5" fmla="*/ 13181 w 25163"/>
                  <a:gd name="connsiteY5" fmla="*/ 24349 h 42389"/>
                  <a:gd name="connsiteX6" fmla="*/ 15744 w 25163"/>
                  <a:gd name="connsiteY6" fmla="*/ 16660 h 42389"/>
                  <a:gd name="connsiteX7" fmla="*/ 23433 w 25163"/>
                  <a:gd name="connsiteY7" fmla="*/ 0 h 42389"/>
                  <a:gd name="connsiteX8" fmla="*/ 20871 w 25163"/>
                  <a:gd name="connsiteY8" fmla="*/ 0 h 42389"/>
                  <a:gd name="connsiteX9" fmla="*/ 8055 w 25163"/>
                  <a:gd name="connsiteY9" fmla="*/ 12815 h 4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63" h="42389">
                    <a:moveTo>
                      <a:pt x="8055" y="12815"/>
                    </a:moveTo>
                    <a:cubicBezTo>
                      <a:pt x="6773" y="17942"/>
                      <a:pt x="10618" y="17942"/>
                      <a:pt x="11900" y="17942"/>
                    </a:cubicBezTo>
                    <a:cubicBezTo>
                      <a:pt x="10618" y="20505"/>
                      <a:pt x="10618" y="23068"/>
                      <a:pt x="9337" y="25631"/>
                    </a:cubicBezTo>
                    <a:cubicBezTo>
                      <a:pt x="-916" y="30757"/>
                      <a:pt x="-2197" y="41009"/>
                      <a:pt x="2928" y="42291"/>
                    </a:cubicBezTo>
                    <a:cubicBezTo>
                      <a:pt x="9337" y="43573"/>
                      <a:pt x="19589" y="32039"/>
                      <a:pt x="17026" y="25631"/>
                    </a:cubicBezTo>
                    <a:cubicBezTo>
                      <a:pt x="15744" y="24349"/>
                      <a:pt x="14462" y="24349"/>
                      <a:pt x="13181" y="24349"/>
                    </a:cubicBezTo>
                    <a:cubicBezTo>
                      <a:pt x="14462" y="21786"/>
                      <a:pt x="14462" y="19223"/>
                      <a:pt x="15744" y="16660"/>
                    </a:cubicBezTo>
                    <a:cubicBezTo>
                      <a:pt x="24715" y="11534"/>
                      <a:pt x="27278" y="1282"/>
                      <a:pt x="23433" y="0"/>
                    </a:cubicBezTo>
                    <a:cubicBezTo>
                      <a:pt x="22152" y="0"/>
                      <a:pt x="22152" y="0"/>
                      <a:pt x="20871" y="0"/>
                    </a:cubicBezTo>
                    <a:cubicBezTo>
                      <a:pt x="10618" y="3845"/>
                      <a:pt x="8055" y="12815"/>
                      <a:pt x="8055"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6" name="Freeform: Shape 1658">
                <a:extLst>
                  <a:ext uri="{FF2B5EF4-FFF2-40B4-BE49-F238E27FC236}">
                    <a16:creationId xmlns:a16="http://schemas.microsoft.com/office/drawing/2014/main" id="{692BEDFC-83AE-4491-8F96-211A3768B6A1}"/>
                  </a:ext>
                </a:extLst>
              </p:cNvPr>
              <p:cNvSpPr/>
              <p:nvPr/>
            </p:nvSpPr>
            <p:spPr>
              <a:xfrm>
                <a:off x="5043847" y="2332718"/>
                <a:ext cx="61917" cy="96376"/>
              </a:xfrm>
              <a:custGeom>
                <a:avLst/>
                <a:gdLst>
                  <a:gd name="connsiteX0" fmla="*/ 0 w 61917"/>
                  <a:gd name="connsiteY0" fmla="*/ 91831 h 96376"/>
                  <a:gd name="connsiteX1" fmla="*/ 11534 w 61917"/>
                  <a:gd name="connsiteY1" fmla="*/ 93113 h 96376"/>
                  <a:gd name="connsiteX2" fmla="*/ 14097 w 61917"/>
                  <a:gd name="connsiteY2" fmla="*/ 79016 h 96376"/>
                  <a:gd name="connsiteX3" fmla="*/ 12815 w 61917"/>
                  <a:gd name="connsiteY3" fmla="*/ 79016 h 96376"/>
                  <a:gd name="connsiteX4" fmla="*/ 24349 w 61917"/>
                  <a:gd name="connsiteY4" fmla="*/ 39288 h 96376"/>
                  <a:gd name="connsiteX5" fmla="*/ 47417 w 61917"/>
                  <a:gd name="connsiteY5" fmla="*/ 16220 h 96376"/>
                  <a:gd name="connsiteX6" fmla="*/ 61514 w 61917"/>
                  <a:gd name="connsiteY6" fmla="*/ 2123 h 96376"/>
                  <a:gd name="connsiteX7" fmla="*/ 56388 w 61917"/>
                  <a:gd name="connsiteY7" fmla="*/ 842 h 96376"/>
                  <a:gd name="connsiteX8" fmla="*/ 46136 w 61917"/>
                  <a:gd name="connsiteY8" fmla="*/ 14939 h 96376"/>
                  <a:gd name="connsiteX9" fmla="*/ 21786 w 61917"/>
                  <a:gd name="connsiteY9" fmla="*/ 39288 h 96376"/>
                  <a:gd name="connsiteX10" fmla="*/ 8971 w 61917"/>
                  <a:gd name="connsiteY10" fmla="*/ 80298 h 96376"/>
                  <a:gd name="connsiteX11" fmla="*/ 0 w 61917"/>
                  <a:gd name="connsiteY11" fmla="*/ 91831 h 9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917" h="96376">
                    <a:moveTo>
                      <a:pt x="0" y="91831"/>
                    </a:moveTo>
                    <a:cubicBezTo>
                      <a:pt x="0" y="96958"/>
                      <a:pt x="5126" y="98239"/>
                      <a:pt x="11534" y="93113"/>
                    </a:cubicBezTo>
                    <a:cubicBezTo>
                      <a:pt x="17942" y="87987"/>
                      <a:pt x="19223" y="79016"/>
                      <a:pt x="14097" y="79016"/>
                    </a:cubicBezTo>
                    <a:cubicBezTo>
                      <a:pt x="14097" y="79016"/>
                      <a:pt x="12815" y="79016"/>
                      <a:pt x="12815" y="79016"/>
                    </a:cubicBezTo>
                    <a:cubicBezTo>
                      <a:pt x="16660" y="66201"/>
                      <a:pt x="20505" y="52104"/>
                      <a:pt x="24349" y="39288"/>
                    </a:cubicBezTo>
                    <a:cubicBezTo>
                      <a:pt x="30757" y="32880"/>
                      <a:pt x="41010" y="23910"/>
                      <a:pt x="47417" y="16220"/>
                    </a:cubicBezTo>
                    <a:cubicBezTo>
                      <a:pt x="53825" y="18783"/>
                      <a:pt x="64078" y="7250"/>
                      <a:pt x="61514" y="2123"/>
                    </a:cubicBezTo>
                    <a:cubicBezTo>
                      <a:pt x="60233" y="-440"/>
                      <a:pt x="57670" y="-440"/>
                      <a:pt x="56388" y="842"/>
                    </a:cubicBezTo>
                    <a:cubicBezTo>
                      <a:pt x="48699" y="3405"/>
                      <a:pt x="44854" y="9813"/>
                      <a:pt x="46136" y="14939"/>
                    </a:cubicBezTo>
                    <a:lnTo>
                      <a:pt x="21786" y="39288"/>
                    </a:lnTo>
                    <a:cubicBezTo>
                      <a:pt x="17942" y="53385"/>
                      <a:pt x="12815" y="66201"/>
                      <a:pt x="8971" y="80298"/>
                    </a:cubicBezTo>
                    <a:cubicBezTo>
                      <a:pt x="1281" y="85424"/>
                      <a:pt x="1281" y="91831"/>
                      <a:pt x="0" y="9183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7" name="Freeform: Shape 1659">
                <a:extLst>
                  <a:ext uri="{FF2B5EF4-FFF2-40B4-BE49-F238E27FC236}">
                    <a16:creationId xmlns:a16="http://schemas.microsoft.com/office/drawing/2014/main" id="{E3B4ED39-130E-4955-8DAA-D4C4E9D5B3F6}"/>
                  </a:ext>
                </a:extLst>
              </p:cNvPr>
              <p:cNvSpPr/>
              <p:nvPr/>
            </p:nvSpPr>
            <p:spPr>
              <a:xfrm>
                <a:off x="5255239" y="2272560"/>
                <a:ext cx="79966" cy="98532"/>
              </a:xfrm>
              <a:custGeom>
                <a:avLst/>
                <a:gdLst>
                  <a:gd name="connsiteX0" fmla="*/ 63 w 79966"/>
                  <a:gd name="connsiteY0" fmla="*/ 94319 h 98532"/>
                  <a:gd name="connsiteX1" fmla="*/ 16724 w 79966"/>
                  <a:gd name="connsiteY1" fmla="*/ 93038 h 98532"/>
                  <a:gd name="connsiteX2" fmla="*/ 12879 w 79966"/>
                  <a:gd name="connsiteY2" fmla="*/ 81504 h 98532"/>
                  <a:gd name="connsiteX3" fmla="*/ 14160 w 79966"/>
                  <a:gd name="connsiteY3" fmla="*/ 67407 h 98532"/>
                  <a:gd name="connsiteX4" fmla="*/ 65423 w 79966"/>
                  <a:gd name="connsiteY4" fmla="*/ 16145 h 98532"/>
                  <a:gd name="connsiteX5" fmla="*/ 79520 w 79966"/>
                  <a:gd name="connsiteY5" fmla="*/ 3330 h 98532"/>
                  <a:gd name="connsiteX6" fmla="*/ 70549 w 79966"/>
                  <a:gd name="connsiteY6" fmla="*/ 766 h 98532"/>
                  <a:gd name="connsiteX7" fmla="*/ 61578 w 79966"/>
                  <a:gd name="connsiteY7" fmla="*/ 13582 h 98532"/>
                  <a:gd name="connsiteX8" fmla="*/ 9034 w 79966"/>
                  <a:gd name="connsiteY8" fmla="*/ 66125 h 98532"/>
                  <a:gd name="connsiteX9" fmla="*/ 7753 w 79966"/>
                  <a:gd name="connsiteY9" fmla="*/ 82785 h 98532"/>
                  <a:gd name="connsiteX10" fmla="*/ 63 w 79966"/>
                  <a:gd name="connsiteY10" fmla="*/ 94319 h 98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9966" h="98532">
                    <a:moveTo>
                      <a:pt x="63" y="94319"/>
                    </a:moveTo>
                    <a:cubicBezTo>
                      <a:pt x="1345" y="100727"/>
                      <a:pt x="11597" y="99445"/>
                      <a:pt x="16724" y="93038"/>
                    </a:cubicBezTo>
                    <a:cubicBezTo>
                      <a:pt x="19287" y="89193"/>
                      <a:pt x="20568" y="81504"/>
                      <a:pt x="12879" y="81504"/>
                    </a:cubicBezTo>
                    <a:cubicBezTo>
                      <a:pt x="12879" y="76378"/>
                      <a:pt x="14160" y="71251"/>
                      <a:pt x="14160" y="67407"/>
                    </a:cubicBezTo>
                    <a:cubicBezTo>
                      <a:pt x="29539" y="52028"/>
                      <a:pt x="50044" y="31524"/>
                      <a:pt x="65423" y="16145"/>
                    </a:cubicBezTo>
                    <a:cubicBezTo>
                      <a:pt x="73112" y="18708"/>
                      <a:pt x="82083" y="8456"/>
                      <a:pt x="79520" y="3330"/>
                    </a:cubicBezTo>
                    <a:cubicBezTo>
                      <a:pt x="76957" y="-515"/>
                      <a:pt x="71830" y="-515"/>
                      <a:pt x="70549" y="766"/>
                    </a:cubicBezTo>
                    <a:cubicBezTo>
                      <a:pt x="62859" y="3330"/>
                      <a:pt x="60296" y="9737"/>
                      <a:pt x="61578" y="13582"/>
                    </a:cubicBezTo>
                    <a:lnTo>
                      <a:pt x="9034" y="66125"/>
                    </a:lnTo>
                    <a:cubicBezTo>
                      <a:pt x="7753" y="71251"/>
                      <a:pt x="7753" y="76378"/>
                      <a:pt x="7753" y="82785"/>
                    </a:cubicBezTo>
                    <a:cubicBezTo>
                      <a:pt x="-1218" y="87912"/>
                      <a:pt x="63" y="94319"/>
                      <a:pt x="63" y="9431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8" name="Freeform: Shape 1660">
                <a:extLst>
                  <a:ext uri="{FF2B5EF4-FFF2-40B4-BE49-F238E27FC236}">
                    <a16:creationId xmlns:a16="http://schemas.microsoft.com/office/drawing/2014/main" id="{89F120D0-0EC4-4E9D-8CBD-7E0B27A67C3F}"/>
                  </a:ext>
                </a:extLst>
              </p:cNvPr>
              <p:cNvSpPr/>
              <p:nvPr/>
            </p:nvSpPr>
            <p:spPr>
              <a:xfrm>
                <a:off x="6539416" y="2091347"/>
                <a:ext cx="216633" cy="181091"/>
              </a:xfrm>
              <a:custGeom>
                <a:avLst/>
                <a:gdLst>
                  <a:gd name="connsiteX0" fmla="*/ 6408 w 216633"/>
                  <a:gd name="connsiteY0" fmla="*/ 11534 h 181091"/>
                  <a:gd name="connsiteX1" fmla="*/ 21787 w 216633"/>
                  <a:gd name="connsiteY1" fmla="*/ 14097 h 181091"/>
                  <a:gd name="connsiteX2" fmla="*/ 55107 w 216633"/>
                  <a:gd name="connsiteY2" fmla="*/ 25631 h 181091"/>
                  <a:gd name="connsiteX3" fmla="*/ 176854 w 216633"/>
                  <a:gd name="connsiteY3" fmla="*/ 124310 h 181091"/>
                  <a:gd name="connsiteX4" fmla="*/ 179417 w 216633"/>
                  <a:gd name="connsiteY4" fmla="*/ 142252 h 181091"/>
                  <a:gd name="connsiteX5" fmla="*/ 171728 w 216633"/>
                  <a:gd name="connsiteY5" fmla="*/ 143533 h 181091"/>
                  <a:gd name="connsiteX6" fmla="*/ 193514 w 216633"/>
                  <a:gd name="connsiteY6" fmla="*/ 155067 h 181091"/>
                  <a:gd name="connsiteX7" fmla="*/ 184544 w 216633"/>
                  <a:gd name="connsiteY7" fmla="*/ 144815 h 181091"/>
                  <a:gd name="connsiteX8" fmla="*/ 181980 w 216633"/>
                  <a:gd name="connsiteY8" fmla="*/ 129436 h 181091"/>
                  <a:gd name="connsiteX9" fmla="*/ 201203 w 216633"/>
                  <a:gd name="connsiteY9" fmla="*/ 147378 h 181091"/>
                  <a:gd name="connsiteX10" fmla="*/ 202485 w 216633"/>
                  <a:gd name="connsiteY10" fmla="*/ 165319 h 181091"/>
                  <a:gd name="connsiteX11" fmla="*/ 196078 w 216633"/>
                  <a:gd name="connsiteY11" fmla="*/ 170446 h 181091"/>
                  <a:gd name="connsiteX12" fmla="*/ 216582 w 216633"/>
                  <a:gd name="connsiteY12" fmla="*/ 179416 h 181091"/>
                  <a:gd name="connsiteX13" fmla="*/ 207611 w 216633"/>
                  <a:gd name="connsiteY13" fmla="*/ 169164 h 181091"/>
                  <a:gd name="connsiteX14" fmla="*/ 205048 w 216633"/>
                  <a:gd name="connsiteY14" fmla="*/ 149941 h 181091"/>
                  <a:gd name="connsiteX15" fmla="*/ 180699 w 216633"/>
                  <a:gd name="connsiteY15" fmla="*/ 128155 h 181091"/>
                  <a:gd name="connsiteX16" fmla="*/ 176854 w 216633"/>
                  <a:gd name="connsiteY16" fmla="*/ 105087 h 181091"/>
                  <a:gd name="connsiteX17" fmla="*/ 57670 w 216633"/>
                  <a:gd name="connsiteY17" fmla="*/ 12815 h 181091"/>
                  <a:gd name="connsiteX18" fmla="*/ 57670 w 216633"/>
                  <a:gd name="connsiteY18" fmla="*/ 11534 h 181091"/>
                  <a:gd name="connsiteX19" fmla="*/ 38446 w 216633"/>
                  <a:gd name="connsiteY19" fmla="*/ 0 h 181091"/>
                  <a:gd name="connsiteX20" fmla="*/ 37165 w 216633"/>
                  <a:gd name="connsiteY20" fmla="*/ 1282 h 181091"/>
                  <a:gd name="connsiteX21" fmla="*/ 55107 w 216633"/>
                  <a:gd name="connsiteY21" fmla="*/ 12815 h 181091"/>
                  <a:gd name="connsiteX22" fmla="*/ 171728 w 216633"/>
                  <a:gd name="connsiteY22" fmla="*/ 103805 h 181091"/>
                  <a:gd name="connsiteX23" fmla="*/ 175573 w 216633"/>
                  <a:gd name="connsiteY23" fmla="*/ 124310 h 181091"/>
                  <a:gd name="connsiteX24" fmla="*/ 55107 w 216633"/>
                  <a:gd name="connsiteY24" fmla="*/ 26912 h 181091"/>
                  <a:gd name="connsiteX25" fmla="*/ 19223 w 216633"/>
                  <a:gd name="connsiteY25" fmla="*/ 12815 h 181091"/>
                  <a:gd name="connsiteX26" fmla="*/ 8971 w 216633"/>
                  <a:gd name="connsiteY26" fmla="*/ 5126 h 181091"/>
                  <a:gd name="connsiteX27" fmla="*/ 0 w 216633"/>
                  <a:gd name="connsiteY27" fmla="*/ 5126 h 181091"/>
                  <a:gd name="connsiteX28" fmla="*/ 6408 w 216633"/>
                  <a:gd name="connsiteY28" fmla="*/ 11534 h 181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6633" h="181091">
                    <a:moveTo>
                      <a:pt x="6408" y="11534"/>
                    </a:moveTo>
                    <a:cubicBezTo>
                      <a:pt x="12816" y="15379"/>
                      <a:pt x="20505" y="17942"/>
                      <a:pt x="21787" y="14097"/>
                    </a:cubicBezTo>
                    <a:lnTo>
                      <a:pt x="55107" y="25631"/>
                    </a:lnTo>
                    <a:cubicBezTo>
                      <a:pt x="96116" y="56388"/>
                      <a:pt x="137126" y="89708"/>
                      <a:pt x="176854" y="124310"/>
                    </a:cubicBezTo>
                    <a:cubicBezTo>
                      <a:pt x="178135" y="129436"/>
                      <a:pt x="178135" y="137125"/>
                      <a:pt x="179417" y="142252"/>
                    </a:cubicBezTo>
                    <a:cubicBezTo>
                      <a:pt x="174291" y="140970"/>
                      <a:pt x="173010" y="140970"/>
                      <a:pt x="171728" y="143533"/>
                    </a:cubicBezTo>
                    <a:cubicBezTo>
                      <a:pt x="173010" y="151222"/>
                      <a:pt x="188388" y="160193"/>
                      <a:pt x="193514" y="155067"/>
                    </a:cubicBezTo>
                    <a:cubicBezTo>
                      <a:pt x="193514" y="152504"/>
                      <a:pt x="192233" y="149941"/>
                      <a:pt x="184544" y="144815"/>
                    </a:cubicBezTo>
                    <a:lnTo>
                      <a:pt x="181980" y="129436"/>
                    </a:lnTo>
                    <a:cubicBezTo>
                      <a:pt x="188388" y="134562"/>
                      <a:pt x="194796" y="140970"/>
                      <a:pt x="201203" y="147378"/>
                    </a:cubicBezTo>
                    <a:cubicBezTo>
                      <a:pt x="201203" y="152504"/>
                      <a:pt x="202485" y="160193"/>
                      <a:pt x="202485" y="165319"/>
                    </a:cubicBezTo>
                    <a:cubicBezTo>
                      <a:pt x="194796" y="162756"/>
                      <a:pt x="193514" y="166601"/>
                      <a:pt x="196078" y="170446"/>
                    </a:cubicBezTo>
                    <a:cubicBezTo>
                      <a:pt x="199922" y="176853"/>
                      <a:pt x="214019" y="184543"/>
                      <a:pt x="216582" y="179416"/>
                    </a:cubicBezTo>
                    <a:cubicBezTo>
                      <a:pt x="216582" y="179416"/>
                      <a:pt x="217864" y="175572"/>
                      <a:pt x="207611" y="169164"/>
                    </a:cubicBezTo>
                    <a:lnTo>
                      <a:pt x="205048" y="149941"/>
                    </a:lnTo>
                    <a:cubicBezTo>
                      <a:pt x="197359" y="142252"/>
                      <a:pt x="189669" y="135844"/>
                      <a:pt x="180699" y="128155"/>
                    </a:cubicBezTo>
                    <a:lnTo>
                      <a:pt x="176854" y="105087"/>
                    </a:lnTo>
                    <a:cubicBezTo>
                      <a:pt x="138408" y="71767"/>
                      <a:pt x="98679" y="41009"/>
                      <a:pt x="57670" y="12815"/>
                    </a:cubicBezTo>
                    <a:cubicBezTo>
                      <a:pt x="57670" y="12815"/>
                      <a:pt x="57670" y="11534"/>
                      <a:pt x="57670" y="11534"/>
                    </a:cubicBezTo>
                    <a:cubicBezTo>
                      <a:pt x="55107" y="6408"/>
                      <a:pt x="43573" y="0"/>
                      <a:pt x="38446" y="0"/>
                    </a:cubicBezTo>
                    <a:cubicBezTo>
                      <a:pt x="38446" y="0"/>
                      <a:pt x="37165" y="0"/>
                      <a:pt x="37165" y="1282"/>
                    </a:cubicBezTo>
                    <a:cubicBezTo>
                      <a:pt x="37165" y="6408"/>
                      <a:pt x="48699" y="11534"/>
                      <a:pt x="55107" y="12815"/>
                    </a:cubicBezTo>
                    <a:cubicBezTo>
                      <a:pt x="94835" y="41009"/>
                      <a:pt x="134563" y="70485"/>
                      <a:pt x="171728" y="103805"/>
                    </a:cubicBezTo>
                    <a:lnTo>
                      <a:pt x="175573" y="124310"/>
                    </a:lnTo>
                    <a:cubicBezTo>
                      <a:pt x="137126" y="89708"/>
                      <a:pt x="96116" y="56388"/>
                      <a:pt x="55107" y="26912"/>
                    </a:cubicBezTo>
                    <a:cubicBezTo>
                      <a:pt x="44855" y="23068"/>
                      <a:pt x="26912" y="21786"/>
                      <a:pt x="19223" y="12815"/>
                    </a:cubicBezTo>
                    <a:cubicBezTo>
                      <a:pt x="17942" y="10252"/>
                      <a:pt x="14097" y="7689"/>
                      <a:pt x="8971" y="5126"/>
                    </a:cubicBezTo>
                    <a:cubicBezTo>
                      <a:pt x="2563" y="2563"/>
                      <a:pt x="1282" y="3845"/>
                      <a:pt x="0" y="5126"/>
                    </a:cubicBezTo>
                    <a:cubicBezTo>
                      <a:pt x="1282" y="7689"/>
                      <a:pt x="1282" y="8971"/>
                      <a:pt x="6408"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09" name="Freeform: Shape 1661">
                <a:extLst>
                  <a:ext uri="{FF2B5EF4-FFF2-40B4-BE49-F238E27FC236}">
                    <a16:creationId xmlns:a16="http://schemas.microsoft.com/office/drawing/2014/main" id="{69418091-2BAF-4115-8E14-5F7AAA8F293B}"/>
                  </a:ext>
                </a:extLst>
              </p:cNvPr>
              <p:cNvSpPr/>
              <p:nvPr/>
            </p:nvSpPr>
            <p:spPr>
              <a:xfrm>
                <a:off x="6558328" y="2092486"/>
                <a:ext cx="20938" cy="12630"/>
              </a:xfrm>
              <a:custGeom>
                <a:avLst/>
                <a:gdLst>
                  <a:gd name="connsiteX0" fmla="*/ 5437 w 20938"/>
                  <a:gd name="connsiteY0" fmla="*/ 7832 h 12630"/>
                  <a:gd name="connsiteX1" fmla="*/ 20816 w 20938"/>
                  <a:gd name="connsiteY1" fmla="*/ 10395 h 12630"/>
                  <a:gd name="connsiteX2" fmla="*/ 1592 w 20938"/>
                  <a:gd name="connsiteY2" fmla="*/ 142 h 12630"/>
                  <a:gd name="connsiteX3" fmla="*/ 5437 w 20938"/>
                  <a:gd name="connsiteY3" fmla="*/ 7832 h 12630"/>
                  <a:gd name="connsiteX4" fmla="*/ 5437 w 20938"/>
                  <a:gd name="connsiteY4" fmla="*/ 7832 h 12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938" h="12630">
                    <a:moveTo>
                      <a:pt x="5437" y="7832"/>
                    </a:moveTo>
                    <a:cubicBezTo>
                      <a:pt x="13126" y="12958"/>
                      <a:pt x="22097" y="14239"/>
                      <a:pt x="20816" y="10395"/>
                    </a:cubicBezTo>
                    <a:cubicBezTo>
                      <a:pt x="19534" y="6550"/>
                      <a:pt x="8000" y="-1139"/>
                      <a:pt x="1592" y="142"/>
                    </a:cubicBezTo>
                    <a:cubicBezTo>
                      <a:pt x="-2252" y="1424"/>
                      <a:pt x="1592" y="5269"/>
                      <a:pt x="5437" y="7832"/>
                    </a:cubicBezTo>
                    <a:cubicBezTo>
                      <a:pt x="4156" y="7832"/>
                      <a:pt x="5437" y="7832"/>
                      <a:pt x="5437" y="783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0" name="Freeform: Shape 1662">
                <a:extLst>
                  <a:ext uri="{FF2B5EF4-FFF2-40B4-BE49-F238E27FC236}">
                    <a16:creationId xmlns:a16="http://schemas.microsoft.com/office/drawing/2014/main" id="{3EF72D41-955F-4DFE-802A-B28B7A88B741}"/>
                  </a:ext>
                </a:extLst>
              </p:cNvPr>
              <p:cNvSpPr/>
              <p:nvPr/>
            </p:nvSpPr>
            <p:spPr>
              <a:xfrm>
                <a:off x="6627396" y="2086221"/>
                <a:ext cx="187860" cy="107791"/>
              </a:xfrm>
              <a:custGeom>
                <a:avLst/>
                <a:gdLst>
                  <a:gd name="connsiteX0" fmla="*/ 6854 w 187860"/>
                  <a:gd name="connsiteY0" fmla="*/ 7689 h 107791"/>
                  <a:gd name="connsiteX1" fmla="*/ 20951 w 187860"/>
                  <a:gd name="connsiteY1" fmla="*/ 11534 h 107791"/>
                  <a:gd name="connsiteX2" fmla="*/ 96563 w 187860"/>
                  <a:gd name="connsiteY2" fmla="*/ 41009 h 107791"/>
                  <a:gd name="connsiteX3" fmla="*/ 167048 w 187860"/>
                  <a:gd name="connsiteY3" fmla="*/ 93553 h 107791"/>
                  <a:gd name="connsiteX4" fmla="*/ 167048 w 187860"/>
                  <a:gd name="connsiteY4" fmla="*/ 94834 h 107791"/>
                  <a:gd name="connsiteX5" fmla="*/ 187553 w 187860"/>
                  <a:gd name="connsiteY5" fmla="*/ 107650 h 107791"/>
                  <a:gd name="connsiteX6" fmla="*/ 169611 w 187860"/>
                  <a:gd name="connsiteY6" fmla="*/ 93553 h 107791"/>
                  <a:gd name="connsiteX7" fmla="*/ 97844 w 187860"/>
                  <a:gd name="connsiteY7" fmla="*/ 39728 h 107791"/>
                  <a:gd name="connsiteX8" fmla="*/ 19670 w 187860"/>
                  <a:gd name="connsiteY8" fmla="*/ 7689 h 107791"/>
                  <a:gd name="connsiteX9" fmla="*/ 1728 w 187860"/>
                  <a:gd name="connsiteY9" fmla="*/ 0 h 107791"/>
                  <a:gd name="connsiteX10" fmla="*/ 447 w 187860"/>
                  <a:gd name="connsiteY10" fmla="*/ 0 h 107791"/>
                  <a:gd name="connsiteX11" fmla="*/ 447 w 187860"/>
                  <a:gd name="connsiteY11" fmla="*/ 1282 h 107791"/>
                  <a:gd name="connsiteX12" fmla="*/ 6854 w 187860"/>
                  <a:gd name="connsiteY12" fmla="*/ 7689 h 10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7860" h="107791">
                    <a:moveTo>
                      <a:pt x="6854" y="7689"/>
                    </a:moveTo>
                    <a:cubicBezTo>
                      <a:pt x="13262" y="11534"/>
                      <a:pt x="20951" y="14097"/>
                      <a:pt x="20951" y="11534"/>
                    </a:cubicBezTo>
                    <a:lnTo>
                      <a:pt x="96563" y="41009"/>
                    </a:lnTo>
                    <a:cubicBezTo>
                      <a:pt x="120912" y="57670"/>
                      <a:pt x="143980" y="75611"/>
                      <a:pt x="167048" y="93553"/>
                    </a:cubicBezTo>
                    <a:cubicBezTo>
                      <a:pt x="167048" y="93553"/>
                      <a:pt x="167048" y="94834"/>
                      <a:pt x="167048" y="94834"/>
                    </a:cubicBezTo>
                    <a:cubicBezTo>
                      <a:pt x="169611" y="101242"/>
                      <a:pt x="182427" y="108931"/>
                      <a:pt x="187553" y="107650"/>
                    </a:cubicBezTo>
                    <a:cubicBezTo>
                      <a:pt x="190116" y="103805"/>
                      <a:pt x="176019" y="94834"/>
                      <a:pt x="169611" y="93553"/>
                    </a:cubicBezTo>
                    <a:cubicBezTo>
                      <a:pt x="146543" y="75611"/>
                      <a:pt x="122194" y="57670"/>
                      <a:pt x="97844" y="39728"/>
                    </a:cubicBezTo>
                    <a:cubicBezTo>
                      <a:pt x="74776" y="30757"/>
                      <a:pt x="37611" y="25631"/>
                      <a:pt x="19670" y="7689"/>
                    </a:cubicBezTo>
                    <a:cubicBezTo>
                      <a:pt x="17106" y="6408"/>
                      <a:pt x="8136" y="0"/>
                      <a:pt x="1728" y="0"/>
                    </a:cubicBezTo>
                    <a:cubicBezTo>
                      <a:pt x="1728" y="0"/>
                      <a:pt x="1728" y="0"/>
                      <a:pt x="447" y="0"/>
                    </a:cubicBezTo>
                    <a:cubicBezTo>
                      <a:pt x="447" y="0"/>
                      <a:pt x="447" y="1282"/>
                      <a:pt x="447" y="1282"/>
                    </a:cubicBezTo>
                    <a:cubicBezTo>
                      <a:pt x="-835" y="2563"/>
                      <a:pt x="447" y="5126"/>
                      <a:pt x="6854"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1" name="Freeform: Shape 379327">
                <a:extLst>
                  <a:ext uri="{FF2B5EF4-FFF2-40B4-BE49-F238E27FC236}">
                    <a16:creationId xmlns:a16="http://schemas.microsoft.com/office/drawing/2014/main" id="{E0570306-945F-4EED-A2F9-F924C8A7E5E3}"/>
                  </a:ext>
                </a:extLst>
              </p:cNvPr>
              <p:cNvSpPr/>
              <p:nvPr/>
            </p:nvSpPr>
            <p:spPr>
              <a:xfrm>
                <a:off x="6643868" y="2083200"/>
                <a:ext cx="204401" cy="108512"/>
              </a:xfrm>
              <a:custGeom>
                <a:avLst/>
                <a:gdLst>
                  <a:gd name="connsiteX0" fmla="*/ 7043 w 204401"/>
                  <a:gd name="connsiteY0" fmla="*/ 9429 h 108512"/>
                  <a:gd name="connsiteX1" fmla="*/ 21140 w 204401"/>
                  <a:gd name="connsiteY1" fmla="*/ 13274 h 108512"/>
                  <a:gd name="connsiteX2" fmla="*/ 21140 w 204401"/>
                  <a:gd name="connsiteY2" fmla="*/ 11992 h 108512"/>
                  <a:gd name="connsiteX3" fmla="*/ 96751 w 204401"/>
                  <a:gd name="connsiteY3" fmla="*/ 42749 h 108512"/>
                  <a:gd name="connsiteX4" fmla="*/ 113412 w 204401"/>
                  <a:gd name="connsiteY4" fmla="*/ 54283 h 108512"/>
                  <a:gd name="connsiteX5" fmla="*/ 113412 w 204401"/>
                  <a:gd name="connsiteY5" fmla="*/ 55565 h 108512"/>
                  <a:gd name="connsiteX6" fmla="*/ 135198 w 204401"/>
                  <a:gd name="connsiteY6" fmla="*/ 67098 h 108512"/>
                  <a:gd name="connsiteX7" fmla="*/ 115975 w 204401"/>
                  <a:gd name="connsiteY7" fmla="*/ 54283 h 108512"/>
                  <a:gd name="connsiteX8" fmla="*/ 103160 w 204401"/>
                  <a:gd name="connsiteY8" fmla="*/ 45312 h 108512"/>
                  <a:gd name="connsiteX9" fmla="*/ 139043 w 204401"/>
                  <a:gd name="connsiteY9" fmla="*/ 60691 h 108512"/>
                  <a:gd name="connsiteX10" fmla="*/ 183897 w 204401"/>
                  <a:gd name="connsiteY10" fmla="*/ 94011 h 108512"/>
                  <a:gd name="connsiteX11" fmla="*/ 183897 w 204401"/>
                  <a:gd name="connsiteY11" fmla="*/ 95292 h 108512"/>
                  <a:gd name="connsiteX12" fmla="*/ 204402 w 204401"/>
                  <a:gd name="connsiteY12" fmla="*/ 108108 h 108512"/>
                  <a:gd name="connsiteX13" fmla="*/ 186460 w 204401"/>
                  <a:gd name="connsiteY13" fmla="*/ 94011 h 108512"/>
                  <a:gd name="connsiteX14" fmla="*/ 140324 w 204401"/>
                  <a:gd name="connsiteY14" fmla="*/ 59409 h 108512"/>
                  <a:gd name="connsiteX15" fmla="*/ 98033 w 204401"/>
                  <a:gd name="connsiteY15" fmla="*/ 41468 h 108512"/>
                  <a:gd name="connsiteX16" fmla="*/ 69839 w 204401"/>
                  <a:gd name="connsiteY16" fmla="*/ 22244 h 108512"/>
                  <a:gd name="connsiteX17" fmla="*/ 35237 w 204401"/>
                  <a:gd name="connsiteY17" fmla="*/ 8147 h 108512"/>
                  <a:gd name="connsiteX18" fmla="*/ 17295 w 204401"/>
                  <a:gd name="connsiteY18" fmla="*/ 458 h 108512"/>
                  <a:gd name="connsiteX19" fmla="*/ 16014 w 204401"/>
                  <a:gd name="connsiteY19" fmla="*/ 458 h 108512"/>
                  <a:gd name="connsiteX20" fmla="*/ 37800 w 204401"/>
                  <a:gd name="connsiteY20" fmla="*/ 11992 h 108512"/>
                  <a:gd name="connsiteX21" fmla="*/ 37800 w 204401"/>
                  <a:gd name="connsiteY21" fmla="*/ 10710 h 108512"/>
                  <a:gd name="connsiteX22" fmla="*/ 69839 w 204401"/>
                  <a:gd name="connsiteY22" fmla="*/ 23526 h 108512"/>
                  <a:gd name="connsiteX23" fmla="*/ 91626 w 204401"/>
                  <a:gd name="connsiteY23" fmla="*/ 37623 h 108512"/>
                  <a:gd name="connsiteX24" fmla="*/ 19859 w 204401"/>
                  <a:gd name="connsiteY24" fmla="*/ 8147 h 108512"/>
                  <a:gd name="connsiteX25" fmla="*/ 635 w 204401"/>
                  <a:gd name="connsiteY25" fmla="*/ 458 h 108512"/>
                  <a:gd name="connsiteX26" fmla="*/ 7043 w 204401"/>
                  <a:gd name="connsiteY26" fmla="*/ 9429 h 108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4401" h="108512">
                    <a:moveTo>
                      <a:pt x="7043" y="9429"/>
                    </a:moveTo>
                    <a:cubicBezTo>
                      <a:pt x="8325" y="10710"/>
                      <a:pt x="16014" y="14555"/>
                      <a:pt x="21140" y="13274"/>
                    </a:cubicBezTo>
                    <a:cubicBezTo>
                      <a:pt x="21140" y="13274"/>
                      <a:pt x="21140" y="11992"/>
                      <a:pt x="21140" y="11992"/>
                    </a:cubicBezTo>
                    <a:lnTo>
                      <a:pt x="96751" y="42749"/>
                    </a:lnTo>
                    <a:cubicBezTo>
                      <a:pt x="101878" y="46594"/>
                      <a:pt x="108285" y="50438"/>
                      <a:pt x="113412" y="54283"/>
                    </a:cubicBezTo>
                    <a:cubicBezTo>
                      <a:pt x="113412" y="54283"/>
                      <a:pt x="113412" y="55565"/>
                      <a:pt x="113412" y="55565"/>
                    </a:cubicBezTo>
                    <a:cubicBezTo>
                      <a:pt x="115975" y="60691"/>
                      <a:pt x="130072" y="69662"/>
                      <a:pt x="135198" y="67098"/>
                    </a:cubicBezTo>
                    <a:cubicBezTo>
                      <a:pt x="133917" y="61972"/>
                      <a:pt x="122383" y="55565"/>
                      <a:pt x="115975" y="54283"/>
                    </a:cubicBezTo>
                    <a:cubicBezTo>
                      <a:pt x="112130" y="51720"/>
                      <a:pt x="107004" y="47875"/>
                      <a:pt x="103160" y="45312"/>
                    </a:cubicBezTo>
                    <a:lnTo>
                      <a:pt x="139043" y="60691"/>
                    </a:lnTo>
                    <a:cubicBezTo>
                      <a:pt x="154421" y="70943"/>
                      <a:pt x="168518" y="82477"/>
                      <a:pt x="183897" y="94011"/>
                    </a:cubicBezTo>
                    <a:cubicBezTo>
                      <a:pt x="183897" y="94011"/>
                      <a:pt x="183897" y="95292"/>
                      <a:pt x="183897" y="95292"/>
                    </a:cubicBezTo>
                    <a:cubicBezTo>
                      <a:pt x="186460" y="100419"/>
                      <a:pt x="200557" y="110671"/>
                      <a:pt x="204402" y="108108"/>
                    </a:cubicBezTo>
                    <a:cubicBezTo>
                      <a:pt x="203120" y="102982"/>
                      <a:pt x="191586" y="95292"/>
                      <a:pt x="186460" y="94011"/>
                    </a:cubicBezTo>
                    <a:cubicBezTo>
                      <a:pt x="171082" y="82477"/>
                      <a:pt x="155703" y="70943"/>
                      <a:pt x="140324" y="59409"/>
                    </a:cubicBezTo>
                    <a:lnTo>
                      <a:pt x="98033" y="41468"/>
                    </a:lnTo>
                    <a:cubicBezTo>
                      <a:pt x="89062" y="35060"/>
                      <a:pt x="80092" y="28652"/>
                      <a:pt x="69839" y="22244"/>
                    </a:cubicBezTo>
                    <a:cubicBezTo>
                      <a:pt x="59587" y="18400"/>
                      <a:pt x="42927" y="15837"/>
                      <a:pt x="35237" y="8147"/>
                    </a:cubicBezTo>
                    <a:cubicBezTo>
                      <a:pt x="32674" y="6866"/>
                      <a:pt x="23703" y="458"/>
                      <a:pt x="17295" y="458"/>
                    </a:cubicBezTo>
                    <a:cubicBezTo>
                      <a:pt x="17295" y="458"/>
                      <a:pt x="16014" y="458"/>
                      <a:pt x="16014" y="458"/>
                    </a:cubicBezTo>
                    <a:cubicBezTo>
                      <a:pt x="18577" y="5584"/>
                      <a:pt x="33956" y="13274"/>
                      <a:pt x="37800" y="11992"/>
                    </a:cubicBezTo>
                    <a:cubicBezTo>
                      <a:pt x="37800" y="11992"/>
                      <a:pt x="37800" y="10710"/>
                      <a:pt x="37800" y="10710"/>
                    </a:cubicBezTo>
                    <a:lnTo>
                      <a:pt x="69839" y="23526"/>
                    </a:lnTo>
                    <a:cubicBezTo>
                      <a:pt x="77529" y="28652"/>
                      <a:pt x="83936" y="33778"/>
                      <a:pt x="91626" y="37623"/>
                    </a:cubicBezTo>
                    <a:cubicBezTo>
                      <a:pt x="69839" y="28652"/>
                      <a:pt x="36519" y="23526"/>
                      <a:pt x="19859" y="8147"/>
                    </a:cubicBezTo>
                    <a:cubicBezTo>
                      <a:pt x="18577" y="6866"/>
                      <a:pt x="5762" y="-2105"/>
                      <a:pt x="635" y="458"/>
                    </a:cubicBezTo>
                    <a:cubicBezTo>
                      <a:pt x="-646" y="4303"/>
                      <a:pt x="-646" y="5584"/>
                      <a:pt x="7043" y="942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2" name="Freeform: Shape 379328">
                <a:extLst>
                  <a:ext uri="{FF2B5EF4-FFF2-40B4-BE49-F238E27FC236}">
                    <a16:creationId xmlns:a16="http://schemas.microsoft.com/office/drawing/2014/main" id="{74AF9FF7-2C73-43CE-9C11-F439D630C13E}"/>
                  </a:ext>
                </a:extLst>
              </p:cNvPr>
              <p:cNvSpPr/>
              <p:nvPr/>
            </p:nvSpPr>
            <p:spPr>
              <a:xfrm>
                <a:off x="6671416" y="2083658"/>
                <a:ext cx="79455" cy="28782"/>
              </a:xfrm>
              <a:custGeom>
                <a:avLst/>
                <a:gdLst>
                  <a:gd name="connsiteX0" fmla="*/ 10252 w 79455"/>
                  <a:gd name="connsiteY0" fmla="*/ 7689 h 28782"/>
                  <a:gd name="connsiteX1" fmla="*/ 24349 w 79455"/>
                  <a:gd name="connsiteY1" fmla="*/ 11534 h 28782"/>
                  <a:gd name="connsiteX2" fmla="*/ 20505 w 79455"/>
                  <a:gd name="connsiteY2" fmla="*/ 7689 h 28782"/>
                  <a:gd name="connsiteX3" fmla="*/ 29476 w 79455"/>
                  <a:gd name="connsiteY3" fmla="*/ 7689 h 28782"/>
                  <a:gd name="connsiteX4" fmla="*/ 61514 w 79455"/>
                  <a:gd name="connsiteY4" fmla="*/ 20505 h 28782"/>
                  <a:gd name="connsiteX5" fmla="*/ 79456 w 79455"/>
                  <a:gd name="connsiteY5" fmla="*/ 28194 h 28782"/>
                  <a:gd name="connsiteX6" fmla="*/ 57669 w 79455"/>
                  <a:gd name="connsiteY6" fmla="*/ 16660 h 28782"/>
                  <a:gd name="connsiteX7" fmla="*/ 57669 w 79455"/>
                  <a:gd name="connsiteY7" fmla="*/ 17942 h 28782"/>
                  <a:gd name="connsiteX8" fmla="*/ 24349 w 79455"/>
                  <a:gd name="connsiteY8" fmla="*/ 3845 h 28782"/>
                  <a:gd name="connsiteX9" fmla="*/ 14097 w 79455"/>
                  <a:gd name="connsiteY9" fmla="*/ 3845 h 28782"/>
                  <a:gd name="connsiteX10" fmla="*/ 1281 w 79455"/>
                  <a:gd name="connsiteY10" fmla="*/ 0 h 28782"/>
                  <a:gd name="connsiteX11" fmla="*/ 0 w 79455"/>
                  <a:gd name="connsiteY11" fmla="*/ 0 h 28782"/>
                  <a:gd name="connsiteX12" fmla="*/ 10252 w 79455"/>
                  <a:gd name="connsiteY12" fmla="*/ 7689 h 28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455" h="28782">
                    <a:moveTo>
                      <a:pt x="10252" y="7689"/>
                    </a:moveTo>
                    <a:cubicBezTo>
                      <a:pt x="16660" y="11534"/>
                      <a:pt x="24349" y="14097"/>
                      <a:pt x="24349" y="11534"/>
                    </a:cubicBezTo>
                    <a:cubicBezTo>
                      <a:pt x="24349" y="10252"/>
                      <a:pt x="21786" y="7689"/>
                      <a:pt x="20505" y="7689"/>
                    </a:cubicBezTo>
                    <a:cubicBezTo>
                      <a:pt x="23067" y="7689"/>
                      <a:pt x="26912" y="7689"/>
                      <a:pt x="29476" y="7689"/>
                    </a:cubicBezTo>
                    <a:cubicBezTo>
                      <a:pt x="39728" y="11534"/>
                      <a:pt x="53825" y="14097"/>
                      <a:pt x="61514" y="20505"/>
                    </a:cubicBezTo>
                    <a:cubicBezTo>
                      <a:pt x="65359" y="24349"/>
                      <a:pt x="78174" y="30757"/>
                      <a:pt x="79456" y="28194"/>
                    </a:cubicBezTo>
                    <a:cubicBezTo>
                      <a:pt x="78174" y="23068"/>
                      <a:pt x="58951" y="14097"/>
                      <a:pt x="57669" y="16660"/>
                    </a:cubicBezTo>
                    <a:cubicBezTo>
                      <a:pt x="57669" y="16660"/>
                      <a:pt x="57669" y="16660"/>
                      <a:pt x="57669" y="17942"/>
                    </a:cubicBezTo>
                    <a:lnTo>
                      <a:pt x="24349" y="3845"/>
                    </a:lnTo>
                    <a:cubicBezTo>
                      <a:pt x="20505" y="3845"/>
                      <a:pt x="17942" y="3845"/>
                      <a:pt x="14097" y="3845"/>
                    </a:cubicBezTo>
                    <a:cubicBezTo>
                      <a:pt x="8971" y="1282"/>
                      <a:pt x="5126" y="0"/>
                      <a:pt x="1281" y="0"/>
                    </a:cubicBezTo>
                    <a:cubicBezTo>
                      <a:pt x="1281" y="0"/>
                      <a:pt x="0" y="0"/>
                      <a:pt x="0" y="0"/>
                    </a:cubicBezTo>
                    <a:cubicBezTo>
                      <a:pt x="1281" y="2563"/>
                      <a:pt x="7689" y="6408"/>
                      <a:pt x="10252"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3" name="Freeform: Shape 379329">
                <a:extLst>
                  <a:ext uri="{FF2B5EF4-FFF2-40B4-BE49-F238E27FC236}">
                    <a16:creationId xmlns:a16="http://schemas.microsoft.com/office/drawing/2014/main" id="{3404AED1-6647-43A3-AFB2-6A312901CB33}"/>
                  </a:ext>
                </a:extLst>
              </p:cNvPr>
              <p:cNvSpPr/>
              <p:nvPr/>
            </p:nvSpPr>
            <p:spPr>
              <a:xfrm>
                <a:off x="6700891" y="2082376"/>
                <a:ext cx="133280" cy="68032"/>
              </a:xfrm>
              <a:custGeom>
                <a:avLst/>
                <a:gdLst>
                  <a:gd name="connsiteX0" fmla="*/ 8971 w 133280"/>
                  <a:gd name="connsiteY0" fmla="*/ 7689 h 68032"/>
                  <a:gd name="connsiteX1" fmla="*/ 21786 w 133280"/>
                  <a:gd name="connsiteY1" fmla="*/ 12815 h 68032"/>
                  <a:gd name="connsiteX2" fmla="*/ 21786 w 133280"/>
                  <a:gd name="connsiteY2" fmla="*/ 11534 h 68032"/>
                  <a:gd name="connsiteX3" fmla="*/ 94834 w 133280"/>
                  <a:gd name="connsiteY3" fmla="*/ 43573 h 68032"/>
                  <a:gd name="connsiteX4" fmla="*/ 112776 w 133280"/>
                  <a:gd name="connsiteY4" fmla="*/ 55106 h 68032"/>
                  <a:gd name="connsiteX5" fmla="*/ 133281 w 133280"/>
                  <a:gd name="connsiteY5" fmla="*/ 67922 h 68032"/>
                  <a:gd name="connsiteX6" fmla="*/ 114058 w 133280"/>
                  <a:gd name="connsiteY6" fmla="*/ 55106 h 68032"/>
                  <a:gd name="connsiteX7" fmla="*/ 94834 w 133280"/>
                  <a:gd name="connsiteY7" fmla="*/ 42291 h 68032"/>
                  <a:gd name="connsiteX8" fmla="*/ 19223 w 133280"/>
                  <a:gd name="connsiteY8" fmla="*/ 8971 h 68032"/>
                  <a:gd name="connsiteX9" fmla="*/ 1281 w 133280"/>
                  <a:gd name="connsiteY9" fmla="*/ 0 h 68032"/>
                  <a:gd name="connsiteX10" fmla="*/ 0 w 133280"/>
                  <a:gd name="connsiteY10" fmla="*/ 0 h 68032"/>
                  <a:gd name="connsiteX11" fmla="*/ 8971 w 133280"/>
                  <a:gd name="connsiteY11" fmla="*/ 7689 h 6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280" h="68032">
                    <a:moveTo>
                      <a:pt x="8971" y="7689"/>
                    </a:moveTo>
                    <a:cubicBezTo>
                      <a:pt x="10252" y="8971"/>
                      <a:pt x="19223" y="12815"/>
                      <a:pt x="21786" y="12815"/>
                    </a:cubicBezTo>
                    <a:cubicBezTo>
                      <a:pt x="21786" y="12815"/>
                      <a:pt x="21786" y="11534"/>
                      <a:pt x="21786" y="11534"/>
                    </a:cubicBezTo>
                    <a:lnTo>
                      <a:pt x="94834" y="43573"/>
                    </a:lnTo>
                    <a:cubicBezTo>
                      <a:pt x="101242" y="47417"/>
                      <a:pt x="106368" y="51262"/>
                      <a:pt x="112776" y="55106"/>
                    </a:cubicBezTo>
                    <a:cubicBezTo>
                      <a:pt x="112776" y="58951"/>
                      <a:pt x="129436" y="69203"/>
                      <a:pt x="133281" y="67922"/>
                    </a:cubicBezTo>
                    <a:cubicBezTo>
                      <a:pt x="133281" y="64077"/>
                      <a:pt x="120466" y="56388"/>
                      <a:pt x="114058" y="55106"/>
                    </a:cubicBezTo>
                    <a:cubicBezTo>
                      <a:pt x="107650" y="49980"/>
                      <a:pt x="101242" y="46136"/>
                      <a:pt x="94834" y="42291"/>
                    </a:cubicBezTo>
                    <a:cubicBezTo>
                      <a:pt x="71767" y="32039"/>
                      <a:pt x="38446" y="24349"/>
                      <a:pt x="19223" y="8971"/>
                    </a:cubicBezTo>
                    <a:cubicBezTo>
                      <a:pt x="16660" y="7689"/>
                      <a:pt x="7689" y="1282"/>
                      <a:pt x="1281" y="0"/>
                    </a:cubicBezTo>
                    <a:cubicBezTo>
                      <a:pt x="1281" y="0"/>
                      <a:pt x="1281" y="0"/>
                      <a:pt x="0" y="0"/>
                    </a:cubicBezTo>
                    <a:cubicBezTo>
                      <a:pt x="0" y="0"/>
                      <a:pt x="0" y="2563"/>
                      <a:pt x="8971"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4" name="Freeform: Shape 379330">
                <a:extLst>
                  <a:ext uri="{FF2B5EF4-FFF2-40B4-BE49-F238E27FC236}">
                    <a16:creationId xmlns:a16="http://schemas.microsoft.com/office/drawing/2014/main" id="{2A0C929D-8CCF-4A3C-AFDE-B51855D72FB9}"/>
                  </a:ext>
                </a:extLst>
              </p:cNvPr>
              <p:cNvSpPr/>
              <p:nvPr/>
            </p:nvSpPr>
            <p:spPr>
              <a:xfrm>
                <a:off x="4500469" y="2609092"/>
                <a:ext cx="48840" cy="101882"/>
              </a:xfrm>
              <a:custGeom>
                <a:avLst/>
                <a:gdLst>
                  <a:gd name="connsiteX0" fmla="*/ 35883 w 48840"/>
                  <a:gd name="connsiteY0" fmla="*/ 12816 h 101882"/>
                  <a:gd name="connsiteX1" fmla="*/ 34602 w 48840"/>
                  <a:gd name="connsiteY1" fmla="*/ 19223 h 101882"/>
                  <a:gd name="connsiteX2" fmla="*/ 6408 w 48840"/>
                  <a:gd name="connsiteY2" fmla="*/ 70485 h 101882"/>
                  <a:gd name="connsiteX3" fmla="*/ 5126 w 48840"/>
                  <a:gd name="connsiteY3" fmla="*/ 88427 h 101882"/>
                  <a:gd name="connsiteX4" fmla="*/ 0 w 48840"/>
                  <a:gd name="connsiteY4" fmla="*/ 99961 h 101882"/>
                  <a:gd name="connsiteX5" fmla="*/ 3845 w 48840"/>
                  <a:gd name="connsiteY5" fmla="*/ 99961 h 101882"/>
                  <a:gd name="connsiteX6" fmla="*/ 12816 w 48840"/>
                  <a:gd name="connsiteY6" fmla="*/ 80737 h 101882"/>
                  <a:gd name="connsiteX7" fmla="*/ 8971 w 48840"/>
                  <a:gd name="connsiteY7" fmla="*/ 84582 h 101882"/>
                  <a:gd name="connsiteX8" fmla="*/ 10252 w 48840"/>
                  <a:gd name="connsiteY8" fmla="*/ 67922 h 101882"/>
                  <a:gd name="connsiteX9" fmla="*/ 37165 w 48840"/>
                  <a:gd name="connsiteY9" fmla="*/ 19223 h 101882"/>
                  <a:gd name="connsiteX10" fmla="*/ 48699 w 48840"/>
                  <a:gd name="connsiteY10" fmla="*/ 0 h 101882"/>
                  <a:gd name="connsiteX11" fmla="*/ 47417 w 48840"/>
                  <a:gd name="connsiteY11" fmla="*/ 0 h 101882"/>
                  <a:gd name="connsiteX12" fmla="*/ 35883 w 48840"/>
                  <a:gd name="connsiteY12" fmla="*/ 12816 h 101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840" h="101882">
                    <a:moveTo>
                      <a:pt x="35883" y="12816"/>
                    </a:moveTo>
                    <a:cubicBezTo>
                      <a:pt x="34602" y="15379"/>
                      <a:pt x="33320" y="19223"/>
                      <a:pt x="34602" y="19223"/>
                    </a:cubicBezTo>
                    <a:cubicBezTo>
                      <a:pt x="24350" y="35883"/>
                      <a:pt x="15379" y="52543"/>
                      <a:pt x="6408" y="70485"/>
                    </a:cubicBezTo>
                    <a:cubicBezTo>
                      <a:pt x="6408" y="75611"/>
                      <a:pt x="7689" y="84582"/>
                      <a:pt x="5126" y="88427"/>
                    </a:cubicBezTo>
                    <a:cubicBezTo>
                      <a:pt x="3845" y="90990"/>
                      <a:pt x="0" y="96116"/>
                      <a:pt x="0" y="99961"/>
                    </a:cubicBezTo>
                    <a:cubicBezTo>
                      <a:pt x="0" y="102524"/>
                      <a:pt x="1282" y="102524"/>
                      <a:pt x="3845" y="99961"/>
                    </a:cubicBezTo>
                    <a:cubicBezTo>
                      <a:pt x="10252" y="94834"/>
                      <a:pt x="16660" y="80737"/>
                      <a:pt x="12816" y="80737"/>
                    </a:cubicBezTo>
                    <a:cubicBezTo>
                      <a:pt x="11534" y="80737"/>
                      <a:pt x="10252" y="82019"/>
                      <a:pt x="8971" y="84582"/>
                    </a:cubicBezTo>
                    <a:lnTo>
                      <a:pt x="10252" y="67922"/>
                    </a:lnTo>
                    <a:cubicBezTo>
                      <a:pt x="19223" y="51262"/>
                      <a:pt x="28194" y="34602"/>
                      <a:pt x="37165" y="19223"/>
                    </a:cubicBezTo>
                    <a:cubicBezTo>
                      <a:pt x="42291" y="14097"/>
                      <a:pt x="49981" y="2563"/>
                      <a:pt x="48699" y="0"/>
                    </a:cubicBezTo>
                    <a:cubicBezTo>
                      <a:pt x="48699" y="0"/>
                      <a:pt x="47417" y="0"/>
                      <a:pt x="47417" y="0"/>
                    </a:cubicBezTo>
                    <a:cubicBezTo>
                      <a:pt x="42291" y="1282"/>
                      <a:pt x="37165" y="10252"/>
                      <a:pt x="35883"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5" name="Freeform: Shape 379331">
                <a:extLst>
                  <a:ext uri="{FF2B5EF4-FFF2-40B4-BE49-F238E27FC236}">
                    <a16:creationId xmlns:a16="http://schemas.microsoft.com/office/drawing/2014/main" id="{C122AD2E-DAA2-4411-8286-ADB25DF09AB8}"/>
                  </a:ext>
                </a:extLst>
              </p:cNvPr>
              <p:cNvSpPr/>
              <p:nvPr/>
            </p:nvSpPr>
            <p:spPr>
              <a:xfrm>
                <a:off x="4585319" y="2570076"/>
                <a:ext cx="63810" cy="158199"/>
              </a:xfrm>
              <a:custGeom>
                <a:avLst/>
                <a:gdLst>
                  <a:gd name="connsiteX0" fmla="*/ 52277 w 63810"/>
                  <a:gd name="connsiteY0" fmla="*/ 10822 h 158199"/>
                  <a:gd name="connsiteX1" fmla="*/ 52277 w 63810"/>
                  <a:gd name="connsiteY1" fmla="*/ 17230 h 158199"/>
                  <a:gd name="connsiteX2" fmla="*/ 13830 w 63810"/>
                  <a:gd name="connsiteY2" fmla="*/ 95404 h 158199"/>
                  <a:gd name="connsiteX3" fmla="*/ 17675 w 63810"/>
                  <a:gd name="connsiteY3" fmla="*/ 119753 h 158199"/>
                  <a:gd name="connsiteX4" fmla="*/ 9985 w 63810"/>
                  <a:gd name="connsiteY4" fmla="*/ 137695 h 158199"/>
                  <a:gd name="connsiteX5" fmla="*/ 2296 w 63810"/>
                  <a:gd name="connsiteY5" fmla="*/ 158200 h 158199"/>
                  <a:gd name="connsiteX6" fmla="*/ 13830 w 63810"/>
                  <a:gd name="connsiteY6" fmla="*/ 137695 h 158199"/>
                  <a:gd name="connsiteX7" fmla="*/ 12548 w 63810"/>
                  <a:gd name="connsiteY7" fmla="*/ 137695 h 158199"/>
                  <a:gd name="connsiteX8" fmla="*/ 20238 w 63810"/>
                  <a:gd name="connsiteY8" fmla="*/ 118472 h 158199"/>
                  <a:gd name="connsiteX9" fmla="*/ 15112 w 63810"/>
                  <a:gd name="connsiteY9" fmla="*/ 94122 h 158199"/>
                  <a:gd name="connsiteX10" fmla="*/ 52277 w 63810"/>
                  <a:gd name="connsiteY10" fmla="*/ 18511 h 158199"/>
                  <a:gd name="connsiteX11" fmla="*/ 63810 w 63810"/>
                  <a:gd name="connsiteY11" fmla="*/ 570 h 158199"/>
                  <a:gd name="connsiteX12" fmla="*/ 61247 w 63810"/>
                  <a:gd name="connsiteY12" fmla="*/ 570 h 158199"/>
                  <a:gd name="connsiteX13" fmla="*/ 52277 w 63810"/>
                  <a:gd name="connsiteY13" fmla="*/ 10822 h 158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810" h="158199">
                    <a:moveTo>
                      <a:pt x="52277" y="10822"/>
                    </a:moveTo>
                    <a:cubicBezTo>
                      <a:pt x="49713" y="15948"/>
                      <a:pt x="50995" y="15948"/>
                      <a:pt x="52277" y="17230"/>
                    </a:cubicBezTo>
                    <a:lnTo>
                      <a:pt x="13830" y="95404"/>
                    </a:lnTo>
                    <a:lnTo>
                      <a:pt x="17675" y="119753"/>
                    </a:lnTo>
                    <a:cubicBezTo>
                      <a:pt x="15112" y="126161"/>
                      <a:pt x="12548" y="131287"/>
                      <a:pt x="9985" y="137695"/>
                    </a:cubicBezTo>
                    <a:cubicBezTo>
                      <a:pt x="1014" y="144103"/>
                      <a:pt x="-2830" y="158200"/>
                      <a:pt x="2296" y="158200"/>
                    </a:cubicBezTo>
                    <a:cubicBezTo>
                      <a:pt x="8704" y="158200"/>
                      <a:pt x="17675" y="141540"/>
                      <a:pt x="13830" y="137695"/>
                    </a:cubicBezTo>
                    <a:cubicBezTo>
                      <a:pt x="13830" y="137695"/>
                      <a:pt x="12548" y="137695"/>
                      <a:pt x="12548" y="137695"/>
                    </a:cubicBezTo>
                    <a:cubicBezTo>
                      <a:pt x="15112" y="131287"/>
                      <a:pt x="17675" y="124880"/>
                      <a:pt x="20238" y="118472"/>
                    </a:cubicBezTo>
                    <a:lnTo>
                      <a:pt x="15112" y="94122"/>
                    </a:lnTo>
                    <a:cubicBezTo>
                      <a:pt x="26645" y="68491"/>
                      <a:pt x="39461" y="42861"/>
                      <a:pt x="52277" y="18511"/>
                    </a:cubicBezTo>
                    <a:cubicBezTo>
                      <a:pt x="58684" y="14667"/>
                      <a:pt x="63810" y="4414"/>
                      <a:pt x="63810" y="570"/>
                    </a:cubicBezTo>
                    <a:cubicBezTo>
                      <a:pt x="63810" y="570"/>
                      <a:pt x="62529" y="-712"/>
                      <a:pt x="61247" y="570"/>
                    </a:cubicBezTo>
                    <a:cubicBezTo>
                      <a:pt x="58684" y="-712"/>
                      <a:pt x="53558" y="8259"/>
                      <a:pt x="52277" y="1082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6" name="Freeform: Shape 379332">
                <a:extLst>
                  <a:ext uri="{FF2B5EF4-FFF2-40B4-BE49-F238E27FC236}">
                    <a16:creationId xmlns:a16="http://schemas.microsoft.com/office/drawing/2014/main" id="{DFDAFE28-DDAA-4A20-A89D-C2F4EDA1996E}"/>
                  </a:ext>
                </a:extLst>
              </p:cNvPr>
              <p:cNvSpPr/>
              <p:nvPr/>
            </p:nvSpPr>
            <p:spPr>
              <a:xfrm>
                <a:off x="4594290" y="2562386"/>
                <a:ext cx="74062" cy="187675"/>
              </a:xfrm>
              <a:custGeom>
                <a:avLst/>
                <a:gdLst>
                  <a:gd name="connsiteX0" fmla="*/ 59966 w 74062"/>
                  <a:gd name="connsiteY0" fmla="*/ 12103 h 187675"/>
                  <a:gd name="connsiteX1" fmla="*/ 59966 w 74062"/>
                  <a:gd name="connsiteY1" fmla="*/ 18511 h 187675"/>
                  <a:gd name="connsiteX2" fmla="*/ 22801 w 74062"/>
                  <a:gd name="connsiteY2" fmla="*/ 95404 h 187675"/>
                  <a:gd name="connsiteX3" fmla="*/ 29209 w 74062"/>
                  <a:gd name="connsiteY3" fmla="*/ 118472 h 187675"/>
                  <a:gd name="connsiteX4" fmla="*/ 9985 w 74062"/>
                  <a:gd name="connsiteY4" fmla="*/ 167170 h 187675"/>
                  <a:gd name="connsiteX5" fmla="*/ 2296 w 74062"/>
                  <a:gd name="connsiteY5" fmla="*/ 187675 h 187675"/>
                  <a:gd name="connsiteX6" fmla="*/ 13830 w 74062"/>
                  <a:gd name="connsiteY6" fmla="*/ 167170 h 187675"/>
                  <a:gd name="connsiteX7" fmla="*/ 12548 w 74062"/>
                  <a:gd name="connsiteY7" fmla="*/ 167170 h 187675"/>
                  <a:gd name="connsiteX8" fmla="*/ 33053 w 74062"/>
                  <a:gd name="connsiteY8" fmla="*/ 117190 h 187675"/>
                  <a:gd name="connsiteX9" fmla="*/ 26645 w 74062"/>
                  <a:gd name="connsiteY9" fmla="*/ 94122 h 187675"/>
                  <a:gd name="connsiteX10" fmla="*/ 62529 w 74062"/>
                  <a:gd name="connsiteY10" fmla="*/ 18511 h 187675"/>
                  <a:gd name="connsiteX11" fmla="*/ 74063 w 74062"/>
                  <a:gd name="connsiteY11" fmla="*/ 570 h 187675"/>
                  <a:gd name="connsiteX12" fmla="*/ 71500 w 74062"/>
                  <a:gd name="connsiteY12" fmla="*/ 570 h 187675"/>
                  <a:gd name="connsiteX13" fmla="*/ 59966 w 74062"/>
                  <a:gd name="connsiteY13" fmla="*/ 12103 h 18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62" h="187675">
                    <a:moveTo>
                      <a:pt x="59966" y="12103"/>
                    </a:moveTo>
                    <a:cubicBezTo>
                      <a:pt x="58684" y="14667"/>
                      <a:pt x="57403" y="17230"/>
                      <a:pt x="59966" y="18511"/>
                    </a:cubicBezTo>
                    <a:cubicBezTo>
                      <a:pt x="47150" y="44142"/>
                      <a:pt x="34335" y="69773"/>
                      <a:pt x="22801" y="95404"/>
                    </a:cubicBezTo>
                    <a:lnTo>
                      <a:pt x="29209" y="118472"/>
                    </a:lnTo>
                    <a:cubicBezTo>
                      <a:pt x="22801" y="135132"/>
                      <a:pt x="16393" y="150510"/>
                      <a:pt x="9985" y="167170"/>
                    </a:cubicBezTo>
                    <a:cubicBezTo>
                      <a:pt x="1015" y="174860"/>
                      <a:pt x="-2830" y="187675"/>
                      <a:pt x="2296" y="187675"/>
                    </a:cubicBezTo>
                    <a:cubicBezTo>
                      <a:pt x="8704" y="187675"/>
                      <a:pt x="17675" y="169734"/>
                      <a:pt x="13830" y="167170"/>
                    </a:cubicBezTo>
                    <a:cubicBezTo>
                      <a:pt x="13830" y="167170"/>
                      <a:pt x="12548" y="167170"/>
                      <a:pt x="12548" y="167170"/>
                    </a:cubicBezTo>
                    <a:cubicBezTo>
                      <a:pt x="18956" y="150510"/>
                      <a:pt x="25364" y="133850"/>
                      <a:pt x="33053" y="117190"/>
                    </a:cubicBezTo>
                    <a:lnTo>
                      <a:pt x="26645" y="94122"/>
                    </a:lnTo>
                    <a:cubicBezTo>
                      <a:pt x="38179" y="68492"/>
                      <a:pt x="49713" y="42861"/>
                      <a:pt x="62529" y="18511"/>
                    </a:cubicBezTo>
                    <a:cubicBezTo>
                      <a:pt x="68937" y="14667"/>
                      <a:pt x="74063" y="4414"/>
                      <a:pt x="74063" y="570"/>
                    </a:cubicBezTo>
                    <a:cubicBezTo>
                      <a:pt x="74063" y="570"/>
                      <a:pt x="72781" y="-712"/>
                      <a:pt x="71500" y="570"/>
                    </a:cubicBezTo>
                    <a:cubicBezTo>
                      <a:pt x="66373" y="570"/>
                      <a:pt x="61247" y="9540"/>
                      <a:pt x="59966" y="121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7" name="Freeform: Shape 379333">
                <a:extLst>
                  <a:ext uri="{FF2B5EF4-FFF2-40B4-BE49-F238E27FC236}">
                    <a16:creationId xmlns:a16="http://schemas.microsoft.com/office/drawing/2014/main" id="{F995283D-C0EB-4F6E-9C0D-B05C9D44EFAB}"/>
                  </a:ext>
                </a:extLst>
              </p:cNvPr>
              <p:cNvSpPr/>
              <p:nvPr/>
            </p:nvSpPr>
            <p:spPr>
              <a:xfrm>
                <a:off x="6715408" y="2100318"/>
                <a:ext cx="21507" cy="12565"/>
              </a:xfrm>
              <a:custGeom>
                <a:avLst/>
                <a:gdLst>
                  <a:gd name="connsiteX0" fmla="*/ 7270 w 21507"/>
                  <a:gd name="connsiteY0" fmla="*/ 7689 h 12565"/>
                  <a:gd name="connsiteX1" fmla="*/ 21367 w 21507"/>
                  <a:gd name="connsiteY1" fmla="*/ 11534 h 12565"/>
                  <a:gd name="connsiteX2" fmla="*/ 862 w 21507"/>
                  <a:gd name="connsiteY2" fmla="*/ 0 h 12565"/>
                  <a:gd name="connsiteX3" fmla="*/ 3425 w 21507"/>
                  <a:gd name="connsiteY3" fmla="*/ 5126 h 12565"/>
                  <a:gd name="connsiteX4" fmla="*/ 7270 w 21507"/>
                  <a:gd name="connsiteY4" fmla="*/ 7689 h 12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07" h="12565">
                    <a:moveTo>
                      <a:pt x="7270" y="7689"/>
                    </a:moveTo>
                    <a:cubicBezTo>
                      <a:pt x="14959" y="11534"/>
                      <a:pt x="22648" y="14097"/>
                      <a:pt x="21367" y="11534"/>
                    </a:cubicBezTo>
                    <a:cubicBezTo>
                      <a:pt x="21367" y="8971"/>
                      <a:pt x="7270" y="0"/>
                      <a:pt x="862" y="0"/>
                    </a:cubicBezTo>
                    <a:cubicBezTo>
                      <a:pt x="-1701" y="0"/>
                      <a:pt x="2144" y="3845"/>
                      <a:pt x="3425" y="5126"/>
                    </a:cubicBezTo>
                    <a:cubicBezTo>
                      <a:pt x="4707" y="5126"/>
                      <a:pt x="5989" y="6408"/>
                      <a:pt x="7270"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8" name="Freeform: Shape 379334">
                <a:extLst>
                  <a:ext uri="{FF2B5EF4-FFF2-40B4-BE49-F238E27FC236}">
                    <a16:creationId xmlns:a16="http://schemas.microsoft.com/office/drawing/2014/main" id="{0A518E5E-E166-411B-914D-E56ACC8DD4EF}"/>
                  </a:ext>
                </a:extLst>
              </p:cNvPr>
              <p:cNvSpPr/>
              <p:nvPr/>
            </p:nvSpPr>
            <p:spPr>
              <a:xfrm>
                <a:off x="6768813" y="2099037"/>
                <a:ext cx="243494" cy="179525"/>
              </a:xfrm>
              <a:custGeom>
                <a:avLst/>
                <a:gdLst>
                  <a:gd name="connsiteX0" fmla="*/ 174291 w 243494"/>
                  <a:gd name="connsiteY0" fmla="*/ 151222 h 179525"/>
                  <a:gd name="connsiteX1" fmla="*/ 187106 w 243494"/>
                  <a:gd name="connsiteY1" fmla="*/ 156349 h 179525"/>
                  <a:gd name="connsiteX2" fmla="*/ 176854 w 243494"/>
                  <a:gd name="connsiteY2" fmla="*/ 144815 h 179525"/>
                  <a:gd name="connsiteX3" fmla="*/ 156349 w 243494"/>
                  <a:gd name="connsiteY3" fmla="*/ 107650 h 179525"/>
                  <a:gd name="connsiteX4" fmla="*/ 178135 w 243494"/>
                  <a:gd name="connsiteY4" fmla="*/ 124310 h 179525"/>
                  <a:gd name="connsiteX5" fmla="*/ 187106 w 243494"/>
                  <a:gd name="connsiteY5" fmla="*/ 140970 h 179525"/>
                  <a:gd name="connsiteX6" fmla="*/ 181980 w 243494"/>
                  <a:gd name="connsiteY6" fmla="*/ 139688 h 179525"/>
                  <a:gd name="connsiteX7" fmla="*/ 202485 w 243494"/>
                  <a:gd name="connsiteY7" fmla="*/ 155067 h 179525"/>
                  <a:gd name="connsiteX8" fmla="*/ 192233 w 243494"/>
                  <a:gd name="connsiteY8" fmla="*/ 143533 h 179525"/>
                  <a:gd name="connsiteX9" fmla="*/ 183262 w 243494"/>
                  <a:gd name="connsiteY9" fmla="*/ 130718 h 179525"/>
                  <a:gd name="connsiteX10" fmla="*/ 222990 w 243494"/>
                  <a:gd name="connsiteY10" fmla="*/ 164038 h 179525"/>
                  <a:gd name="connsiteX11" fmla="*/ 243495 w 243494"/>
                  <a:gd name="connsiteY11" fmla="*/ 179416 h 179525"/>
                  <a:gd name="connsiteX12" fmla="*/ 225553 w 243494"/>
                  <a:gd name="connsiteY12" fmla="*/ 164038 h 179525"/>
                  <a:gd name="connsiteX13" fmla="*/ 181980 w 243494"/>
                  <a:gd name="connsiteY13" fmla="*/ 126873 h 179525"/>
                  <a:gd name="connsiteX14" fmla="*/ 171728 w 243494"/>
                  <a:gd name="connsiteY14" fmla="*/ 110213 h 179525"/>
                  <a:gd name="connsiteX15" fmla="*/ 176854 w 243494"/>
                  <a:gd name="connsiteY15" fmla="*/ 111494 h 179525"/>
                  <a:gd name="connsiteX16" fmla="*/ 156349 w 243494"/>
                  <a:gd name="connsiteY16" fmla="*/ 97397 h 179525"/>
                  <a:gd name="connsiteX17" fmla="*/ 167883 w 243494"/>
                  <a:gd name="connsiteY17" fmla="*/ 108931 h 179525"/>
                  <a:gd name="connsiteX18" fmla="*/ 176854 w 243494"/>
                  <a:gd name="connsiteY18" fmla="*/ 123028 h 179525"/>
                  <a:gd name="connsiteX19" fmla="*/ 155067 w 243494"/>
                  <a:gd name="connsiteY19" fmla="*/ 106368 h 179525"/>
                  <a:gd name="connsiteX20" fmla="*/ 139689 w 243494"/>
                  <a:gd name="connsiteY20" fmla="*/ 85864 h 179525"/>
                  <a:gd name="connsiteX21" fmla="*/ 33320 w 243494"/>
                  <a:gd name="connsiteY21" fmla="*/ 12815 h 179525"/>
                  <a:gd name="connsiteX22" fmla="*/ 12815 w 243494"/>
                  <a:gd name="connsiteY22" fmla="*/ 0 h 179525"/>
                  <a:gd name="connsiteX23" fmla="*/ 32039 w 243494"/>
                  <a:gd name="connsiteY23" fmla="*/ 12815 h 179525"/>
                  <a:gd name="connsiteX24" fmla="*/ 135845 w 243494"/>
                  <a:gd name="connsiteY24" fmla="*/ 84582 h 179525"/>
                  <a:gd name="connsiteX25" fmla="*/ 148660 w 243494"/>
                  <a:gd name="connsiteY25" fmla="*/ 102524 h 179525"/>
                  <a:gd name="connsiteX26" fmla="*/ 21786 w 243494"/>
                  <a:gd name="connsiteY26" fmla="*/ 12815 h 179525"/>
                  <a:gd name="connsiteX27" fmla="*/ 0 w 243494"/>
                  <a:gd name="connsiteY27" fmla="*/ 0 h 179525"/>
                  <a:gd name="connsiteX28" fmla="*/ 19223 w 243494"/>
                  <a:gd name="connsiteY28" fmla="*/ 12815 h 179525"/>
                  <a:gd name="connsiteX29" fmla="*/ 149941 w 243494"/>
                  <a:gd name="connsiteY29" fmla="*/ 105087 h 179525"/>
                  <a:gd name="connsiteX30" fmla="*/ 171728 w 243494"/>
                  <a:gd name="connsiteY30" fmla="*/ 143533 h 179525"/>
                  <a:gd name="connsiteX31" fmla="*/ 166601 w 243494"/>
                  <a:gd name="connsiteY31" fmla="*/ 142252 h 179525"/>
                  <a:gd name="connsiteX32" fmla="*/ 166601 w 243494"/>
                  <a:gd name="connsiteY32" fmla="*/ 143533 h 179525"/>
                  <a:gd name="connsiteX33" fmla="*/ 174291 w 243494"/>
                  <a:gd name="connsiteY33" fmla="*/ 151222 h 17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43494" h="179525">
                    <a:moveTo>
                      <a:pt x="174291" y="151222"/>
                    </a:moveTo>
                    <a:cubicBezTo>
                      <a:pt x="176854" y="153785"/>
                      <a:pt x="184543" y="158912"/>
                      <a:pt x="187106" y="156349"/>
                    </a:cubicBezTo>
                    <a:cubicBezTo>
                      <a:pt x="187106" y="155067"/>
                      <a:pt x="185825" y="151222"/>
                      <a:pt x="176854" y="144815"/>
                    </a:cubicBezTo>
                    <a:lnTo>
                      <a:pt x="156349" y="107650"/>
                    </a:lnTo>
                    <a:cubicBezTo>
                      <a:pt x="164038" y="112776"/>
                      <a:pt x="170446" y="119184"/>
                      <a:pt x="178135" y="124310"/>
                    </a:cubicBezTo>
                    <a:cubicBezTo>
                      <a:pt x="180699" y="129436"/>
                      <a:pt x="184543" y="135844"/>
                      <a:pt x="187106" y="140970"/>
                    </a:cubicBezTo>
                    <a:cubicBezTo>
                      <a:pt x="184543" y="139688"/>
                      <a:pt x="183262" y="139688"/>
                      <a:pt x="181980" y="139688"/>
                    </a:cubicBezTo>
                    <a:cubicBezTo>
                      <a:pt x="180699" y="144815"/>
                      <a:pt x="197359" y="157630"/>
                      <a:pt x="202485" y="155067"/>
                    </a:cubicBezTo>
                    <a:cubicBezTo>
                      <a:pt x="202485" y="153785"/>
                      <a:pt x="201203" y="149941"/>
                      <a:pt x="192233" y="143533"/>
                    </a:cubicBezTo>
                    <a:lnTo>
                      <a:pt x="183262" y="130718"/>
                    </a:lnTo>
                    <a:cubicBezTo>
                      <a:pt x="196077" y="142252"/>
                      <a:pt x="210174" y="152504"/>
                      <a:pt x="222990" y="164038"/>
                    </a:cubicBezTo>
                    <a:cubicBezTo>
                      <a:pt x="222990" y="170446"/>
                      <a:pt x="239650" y="180698"/>
                      <a:pt x="243495" y="179416"/>
                    </a:cubicBezTo>
                    <a:cubicBezTo>
                      <a:pt x="242213" y="173009"/>
                      <a:pt x="230679" y="166601"/>
                      <a:pt x="225553" y="164038"/>
                    </a:cubicBezTo>
                    <a:cubicBezTo>
                      <a:pt x="211456" y="151222"/>
                      <a:pt x="197359" y="139688"/>
                      <a:pt x="181980" y="126873"/>
                    </a:cubicBezTo>
                    <a:cubicBezTo>
                      <a:pt x="179417" y="121747"/>
                      <a:pt x="174291" y="115339"/>
                      <a:pt x="171728" y="110213"/>
                    </a:cubicBezTo>
                    <a:cubicBezTo>
                      <a:pt x="175572" y="111494"/>
                      <a:pt x="175572" y="111494"/>
                      <a:pt x="176854" y="111494"/>
                    </a:cubicBezTo>
                    <a:cubicBezTo>
                      <a:pt x="174291" y="106368"/>
                      <a:pt x="161475" y="97397"/>
                      <a:pt x="156349" y="97397"/>
                    </a:cubicBezTo>
                    <a:cubicBezTo>
                      <a:pt x="156349" y="98679"/>
                      <a:pt x="157631" y="101242"/>
                      <a:pt x="167883" y="108931"/>
                    </a:cubicBezTo>
                    <a:lnTo>
                      <a:pt x="176854" y="123028"/>
                    </a:lnTo>
                    <a:cubicBezTo>
                      <a:pt x="169165" y="117902"/>
                      <a:pt x="162757" y="111494"/>
                      <a:pt x="155067" y="106368"/>
                    </a:cubicBezTo>
                    <a:lnTo>
                      <a:pt x="139689" y="85864"/>
                    </a:lnTo>
                    <a:cubicBezTo>
                      <a:pt x="105087" y="60233"/>
                      <a:pt x="69204" y="35883"/>
                      <a:pt x="33320" y="12815"/>
                    </a:cubicBezTo>
                    <a:cubicBezTo>
                      <a:pt x="30757" y="7689"/>
                      <a:pt x="16660" y="1282"/>
                      <a:pt x="12815" y="0"/>
                    </a:cubicBezTo>
                    <a:cubicBezTo>
                      <a:pt x="14097" y="5126"/>
                      <a:pt x="32039" y="12815"/>
                      <a:pt x="32039" y="12815"/>
                    </a:cubicBezTo>
                    <a:cubicBezTo>
                      <a:pt x="67922" y="34602"/>
                      <a:pt x="102524" y="58951"/>
                      <a:pt x="135845" y="84582"/>
                    </a:cubicBezTo>
                    <a:lnTo>
                      <a:pt x="148660" y="102524"/>
                    </a:lnTo>
                    <a:cubicBezTo>
                      <a:pt x="107650" y="70485"/>
                      <a:pt x="65359" y="41009"/>
                      <a:pt x="21786" y="12815"/>
                    </a:cubicBezTo>
                    <a:cubicBezTo>
                      <a:pt x="20505" y="8971"/>
                      <a:pt x="5126" y="0"/>
                      <a:pt x="0" y="0"/>
                    </a:cubicBezTo>
                    <a:cubicBezTo>
                      <a:pt x="2563" y="5126"/>
                      <a:pt x="17942" y="11534"/>
                      <a:pt x="19223" y="12815"/>
                    </a:cubicBezTo>
                    <a:cubicBezTo>
                      <a:pt x="64078" y="41009"/>
                      <a:pt x="107650" y="71767"/>
                      <a:pt x="149941" y="105087"/>
                    </a:cubicBezTo>
                    <a:cubicBezTo>
                      <a:pt x="156349" y="116621"/>
                      <a:pt x="165320" y="131999"/>
                      <a:pt x="171728" y="143533"/>
                    </a:cubicBezTo>
                    <a:cubicBezTo>
                      <a:pt x="169165" y="142252"/>
                      <a:pt x="167883" y="142252"/>
                      <a:pt x="166601" y="142252"/>
                    </a:cubicBezTo>
                    <a:cubicBezTo>
                      <a:pt x="166601" y="142252"/>
                      <a:pt x="166601" y="143533"/>
                      <a:pt x="166601" y="143533"/>
                    </a:cubicBezTo>
                    <a:cubicBezTo>
                      <a:pt x="169165" y="146096"/>
                      <a:pt x="169165" y="147378"/>
                      <a:pt x="174291" y="15122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19" name="Freeform: Shape 379335">
                <a:extLst>
                  <a:ext uri="{FF2B5EF4-FFF2-40B4-BE49-F238E27FC236}">
                    <a16:creationId xmlns:a16="http://schemas.microsoft.com/office/drawing/2014/main" id="{C467B1B7-E4CD-413F-A25A-F68A75DAB546}"/>
                  </a:ext>
                </a:extLst>
              </p:cNvPr>
              <p:cNvSpPr/>
              <p:nvPr/>
            </p:nvSpPr>
            <p:spPr>
              <a:xfrm>
                <a:off x="6791881" y="2097755"/>
                <a:ext cx="246199" cy="205047"/>
              </a:xfrm>
              <a:custGeom>
                <a:avLst/>
                <a:gdLst>
                  <a:gd name="connsiteX0" fmla="*/ 233242 w 246199"/>
                  <a:gd name="connsiteY0" fmla="*/ 198640 h 205047"/>
                  <a:gd name="connsiteX1" fmla="*/ 246057 w 246199"/>
                  <a:gd name="connsiteY1" fmla="*/ 205047 h 205047"/>
                  <a:gd name="connsiteX2" fmla="*/ 235805 w 246199"/>
                  <a:gd name="connsiteY2" fmla="*/ 192232 h 205047"/>
                  <a:gd name="connsiteX3" fmla="*/ 211456 w 246199"/>
                  <a:gd name="connsiteY3" fmla="*/ 151222 h 205047"/>
                  <a:gd name="connsiteX4" fmla="*/ 21786 w 246199"/>
                  <a:gd name="connsiteY4" fmla="*/ 12815 h 205047"/>
                  <a:gd name="connsiteX5" fmla="*/ 0 w 246199"/>
                  <a:gd name="connsiteY5" fmla="*/ 0 h 205047"/>
                  <a:gd name="connsiteX6" fmla="*/ 19223 w 246199"/>
                  <a:gd name="connsiteY6" fmla="*/ 12815 h 205047"/>
                  <a:gd name="connsiteX7" fmla="*/ 207611 w 246199"/>
                  <a:gd name="connsiteY7" fmla="*/ 148659 h 205047"/>
                  <a:gd name="connsiteX8" fmla="*/ 230679 w 246199"/>
                  <a:gd name="connsiteY8" fmla="*/ 188387 h 205047"/>
                  <a:gd name="connsiteX9" fmla="*/ 225553 w 246199"/>
                  <a:gd name="connsiteY9" fmla="*/ 187106 h 205047"/>
                  <a:gd name="connsiteX10" fmla="*/ 233242 w 246199"/>
                  <a:gd name="connsiteY10" fmla="*/ 198640 h 20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199" h="205047">
                    <a:moveTo>
                      <a:pt x="233242" y="198640"/>
                    </a:moveTo>
                    <a:cubicBezTo>
                      <a:pt x="240932" y="205047"/>
                      <a:pt x="244776" y="205047"/>
                      <a:pt x="246057" y="205047"/>
                    </a:cubicBezTo>
                    <a:cubicBezTo>
                      <a:pt x="247339" y="201203"/>
                      <a:pt x="239650" y="196076"/>
                      <a:pt x="235805" y="192232"/>
                    </a:cubicBezTo>
                    <a:lnTo>
                      <a:pt x="211456" y="151222"/>
                    </a:lnTo>
                    <a:cubicBezTo>
                      <a:pt x="151223" y="101242"/>
                      <a:pt x="87145" y="55106"/>
                      <a:pt x="21786" y="12815"/>
                    </a:cubicBezTo>
                    <a:cubicBezTo>
                      <a:pt x="19223" y="7689"/>
                      <a:pt x="3844" y="1282"/>
                      <a:pt x="0" y="0"/>
                    </a:cubicBezTo>
                    <a:cubicBezTo>
                      <a:pt x="1281" y="5126"/>
                      <a:pt x="19223" y="12815"/>
                      <a:pt x="19223" y="12815"/>
                    </a:cubicBezTo>
                    <a:cubicBezTo>
                      <a:pt x="84582" y="53825"/>
                      <a:pt x="147378" y="98679"/>
                      <a:pt x="207611" y="148659"/>
                    </a:cubicBezTo>
                    <a:cubicBezTo>
                      <a:pt x="214019" y="160193"/>
                      <a:pt x="224271" y="176853"/>
                      <a:pt x="230679" y="188387"/>
                    </a:cubicBezTo>
                    <a:cubicBezTo>
                      <a:pt x="226834" y="187106"/>
                      <a:pt x="226834" y="187106"/>
                      <a:pt x="225553" y="187106"/>
                    </a:cubicBezTo>
                    <a:cubicBezTo>
                      <a:pt x="226834" y="190950"/>
                      <a:pt x="226834" y="193513"/>
                      <a:pt x="233242" y="1986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0" name="Freeform: Shape 379336">
                <a:extLst>
                  <a:ext uri="{FF2B5EF4-FFF2-40B4-BE49-F238E27FC236}">
                    <a16:creationId xmlns:a16="http://schemas.microsoft.com/office/drawing/2014/main" id="{DABEA7FB-F9AF-4719-BDF5-18A386387B97}"/>
                  </a:ext>
                </a:extLst>
              </p:cNvPr>
              <p:cNvSpPr/>
              <p:nvPr/>
            </p:nvSpPr>
            <p:spPr>
              <a:xfrm>
                <a:off x="6830328" y="2101600"/>
                <a:ext cx="349863" cy="256309"/>
              </a:xfrm>
              <a:custGeom>
                <a:avLst/>
                <a:gdLst>
                  <a:gd name="connsiteX0" fmla="*/ 10253 w 349863"/>
                  <a:gd name="connsiteY0" fmla="*/ 7689 h 256309"/>
                  <a:gd name="connsiteX1" fmla="*/ 20505 w 349863"/>
                  <a:gd name="connsiteY1" fmla="*/ 12815 h 256309"/>
                  <a:gd name="connsiteX2" fmla="*/ 215300 w 349863"/>
                  <a:gd name="connsiteY2" fmla="*/ 151222 h 256309"/>
                  <a:gd name="connsiteX3" fmla="*/ 252466 w 349863"/>
                  <a:gd name="connsiteY3" fmla="*/ 175572 h 256309"/>
                  <a:gd name="connsiteX4" fmla="*/ 296038 w 349863"/>
                  <a:gd name="connsiteY4" fmla="*/ 214018 h 256309"/>
                  <a:gd name="connsiteX5" fmla="*/ 315261 w 349863"/>
                  <a:gd name="connsiteY5" fmla="*/ 230678 h 256309"/>
                  <a:gd name="connsiteX6" fmla="*/ 297320 w 349863"/>
                  <a:gd name="connsiteY6" fmla="*/ 214018 h 256309"/>
                  <a:gd name="connsiteX7" fmla="*/ 257592 w 349863"/>
                  <a:gd name="connsiteY7" fmla="*/ 178135 h 256309"/>
                  <a:gd name="connsiteX8" fmla="*/ 288349 w 349863"/>
                  <a:gd name="connsiteY8" fmla="*/ 199921 h 256309"/>
                  <a:gd name="connsiteX9" fmla="*/ 331922 w 349863"/>
                  <a:gd name="connsiteY9" fmla="*/ 239649 h 256309"/>
                  <a:gd name="connsiteX10" fmla="*/ 349863 w 349863"/>
                  <a:gd name="connsiteY10" fmla="*/ 256309 h 256309"/>
                  <a:gd name="connsiteX11" fmla="*/ 333203 w 349863"/>
                  <a:gd name="connsiteY11" fmla="*/ 239649 h 256309"/>
                  <a:gd name="connsiteX12" fmla="*/ 293475 w 349863"/>
                  <a:gd name="connsiteY12" fmla="*/ 203766 h 256309"/>
                  <a:gd name="connsiteX13" fmla="*/ 331922 w 349863"/>
                  <a:gd name="connsiteY13" fmla="*/ 233241 h 256309"/>
                  <a:gd name="connsiteX14" fmla="*/ 315261 w 349863"/>
                  <a:gd name="connsiteY14" fmla="*/ 216581 h 256309"/>
                  <a:gd name="connsiteX15" fmla="*/ 315261 w 349863"/>
                  <a:gd name="connsiteY15" fmla="*/ 217863 h 256309"/>
                  <a:gd name="connsiteX16" fmla="*/ 289631 w 349863"/>
                  <a:gd name="connsiteY16" fmla="*/ 198640 h 256309"/>
                  <a:gd name="connsiteX17" fmla="*/ 272970 w 349863"/>
                  <a:gd name="connsiteY17" fmla="*/ 183261 h 256309"/>
                  <a:gd name="connsiteX18" fmla="*/ 253747 w 349863"/>
                  <a:gd name="connsiteY18" fmla="*/ 167882 h 256309"/>
                  <a:gd name="connsiteX19" fmla="*/ 271689 w 349863"/>
                  <a:gd name="connsiteY19" fmla="*/ 183261 h 256309"/>
                  <a:gd name="connsiteX20" fmla="*/ 284504 w 349863"/>
                  <a:gd name="connsiteY20" fmla="*/ 194795 h 256309"/>
                  <a:gd name="connsiteX21" fmla="*/ 252466 w 349863"/>
                  <a:gd name="connsiteY21" fmla="*/ 174290 h 256309"/>
                  <a:gd name="connsiteX22" fmla="*/ 207611 w 349863"/>
                  <a:gd name="connsiteY22" fmla="*/ 137125 h 256309"/>
                  <a:gd name="connsiteX23" fmla="*/ 188388 w 349863"/>
                  <a:gd name="connsiteY23" fmla="*/ 121747 h 256309"/>
                  <a:gd name="connsiteX24" fmla="*/ 206330 w 349863"/>
                  <a:gd name="connsiteY24" fmla="*/ 137125 h 256309"/>
                  <a:gd name="connsiteX25" fmla="*/ 247339 w 349863"/>
                  <a:gd name="connsiteY25" fmla="*/ 170446 h 256309"/>
                  <a:gd name="connsiteX26" fmla="*/ 215300 w 349863"/>
                  <a:gd name="connsiteY26" fmla="*/ 149941 h 256309"/>
                  <a:gd name="connsiteX27" fmla="*/ 21787 w 349863"/>
                  <a:gd name="connsiteY27" fmla="*/ 12815 h 256309"/>
                  <a:gd name="connsiteX28" fmla="*/ 0 w 349863"/>
                  <a:gd name="connsiteY28" fmla="*/ 0 h 256309"/>
                  <a:gd name="connsiteX29" fmla="*/ 10253 w 349863"/>
                  <a:gd name="connsiteY29" fmla="*/ 7689 h 25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9863" h="256309">
                    <a:moveTo>
                      <a:pt x="10253" y="7689"/>
                    </a:moveTo>
                    <a:cubicBezTo>
                      <a:pt x="12816" y="8971"/>
                      <a:pt x="17942" y="11534"/>
                      <a:pt x="20505" y="12815"/>
                    </a:cubicBezTo>
                    <a:cubicBezTo>
                      <a:pt x="88427" y="53825"/>
                      <a:pt x="153786" y="99961"/>
                      <a:pt x="215300" y="151222"/>
                    </a:cubicBezTo>
                    <a:lnTo>
                      <a:pt x="252466" y="175572"/>
                    </a:lnTo>
                    <a:cubicBezTo>
                      <a:pt x="267844" y="188387"/>
                      <a:pt x="281941" y="201203"/>
                      <a:pt x="296038" y="214018"/>
                    </a:cubicBezTo>
                    <a:cubicBezTo>
                      <a:pt x="298601" y="219144"/>
                      <a:pt x="308854" y="228115"/>
                      <a:pt x="315261" y="230678"/>
                    </a:cubicBezTo>
                    <a:cubicBezTo>
                      <a:pt x="313980" y="224270"/>
                      <a:pt x="297320" y="214018"/>
                      <a:pt x="297320" y="214018"/>
                    </a:cubicBezTo>
                    <a:cubicBezTo>
                      <a:pt x="284504" y="202484"/>
                      <a:pt x="270407" y="189669"/>
                      <a:pt x="257592" y="178135"/>
                    </a:cubicBezTo>
                    <a:lnTo>
                      <a:pt x="288349" y="199921"/>
                    </a:lnTo>
                    <a:cubicBezTo>
                      <a:pt x="302446" y="212737"/>
                      <a:pt x="317824" y="225552"/>
                      <a:pt x="331922" y="239649"/>
                    </a:cubicBezTo>
                    <a:cubicBezTo>
                      <a:pt x="334485" y="244775"/>
                      <a:pt x="344737" y="253746"/>
                      <a:pt x="349863" y="256309"/>
                    </a:cubicBezTo>
                    <a:cubicBezTo>
                      <a:pt x="349863" y="251183"/>
                      <a:pt x="333203" y="239649"/>
                      <a:pt x="333203" y="239649"/>
                    </a:cubicBezTo>
                    <a:cubicBezTo>
                      <a:pt x="320388" y="226834"/>
                      <a:pt x="307572" y="215300"/>
                      <a:pt x="293475" y="203766"/>
                    </a:cubicBezTo>
                    <a:cubicBezTo>
                      <a:pt x="306290" y="214018"/>
                      <a:pt x="317824" y="224270"/>
                      <a:pt x="331922" y="233241"/>
                    </a:cubicBezTo>
                    <a:cubicBezTo>
                      <a:pt x="330640" y="228115"/>
                      <a:pt x="315261" y="216581"/>
                      <a:pt x="315261" y="216581"/>
                    </a:cubicBezTo>
                    <a:cubicBezTo>
                      <a:pt x="315261" y="216581"/>
                      <a:pt x="315261" y="216581"/>
                      <a:pt x="315261" y="217863"/>
                    </a:cubicBezTo>
                    <a:lnTo>
                      <a:pt x="289631" y="198640"/>
                    </a:lnTo>
                    <a:cubicBezTo>
                      <a:pt x="284504" y="193513"/>
                      <a:pt x="278097" y="188387"/>
                      <a:pt x="272970" y="183261"/>
                    </a:cubicBezTo>
                    <a:cubicBezTo>
                      <a:pt x="270407" y="178135"/>
                      <a:pt x="260155" y="170446"/>
                      <a:pt x="253747" y="167882"/>
                    </a:cubicBezTo>
                    <a:cubicBezTo>
                      <a:pt x="253747" y="171727"/>
                      <a:pt x="271689" y="183261"/>
                      <a:pt x="271689" y="183261"/>
                    </a:cubicBezTo>
                    <a:cubicBezTo>
                      <a:pt x="275534" y="187106"/>
                      <a:pt x="280659" y="190950"/>
                      <a:pt x="284504" y="194795"/>
                    </a:cubicBezTo>
                    <a:lnTo>
                      <a:pt x="252466" y="174290"/>
                    </a:lnTo>
                    <a:cubicBezTo>
                      <a:pt x="237087" y="161475"/>
                      <a:pt x="222990" y="149941"/>
                      <a:pt x="207611" y="137125"/>
                    </a:cubicBezTo>
                    <a:cubicBezTo>
                      <a:pt x="205048" y="133281"/>
                      <a:pt x="194796" y="125591"/>
                      <a:pt x="188388" y="121747"/>
                    </a:cubicBezTo>
                    <a:cubicBezTo>
                      <a:pt x="188388" y="125591"/>
                      <a:pt x="206330" y="135844"/>
                      <a:pt x="206330" y="137125"/>
                    </a:cubicBezTo>
                    <a:cubicBezTo>
                      <a:pt x="220427" y="148659"/>
                      <a:pt x="234524" y="158912"/>
                      <a:pt x="247339" y="170446"/>
                    </a:cubicBezTo>
                    <a:lnTo>
                      <a:pt x="215300" y="149941"/>
                    </a:lnTo>
                    <a:cubicBezTo>
                      <a:pt x="153786" y="99961"/>
                      <a:pt x="89709" y="53825"/>
                      <a:pt x="21787" y="12815"/>
                    </a:cubicBezTo>
                    <a:cubicBezTo>
                      <a:pt x="17942" y="8971"/>
                      <a:pt x="3844" y="1282"/>
                      <a:pt x="0" y="0"/>
                    </a:cubicBezTo>
                    <a:cubicBezTo>
                      <a:pt x="2563" y="2563"/>
                      <a:pt x="2563" y="2563"/>
                      <a:pt x="10253"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1" name="Freeform: Shape 379337">
                <a:extLst>
                  <a:ext uri="{FF2B5EF4-FFF2-40B4-BE49-F238E27FC236}">
                    <a16:creationId xmlns:a16="http://schemas.microsoft.com/office/drawing/2014/main" id="{3F50C8AB-CE94-41E4-8B15-1F33B577174D}"/>
                  </a:ext>
                </a:extLst>
              </p:cNvPr>
              <p:cNvSpPr/>
              <p:nvPr/>
            </p:nvSpPr>
            <p:spPr>
              <a:xfrm>
                <a:off x="4656064" y="2553985"/>
                <a:ext cx="29453" cy="48698"/>
              </a:xfrm>
              <a:custGeom>
                <a:avLst/>
                <a:gdLst>
                  <a:gd name="connsiteX0" fmla="*/ 16133 w 29453"/>
                  <a:gd name="connsiteY0" fmla="*/ 14097 h 48698"/>
                  <a:gd name="connsiteX1" fmla="*/ 16133 w 29453"/>
                  <a:gd name="connsiteY1" fmla="*/ 20505 h 48698"/>
                  <a:gd name="connsiteX2" fmla="*/ 11007 w 29453"/>
                  <a:gd name="connsiteY2" fmla="*/ 29476 h 48698"/>
                  <a:gd name="connsiteX3" fmla="*/ 2036 w 29453"/>
                  <a:gd name="connsiteY3" fmla="*/ 48699 h 48698"/>
                  <a:gd name="connsiteX4" fmla="*/ 14852 w 29453"/>
                  <a:gd name="connsiteY4" fmla="*/ 29476 h 48698"/>
                  <a:gd name="connsiteX5" fmla="*/ 13570 w 29453"/>
                  <a:gd name="connsiteY5" fmla="*/ 29476 h 48698"/>
                  <a:gd name="connsiteX6" fmla="*/ 18697 w 29453"/>
                  <a:gd name="connsiteY6" fmla="*/ 19223 h 48698"/>
                  <a:gd name="connsiteX7" fmla="*/ 26386 w 29453"/>
                  <a:gd name="connsiteY7" fmla="*/ 8971 h 48698"/>
                  <a:gd name="connsiteX8" fmla="*/ 27667 w 29453"/>
                  <a:gd name="connsiteY8" fmla="*/ 0 h 48698"/>
                  <a:gd name="connsiteX9" fmla="*/ 16133 w 29453"/>
                  <a:gd name="connsiteY9" fmla="*/ 14097 h 4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53" h="48698">
                    <a:moveTo>
                      <a:pt x="16133" y="14097"/>
                    </a:moveTo>
                    <a:cubicBezTo>
                      <a:pt x="14852" y="16660"/>
                      <a:pt x="14852" y="19223"/>
                      <a:pt x="16133" y="20505"/>
                    </a:cubicBezTo>
                    <a:cubicBezTo>
                      <a:pt x="14852" y="23068"/>
                      <a:pt x="13570" y="26912"/>
                      <a:pt x="11007" y="29476"/>
                    </a:cubicBezTo>
                    <a:cubicBezTo>
                      <a:pt x="2036" y="35883"/>
                      <a:pt x="-3090" y="48699"/>
                      <a:pt x="2036" y="48699"/>
                    </a:cubicBezTo>
                    <a:cubicBezTo>
                      <a:pt x="7163" y="48699"/>
                      <a:pt x="17415" y="33320"/>
                      <a:pt x="14852" y="29476"/>
                    </a:cubicBezTo>
                    <a:cubicBezTo>
                      <a:pt x="14852" y="29476"/>
                      <a:pt x="13570" y="29476"/>
                      <a:pt x="13570" y="29476"/>
                    </a:cubicBezTo>
                    <a:cubicBezTo>
                      <a:pt x="14852" y="26912"/>
                      <a:pt x="16133" y="21786"/>
                      <a:pt x="18697" y="19223"/>
                    </a:cubicBezTo>
                    <a:cubicBezTo>
                      <a:pt x="21260" y="17942"/>
                      <a:pt x="25104" y="12815"/>
                      <a:pt x="26386" y="8971"/>
                    </a:cubicBezTo>
                    <a:cubicBezTo>
                      <a:pt x="30231" y="2563"/>
                      <a:pt x="30231" y="0"/>
                      <a:pt x="27667" y="0"/>
                    </a:cubicBezTo>
                    <a:cubicBezTo>
                      <a:pt x="19978" y="3845"/>
                      <a:pt x="16133" y="14097"/>
                      <a:pt x="1613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2" name="Freeform: Shape 379338">
                <a:extLst>
                  <a:ext uri="{FF2B5EF4-FFF2-40B4-BE49-F238E27FC236}">
                    <a16:creationId xmlns:a16="http://schemas.microsoft.com/office/drawing/2014/main" id="{614E3111-EBB0-472E-AAC1-A3066889D80E}"/>
                  </a:ext>
                </a:extLst>
              </p:cNvPr>
              <p:cNvSpPr/>
              <p:nvPr/>
            </p:nvSpPr>
            <p:spPr>
              <a:xfrm>
                <a:off x="4675839" y="2548859"/>
                <a:ext cx="27870" cy="47417"/>
              </a:xfrm>
              <a:custGeom>
                <a:avLst/>
                <a:gdLst>
                  <a:gd name="connsiteX0" fmla="*/ 13019 w 27870"/>
                  <a:gd name="connsiteY0" fmla="*/ 12816 h 47417"/>
                  <a:gd name="connsiteX1" fmla="*/ 14300 w 27870"/>
                  <a:gd name="connsiteY1" fmla="*/ 19223 h 47417"/>
                  <a:gd name="connsiteX2" fmla="*/ 10455 w 27870"/>
                  <a:gd name="connsiteY2" fmla="*/ 28194 h 47417"/>
                  <a:gd name="connsiteX3" fmla="*/ 1485 w 27870"/>
                  <a:gd name="connsiteY3" fmla="*/ 47417 h 47417"/>
                  <a:gd name="connsiteX4" fmla="*/ 14300 w 27870"/>
                  <a:gd name="connsiteY4" fmla="*/ 28194 h 47417"/>
                  <a:gd name="connsiteX5" fmla="*/ 13019 w 27870"/>
                  <a:gd name="connsiteY5" fmla="*/ 28194 h 47417"/>
                  <a:gd name="connsiteX6" fmla="*/ 16863 w 27870"/>
                  <a:gd name="connsiteY6" fmla="*/ 19223 h 47417"/>
                  <a:gd name="connsiteX7" fmla="*/ 25834 w 27870"/>
                  <a:gd name="connsiteY7" fmla="*/ 0 h 47417"/>
                  <a:gd name="connsiteX8" fmla="*/ 24553 w 27870"/>
                  <a:gd name="connsiteY8" fmla="*/ 0 h 47417"/>
                  <a:gd name="connsiteX9" fmla="*/ 13019 w 27870"/>
                  <a:gd name="connsiteY9" fmla="*/ 12816 h 4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70" h="47417">
                    <a:moveTo>
                      <a:pt x="13019" y="12816"/>
                    </a:moveTo>
                    <a:cubicBezTo>
                      <a:pt x="11737" y="15379"/>
                      <a:pt x="11737" y="17942"/>
                      <a:pt x="14300" y="19223"/>
                    </a:cubicBezTo>
                    <a:cubicBezTo>
                      <a:pt x="13019" y="21786"/>
                      <a:pt x="11737" y="25631"/>
                      <a:pt x="10455" y="28194"/>
                    </a:cubicBezTo>
                    <a:cubicBezTo>
                      <a:pt x="1485" y="34602"/>
                      <a:pt x="-2360" y="47417"/>
                      <a:pt x="1485" y="47417"/>
                    </a:cubicBezTo>
                    <a:cubicBezTo>
                      <a:pt x="6611" y="47417"/>
                      <a:pt x="16863" y="32039"/>
                      <a:pt x="14300" y="28194"/>
                    </a:cubicBezTo>
                    <a:cubicBezTo>
                      <a:pt x="14300" y="28194"/>
                      <a:pt x="13019" y="28194"/>
                      <a:pt x="13019" y="28194"/>
                    </a:cubicBezTo>
                    <a:cubicBezTo>
                      <a:pt x="14300" y="25631"/>
                      <a:pt x="15582" y="21786"/>
                      <a:pt x="16863" y="19223"/>
                    </a:cubicBezTo>
                    <a:cubicBezTo>
                      <a:pt x="25834" y="12816"/>
                      <a:pt x="30960" y="0"/>
                      <a:pt x="25834" y="0"/>
                    </a:cubicBezTo>
                    <a:cubicBezTo>
                      <a:pt x="25834" y="0"/>
                      <a:pt x="24553" y="0"/>
                      <a:pt x="24553" y="0"/>
                    </a:cubicBezTo>
                    <a:cubicBezTo>
                      <a:pt x="18145" y="2563"/>
                      <a:pt x="13019" y="12816"/>
                      <a:pt x="13019"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3" name="Freeform: Shape 379339">
                <a:extLst>
                  <a:ext uri="{FF2B5EF4-FFF2-40B4-BE49-F238E27FC236}">
                    <a16:creationId xmlns:a16="http://schemas.microsoft.com/office/drawing/2014/main" id="{0DBF84A6-161D-45E3-93FB-BDDB13EA2180}"/>
                  </a:ext>
                </a:extLst>
              </p:cNvPr>
              <p:cNvSpPr/>
              <p:nvPr/>
            </p:nvSpPr>
            <p:spPr>
              <a:xfrm>
                <a:off x="5398732" y="2229549"/>
                <a:ext cx="95508" cy="150513"/>
              </a:xfrm>
              <a:custGeom>
                <a:avLst/>
                <a:gdLst>
                  <a:gd name="connsiteX0" fmla="*/ 105 w 95508"/>
                  <a:gd name="connsiteY0" fmla="*/ 146301 h 150513"/>
                  <a:gd name="connsiteX1" fmla="*/ 18046 w 95508"/>
                  <a:gd name="connsiteY1" fmla="*/ 145020 h 150513"/>
                  <a:gd name="connsiteX2" fmla="*/ 11639 w 95508"/>
                  <a:gd name="connsiteY2" fmla="*/ 133486 h 150513"/>
                  <a:gd name="connsiteX3" fmla="*/ 10357 w 95508"/>
                  <a:gd name="connsiteY3" fmla="*/ 95039 h 150513"/>
                  <a:gd name="connsiteX4" fmla="*/ 34707 w 95508"/>
                  <a:gd name="connsiteY4" fmla="*/ 69409 h 150513"/>
                  <a:gd name="connsiteX5" fmla="*/ 35988 w 95508"/>
                  <a:gd name="connsiteY5" fmla="*/ 102729 h 150513"/>
                  <a:gd name="connsiteX6" fmla="*/ 33425 w 95508"/>
                  <a:gd name="connsiteY6" fmla="*/ 118107 h 150513"/>
                  <a:gd name="connsiteX7" fmla="*/ 47522 w 95508"/>
                  <a:gd name="connsiteY7" fmla="*/ 105292 h 150513"/>
                  <a:gd name="connsiteX8" fmla="*/ 39832 w 95508"/>
                  <a:gd name="connsiteY8" fmla="*/ 101447 h 150513"/>
                  <a:gd name="connsiteX9" fmla="*/ 37269 w 95508"/>
                  <a:gd name="connsiteY9" fmla="*/ 64282 h 150513"/>
                  <a:gd name="connsiteX10" fmla="*/ 60337 w 95508"/>
                  <a:gd name="connsiteY10" fmla="*/ 39933 h 150513"/>
                  <a:gd name="connsiteX11" fmla="*/ 62900 w 95508"/>
                  <a:gd name="connsiteY11" fmla="*/ 71972 h 150513"/>
                  <a:gd name="connsiteX12" fmla="*/ 60337 w 95508"/>
                  <a:gd name="connsiteY12" fmla="*/ 87350 h 150513"/>
                  <a:gd name="connsiteX13" fmla="*/ 73153 w 95508"/>
                  <a:gd name="connsiteY13" fmla="*/ 74535 h 150513"/>
                  <a:gd name="connsiteX14" fmla="*/ 65464 w 95508"/>
                  <a:gd name="connsiteY14" fmla="*/ 70690 h 150513"/>
                  <a:gd name="connsiteX15" fmla="*/ 62900 w 95508"/>
                  <a:gd name="connsiteY15" fmla="*/ 34807 h 150513"/>
                  <a:gd name="connsiteX16" fmla="*/ 82124 w 95508"/>
                  <a:gd name="connsiteY16" fmla="*/ 14302 h 150513"/>
                  <a:gd name="connsiteX17" fmla="*/ 94939 w 95508"/>
                  <a:gd name="connsiteY17" fmla="*/ 2768 h 150513"/>
                  <a:gd name="connsiteX18" fmla="*/ 85968 w 95508"/>
                  <a:gd name="connsiteY18" fmla="*/ 205 h 150513"/>
                  <a:gd name="connsiteX19" fmla="*/ 79561 w 95508"/>
                  <a:gd name="connsiteY19" fmla="*/ 13020 h 150513"/>
                  <a:gd name="connsiteX20" fmla="*/ 62900 w 95508"/>
                  <a:gd name="connsiteY20" fmla="*/ 30962 h 150513"/>
                  <a:gd name="connsiteX21" fmla="*/ 61619 w 95508"/>
                  <a:gd name="connsiteY21" fmla="*/ 20710 h 150513"/>
                  <a:gd name="connsiteX22" fmla="*/ 64182 w 95508"/>
                  <a:gd name="connsiteY22" fmla="*/ 6613 h 150513"/>
                  <a:gd name="connsiteX23" fmla="*/ 51366 w 95508"/>
                  <a:gd name="connsiteY23" fmla="*/ 18147 h 150513"/>
                  <a:gd name="connsiteX24" fmla="*/ 57774 w 95508"/>
                  <a:gd name="connsiteY24" fmla="*/ 20710 h 150513"/>
                  <a:gd name="connsiteX25" fmla="*/ 59056 w 95508"/>
                  <a:gd name="connsiteY25" fmla="*/ 33525 h 150513"/>
                  <a:gd name="connsiteX26" fmla="*/ 35988 w 95508"/>
                  <a:gd name="connsiteY26" fmla="*/ 57875 h 150513"/>
                  <a:gd name="connsiteX27" fmla="*/ 34707 w 95508"/>
                  <a:gd name="connsiteY27" fmla="*/ 25836 h 150513"/>
                  <a:gd name="connsiteX28" fmla="*/ 37269 w 95508"/>
                  <a:gd name="connsiteY28" fmla="*/ 11739 h 150513"/>
                  <a:gd name="connsiteX29" fmla="*/ 24454 w 95508"/>
                  <a:gd name="connsiteY29" fmla="*/ 23273 h 150513"/>
                  <a:gd name="connsiteX30" fmla="*/ 30862 w 95508"/>
                  <a:gd name="connsiteY30" fmla="*/ 25836 h 150513"/>
                  <a:gd name="connsiteX31" fmla="*/ 32143 w 95508"/>
                  <a:gd name="connsiteY31" fmla="*/ 60438 h 150513"/>
                  <a:gd name="connsiteX32" fmla="*/ 3949 w 95508"/>
                  <a:gd name="connsiteY32" fmla="*/ 89913 h 150513"/>
                  <a:gd name="connsiteX33" fmla="*/ 5231 w 95508"/>
                  <a:gd name="connsiteY33" fmla="*/ 129641 h 150513"/>
                  <a:gd name="connsiteX34" fmla="*/ 105 w 95508"/>
                  <a:gd name="connsiteY34" fmla="*/ 146301 h 150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5508" h="150513">
                    <a:moveTo>
                      <a:pt x="105" y="146301"/>
                    </a:moveTo>
                    <a:cubicBezTo>
                      <a:pt x="2668" y="152709"/>
                      <a:pt x="14201" y="151427"/>
                      <a:pt x="18046" y="145020"/>
                    </a:cubicBezTo>
                    <a:cubicBezTo>
                      <a:pt x="20609" y="141175"/>
                      <a:pt x="20609" y="133486"/>
                      <a:pt x="11639" y="133486"/>
                    </a:cubicBezTo>
                    <a:cubicBezTo>
                      <a:pt x="11639" y="120670"/>
                      <a:pt x="10357" y="107855"/>
                      <a:pt x="10357" y="95039"/>
                    </a:cubicBezTo>
                    <a:lnTo>
                      <a:pt x="34707" y="69409"/>
                    </a:lnTo>
                    <a:cubicBezTo>
                      <a:pt x="34707" y="80942"/>
                      <a:pt x="35988" y="91195"/>
                      <a:pt x="35988" y="102729"/>
                    </a:cubicBezTo>
                    <a:cubicBezTo>
                      <a:pt x="27017" y="107855"/>
                      <a:pt x="27017" y="116826"/>
                      <a:pt x="33425" y="118107"/>
                    </a:cubicBezTo>
                    <a:cubicBezTo>
                      <a:pt x="41114" y="120670"/>
                      <a:pt x="51366" y="111699"/>
                      <a:pt x="47522" y="105292"/>
                    </a:cubicBezTo>
                    <a:cubicBezTo>
                      <a:pt x="46240" y="101447"/>
                      <a:pt x="42396" y="101447"/>
                      <a:pt x="39832" y="101447"/>
                    </a:cubicBezTo>
                    <a:cubicBezTo>
                      <a:pt x="38551" y="88632"/>
                      <a:pt x="38551" y="77098"/>
                      <a:pt x="37269" y="64282"/>
                    </a:cubicBezTo>
                    <a:lnTo>
                      <a:pt x="60337" y="39933"/>
                    </a:lnTo>
                    <a:cubicBezTo>
                      <a:pt x="61619" y="50185"/>
                      <a:pt x="61619" y="61719"/>
                      <a:pt x="62900" y="71972"/>
                    </a:cubicBezTo>
                    <a:cubicBezTo>
                      <a:pt x="53930" y="77098"/>
                      <a:pt x="55211" y="84787"/>
                      <a:pt x="60337" y="87350"/>
                    </a:cubicBezTo>
                    <a:cubicBezTo>
                      <a:pt x="68027" y="89913"/>
                      <a:pt x="76997" y="80942"/>
                      <a:pt x="73153" y="74535"/>
                    </a:cubicBezTo>
                    <a:cubicBezTo>
                      <a:pt x="71871" y="71972"/>
                      <a:pt x="68027" y="70690"/>
                      <a:pt x="65464" y="70690"/>
                    </a:cubicBezTo>
                    <a:cubicBezTo>
                      <a:pt x="64182" y="59156"/>
                      <a:pt x="64182" y="46341"/>
                      <a:pt x="62900" y="34807"/>
                    </a:cubicBezTo>
                    <a:cubicBezTo>
                      <a:pt x="68027" y="28399"/>
                      <a:pt x="75716" y="20710"/>
                      <a:pt x="82124" y="14302"/>
                    </a:cubicBezTo>
                    <a:cubicBezTo>
                      <a:pt x="91095" y="16865"/>
                      <a:pt x="97502" y="6613"/>
                      <a:pt x="94939" y="2768"/>
                    </a:cubicBezTo>
                    <a:cubicBezTo>
                      <a:pt x="92376" y="-1077"/>
                      <a:pt x="88531" y="205"/>
                      <a:pt x="85968" y="205"/>
                    </a:cubicBezTo>
                    <a:cubicBezTo>
                      <a:pt x="78279" y="2768"/>
                      <a:pt x="75716" y="9176"/>
                      <a:pt x="79561" y="13020"/>
                    </a:cubicBezTo>
                    <a:lnTo>
                      <a:pt x="62900" y="30962"/>
                    </a:lnTo>
                    <a:cubicBezTo>
                      <a:pt x="62900" y="27118"/>
                      <a:pt x="62900" y="24554"/>
                      <a:pt x="61619" y="20710"/>
                    </a:cubicBezTo>
                    <a:cubicBezTo>
                      <a:pt x="70590" y="15584"/>
                      <a:pt x="69308" y="9176"/>
                      <a:pt x="64182" y="6613"/>
                    </a:cubicBezTo>
                    <a:cubicBezTo>
                      <a:pt x="56493" y="4050"/>
                      <a:pt x="48803" y="13020"/>
                      <a:pt x="51366" y="18147"/>
                    </a:cubicBezTo>
                    <a:cubicBezTo>
                      <a:pt x="52648" y="20710"/>
                      <a:pt x="56493" y="20710"/>
                      <a:pt x="57774" y="20710"/>
                    </a:cubicBezTo>
                    <a:cubicBezTo>
                      <a:pt x="57774" y="24554"/>
                      <a:pt x="57774" y="29681"/>
                      <a:pt x="59056" y="33525"/>
                    </a:cubicBezTo>
                    <a:lnTo>
                      <a:pt x="35988" y="57875"/>
                    </a:lnTo>
                    <a:cubicBezTo>
                      <a:pt x="35988" y="47622"/>
                      <a:pt x="34707" y="36088"/>
                      <a:pt x="34707" y="25836"/>
                    </a:cubicBezTo>
                    <a:cubicBezTo>
                      <a:pt x="43677" y="20710"/>
                      <a:pt x="42396" y="13020"/>
                      <a:pt x="37269" y="11739"/>
                    </a:cubicBezTo>
                    <a:cubicBezTo>
                      <a:pt x="29580" y="9176"/>
                      <a:pt x="20609" y="18147"/>
                      <a:pt x="24454" y="23273"/>
                    </a:cubicBezTo>
                    <a:cubicBezTo>
                      <a:pt x="25735" y="25836"/>
                      <a:pt x="29580" y="25836"/>
                      <a:pt x="30862" y="25836"/>
                    </a:cubicBezTo>
                    <a:cubicBezTo>
                      <a:pt x="30862" y="37370"/>
                      <a:pt x="32143" y="48904"/>
                      <a:pt x="32143" y="60438"/>
                    </a:cubicBezTo>
                    <a:lnTo>
                      <a:pt x="3949" y="89913"/>
                    </a:lnTo>
                    <a:cubicBezTo>
                      <a:pt x="3949" y="102729"/>
                      <a:pt x="5231" y="115544"/>
                      <a:pt x="5231" y="129641"/>
                    </a:cubicBezTo>
                    <a:cubicBezTo>
                      <a:pt x="-1177" y="139894"/>
                      <a:pt x="105" y="146301"/>
                      <a:pt x="105" y="14630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4" name="Freeform: Shape 379340">
                <a:extLst>
                  <a:ext uri="{FF2B5EF4-FFF2-40B4-BE49-F238E27FC236}">
                    <a16:creationId xmlns:a16="http://schemas.microsoft.com/office/drawing/2014/main" id="{1F322D83-FC1B-4937-924C-B0425AC71A15}"/>
                  </a:ext>
                </a:extLst>
              </p:cNvPr>
              <p:cNvSpPr/>
              <p:nvPr/>
            </p:nvSpPr>
            <p:spPr>
              <a:xfrm>
                <a:off x="6697046" y="2123386"/>
                <a:ext cx="150772" cy="115339"/>
              </a:xfrm>
              <a:custGeom>
                <a:avLst/>
                <a:gdLst>
                  <a:gd name="connsiteX0" fmla="*/ 6408 w 150772"/>
                  <a:gd name="connsiteY0" fmla="*/ 6408 h 115339"/>
                  <a:gd name="connsiteX1" fmla="*/ 17942 w 150772"/>
                  <a:gd name="connsiteY1" fmla="*/ 11534 h 115339"/>
                  <a:gd name="connsiteX2" fmla="*/ 130718 w 150772"/>
                  <a:gd name="connsiteY2" fmla="*/ 99961 h 115339"/>
                  <a:gd name="connsiteX3" fmla="*/ 149942 w 150772"/>
                  <a:gd name="connsiteY3" fmla="*/ 115339 h 115339"/>
                  <a:gd name="connsiteX4" fmla="*/ 134563 w 150772"/>
                  <a:gd name="connsiteY4" fmla="*/ 101242 h 115339"/>
                  <a:gd name="connsiteX5" fmla="*/ 133281 w 150772"/>
                  <a:gd name="connsiteY5" fmla="*/ 101242 h 115339"/>
                  <a:gd name="connsiteX6" fmla="*/ 20505 w 150772"/>
                  <a:gd name="connsiteY6" fmla="*/ 12815 h 115339"/>
                  <a:gd name="connsiteX7" fmla="*/ 1282 w 150772"/>
                  <a:gd name="connsiteY7" fmla="*/ 0 h 115339"/>
                  <a:gd name="connsiteX8" fmla="*/ 0 w 150772"/>
                  <a:gd name="connsiteY8" fmla="*/ 0 h 115339"/>
                  <a:gd name="connsiteX9" fmla="*/ 0 w 150772"/>
                  <a:gd name="connsiteY9" fmla="*/ 1282 h 115339"/>
                  <a:gd name="connsiteX10" fmla="*/ 6408 w 150772"/>
                  <a:gd name="connsiteY10" fmla="*/ 6408 h 11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0772" h="115339">
                    <a:moveTo>
                      <a:pt x="6408" y="6408"/>
                    </a:moveTo>
                    <a:cubicBezTo>
                      <a:pt x="8971" y="7689"/>
                      <a:pt x="12816" y="10252"/>
                      <a:pt x="17942" y="11534"/>
                    </a:cubicBezTo>
                    <a:cubicBezTo>
                      <a:pt x="56389" y="39728"/>
                      <a:pt x="93553" y="69203"/>
                      <a:pt x="130718" y="99961"/>
                    </a:cubicBezTo>
                    <a:cubicBezTo>
                      <a:pt x="126874" y="107650"/>
                      <a:pt x="149942" y="115339"/>
                      <a:pt x="149942" y="115339"/>
                    </a:cubicBezTo>
                    <a:cubicBezTo>
                      <a:pt x="153786" y="112776"/>
                      <a:pt x="143534" y="103805"/>
                      <a:pt x="134563" y="101242"/>
                    </a:cubicBezTo>
                    <a:cubicBezTo>
                      <a:pt x="134563" y="101242"/>
                      <a:pt x="133281" y="101242"/>
                      <a:pt x="133281" y="101242"/>
                    </a:cubicBezTo>
                    <a:cubicBezTo>
                      <a:pt x="96116" y="69203"/>
                      <a:pt x="58952" y="39728"/>
                      <a:pt x="20505" y="12815"/>
                    </a:cubicBezTo>
                    <a:cubicBezTo>
                      <a:pt x="23068" y="8971"/>
                      <a:pt x="7689" y="0"/>
                      <a:pt x="1282" y="0"/>
                    </a:cubicBezTo>
                    <a:cubicBezTo>
                      <a:pt x="1282" y="0"/>
                      <a:pt x="1282" y="0"/>
                      <a:pt x="0" y="0"/>
                    </a:cubicBezTo>
                    <a:cubicBezTo>
                      <a:pt x="0" y="0"/>
                      <a:pt x="0" y="1282"/>
                      <a:pt x="0" y="1282"/>
                    </a:cubicBezTo>
                    <a:cubicBezTo>
                      <a:pt x="0" y="0"/>
                      <a:pt x="1282" y="2563"/>
                      <a:pt x="6408" y="640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5" name="Freeform: Shape 379341">
                <a:extLst>
                  <a:ext uri="{FF2B5EF4-FFF2-40B4-BE49-F238E27FC236}">
                    <a16:creationId xmlns:a16="http://schemas.microsoft.com/office/drawing/2014/main" id="{519F088F-115A-4CEA-8D19-77C159E9FE95}"/>
                  </a:ext>
                </a:extLst>
              </p:cNvPr>
              <p:cNvSpPr/>
              <p:nvPr/>
            </p:nvSpPr>
            <p:spPr>
              <a:xfrm>
                <a:off x="6743182" y="2118260"/>
                <a:ext cx="173009" cy="117902"/>
              </a:xfrm>
              <a:custGeom>
                <a:avLst/>
                <a:gdLst>
                  <a:gd name="connsiteX0" fmla="*/ 8971 w 173009"/>
                  <a:gd name="connsiteY0" fmla="*/ 8971 h 117902"/>
                  <a:gd name="connsiteX1" fmla="*/ 21787 w 173009"/>
                  <a:gd name="connsiteY1" fmla="*/ 14097 h 117902"/>
                  <a:gd name="connsiteX2" fmla="*/ 21787 w 173009"/>
                  <a:gd name="connsiteY2" fmla="*/ 12815 h 117902"/>
                  <a:gd name="connsiteX3" fmla="*/ 53825 w 173009"/>
                  <a:gd name="connsiteY3" fmla="*/ 26912 h 117902"/>
                  <a:gd name="connsiteX4" fmla="*/ 152505 w 173009"/>
                  <a:gd name="connsiteY4" fmla="*/ 102524 h 117902"/>
                  <a:gd name="connsiteX5" fmla="*/ 173010 w 173009"/>
                  <a:gd name="connsiteY5" fmla="*/ 117902 h 117902"/>
                  <a:gd name="connsiteX6" fmla="*/ 153786 w 173009"/>
                  <a:gd name="connsiteY6" fmla="*/ 101242 h 117902"/>
                  <a:gd name="connsiteX7" fmla="*/ 53825 w 173009"/>
                  <a:gd name="connsiteY7" fmla="*/ 24349 h 117902"/>
                  <a:gd name="connsiteX8" fmla="*/ 19223 w 173009"/>
                  <a:gd name="connsiteY8" fmla="*/ 8971 h 117902"/>
                  <a:gd name="connsiteX9" fmla="*/ 1282 w 173009"/>
                  <a:gd name="connsiteY9" fmla="*/ 0 h 117902"/>
                  <a:gd name="connsiteX10" fmla="*/ 0 w 173009"/>
                  <a:gd name="connsiteY10" fmla="*/ 0 h 117902"/>
                  <a:gd name="connsiteX11" fmla="*/ 8971 w 173009"/>
                  <a:gd name="connsiteY11" fmla="*/ 8971 h 117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009" h="117902">
                    <a:moveTo>
                      <a:pt x="8971" y="8971"/>
                    </a:moveTo>
                    <a:cubicBezTo>
                      <a:pt x="10253" y="10252"/>
                      <a:pt x="19223" y="15379"/>
                      <a:pt x="21787" y="14097"/>
                    </a:cubicBezTo>
                    <a:cubicBezTo>
                      <a:pt x="21787" y="14097"/>
                      <a:pt x="21787" y="12815"/>
                      <a:pt x="21787" y="12815"/>
                    </a:cubicBezTo>
                    <a:lnTo>
                      <a:pt x="53825" y="26912"/>
                    </a:lnTo>
                    <a:cubicBezTo>
                      <a:pt x="87145" y="49980"/>
                      <a:pt x="120466" y="75611"/>
                      <a:pt x="152505" y="102524"/>
                    </a:cubicBezTo>
                    <a:cubicBezTo>
                      <a:pt x="151223" y="107650"/>
                      <a:pt x="167883" y="117902"/>
                      <a:pt x="173010" y="117902"/>
                    </a:cubicBezTo>
                    <a:cubicBezTo>
                      <a:pt x="173010" y="111494"/>
                      <a:pt x="160194" y="103805"/>
                      <a:pt x="153786" y="101242"/>
                    </a:cubicBezTo>
                    <a:cubicBezTo>
                      <a:pt x="121747" y="74330"/>
                      <a:pt x="87145" y="48699"/>
                      <a:pt x="53825" y="24349"/>
                    </a:cubicBezTo>
                    <a:cubicBezTo>
                      <a:pt x="43573" y="19223"/>
                      <a:pt x="28194" y="16660"/>
                      <a:pt x="19223" y="8971"/>
                    </a:cubicBezTo>
                    <a:cubicBezTo>
                      <a:pt x="16660" y="6408"/>
                      <a:pt x="7689" y="0"/>
                      <a:pt x="1282" y="0"/>
                    </a:cubicBezTo>
                    <a:cubicBezTo>
                      <a:pt x="1282" y="0"/>
                      <a:pt x="1282" y="0"/>
                      <a:pt x="0" y="0"/>
                    </a:cubicBezTo>
                    <a:cubicBezTo>
                      <a:pt x="0" y="1282"/>
                      <a:pt x="0" y="3845"/>
                      <a:pt x="8971"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6" name="Freeform: Shape 379342">
                <a:extLst>
                  <a:ext uri="{FF2B5EF4-FFF2-40B4-BE49-F238E27FC236}">
                    <a16:creationId xmlns:a16="http://schemas.microsoft.com/office/drawing/2014/main" id="{A677EB4A-93FA-46DF-9D72-75193E355B1A}"/>
                  </a:ext>
                </a:extLst>
              </p:cNvPr>
              <p:cNvSpPr/>
              <p:nvPr/>
            </p:nvSpPr>
            <p:spPr>
              <a:xfrm>
                <a:off x="6758497" y="2119398"/>
                <a:ext cx="170599" cy="115482"/>
              </a:xfrm>
              <a:custGeom>
                <a:avLst/>
                <a:gdLst>
                  <a:gd name="connsiteX0" fmla="*/ 7753 w 170599"/>
                  <a:gd name="connsiteY0" fmla="*/ 6551 h 115482"/>
                  <a:gd name="connsiteX1" fmla="*/ 20569 w 170599"/>
                  <a:gd name="connsiteY1" fmla="*/ 11677 h 115482"/>
                  <a:gd name="connsiteX2" fmla="*/ 20569 w 170599"/>
                  <a:gd name="connsiteY2" fmla="*/ 10395 h 115482"/>
                  <a:gd name="connsiteX3" fmla="*/ 51325 w 170599"/>
                  <a:gd name="connsiteY3" fmla="*/ 24492 h 115482"/>
                  <a:gd name="connsiteX4" fmla="*/ 150005 w 170599"/>
                  <a:gd name="connsiteY4" fmla="*/ 100104 h 115482"/>
                  <a:gd name="connsiteX5" fmla="*/ 170510 w 170599"/>
                  <a:gd name="connsiteY5" fmla="*/ 115482 h 115482"/>
                  <a:gd name="connsiteX6" fmla="*/ 152568 w 170599"/>
                  <a:gd name="connsiteY6" fmla="*/ 100104 h 115482"/>
                  <a:gd name="connsiteX7" fmla="*/ 57733 w 170599"/>
                  <a:gd name="connsiteY7" fmla="*/ 28337 h 115482"/>
                  <a:gd name="connsiteX8" fmla="*/ 93617 w 170599"/>
                  <a:gd name="connsiteY8" fmla="*/ 44997 h 115482"/>
                  <a:gd name="connsiteX9" fmla="*/ 138471 w 170599"/>
                  <a:gd name="connsiteY9" fmla="*/ 78317 h 115482"/>
                  <a:gd name="connsiteX10" fmla="*/ 158976 w 170599"/>
                  <a:gd name="connsiteY10" fmla="*/ 92414 h 115482"/>
                  <a:gd name="connsiteX11" fmla="*/ 141034 w 170599"/>
                  <a:gd name="connsiteY11" fmla="*/ 78317 h 115482"/>
                  <a:gd name="connsiteX12" fmla="*/ 93617 w 170599"/>
                  <a:gd name="connsiteY12" fmla="*/ 43715 h 115482"/>
                  <a:gd name="connsiteX13" fmla="*/ 52607 w 170599"/>
                  <a:gd name="connsiteY13" fmla="*/ 24492 h 115482"/>
                  <a:gd name="connsiteX14" fmla="*/ 34665 w 170599"/>
                  <a:gd name="connsiteY14" fmla="*/ 12958 h 115482"/>
                  <a:gd name="connsiteX15" fmla="*/ 14160 w 170599"/>
                  <a:gd name="connsiteY15" fmla="*/ 143 h 115482"/>
                  <a:gd name="connsiteX16" fmla="*/ 12879 w 170599"/>
                  <a:gd name="connsiteY16" fmla="*/ 143 h 115482"/>
                  <a:gd name="connsiteX17" fmla="*/ 32102 w 170599"/>
                  <a:gd name="connsiteY17" fmla="*/ 12958 h 115482"/>
                  <a:gd name="connsiteX18" fmla="*/ 46199 w 170599"/>
                  <a:gd name="connsiteY18" fmla="*/ 21929 h 115482"/>
                  <a:gd name="connsiteX19" fmla="*/ 18005 w 170599"/>
                  <a:gd name="connsiteY19" fmla="*/ 9114 h 115482"/>
                  <a:gd name="connsiteX20" fmla="*/ 63 w 170599"/>
                  <a:gd name="connsiteY20" fmla="*/ 143 h 115482"/>
                  <a:gd name="connsiteX21" fmla="*/ 7753 w 170599"/>
                  <a:gd name="connsiteY21" fmla="*/ 6551 h 115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0599" h="115482">
                    <a:moveTo>
                      <a:pt x="7753" y="6551"/>
                    </a:moveTo>
                    <a:cubicBezTo>
                      <a:pt x="9035" y="7832"/>
                      <a:pt x="18005" y="12958"/>
                      <a:pt x="20569" y="11677"/>
                    </a:cubicBezTo>
                    <a:cubicBezTo>
                      <a:pt x="20569" y="11677"/>
                      <a:pt x="20569" y="10395"/>
                      <a:pt x="20569" y="10395"/>
                    </a:cubicBezTo>
                    <a:lnTo>
                      <a:pt x="51325" y="24492"/>
                    </a:lnTo>
                    <a:cubicBezTo>
                      <a:pt x="84646" y="47560"/>
                      <a:pt x="117966" y="73191"/>
                      <a:pt x="150005" y="100104"/>
                    </a:cubicBezTo>
                    <a:cubicBezTo>
                      <a:pt x="148724" y="105230"/>
                      <a:pt x="165383" y="115482"/>
                      <a:pt x="170510" y="115482"/>
                    </a:cubicBezTo>
                    <a:cubicBezTo>
                      <a:pt x="171791" y="111637"/>
                      <a:pt x="158976" y="102667"/>
                      <a:pt x="152568" y="100104"/>
                    </a:cubicBezTo>
                    <a:cubicBezTo>
                      <a:pt x="121811" y="74473"/>
                      <a:pt x="89772" y="50123"/>
                      <a:pt x="57733" y="28337"/>
                    </a:cubicBezTo>
                    <a:lnTo>
                      <a:pt x="93617" y="44997"/>
                    </a:lnTo>
                    <a:cubicBezTo>
                      <a:pt x="108995" y="56531"/>
                      <a:pt x="124374" y="66783"/>
                      <a:pt x="138471" y="78317"/>
                    </a:cubicBezTo>
                    <a:cubicBezTo>
                      <a:pt x="137190" y="82162"/>
                      <a:pt x="155131" y="93696"/>
                      <a:pt x="158976" y="92414"/>
                    </a:cubicBezTo>
                    <a:cubicBezTo>
                      <a:pt x="160257" y="88570"/>
                      <a:pt x="146160" y="79599"/>
                      <a:pt x="141034" y="78317"/>
                    </a:cubicBezTo>
                    <a:cubicBezTo>
                      <a:pt x="125656" y="66783"/>
                      <a:pt x="110277" y="55249"/>
                      <a:pt x="93617" y="43715"/>
                    </a:cubicBezTo>
                    <a:lnTo>
                      <a:pt x="52607" y="24492"/>
                    </a:lnTo>
                    <a:cubicBezTo>
                      <a:pt x="46199" y="20648"/>
                      <a:pt x="41073" y="16803"/>
                      <a:pt x="34665" y="12958"/>
                    </a:cubicBezTo>
                    <a:cubicBezTo>
                      <a:pt x="34665" y="9114"/>
                      <a:pt x="19287" y="143"/>
                      <a:pt x="14160" y="143"/>
                    </a:cubicBezTo>
                    <a:cubicBezTo>
                      <a:pt x="14160" y="143"/>
                      <a:pt x="12879" y="143"/>
                      <a:pt x="12879" y="143"/>
                    </a:cubicBezTo>
                    <a:cubicBezTo>
                      <a:pt x="15442" y="5269"/>
                      <a:pt x="26976" y="11677"/>
                      <a:pt x="32102" y="12958"/>
                    </a:cubicBezTo>
                    <a:cubicBezTo>
                      <a:pt x="37228" y="15522"/>
                      <a:pt x="41073" y="19366"/>
                      <a:pt x="46199" y="21929"/>
                    </a:cubicBezTo>
                    <a:cubicBezTo>
                      <a:pt x="37228" y="18085"/>
                      <a:pt x="24413" y="15522"/>
                      <a:pt x="18005" y="9114"/>
                    </a:cubicBezTo>
                    <a:cubicBezTo>
                      <a:pt x="15442" y="6551"/>
                      <a:pt x="3908" y="-1139"/>
                      <a:pt x="63" y="143"/>
                    </a:cubicBezTo>
                    <a:cubicBezTo>
                      <a:pt x="63" y="143"/>
                      <a:pt x="-1218" y="1425"/>
                      <a:pt x="7753" y="65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7" name="Freeform: Shape 379343">
                <a:extLst>
                  <a:ext uri="{FF2B5EF4-FFF2-40B4-BE49-F238E27FC236}">
                    <a16:creationId xmlns:a16="http://schemas.microsoft.com/office/drawing/2014/main" id="{D4FA8B99-B794-4083-A62D-6B25C60C2A3C}"/>
                  </a:ext>
                </a:extLst>
              </p:cNvPr>
              <p:cNvSpPr/>
              <p:nvPr/>
            </p:nvSpPr>
            <p:spPr>
              <a:xfrm>
                <a:off x="4327260" y="2687266"/>
                <a:ext cx="138608" cy="365240"/>
              </a:xfrm>
              <a:custGeom>
                <a:avLst/>
                <a:gdLst>
                  <a:gd name="connsiteX0" fmla="*/ 127074 w 138608"/>
                  <a:gd name="connsiteY0" fmla="*/ 15379 h 365240"/>
                  <a:gd name="connsiteX1" fmla="*/ 124511 w 138608"/>
                  <a:gd name="connsiteY1" fmla="*/ 21786 h 365240"/>
                  <a:gd name="connsiteX2" fmla="*/ 25832 w 138608"/>
                  <a:gd name="connsiteY2" fmla="*/ 234523 h 365240"/>
                  <a:gd name="connsiteX3" fmla="*/ 25832 w 138608"/>
                  <a:gd name="connsiteY3" fmla="*/ 261435 h 365240"/>
                  <a:gd name="connsiteX4" fmla="*/ 7890 w 138608"/>
                  <a:gd name="connsiteY4" fmla="*/ 313979 h 365240"/>
                  <a:gd name="connsiteX5" fmla="*/ 201 w 138608"/>
                  <a:gd name="connsiteY5" fmla="*/ 335765 h 365240"/>
                  <a:gd name="connsiteX6" fmla="*/ 1482 w 138608"/>
                  <a:gd name="connsiteY6" fmla="*/ 337046 h 365240"/>
                  <a:gd name="connsiteX7" fmla="*/ 9172 w 138608"/>
                  <a:gd name="connsiteY7" fmla="*/ 313979 h 365240"/>
                  <a:gd name="connsiteX8" fmla="*/ 25832 w 138608"/>
                  <a:gd name="connsiteY8" fmla="*/ 266561 h 365240"/>
                  <a:gd name="connsiteX9" fmla="*/ 28395 w 138608"/>
                  <a:gd name="connsiteY9" fmla="*/ 289629 h 365240"/>
                  <a:gd name="connsiteX10" fmla="*/ 11735 w 138608"/>
                  <a:gd name="connsiteY10" fmla="*/ 342173 h 365240"/>
                  <a:gd name="connsiteX11" fmla="*/ 4045 w 138608"/>
                  <a:gd name="connsiteY11" fmla="*/ 363959 h 365240"/>
                  <a:gd name="connsiteX12" fmla="*/ 6608 w 138608"/>
                  <a:gd name="connsiteY12" fmla="*/ 365241 h 365240"/>
                  <a:gd name="connsiteX13" fmla="*/ 14298 w 138608"/>
                  <a:gd name="connsiteY13" fmla="*/ 340891 h 365240"/>
                  <a:gd name="connsiteX14" fmla="*/ 29676 w 138608"/>
                  <a:gd name="connsiteY14" fmla="*/ 292192 h 365240"/>
                  <a:gd name="connsiteX15" fmla="*/ 29676 w 138608"/>
                  <a:gd name="connsiteY15" fmla="*/ 322950 h 365240"/>
                  <a:gd name="connsiteX16" fmla="*/ 32239 w 138608"/>
                  <a:gd name="connsiteY16" fmla="*/ 324231 h 365240"/>
                  <a:gd name="connsiteX17" fmla="*/ 41210 w 138608"/>
                  <a:gd name="connsiteY17" fmla="*/ 301163 h 365240"/>
                  <a:gd name="connsiteX18" fmla="*/ 38647 w 138608"/>
                  <a:gd name="connsiteY18" fmla="*/ 299882 h 365240"/>
                  <a:gd name="connsiteX19" fmla="*/ 34802 w 138608"/>
                  <a:gd name="connsiteY19" fmla="*/ 303726 h 365240"/>
                  <a:gd name="connsiteX20" fmla="*/ 32239 w 138608"/>
                  <a:gd name="connsiteY20" fmla="*/ 284503 h 365240"/>
                  <a:gd name="connsiteX21" fmla="*/ 39929 w 138608"/>
                  <a:gd name="connsiteY21" fmla="*/ 262717 h 365240"/>
                  <a:gd name="connsiteX22" fmla="*/ 48900 w 138608"/>
                  <a:gd name="connsiteY22" fmla="*/ 240931 h 365240"/>
                  <a:gd name="connsiteX23" fmla="*/ 47618 w 138608"/>
                  <a:gd name="connsiteY23" fmla="*/ 239649 h 365240"/>
                  <a:gd name="connsiteX24" fmla="*/ 38647 w 138608"/>
                  <a:gd name="connsiteY24" fmla="*/ 262717 h 365240"/>
                  <a:gd name="connsiteX25" fmla="*/ 32239 w 138608"/>
                  <a:gd name="connsiteY25" fmla="*/ 280659 h 365240"/>
                  <a:gd name="connsiteX26" fmla="*/ 30958 w 138608"/>
                  <a:gd name="connsiteY26" fmla="*/ 257591 h 365240"/>
                  <a:gd name="connsiteX27" fmla="*/ 51463 w 138608"/>
                  <a:gd name="connsiteY27" fmla="*/ 202484 h 365240"/>
                  <a:gd name="connsiteX28" fmla="*/ 60433 w 138608"/>
                  <a:gd name="connsiteY28" fmla="*/ 181979 h 365240"/>
                  <a:gd name="connsiteX29" fmla="*/ 59152 w 138608"/>
                  <a:gd name="connsiteY29" fmla="*/ 180698 h 365240"/>
                  <a:gd name="connsiteX30" fmla="*/ 48900 w 138608"/>
                  <a:gd name="connsiteY30" fmla="*/ 203766 h 365240"/>
                  <a:gd name="connsiteX31" fmla="*/ 29676 w 138608"/>
                  <a:gd name="connsiteY31" fmla="*/ 253746 h 365240"/>
                  <a:gd name="connsiteX32" fmla="*/ 29676 w 138608"/>
                  <a:gd name="connsiteY32" fmla="*/ 230678 h 365240"/>
                  <a:gd name="connsiteX33" fmla="*/ 127074 w 138608"/>
                  <a:gd name="connsiteY33" fmla="*/ 20505 h 365240"/>
                  <a:gd name="connsiteX34" fmla="*/ 138608 w 138608"/>
                  <a:gd name="connsiteY34" fmla="*/ 1282 h 365240"/>
                  <a:gd name="connsiteX35" fmla="*/ 137327 w 138608"/>
                  <a:gd name="connsiteY35" fmla="*/ 0 h 365240"/>
                  <a:gd name="connsiteX36" fmla="*/ 127074 w 138608"/>
                  <a:gd name="connsiteY36" fmla="*/ 15379 h 36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8608" h="365240">
                    <a:moveTo>
                      <a:pt x="127074" y="15379"/>
                    </a:moveTo>
                    <a:cubicBezTo>
                      <a:pt x="124511" y="20505"/>
                      <a:pt x="124511" y="21786"/>
                      <a:pt x="124511" y="21786"/>
                    </a:cubicBezTo>
                    <a:cubicBezTo>
                      <a:pt x="87346" y="89708"/>
                      <a:pt x="54026" y="161475"/>
                      <a:pt x="25832" y="234523"/>
                    </a:cubicBezTo>
                    <a:lnTo>
                      <a:pt x="25832" y="261435"/>
                    </a:lnTo>
                    <a:cubicBezTo>
                      <a:pt x="19424" y="279377"/>
                      <a:pt x="13016" y="296037"/>
                      <a:pt x="7890" y="313979"/>
                    </a:cubicBezTo>
                    <a:cubicBezTo>
                      <a:pt x="4045" y="319105"/>
                      <a:pt x="-1081" y="328076"/>
                      <a:pt x="201" y="335765"/>
                    </a:cubicBezTo>
                    <a:cubicBezTo>
                      <a:pt x="201" y="335765"/>
                      <a:pt x="1482" y="335765"/>
                      <a:pt x="1482" y="337046"/>
                    </a:cubicBezTo>
                    <a:cubicBezTo>
                      <a:pt x="7890" y="330639"/>
                      <a:pt x="13016" y="316542"/>
                      <a:pt x="9172" y="313979"/>
                    </a:cubicBezTo>
                    <a:cubicBezTo>
                      <a:pt x="14298" y="297319"/>
                      <a:pt x="19424" y="281940"/>
                      <a:pt x="25832" y="266561"/>
                    </a:cubicBezTo>
                    <a:lnTo>
                      <a:pt x="28395" y="289629"/>
                    </a:lnTo>
                    <a:cubicBezTo>
                      <a:pt x="21987" y="307571"/>
                      <a:pt x="16861" y="325513"/>
                      <a:pt x="11735" y="342173"/>
                    </a:cubicBezTo>
                    <a:cubicBezTo>
                      <a:pt x="7890" y="347299"/>
                      <a:pt x="2764" y="356270"/>
                      <a:pt x="4045" y="363959"/>
                    </a:cubicBezTo>
                    <a:cubicBezTo>
                      <a:pt x="4045" y="363959"/>
                      <a:pt x="5327" y="363959"/>
                      <a:pt x="6608" y="365241"/>
                    </a:cubicBezTo>
                    <a:cubicBezTo>
                      <a:pt x="13016" y="358833"/>
                      <a:pt x="18142" y="344736"/>
                      <a:pt x="14298" y="340891"/>
                    </a:cubicBezTo>
                    <a:cubicBezTo>
                      <a:pt x="19424" y="324231"/>
                      <a:pt x="24550" y="308852"/>
                      <a:pt x="29676" y="292192"/>
                    </a:cubicBezTo>
                    <a:cubicBezTo>
                      <a:pt x="30958" y="302445"/>
                      <a:pt x="28395" y="312697"/>
                      <a:pt x="29676" y="322950"/>
                    </a:cubicBezTo>
                    <a:cubicBezTo>
                      <a:pt x="29676" y="322950"/>
                      <a:pt x="30958" y="322950"/>
                      <a:pt x="32239" y="324231"/>
                    </a:cubicBezTo>
                    <a:cubicBezTo>
                      <a:pt x="38647" y="319105"/>
                      <a:pt x="42492" y="308852"/>
                      <a:pt x="41210" y="301163"/>
                    </a:cubicBezTo>
                    <a:cubicBezTo>
                      <a:pt x="41210" y="301163"/>
                      <a:pt x="39929" y="301163"/>
                      <a:pt x="38647" y="299882"/>
                    </a:cubicBezTo>
                    <a:cubicBezTo>
                      <a:pt x="37366" y="301163"/>
                      <a:pt x="36084" y="301163"/>
                      <a:pt x="34802" y="303726"/>
                    </a:cubicBezTo>
                    <a:lnTo>
                      <a:pt x="32239" y="284503"/>
                    </a:lnTo>
                    <a:cubicBezTo>
                      <a:pt x="34802" y="276814"/>
                      <a:pt x="37366" y="269125"/>
                      <a:pt x="39929" y="262717"/>
                    </a:cubicBezTo>
                    <a:cubicBezTo>
                      <a:pt x="45055" y="257591"/>
                      <a:pt x="48900" y="248620"/>
                      <a:pt x="48900" y="240931"/>
                    </a:cubicBezTo>
                    <a:cubicBezTo>
                      <a:pt x="48900" y="240931"/>
                      <a:pt x="47618" y="240931"/>
                      <a:pt x="47618" y="239649"/>
                    </a:cubicBezTo>
                    <a:cubicBezTo>
                      <a:pt x="41210" y="246057"/>
                      <a:pt x="36084" y="260154"/>
                      <a:pt x="38647" y="262717"/>
                    </a:cubicBezTo>
                    <a:cubicBezTo>
                      <a:pt x="36084" y="269125"/>
                      <a:pt x="34802" y="274251"/>
                      <a:pt x="32239" y="280659"/>
                    </a:cubicBezTo>
                    <a:lnTo>
                      <a:pt x="30958" y="257591"/>
                    </a:lnTo>
                    <a:cubicBezTo>
                      <a:pt x="37366" y="239649"/>
                      <a:pt x="43773" y="220426"/>
                      <a:pt x="51463" y="202484"/>
                    </a:cubicBezTo>
                    <a:cubicBezTo>
                      <a:pt x="56589" y="197358"/>
                      <a:pt x="60433" y="188387"/>
                      <a:pt x="60433" y="181979"/>
                    </a:cubicBezTo>
                    <a:cubicBezTo>
                      <a:pt x="60433" y="181979"/>
                      <a:pt x="59152" y="181979"/>
                      <a:pt x="59152" y="180698"/>
                    </a:cubicBezTo>
                    <a:cubicBezTo>
                      <a:pt x="52744" y="185824"/>
                      <a:pt x="46336" y="199921"/>
                      <a:pt x="48900" y="203766"/>
                    </a:cubicBezTo>
                    <a:cubicBezTo>
                      <a:pt x="42492" y="220426"/>
                      <a:pt x="36084" y="237086"/>
                      <a:pt x="29676" y="253746"/>
                    </a:cubicBezTo>
                    <a:lnTo>
                      <a:pt x="29676" y="230678"/>
                    </a:lnTo>
                    <a:cubicBezTo>
                      <a:pt x="57870" y="157630"/>
                      <a:pt x="89909" y="87145"/>
                      <a:pt x="127074" y="20505"/>
                    </a:cubicBezTo>
                    <a:cubicBezTo>
                      <a:pt x="132200" y="15379"/>
                      <a:pt x="137327" y="6408"/>
                      <a:pt x="138608" y="1282"/>
                    </a:cubicBezTo>
                    <a:cubicBezTo>
                      <a:pt x="138608" y="1282"/>
                      <a:pt x="137327" y="1282"/>
                      <a:pt x="137327" y="0"/>
                    </a:cubicBezTo>
                    <a:cubicBezTo>
                      <a:pt x="133482" y="5126"/>
                      <a:pt x="129637" y="12816"/>
                      <a:pt x="127074"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8" name="Freeform: Shape 379344">
                <a:extLst>
                  <a:ext uri="{FF2B5EF4-FFF2-40B4-BE49-F238E27FC236}">
                    <a16:creationId xmlns:a16="http://schemas.microsoft.com/office/drawing/2014/main" id="{CE9C38BD-5BCA-4A0A-B7C1-75A8C9FDEAEC}"/>
                  </a:ext>
                </a:extLst>
              </p:cNvPr>
              <p:cNvSpPr/>
              <p:nvPr/>
            </p:nvSpPr>
            <p:spPr>
              <a:xfrm>
                <a:off x="4463140" y="2624470"/>
                <a:ext cx="48863" cy="80737"/>
              </a:xfrm>
              <a:custGeom>
                <a:avLst/>
                <a:gdLst>
                  <a:gd name="connsiteX0" fmla="*/ 37330 w 48863"/>
                  <a:gd name="connsiteY0" fmla="*/ 14097 h 80737"/>
                  <a:gd name="connsiteX1" fmla="*/ 34767 w 48863"/>
                  <a:gd name="connsiteY1" fmla="*/ 20505 h 80737"/>
                  <a:gd name="connsiteX2" fmla="*/ 11699 w 48863"/>
                  <a:gd name="connsiteY2" fmla="*/ 60233 h 80737"/>
                  <a:gd name="connsiteX3" fmla="*/ 165 w 48863"/>
                  <a:gd name="connsiteY3" fmla="*/ 80737 h 80737"/>
                  <a:gd name="connsiteX4" fmla="*/ 12981 w 48863"/>
                  <a:gd name="connsiteY4" fmla="*/ 58951 h 80737"/>
                  <a:gd name="connsiteX5" fmla="*/ 36048 w 48863"/>
                  <a:gd name="connsiteY5" fmla="*/ 19223 h 80737"/>
                  <a:gd name="connsiteX6" fmla="*/ 48864 w 48863"/>
                  <a:gd name="connsiteY6" fmla="*/ 0 h 80737"/>
                  <a:gd name="connsiteX7" fmla="*/ 48864 w 48863"/>
                  <a:gd name="connsiteY7" fmla="*/ 0 h 80737"/>
                  <a:gd name="connsiteX8" fmla="*/ 48864 w 48863"/>
                  <a:gd name="connsiteY8" fmla="*/ 0 h 80737"/>
                  <a:gd name="connsiteX9" fmla="*/ 37330 w 48863"/>
                  <a:gd name="connsiteY9" fmla="*/ 14097 h 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63" h="80737">
                    <a:moveTo>
                      <a:pt x="37330" y="14097"/>
                    </a:moveTo>
                    <a:cubicBezTo>
                      <a:pt x="36048" y="16660"/>
                      <a:pt x="34767" y="20505"/>
                      <a:pt x="34767" y="20505"/>
                    </a:cubicBezTo>
                    <a:cubicBezTo>
                      <a:pt x="27077" y="33320"/>
                      <a:pt x="19388" y="46136"/>
                      <a:pt x="11699" y="60233"/>
                    </a:cubicBezTo>
                    <a:cubicBezTo>
                      <a:pt x="5291" y="65359"/>
                      <a:pt x="-1117" y="79456"/>
                      <a:pt x="165" y="80737"/>
                    </a:cubicBezTo>
                    <a:cubicBezTo>
                      <a:pt x="4010" y="79456"/>
                      <a:pt x="15543" y="61514"/>
                      <a:pt x="12981" y="58951"/>
                    </a:cubicBezTo>
                    <a:cubicBezTo>
                      <a:pt x="20670" y="46136"/>
                      <a:pt x="28359" y="32039"/>
                      <a:pt x="36048" y="19223"/>
                    </a:cubicBezTo>
                    <a:cubicBezTo>
                      <a:pt x="41175" y="14097"/>
                      <a:pt x="48864" y="2563"/>
                      <a:pt x="48864" y="0"/>
                    </a:cubicBezTo>
                    <a:cubicBezTo>
                      <a:pt x="48864" y="0"/>
                      <a:pt x="48864" y="0"/>
                      <a:pt x="48864" y="0"/>
                    </a:cubicBezTo>
                    <a:cubicBezTo>
                      <a:pt x="48864" y="0"/>
                      <a:pt x="48864" y="0"/>
                      <a:pt x="48864" y="0"/>
                    </a:cubicBezTo>
                    <a:cubicBezTo>
                      <a:pt x="43738" y="2563"/>
                      <a:pt x="38611" y="10252"/>
                      <a:pt x="37330"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29" name="Freeform: Shape 379345">
                <a:extLst>
                  <a:ext uri="{FF2B5EF4-FFF2-40B4-BE49-F238E27FC236}">
                    <a16:creationId xmlns:a16="http://schemas.microsoft.com/office/drawing/2014/main" id="{9003E78B-59A2-4E1B-99F5-AF877AC38A31}"/>
                  </a:ext>
                </a:extLst>
              </p:cNvPr>
              <p:cNvSpPr/>
              <p:nvPr/>
            </p:nvSpPr>
            <p:spPr>
              <a:xfrm>
                <a:off x="4555843" y="2629596"/>
                <a:ext cx="48634" cy="133280"/>
              </a:xfrm>
              <a:custGeom>
                <a:avLst/>
                <a:gdLst>
                  <a:gd name="connsiteX0" fmla="*/ 35616 w 48634"/>
                  <a:gd name="connsiteY0" fmla="*/ 14097 h 133280"/>
                  <a:gd name="connsiteX1" fmla="*/ 35616 w 48634"/>
                  <a:gd name="connsiteY1" fmla="*/ 20505 h 133280"/>
                  <a:gd name="connsiteX2" fmla="*/ 25364 w 48634"/>
                  <a:gd name="connsiteY2" fmla="*/ 41009 h 133280"/>
                  <a:gd name="connsiteX3" fmla="*/ 29209 w 48634"/>
                  <a:gd name="connsiteY3" fmla="*/ 64077 h 133280"/>
                  <a:gd name="connsiteX4" fmla="*/ 9985 w 48634"/>
                  <a:gd name="connsiteY4" fmla="*/ 112776 h 133280"/>
                  <a:gd name="connsiteX5" fmla="*/ 2296 w 48634"/>
                  <a:gd name="connsiteY5" fmla="*/ 133281 h 133280"/>
                  <a:gd name="connsiteX6" fmla="*/ 13830 w 48634"/>
                  <a:gd name="connsiteY6" fmla="*/ 112776 h 133280"/>
                  <a:gd name="connsiteX7" fmla="*/ 12548 w 48634"/>
                  <a:gd name="connsiteY7" fmla="*/ 111494 h 133280"/>
                  <a:gd name="connsiteX8" fmla="*/ 33053 w 48634"/>
                  <a:gd name="connsiteY8" fmla="*/ 60233 h 133280"/>
                  <a:gd name="connsiteX9" fmla="*/ 29209 w 48634"/>
                  <a:gd name="connsiteY9" fmla="*/ 37165 h 133280"/>
                  <a:gd name="connsiteX10" fmla="*/ 38180 w 48634"/>
                  <a:gd name="connsiteY10" fmla="*/ 19223 h 133280"/>
                  <a:gd name="connsiteX11" fmla="*/ 47150 w 48634"/>
                  <a:gd name="connsiteY11" fmla="*/ 0 h 133280"/>
                  <a:gd name="connsiteX12" fmla="*/ 45869 w 48634"/>
                  <a:gd name="connsiteY12" fmla="*/ 0 h 133280"/>
                  <a:gd name="connsiteX13" fmla="*/ 35616 w 48634"/>
                  <a:gd name="connsiteY13" fmla="*/ 14097 h 13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634" h="133280">
                    <a:moveTo>
                      <a:pt x="35616" y="14097"/>
                    </a:moveTo>
                    <a:cubicBezTo>
                      <a:pt x="34335" y="16660"/>
                      <a:pt x="34335" y="20505"/>
                      <a:pt x="35616" y="20505"/>
                    </a:cubicBezTo>
                    <a:cubicBezTo>
                      <a:pt x="31772" y="26912"/>
                      <a:pt x="29209" y="34602"/>
                      <a:pt x="25364" y="41009"/>
                    </a:cubicBezTo>
                    <a:lnTo>
                      <a:pt x="29209" y="64077"/>
                    </a:lnTo>
                    <a:cubicBezTo>
                      <a:pt x="24082" y="80737"/>
                      <a:pt x="16393" y="96116"/>
                      <a:pt x="9985" y="112776"/>
                    </a:cubicBezTo>
                    <a:cubicBezTo>
                      <a:pt x="1015" y="119184"/>
                      <a:pt x="-2830" y="133281"/>
                      <a:pt x="2296" y="133281"/>
                    </a:cubicBezTo>
                    <a:cubicBezTo>
                      <a:pt x="7422" y="133281"/>
                      <a:pt x="17675" y="116621"/>
                      <a:pt x="13830" y="112776"/>
                    </a:cubicBezTo>
                    <a:cubicBezTo>
                      <a:pt x="13830" y="112776"/>
                      <a:pt x="12548" y="112776"/>
                      <a:pt x="12548" y="111494"/>
                    </a:cubicBezTo>
                    <a:cubicBezTo>
                      <a:pt x="18956" y="94834"/>
                      <a:pt x="26646" y="76893"/>
                      <a:pt x="33053" y="60233"/>
                    </a:cubicBezTo>
                    <a:lnTo>
                      <a:pt x="29209" y="37165"/>
                    </a:lnTo>
                    <a:cubicBezTo>
                      <a:pt x="31772" y="30757"/>
                      <a:pt x="35616" y="24349"/>
                      <a:pt x="38180" y="19223"/>
                    </a:cubicBezTo>
                    <a:cubicBezTo>
                      <a:pt x="47150" y="12816"/>
                      <a:pt x="50995" y="0"/>
                      <a:pt x="47150" y="0"/>
                    </a:cubicBezTo>
                    <a:cubicBezTo>
                      <a:pt x="47150" y="0"/>
                      <a:pt x="45869" y="0"/>
                      <a:pt x="45869" y="0"/>
                    </a:cubicBezTo>
                    <a:cubicBezTo>
                      <a:pt x="42024" y="3845"/>
                      <a:pt x="36898" y="11534"/>
                      <a:pt x="3561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0" name="Freeform: Shape 379346">
                <a:extLst>
                  <a:ext uri="{FF2B5EF4-FFF2-40B4-BE49-F238E27FC236}">
                    <a16:creationId xmlns:a16="http://schemas.microsoft.com/office/drawing/2014/main" id="{F963BA29-E956-4E12-8E63-5B872F086C1E}"/>
                  </a:ext>
                </a:extLst>
              </p:cNvPr>
              <p:cNvSpPr/>
              <p:nvPr/>
            </p:nvSpPr>
            <p:spPr>
              <a:xfrm>
                <a:off x="4805152" y="2555267"/>
                <a:ext cx="22112" cy="69292"/>
              </a:xfrm>
              <a:custGeom>
                <a:avLst/>
                <a:gdLst>
                  <a:gd name="connsiteX0" fmla="*/ 327 w 22112"/>
                  <a:gd name="connsiteY0" fmla="*/ 14097 h 69292"/>
                  <a:gd name="connsiteX1" fmla="*/ 6734 w 22112"/>
                  <a:gd name="connsiteY1" fmla="*/ 17942 h 69292"/>
                  <a:gd name="connsiteX2" fmla="*/ 9298 w 22112"/>
                  <a:gd name="connsiteY2" fmla="*/ 16660 h 69292"/>
                  <a:gd name="connsiteX3" fmla="*/ 19550 w 22112"/>
                  <a:gd name="connsiteY3" fmla="*/ 32039 h 69292"/>
                  <a:gd name="connsiteX4" fmla="*/ 13142 w 22112"/>
                  <a:gd name="connsiteY4" fmla="*/ 49980 h 69292"/>
                  <a:gd name="connsiteX5" fmla="*/ 5453 w 22112"/>
                  <a:gd name="connsiteY5" fmla="*/ 69203 h 69292"/>
                  <a:gd name="connsiteX6" fmla="*/ 19550 w 22112"/>
                  <a:gd name="connsiteY6" fmla="*/ 51262 h 69292"/>
                  <a:gd name="connsiteX7" fmla="*/ 15705 w 22112"/>
                  <a:gd name="connsiteY7" fmla="*/ 48699 h 69292"/>
                  <a:gd name="connsiteX8" fmla="*/ 22113 w 22112"/>
                  <a:gd name="connsiteY8" fmla="*/ 29476 h 69292"/>
                  <a:gd name="connsiteX9" fmla="*/ 11861 w 22112"/>
                  <a:gd name="connsiteY9" fmla="*/ 12815 h 69292"/>
                  <a:gd name="connsiteX10" fmla="*/ 11861 w 22112"/>
                  <a:gd name="connsiteY10" fmla="*/ 0 h 69292"/>
                  <a:gd name="connsiteX11" fmla="*/ 10579 w 22112"/>
                  <a:gd name="connsiteY11" fmla="*/ 0 h 69292"/>
                  <a:gd name="connsiteX12" fmla="*/ 327 w 22112"/>
                  <a:gd name="connsiteY12" fmla="*/ 14097 h 6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12" h="69292">
                    <a:moveTo>
                      <a:pt x="327" y="14097"/>
                    </a:moveTo>
                    <a:cubicBezTo>
                      <a:pt x="-955" y="19223"/>
                      <a:pt x="1608" y="21786"/>
                      <a:pt x="6734" y="17942"/>
                    </a:cubicBezTo>
                    <a:cubicBezTo>
                      <a:pt x="8016" y="17942"/>
                      <a:pt x="8016" y="16660"/>
                      <a:pt x="9298" y="16660"/>
                    </a:cubicBezTo>
                    <a:lnTo>
                      <a:pt x="19550" y="32039"/>
                    </a:lnTo>
                    <a:cubicBezTo>
                      <a:pt x="16987" y="38446"/>
                      <a:pt x="15705" y="43573"/>
                      <a:pt x="13142" y="49980"/>
                    </a:cubicBezTo>
                    <a:cubicBezTo>
                      <a:pt x="4171" y="56388"/>
                      <a:pt x="1608" y="67922"/>
                      <a:pt x="5453" y="69203"/>
                    </a:cubicBezTo>
                    <a:cubicBezTo>
                      <a:pt x="11861" y="70485"/>
                      <a:pt x="22113" y="57670"/>
                      <a:pt x="19550" y="51262"/>
                    </a:cubicBezTo>
                    <a:cubicBezTo>
                      <a:pt x="18268" y="49980"/>
                      <a:pt x="16987" y="49980"/>
                      <a:pt x="15705" y="48699"/>
                    </a:cubicBezTo>
                    <a:cubicBezTo>
                      <a:pt x="18268" y="42291"/>
                      <a:pt x="19550" y="35883"/>
                      <a:pt x="22113" y="29476"/>
                    </a:cubicBezTo>
                    <a:cubicBezTo>
                      <a:pt x="19550" y="24349"/>
                      <a:pt x="14424" y="17942"/>
                      <a:pt x="11861" y="12815"/>
                    </a:cubicBezTo>
                    <a:cubicBezTo>
                      <a:pt x="16987" y="5126"/>
                      <a:pt x="15705" y="0"/>
                      <a:pt x="11861" y="0"/>
                    </a:cubicBezTo>
                    <a:cubicBezTo>
                      <a:pt x="11861" y="0"/>
                      <a:pt x="10579" y="0"/>
                      <a:pt x="10579" y="0"/>
                    </a:cubicBezTo>
                    <a:cubicBezTo>
                      <a:pt x="4171" y="3845"/>
                      <a:pt x="1608" y="11534"/>
                      <a:pt x="32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1" name="Freeform: Shape 379347">
                <a:extLst>
                  <a:ext uri="{FF2B5EF4-FFF2-40B4-BE49-F238E27FC236}">
                    <a16:creationId xmlns:a16="http://schemas.microsoft.com/office/drawing/2014/main" id="{2D97F6DF-64DB-47B8-9004-749308596893}"/>
                  </a:ext>
                </a:extLst>
              </p:cNvPr>
              <p:cNvSpPr/>
              <p:nvPr/>
            </p:nvSpPr>
            <p:spPr>
              <a:xfrm>
                <a:off x="5338563" y="2309210"/>
                <a:ext cx="20164" cy="111897"/>
              </a:xfrm>
              <a:custGeom>
                <a:avLst/>
                <a:gdLst>
                  <a:gd name="connsiteX0" fmla="*/ 2604 w 20164"/>
                  <a:gd name="connsiteY0" fmla="*/ 11534 h 111897"/>
                  <a:gd name="connsiteX1" fmla="*/ 9011 w 20164"/>
                  <a:gd name="connsiteY1" fmla="*/ 16660 h 111897"/>
                  <a:gd name="connsiteX2" fmla="*/ 7730 w 20164"/>
                  <a:gd name="connsiteY2" fmla="*/ 94834 h 111897"/>
                  <a:gd name="connsiteX3" fmla="*/ 3885 w 20164"/>
                  <a:gd name="connsiteY3" fmla="*/ 111494 h 111897"/>
                  <a:gd name="connsiteX4" fmla="*/ 19264 w 20164"/>
                  <a:gd name="connsiteY4" fmla="*/ 97397 h 111897"/>
                  <a:gd name="connsiteX5" fmla="*/ 11575 w 20164"/>
                  <a:gd name="connsiteY5" fmla="*/ 93553 h 111897"/>
                  <a:gd name="connsiteX6" fmla="*/ 12856 w 20164"/>
                  <a:gd name="connsiteY6" fmla="*/ 15379 h 111897"/>
                  <a:gd name="connsiteX7" fmla="*/ 16701 w 20164"/>
                  <a:gd name="connsiteY7" fmla="*/ 0 h 111897"/>
                  <a:gd name="connsiteX8" fmla="*/ 11575 w 20164"/>
                  <a:gd name="connsiteY8" fmla="*/ 0 h 111897"/>
                  <a:gd name="connsiteX9" fmla="*/ 2604 w 20164"/>
                  <a:gd name="connsiteY9" fmla="*/ 11534 h 11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64" h="111897">
                    <a:moveTo>
                      <a:pt x="2604" y="11534"/>
                    </a:moveTo>
                    <a:cubicBezTo>
                      <a:pt x="2604" y="14097"/>
                      <a:pt x="3885" y="15379"/>
                      <a:pt x="9011" y="16660"/>
                    </a:cubicBezTo>
                    <a:cubicBezTo>
                      <a:pt x="7730" y="42291"/>
                      <a:pt x="7730" y="67922"/>
                      <a:pt x="7730" y="94834"/>
                    </a:cubicBezTo>
                    <a:cubicBezTo>
                      <a:pt x="-2523" y="99961"/>
                      <a:pt x="-1241" y="108931"/>
                      <a:pt x="3885" y="111494"/>
                    </a:cubicBezTo>
                    <a:cubicBezTo>
                      <a:pt x="11575" y="114058"/>
                      <a:pt x="21827" y="103805"/>
                      <a:pt x="19264" y="97397"/>
                    </a:cubicBezTo>
                    <a:cubicBezTo>
                      <a:pt x="17982" y="93553"/>
                      <a:pt x="14138" y="93553"/>
                      <a:pt x="11575" y="93553"/>
                    </a:cubicBezTo>
                    <a:cubicBezTo>
                      <a:pt x="11575" y="66640"/>
                      <a:pt x="11575" y="39728"/>
                      <a:pt x="12856" y="15379"/>
                    </a:cubicBezTo>
                    <a:cubicBezTo>
                      <a:pt x="21827" y="10252"/>
                      <a:pt x="21827" y="2563"/>
                      <a:pt x="16701" y="0"/>
                    </a:cubicBezTo>
                    <a:cubicBezTo>
                      <a:pt x="15419" y="0"/>
                      <a:pt x="12856" y="0"/>
                      <a:pt x="11575" y="0"/>
                    </a:cubicBezTo>
                    <a:cubicBezTo>
                      <a:pt x="2604" y="3845"/>
                      <a:pt x="1322" y="10252"/>
                      <a:pt x="2604"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2" name="Freeform: Shape 379348">
                <a:extLst>
                  <a:ext uri="{FF2B5EF4-FFF2-40B4-BE49-F238E27FC236}">
                    <a16:creationId xmlns:a16="http://schemas.microsoft.com/office/drawing/2014/main" id="{7A5B270A-EA95-4952-8A13-9BA13AA01B7B}"/>
                  </a:ext>
                </a:extLst>
              </p:cNvPr>
              <p:cNvSpPr/>
              <p:nvPr/>
            </p:nvSpPr>
            <p:spPr>
              <a:xfrm>
                <a:off x="5368230" y="2279734"/>
                <a:ext cx="20755" cy="132445"/>
              </a:xfrm>
              <a:custGeom>
                <a:avLst/>
                <a:gdLst>
                  <a:gd name="connsiteX0" fmla="*/ 1131 w 20755"/>
                  <a:gd name="connsiteY0" fmla="*/ 11534 h 132445"/>
                  <a:gd name="connsiteX1" fmla="*/ 7538 w 20755"/>
                  <a:gd name="connsiteY1" fmla="*/ 15379 h 132445"/>
                  <a:gd name="connsiteX2" fmla="*/ 7538 w 20755"/>
                  <a:gd name="connsiteY2" fmla="*/ 115339 h 132445"/>
                  <a:gd name="connsiteX3" fmla="*/ 4975 w 20755"/>
                  <a:gd name="connsiteY3" fmla="*/ 131999 h 132445"/>
                  <a:gd name="connsiteX4" fmla="*/ 20354 w 20755"/>
                  <a:gd name="connsiteY4" fmla="*/ 117902 h 132445"/>
                  <a:gd name="connsiteX5" fmla="*/ 12664 w 20755"/>
                  <a:gd name="connsiteY5" fmla="*/ 114058 h 132445"/>
                  <a:gd name="connsiteX6" fmla="*/ 12664 w 20755"/>
                  <a:gd name="connsiteY6" fmla="*/ 14097 h 132445"/>
                  <a:gd name="connsiteX7" fmla="*/ 16509 w 20755"/>
                  <a:gd name="connsiteY7" fmla="*/ 0 h 132445"/>
                  <a:gd name="connsiteX8" fmla="*/ 11383 w 20755"/>
                  <a:gd name="connsiteY8" fmla="*/ 0 h 132445"/>
                  <a:gd name="connsiteX9" fmla="*/ 1131 w 20755"/>
                  <a:gd name="connsiteY9" fmla="*/ 11534 h 13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55" h="132445">
                    <a:moveTo>
                      <a:pt x="1131" y="11534"/>
                    </a:moveTo>
                    <a:cubicBezTo>
                      <a:pt x="1131" y="14097"/>
                      <a:pt x="2412" y="15379"/>
                      <a:pt x="7538" y="15379"/>
                    </a:cubicBezTo>
                    <a:cubicBezTo>
                      <a:pt x="6257" y="47417"/>
                      <a:pt x="7538" y="80737"/>
                      <a:pt x="7538" y="115339"/>
                    </a:cubicBezTo>
                    <a:cubicBezTo>
                      <a:pt x="-2714" y="120465"/>
                      <a:pt x="-1432" y="129436"/>
                      <a:pt x="4975" y="131999"/>
                    </a:cubicBezTo>
                    <a:cubicBezTo>
                      <a:pt x="12664" y="134562"/>
                      <a:pt x="22917" y="125591"/>
                      <a:pt x="20354" y="117902"/>
                    </a:cubicBezTo>
                    <a:cubicBezTo>
                      <a:pt x="19072" y="114058"/>
                      <a:pt x="15227" y="114058"/>
                      <a:pt x="12664" y="114058"/>
                    </a:cubicBezTo>
                    <a:cubicBezTo>
                      <a:pt x="11383" y="79456"/>
                      <a:pt x="11383" y="44854"/>
                      <a:pt x="12664" y="14097"/>
                    </a:cubicBezTo>
                    <a:cubicBezTo>
                      <a:pt x="21636" y="8971"/>
                      <a:pt x="21636" y="1282"/>
                      <a:pt x="16509" y="0"/>
                    </a:cubicBezTo>
                    <a:cubicBezTo>
                      <a:pt x="15227" y="0"/>
                      <a:pt x="12664" y="0"/>
                      <a:pt x="11383" y="0"/>
                    </a:cubicBezTo>
                    <a:cubicBezTo>
                      <a:pt x="2412" y="3845"/>
                      <a:pt x="1131" y="10252"/>
                      <a:pt x="1131"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3" name="Freeform: Shape 379349">
                <a:extLst>
                  <a:ext uri="{FF2B5EF4-FFF2-40B4-BE49-F238E27FC236}">
                    <a16:creationId xmlns:a16="http://schemas.microsoft.com/office/drawing/2014/main" id="{0C3752C8-C2D5-4F56-80A3-B453FA0EA5E3}"/>
                  </a:ext>
                </a:extLst>
              </p:cNvPr>
              <p:cNvSpPr/>
              <p:nvPr/>
            </p:nvSpPr>
            <p:spPr>
              <a:xfrm>
                <a:off x="6488030" y="2168240"/>
                <a:ext cx="78298" cy="129804"/>
              </a:xfrm>
              <a:custGeom>
                <a:avLst/>
                <a:gdLst>
                  <a:gd name="connsiteX0" fmla="*/ 60357 w 78298"/>
                  <a:gd name="connsiteY0" fmla="*/ 124310 h 129804"/>
                  <a:gd name="connsiteX1" fmla="*/ 78299 w 78298"/>
                  <a:gd name="connsiteY1" fmla="*/ 125591 h 129804"/>
                  <a:gd name="connsiteX2" fmla="*/ 62920 w 78298"/>
                  <a:gd name="connsiteY2" fmla="*/ 114058 h 129804"/>
                  <a:gd name="connsiteX3" fmla="*/ 29600 w 78298"/>
                  <a:gd name="connsiteY3" fmla="*/ 76893 h 129804"/>
                  <a:gd name="connsiteX4" fmla="*/ 34726 w 78298"/>
                  <a:gd name="connsiteY4" fmla="*/ 26912 h 129804"/>
                  <a:gd name="connsiteX5" fmla="*/ 19347 w 78298"/>
                  <a:gd name="connsiteY5" fmla="*/ 12815 h 129804"/>
                  <a:gd name="connsiteX6" fmla="*/ 6532 w 78298"/>
                  <a:gd name="connsiteY6" fmla="*/ 0 h 129804"/>
                  <a:gd name="connsiteX7" fmla="*/ 2688 w 78298"/>
                  <a:gd name="connsiteY7" fmla="*/ 0 h 129804"/>
                  <a:gd name="connsiteX8" fmla="*/ 7813 w 78298"/>
                  <a:gd name="connsiteY8" fmla="*/ 11534 h 129804"/>
                  <a:gd name="connsiteX9" fmla="*/ 16784 w 78298"/>
                  <a:gd name="connsiteY9" fmla="*/ 14097 h 129804"/>
                  <a:gd name="connsiteX10" fmla="*/ 30881 w 78298"/>
                  <a:gd name="connsiteY10" fmla="*/ 26912 h 129804"/>
                  <a:gd name="connsiteX11" fmla="*/ 25755 w 78298"/>
                  <a:gd name="connsiteY11" fmla="*/ 76893 h 129804"/>
                  <a:gd name="connsiteX12" fmla="*/ 60357 w 78298"/>
                  <a:gd name="connsiteY12" fmla="*/ 115339 h 129804"/>
                  <a:gd name="connsiteX13" fmla="*/ 60357 w 78298"/>
                  <a:gd name="connsiteY13" fmla="*/ 124310 h 12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298" h="129804">
                    <a:moveTo>
                      <a:pt x="60357" y="124310"/>
                    </a:moveTo>
                    <a:cubicBezTo>
                      <a:pt x="68046" y="130718"/>
                      <a:pt x="78299" y="131999"/>
                      <a:pt x="78299" y="125591"/>
                    </a:cubicBezTo>
                    <a:cubicBezTo>
                      <a:pt x="78299" y="121747"/>
                      <a:pt x="71891" y="115339"/>
                      <a:pt x="62920" y="114058"/>
                    </a:cubicBezTo>
                    <a:cubicBezTo>
                      <a:pt x="51386" y="101242"/>
                      <a:pt x="41134" y="89708"/>
                      <a:pt x="29600" y="76893"/>
                    </a:cubicBezTo>
                    <a:lnTo>
                      <a:pt x="34726" y="26912"/>
                    </a:lnTo>
                    <a:cubicBezTo>
                      <a:pt x="29600" y="21786"/>
                      <a:pt x="24474" y="17942"/>
                      <a:pt x="19347" y="12815"/>
                    </a:cubicBezTo>
                    <a:cubicBezTo>
                      <a:pt x="24474" y="8971"/>
                      <a:pt x="14221" y="1282"/>
                      <a:pt x="6532" y="0"/>
                    </a:cubicBezTo>
                    <a:cubicBezTo>
                      <a:pt x="5250" y="0"/>
                      <a:pt x="3969" y="0"/>
                      <a:pt x="2688" y="0"/>
                    </a:cubicBezTo>
                    <a:cubicBezTo>
                      <a:pt x="-3721" y="1282"/>
                      <a:pt x="2688" y="8971"/>
                      <a:pt x="7813" y="11534"/>
                    </a:cubicBezTo>
                    <a:cubicBezTo>
                      <a:pt x="11658" y="14097"/>
                      <a:pt x="14221" y="14097"/>
                      <a:pt x="16784" y="14097"/>
                    </a:cubicBezTo>
                    <a:cubicBezTo>
                      <a:pt x="21911" y="17942"/>
                      <a:pt x="25755" y="23068"/>
                      <a:pt x="30881" y="26912"/>
                    </a:cubicBezTo>
                    <a:lnTo>
                      <a:pt x="25755" y="76893"/>
                    </a:lnTo>
                    <a:cubicBezTo>
                      <a:pt x="37289" y="89708"/>
                      <a:pt x="48823" y="102524"/>
                      <a:pt x="60357" y="115339"/>
                    </a:cubicBezTo>
                    <a:cubicBezTo>
                      <a:pt x="53949" y="117902"/>
                      <a:pt x="60357" y="124310"/>
                      <a:pt x="60357" y="12431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4" name="Freeform: Shape 379350">
                <a:extLst>
                  <a:ext uri="{FF2B5EF4-FFF2-40B4-BE49-F238E27FC236}">
                    <a16:creationId xmlns:a16="http://schemas.microsoft.com/office/drawing/2014/main" id="{7A394B99-8633-4A09-9DDB-667E0E76769C}"/>
                  </a:ext>
                </a:extLst>
              </p:cNvPr>
              <p:cNvSpPr/>
              <p:nvPr/>
            </p:nvSpPr>
            <p:spPr>
              <a:xfrm>
                <a:off x="6508534" y="2165677"/>
                <a:ext cx="85988" cy="103123"/>
              </a:xfrm>
              <a:custGeom>
                <a:avLst/>
                <a:gdLst>
                  <a:gd name="connsiteX0" fmla="*/ 69328 w 85988"/>
                  <a:gd name="connsiteY0" fmla="*/ 97397 h 103123"/>
                  <a:gd name="connsiteX1" fmla="*/ 85988 w 85988"/>
                  <a:gd name="connsiteY1" fmla="*/ 99961 h 103123"/>
                  <a:gd name="connsiteX2" fmla="*/ 69328 w 85988"/>
                  <a:gd name="connsiteY2" fmla="*/ 87145 h 103123"/>
                  <a:gd name="connsiteX3" fmla="*/ 34726 w 85988"/>
                  <a:gd name="connsiteY3" fmla="*/ 51262 h 103123"/>
                  <a:gd name="connsiteX4" fmla="*/ 36008 w 85988"/>
                  <a:gd name="connsiteY4" fmla="*/ 26912 h 103123"/>
                  <a:gd name="connsiteX5" fmla="*/ 20629 w 85988"/>
                  <a:gd name="connsiteY5" fmla="*/ 12815 h 103123"/>
                  <a:gd name="connsiteX6" fmla="*/ 6532 w 85988"/>
                  <a:gd name="connsiteY6" fmla="*/ 0 h 103123"/>
                  <a:gd name="connsiteX7" fmla="*/ 2688 w 85988"/>
                  <a:gd name="connsiteY7" fmla="*/ 0 h 103123"/>
                  <a:gd name="connsiteX8" fmla="*/ 7813 w 85988"/>
                  <a:gd name="connsiteY8" fmla="*/ 11534 h 103123"/>
                  <a:gd name="connsiteX9" fmla="*/ 16784 w 85988"/>
                  <a:gd name="connsiteY9" fmla="*/ 14097 h 103123"/>
                  <a:gd name="connsiteX10" fmla="*/ 30881 w 85988"/>
                  <a:gd name="connsiteY10" fmla="*/ 26912 h 103123"/>
                  <a:gd name="connsiteX11" fmla="*/ 29600 w 85988"/>
                  <a:gd name="connsiteY11" fmla="*/ 51262 h 103123"/>
                  <a:gd name="connsiteX12" fmla="*/ 65483 w 85988"/>
                  <a:gd name="connsiteY12" fmla="*/ 88427 h 103123"/>
                  <a:gd name="connsiteX13" fmla="*/ 69328 w 85988"/>
                  <a:gd name="connsiteY13" fmla="*/ 97397 h 10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988" h="103123">
                    <a:moveTo>
                      <a:pt x="69328" y="97397"/>
                    </a:moveTo>
                    <a:cubicBezTo>
                      <a:pt x="75736" y="103805"/>
                      <a:pt x="85988" y="105087"/>
                      <a:pt x="85988" y="99961"/>
                    </a:cubicBezTo>
                    <a:cubicBezTo>
                      <a:pt x="85988" y="96116"/>
                      <a:pt x="79580" y="88427"/>
                      <a:pt x="69328" y="87145"/>
                    </a:cubicBezTo>
                    <a:cubicBezTo>
                      <a:pt x="57794" y="75611"/>
                      <a:pt x="46260" y="62796"/>
                      <a:pt x="34726" y="51262"/>
                    </a:cubicBezTo>
                    <a:lnTo>
                      <a:pt x="36008" y="26912"/>
                    </a:lnTo>
                    <a:cubicBezTo>
                      <a:pt x="30881" y="21786"/>
                      <a:pt x="25755" y="17942"/>
                      <a:pt x="20629" y="12815"/>
                    </a:cubicBezTo>
                    <a:cubicBezTo>
                      <a:pt x="25755" y="8971"/>
                      <a:pt x="15503" y="1282"/>
                      <a:pt x="6532" y="0"/>
                    </a:cubicBezTo>
                    <a:cubicBezTo>
                      <a:pt x="5250" y="0"/>
                      <a:pt x="3969" y="0"/>
                      <a:pt x="2688" y="0"/>
                    </a:cubicBezTo>
                    <a:cubicBezTo>
                      <a:pt x="-3721" y="1282"/>
                      <a:pt x="2688" y="7689"/>
                      <a:pt x="7813" y="11534"/>
                    </a:cubicBezTo>
                    <a:cubicBezTo>
                      <a:pt x="11658" y="14097"/>
                      <a:pt x="14222" y="14097"/>
                      <a:pt x="16784" y="14097"/>
                    </a:cubicBezTo>
                    <a:cubicBezTo>
                      <a:pt x="21911" y="17942"/>
                      <a:pt x="25755" y="23068"/>
                      <a:pt x="30881" y="26912"/>
                    </a:cubicBezTo>
                    <a:lnTo>
                      <a:pt x="29600" y="51262"/>
                    </a:lnTo>
                    <a:cubicBezTo>
                      <a:pt x="42415" y="62796"/>
                      <a:pt x="53949" y="75611"/>
                      <a:pt x="65483" y="88427"/>
                    </a:cubicBezTo>
                    <a:cubicBezTo>
                      <a:pt x="61639" y="89708"/>
                      <a:pt x="69328" y="96116"/>
                      <a:pt x="69328" y="973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5" name="Freeform: Shape 379351">
                <a:extLst>
                  <a:ext uri="{FF2B5EF4-FFF2-40B4-BE49-F238E27FC236}">
                    <a16:creationId xmlns:a16="http://schemas.microsoft.com/office/drawing/2014/main" id="{80DEE66F-DBE2-402F-A856-C26B5BDE4105}"/>
                  </a:ext>
                </a:extLst>
              </p:cNvPr>
              <p:cNvSpPr/>
              <p:nvPr/>
            </p:nvSpPr>
            <p:spPr>
              <a:xfrm>
                <a:off x="6553678" y="2159269"/>
                <a:ext cx="157529" cy="145375"/>
              </a:xfrm>
              <a:custGeom>
                <a:avLst/>
                <a:gdLst>
                  <a:gd name="connsiteX0" fmla="*/ 4962 w 157529"/>
                  <a:gd name="connsiteY0" fmla="*/ 8971 h 145375"/>
                  <a:gd name="connsiteX1" fmla="*/ 16496 w 157529"/>
                  <a:gd name="connsiteY1" fmla="*/ 14097 h 145375"/>
                  <a:gd name="connsiteX2" fmla="*/ 33156 w 157529"/>
                  <a:gd name="connsiteY2" fmla="*/ 28194 h 145375"/>
                  <a:gd name="connsiteX3" fmla="*/ 78010 w 157529"/>
                  <a:gd name="connsiteY3" fmla="*/ 46136 h 145375"/>
                  <a:gd name="connsiteX4" fmla="*/ 144651 w 157529"/>
                  <a:gd name="connsiteY4" fmla="*/ 110213 h 145375"/>
                  <a:gd name="connsiteX5" fmla="*/ 144651 w 157529"/>
                  <a:gd name="connsiteY5" fmla="*/ 129436 h 145375"/>
                  <a:gd name="connsiteX6" fmla="*/ 136961 w 157529"/>
                  <a:gd name="connsiteY6" fmla="*/ 134562 h 145375"/>
                  <a:gd name="connsiteX7" fmla="*/ 157466 w 157529"/>
                  <a:gd name="connsiteY7" fmla="*/ 143533 h 145375"/>
                  <a:gd name="connsiteX8" fmla="*/ 149777 w 157529"/>
                  <a:gd name="connsiteY8" fmla="*/ 131999 h 145375"/>
                  <a:gd name="connsiteX9" fmla="*/ 149777 w 157529"/>
                  <a:gd name="connsiteY9" fmla="*/ 111495 h 145375"/>
                  <a:gd name="connsiteX10" fmla="*/ 80573 w 157529"/>
                  <a:gd name="connsiteY10" fmla="*/ 43573 h 145375"/>
                  <a:gd name="connsiteX11" fmla="*/ 35719 w 157529"/>
                  <a:gd name="connsiteY11" fmla="*/ 25631 h 145375"/>
                  <a:gd name="connsiteX12" fmla="*/ 21622 w 157529"/>
                  <a:gd name="connsiteY12" fmla="*/ 12816 h 145375"/>
                  <a:gd name="connsiteX13" fmla="*/ 7525 w 157529"/>
                  <a:gd name="connsiteY13" fmla="*/ 0 h 145375"/>
                  <a:gd name="connsiteX14" fmla="*/ 3680 w 157529"/>
                  <a:gd name="connsiteY14" fmla="*/ 0 h 145375"/>
                  <a:gd name="connsiteX15" fmla="*/ 4962 w 157529"/>
                  <a:gd name="connsiteY15" fmla="*/ 8971 h 14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7529" h="145375">
                    <a:moveTo>
                      <a:pt x="4962" y="8971"/>
                    </a:moveTo>
                    <a:cubicBezTo>
                      <a:pt x="7525" y="10252"/>
                      <a:pt x="11369" y="12816"/>
                      <a:pt x="16496" y="14097"/>
                    </a:cubicBezTo>
                    <a:cubicBezTo>
                      <a:pt x="21622" y="19223"/>
                      <a:pt x="26748" y="23068"/>
                      <a:pt x="33156" y="28194"/>
                    </a:cubicBezTo>
                    <a:lnTo>
                      <a:pt x="78010" y="46136"/>
                    </a:lnTo>
                    <a:cubicBezTo>
                      <a:pt x="101078" y="66640"/>
                      <a:pt x="122864" y="88427"/>
                      <a:pt x="144651" y="110213"/>
                    </a:cubicBezTo>
                    <a:cubicBezTo>
                      <a:pt x="144651" y="116621"/>
                      <a:pt x="144651" y="124310"/>
                      <a:pt x="144651" y="129436"/>
                    </a:cubicBezTo>
                    <a:cubicBezTo>
                      <a:pt x="135680" y="126873"/>
                      <a:pt x="134398" y="130718"/>
                      <a:pt x="136961" y="134562"/>
                    </a:cubicBezTo>
                    <a:cubicBezTo>
                      <a:pt x="140806" y="142252"/>
                      <a:pt x="154903" y="148659"/>
                      <a:pt x="157466" y="143533"/>
                    </a:cubicBezTo>
                    <a:cubicBezTo>
                      <a:pt x="157466" y="143533"/>
                      <a:pt x="158748" y="138407"/>
                      <a:pt x="149777" y="131999"/>
                    </a:cubicBezTo>
                    <a:lnTo>
                      <a:pt x="149777" y="111495"/>
                    </a:lnTo>
                    <a:cubicBezTo>
                      <a:pt x="126709" y="88427"/>
                      <a:pt x="103641" y="65359"/>
                      <a:pt x="80573" y="43573"/>
                    </a:cubicBezTo>
                    <a:lnTo>
                      <a:pt x="35719" y="25631"/>
                    </a:lnTo>
                    <a:cubicBezTo>
                      <a:pt x="30593" y="21786"/>
                      <a:pt x="25466" y="16660"/>
                      <a:pt x="21622" y="12816"/>
                    </a:cubicBezTo>
                    <a:cubicBezTo>
                      <a:pt x="26748" y="8971"/>
                      <a:pt x="15214" y="1282"/>
                      <a:pt x="7525" y="0"/>
                    </a:cubicBezTo>
                    <a:cubicBezTo>
                      <a:pt x="6243" y="0"/>
                      <a:pt x="4962" y="0"/>
                      <a:pt x="3680" y="0"/>
                    </a:cubicBezTo>
                    <a:cubicBezTo>
                      <a:pt x="-5291" y="1282"/>
                      <a:pt x="4962" y="8971"/>
                      <a:pt x="4962"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6" name="Freeform: Shape 379352">
                <a:extLst>
                  <a:ext uri="{FF2B5EF4-FFF2-40B4-BE49-F238E27FC236}">
                    <a16:creationId xmlns:a16="http://schemas.microsoft.com/office/drawing/2014/main" id="{C75A3598-BC14-459C-B56F-43EBE2123F7E}"/>
                  </a:ext>
                </a:extLst>
              </p:cNvPr>
              <p:cNvSpPr/>
              <p:nvPr/>
            </p:nvSpPr>
            <p:spPr>
              <a:xfrm>
                <a:off x="6610526" y="2087503"/>
                <a:ext cx="101120" cy="69203"/>
              </a:xfrm>
              <a:custGeom>
                <a:avLst/>
                <a:gdLst>
                  <a:gd name="connsiteX0" fmla="*/ 7064 w 101120"/>
                  <a:gd name="connsiteY0" fmla="*/ 7689 h 69203"/>
                  <a:gd name="connsiteX1" fmla="*/ 18598 w 101120"/>
                  <a:gd name="connsiteY1" fmla="*/ 12815 h 69203"/>
                  <a:gd name="connsiteX2" fmla="*/ 80113 w 101120"/>
                  <a:gd name="connsiteY2" fmla="*/ 56388 h 69203"/>
                  <a:gd name="connsiteX3" fmla="*/ 98054 w 101120"/>
                  <a:gd name="connsiteY3" fmla="*/ 69203 h 69203"/>
                  <a:gd name="connsiteX4" fmla="*/ 100617 w 101120"/>
                  <a:gd name="connsiteY4" fmla="*/ 65359 h 69203"/>
                  <a:gd name="connsiteX5" fmla="*/ 82676 w 101120"/>
                  <a:gd name="connsiteY5" fmla="*/ 55106 h 69203"/>
                  <a:gd name="connsiteX6" fmla="*/ 21161 w 101120"/>
                  <a:gd name="connsiteY6" fmla="*/ 11534 h 69203"/>
                  <a:gd name="connsiteX7" fmla="*/ 1938 w 101120"/>
                  <a:gd name="connsiteY7" fmla="*/ 0 h 69203"/>
                  <a:gd name="connsiteX8" fmla="*/ 7064 w 101120"/>
                  <a:gd name="connsiteY8" fmla="*/ 7689 h 6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120" h="69203">
                    <a:moveTo>
                      <a:pt x="7064" y="7689"/>
                    </a:moveTo>
                    <a:cubicBezTo>
                      <a:pt x="9627" y="8971"/>
                      <a:pt x="13472" y="11534"/>
                      <a:pt x="18598" y="12815"/>
                    </a:cubicBezTo>
                    <a:cubicBezTo>
                      <a:pt x="39103" y="26912"/>
                      <a:pt x="59608" y="41009"/>
                      <a:pt x="80113" y="56388"/>
                    </a:cubicBezTo>
                    <a:cubicBezTo>
                      <a:pt x="76268" y="60233"/>
                      <a:pt x="91647" y="69203"/>
                      <a:pt x="98054" y="69203"/>
                    </a:cubicBezTo>
                    <a:cubicBezTo>
                      <a:pt x="100617" y="69203"/>
                      <a:pt x="101899" y="67922"/>
                      <a:pt x="100617" y="65359"/>
                    </a:cubicBezTo>
                    <a:cubicBezTo>
                      <a:pt x="98054" y="62796"/>
                      <a:pt x="91647" y="56388"/>
                      <a:pt x="82676" y="55106"/>
                    </a:cubicBezTo>
                    <a:cubicBezTo>
                      <a:pt x="62171" y="39728"/>
                      <a:pt x="41666" y="25631"/>
                      <a:pt x="21161" y="11534"/>
                    </a:cubicBezTo>
                    <a:cubicBezTo>
                      <a:pt x="23725" y="8971"/>
                      <a:pt x="9627" y="0"/>
                      <a:pt x="1938" y="0"/>
                    </a:cubicBezTo>
                    <a:cubicBezTo>
                      <a:pt x="-4470" y="1282"/>
                      <a:pt x="7064" y="7689"/>
                      <a:pt x="7064"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237" name="Graphic 379285">
                <a:extLst>
                  <a:ext uri="{FF2B5EF4-FFF2-40B4-BE49-F238E27FC236}">
                    <a16:creationId xmlns:a16="http://schemas.microsoft.com/office/drawing/2014/main" id="{D973D960-FBCD-4D6F-9AA8-88935B4C1FE3}"/>
                  </a:ext>
                </a:extLst>
              </p:cNvPr>
              <p:cNvGrpSpPr/>
              <p:nvPr/>
            </p:nvGrpSpPr>
            <p:grpSpPr>
              <a:xfrm>
                <a:off x="6896968" y="2138764"/>
                <a:ext cx="305009" cy="225552"/>
                <a:chOff x="6896968" y="2138764"/>
                <a:chExt cx="305009" cy="225552"/>
              </a:xfrm>
              <a:grpFill/>
            </p:grpSpPr>
            <p:sp>
              <p:nvSpPr>
                <p:cNvPr id="999" name="Freeform: Shape 379354">
                  <a:extLst>
                    <a:ext uri="{FF2B5EF4-FFF2-40B4-BE49-F238E27FC236}">
                      <a16:creationId xmlns:a16="http://schemas.microsoft.com/office/drawing/2014/main" id="{96ABB99B-8B31-4569-9FE9-2C26270171C3}"/>
                    </a:ext>
                  </a:extLst>
                </p:cNvPr>
                <p:cNvSpPr/>
                <p:nvPr/>
              </p:nvSpPr>
              <p:spPr>
                <a:xfrm>
                  <a:off x="7041784" y="2236162"/>
                  <a:ext cx="52543" cy="38446"/>
                </a:xfrm>
                <a:custGeom>
                  <a:avLst/>
                  <a:gdLst>
                    <a:gd name="connsiteX0" fmla="*/ 21786 w 52543"/>
                    <a:gd name="connsiteY0" fmla="*/ 17942 h 38446"/>
                    <a:gd name="connsiteX1" fmla="*/ 0 w 52543"/>
                    <a:gd name="connsiteY1" fmla="*/ 0 h 38446"/>
                    <a:gd name="connsiteX2" fmla="*/ 30757 w 52543"/>
                    <a:gd name="connsiteY2" fmla="*/ 20505 h 38446"/>
                    <a:gd name="connsiteX3" fmla="*/ 52544 w 52543"/>
                    <a:gd name="connsiteY3" fmla="*/ 38446 h 38446"/>
                    <a:gd name="connsiteX4" fmla="*/ 21786 w 52543"/>
                    <a:gd name="connsiteY4" fmla="*/ 17942 h 384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543" h="38446">
                      <a:moveTo>
                        <a:pt x="21786" y="17942"/>
                      </a:moveTo>
                      <a:cubicBezTo>
                        <a:pt x="14097" y="11534"/>
                        <a:pt x="6408" y="6408"/>
                        <a:pt x="0" y="0"/>
                      </a:cubicBezTo>
                      <a:lnTo>
                        <a:pt x="30757" y="20505"/>
                      </a:lnTo>
                      <a:cubicBezTo>
                        <a:pt x="38446" y="26912"/>
                        <a:pt x="46136" y="32039"/>
                        <a:pt x="52544" y="38446"/>
                      </a:cubicBezTo>
                      <a:lnTo>
                        <a:pt x="21786" y="17942"/>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1000" name="Freeform: Shape 379355">
                  <a:extLst>
                    <a:ext uri="{FF2B5EF4-FFF2-40B4-BE49-F238E27FC236}">
                      <a16:creationId xmlns:a16="http://schemas.microsoft.com/office/drawing/2014/main" id="{7C02F170-23F2-4FF8-9C00-D39D722E2556}"/>
                    </a:ext>
                  </a:extLst>
                </p:cNvPr>
                <p:cNvSpPr/>
                <p:nvPr/>
              </p:nvSpPr>
              <p:spPr>
                <a:xfrm>
                  <a:off x="6896968" y="2138764"/>
                  <a:ext cx="305009" cy="225552"/>
                </a:xfrm>
                <a:custGeom>
                  <a:avLst/>
                  <a:gdLst>
                    <a:gd name="connsiteX0" fmla="*/ 12815 w 305009"/>
                    <a:gd name="connsiteY0" fmla="*/ 10252 h 225552"/>
                    <a:gd name="connsiteX1" fmla="*/ 23068 w 305009"/>
                    <a:gd name="connsiteY1" fmla="*/ 16660 h 225552"/>
                    <a:gd name="connsiteX2" fmla="*/ 101243 w 305009"/>
                    <a:gd name="connsiteY2" fmla="*/ 71767 h 225552"/>
                    <a:gd name="connsiteX3" fmla="*/ 138408 w 305009"/>
                    <a:gd name="connsiteY3" fmla="*/ 94834 h 225552"/>
                    <a:gd name="connsiteX4" fmla="*/ 166601 w 305009"/>
                    <a:gd name="connsiteY4" fmla="*/ 116621 h 225552"/>
                    <a:gd name="connsiteX5" fmla="*/ 202485 w 305009"/>
                    <a:gd name="connsiteY5" fmla="*/ 140970 h 225552"/>
                    <a:gd name="connsiteX6" fmla="*/ 229398 w 305009"/>
                    <a:gd name="connsiteY6" fmla="*/ 164038 h 225552"/>
                    <a:gd name="connsiteX7" fmla="*/ 305009 w 305009"/>
                    <a:gd name="connsiteY7" fmla="*/ 225552 h 225552"/>
                    <a:gd name="connsiteX8" fmla="*/ 287067 w 305009"/>
                    <a:gd name="connsiteY8" fmla="*/ 207610 h 225552"/>
                    <a:gd name="connsiteX9" fmla="*/ 287067 w 305009"/>
                    <a:gd name="connsiteY9" fmla="*/ 208892 h 225552"/>
                    <a:gd name="connsiteX10" fmla="*/ 228116 w 305009"/>
                    <a:gd name="connsiteY10" fmla="*/ 162756 h 225552"/>
                    <a:gd name="connsiteX11" fmla="*/ 206330 w 305009"/>
                    <a:gd name="connsiteY11" fmla="*/ 143533 h 225552"/>
                    <a:gd name="connsiteX12" fmla="*/ 278096 w 305009"/>
                    <a:gd name="connsiteY12" fmla="*/ 199921 h 225552"/>
                    <a:gd name="connsiteX13" fmla="*/ 258873 w 305009"/>
                    <a:gd name="connsiteY13" fmla="*/ 183261 h 225552"/>
                    <a:gd name="connsiteX14" fmla="*/ 258873 w 305009"/>
                    <a:gd name="connsiteY14" fmla="*/ 184543 h 225552"/>
                    <a:gd name="connsiteX15" fmla="*/ 199922 w 305009"/>
                    <a:gd name="connsiteY15" fmla="*/ 139688 h 225552"/>
                    <a:gd name="connsiteX16" fmla="*/ 178135 w 305009"/>
                    <a:gd name="connsiteY16" fmla="*/ 121747 h 225552"/>
                    <a:gd name="connsiteX17" fmla="*/ 251184 w 305009"/>
                    <a:gd name="connsiteY17" fmla="*/ 176853 h 225552"/>
                    <a:gd name="connsiteX18" fmla="*/ 231961 w 305009"/>
                    <a:gd name="connsiteY18" fmla="*/ 160193 h 225552"/>
                    <a:gd name="connsiteX19" fmla="*/ 231961 w 305009"/>
                    <a:gd name="connsiteY19" fmla="*/ 161475 h 225552"/>
                    <a:gd name="connsiteX20" fmla="*/ 171728 w 305009"/>
                    <a:gd name="connsiteY20" fmla="*/ 117902 h 225552"/>
                    <a:gd name="connsiteX21" fmla="*/ 37165 w 305009"/>
                    <a:gd name="connsiteY21" fmla="*/ 19223 h 225552"/>
                    <a:gd name="connsiteX22" fmla="*/ 15378 w 305009"/>
                    <a:gd name="connsiteY22" fmla="*/ 5126 h 225552"/>
                    <a:gd name="connsiteX23" fmla="*/ 35883 w 305009"/>
                    <a:gd name="connsiteY23" fmla="*/ 17942 h 225552"/>
                    <a:gd name="connsiteX24" fmla="*/ 166601 w 305009"/>
                    <a:gd name="connsiteY24" fmla="*/ 112776 h 225552"/>
                    <a:gd name="connsiteX25" fmla="*/ 135845 w 305009"/>
                    <a:gd name="connsiteY25" fmla="*/ 92271 h 225552"/>
                    <a:gd name="connsiteX26" fmla="*/ 29476 w 305009"/>
                    <a:gd name="connsiteY26" fmla="*/ 16660 h 225552"/>
                    <a:gd name="connsiteX27" fmla="*/ 7689 w 305009"/>
                    <a:gd name="connsiteY27" fmla="*/ 2563 h 225552"/>
                    <a:gd name="connsiteX28" fmla="*/ 28194 w 305009"/>
                    <a:gd name="connsiteY28" fmla="*/ 15379 h 225552"/>
                    <a:gd name="connsiteX29" fmla="*/ 129436 w 305009"/>
                    <a:gd name="connsiteY29" fmla="*/ 88427 h 225552"/>
                    <a:gd name="connsiteX30" fmla="*/ 97398 w 305009"/>
                    <a:gd name="connsiteY30" fmla="*/ 67922 h 225552"/>
                    <a:gd name="connsiteX31" fmla="*/ 20505 w 305009"/>
                    <a:gd name="connsiteY31" fmla="*/ 14097 h 225552"/>
                    <a:gd name="connsiteX32" fmla="*/ 0 w 305009"/>
                    <a:gd name="connsiteY32" fmla="*/ 0 h 225552"/>
                    <a:gd name="connsiteX33" fmla="*/ 12815 w 305009"/>
                    <a:gd name="connsiteY33" fmla="*/ 10252 h 225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5009" h="225552">
                      <a:moveTo>
                        <a:pt x="12815" y="10252"/>
                      </a:moveTo>
                      <a:cubicBezTo>
                        <a:pt x="17942" y="14097"/>
                        <a:pt x="21786" y="15379"/>
                        <a:pt x="23068" y="16660"/>
                      </a:cubicBezTo>
                      <a:cubicBezTo>
                        <a:pt x="49980" y="34602"/>
                        <a:pt x="75611" y="52543"/>
                        <a:pt x="101243" y="71767"/>
                      </a:cubicBezTo>
                      <a:lnTo>
                        <a:pt x="138408" y="94834"/>
                      </a:lnTo>
                      <a:cubicBezTo>
                        <a:pt x="147378" y="102524"/>
                        <a:pt x="157631" y="110213"/>
                        <a:pt x="166601" y="116621"/>
                      </a:cubicBezTo>
                      <a:lnTo>
                        <a:pt x="202485" y="140970"/>
                      </a:lnTo>
                      <a:cubicBezTo>
                        <a:pt x="211456" y="148659"/>
                        <a:pt x="220427" y="156349"/>
                        <a:pt x="229398" y="164038"/>
                      </a:cubicBezTo>
                      <a:cubicBezTo>
                        <a:pt x="255029" y="184543"/>
                        <a:pt x="278096" y="207610"/>
                        <a:pt x="305009" y="225552"/>
                      </a:cubicBezTo>
                      <a:cubicBezTo>
                        <a:pt x="301164" y="220426"/>
                        <a:pt x="288349" y="210173"/>
                        <a:pt x="287067" y="207610"/>
                      </a:cubicBezTo>
                      <a:cubicBezTo>
                        <a:pt x="287067" y="207610"/>
                        <a:pt x="287067" y="208892"/>
                        <a:pt x="287067" y="208892"/>
                      </a:cubicBezTo>
                      <a:lnTo>
                        <a:pt x="228116" y="162756"/>
                      </a:lnTo>
                      <a:cubicBezTo>
                        <a:pt x="220427" y="156349"/>
                        <a:pt x="214019" y="149941"/>
                        <a:pt x="206330" y="143533"/>
                      </a:cubicBezTo>
                      <a:cubicBezTo>
                        <a:pt x="230679" y="161475"/>
                        <a:pt x="252466" y="183261"/>
                        <a:pt x="278096" y="199921"/>
                      </a:cubicBezTo>
                      <a:cubicBezTo>
                        <a:pt x="274252" y="194795"/>
                        <a:pt x="261436" y="184543"/>
                        <a:pt x="258873" y="183261"/>
                      </a:cubicBezTo>
                      <a:cubicBezTo>
                        <a:pt x="258873" y="183261"/>
                        <a:pt x="258873" y="184543"/>
                        <a:pt x="258873" y="184543"/>
                      </a:cubicBezTo>
                      <a:lnTo>
                        <a:pt x="199922" y="139688"/>
                      </a:lnTo>
                      <a:cubicBezTo>
                        <a:pt x="192233" y="133281"/>
                        <a:pt x="185825" y="128155"/>
                        <a:pt x="178135" y="121747"/>
                      </a:cubicBezTo>
                      <a:cubicBezTo>
                        <a:pt x="202485" y="139688"/>
                        <a:pt x="225553" y="160193"/>
                        <a:pt x="251184" y="176853"/>
                      </a:cubicBezTo>
                      <a:cubicBezTo>
                        <a:pt x="247339" y="171727"/>
                        <a:pt x="234524" y="161475"/>
                        <a:pt x="231961" y="160193"/>
                      </a:cubicBezTo>
                      <a:cubicBezTo>
                        <a:pt x="231961" y="160193"/>
                        <a:pt x="231961" y="161475"/>
                        <a:pt x="231961" y="161475"/>
                      </a:cubicBezTo>
                      <a:lnTo>
                        <a:pt x="171728" y="117902"/>
                      </a:lnTo>
                      <a:cubicBezTo>
                        <a:pt x="128155" y="83300"/>
                        <a:pt x="83301" y="49980"/>
                        <a:pt x="37165" y="19223"/>
                      </a:cubicBezTo>
                      <a:cubicBezTo>
                        <a:pt x="33320" y="15379"/>
                        <a:pt x="20505" y="7689"/>
                        <a:pt x="15378" y="5126"/>
                      </a:cubicBezTo>
                      <a:cubicBezTo>
                        <a:pt x="20505" y="10252"/>
                        <a:pt x="35883" y="17942"/>
                        <a:pt x="35883" y="17942"/>
                      </a:cubicBezTo>
                      <a:cubicBezTo>
                        <a:pt x="80738" y="47417"/>
                        <a:pt x="124311" y="79456"/>
                        <a:pt x="166601" y="112776"/>
                      </a:cubicBezTo>
                      <a:lnTo>
                        <a:pt x="135845" y="92271"/>
                      </a:lnTo>
                      <a:cubicBezTo>
                        <a:pt x="101243" y="65359"/>
                        <a:pt x="66641" y="39728"/>
                        <a:pt x="29476" y="16660"/>
                      </a:cubicBezTo>
                      <a:cubicBezTo>
                        <a:pt x="25631" y="12815"/>
                        <a:pt x="12815" y="5126"/>
                        <a:pt x="7689" y="2563"/>
                      </a:cubicBezTo>
                      <a:cubicBezTo>
                        <a:pt x="11534" y="7689"/>
                        <a:pt x="28194" y="15379"/>
                        <a:pt x="28194" y="15379"/>
                      </a:cubicBezTo>
                      <a:cubicBezTo>
                        <a:pt x="62796" y="38446"/>
                        <a:pt x="97398" y="62796"/>
                        <a:pt x="129436" y="88427"/>
                      </a:cubicBezTo>
                      <a:lnTo>
                        <a:pt x="97398" y="67922"/>
                      </a:lnTo>
                      <a:cubicBezTo>
                        <a:pt x="71767" y="48699"/>
                        <a:pt x="46136" y="30757"/>
                        <a:pt x="20505" y="14097"/>
                      </a:cubicBezTo>
                      <a:cubicBezTo>
                        <a:pt x="16660" y="10252"/>
                        <a:pt x="3844" y="2563"/>
                        <a:pt x="0" y="0"/>
                      </a:cubicBezTo>
                      <a:cubicBezTo>
                        <a:pt x="3844" y="3845"/>
                        <a:pt x="5126" y="5126"/>
                        <a:pt x="12815"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238" name="Freeform: Shape 379356">
                <a:extLst>
                  <a:ext uri="{FF2B5EF4-FFF2-40B4-BE49-F238E27FC236}">
                    <a16:creationId xmlns:a16="http://schemas.microsoft.com/office/drawing/2014/main" id="{A640AE6A-8B0C-4382-A24B-98FA8D4AA3B0}"/>
                  </a:ext>
                </a:extLst>
              </p:cNvPr>
              <p:cNvSpPr/>
              <p:nvPr/>
            </p:nvSpPr>
            <p:spPr>
              <a:xfrm>
                <a:off x="6920036" y="2143891"/>
                <a:ext cx="201203" cy="147377"/>
              </a:xfrm>
              <a:custGeom>
                <a:avLst/>
                <a:gdLst>
                  <a:gd name="connsiteX0" fmla="*/ 11534 w 201203"/>
                  <a:gd name="connsiteY0" fmla="*/ 8971 h 147377"/>
                  <a:gd name="connsiteX1" fmla="*/ 21786 w 201203"/>
                  <a:gd name="connsiteY1" fmla="*/ 15379 h 147377"/>
                  <a:gd name="connsiteX2" fmla="*/ 158912 w 201203"/>
                  <a:gd name="connsiteY2" fmla="*/ 115339 h 147377"/>
                  <a:gd name="connsiteX3" fmla="*/ 201203 w 201203"/>
                  <a:gd name="connsiteY3" fmla="*/ 147378 h 147377"/>
                  <a:gd name="connsiteX4" fmla="*/ 183262 w 201203"/>
                  <a:gd name="connsiteY4" fmla="*/ 131999 h 147377"/>
                  <a:gd name="connsiteX5" fmla="*/ 183262 w 201203"/>
                  <a:gd name="connsiteY5" fmla="*/ 131999 h 147377"/>
                  <a:gd name="connsiteX6" fmla="*/ 157631 w 201203"/>
                  <a:gd name="connsiteY6" fmla="*/ 112776 h 147377"/>
                  <a:gd name="connsiteX7" fmla="*/ 21786 w 201203"/>
                  <a:gd name="connsiteY7" fmla="*/ 14097 h 147377"/>
                  <a:gd name="connsiteX8" fmla="*/ 0 w 201203"/>
                  <a:gd name="connsiteY8" fmla="*/ 0 h 147377"/>
                  <a:gd name="connsiteX9" fmla="*/ 11534 w 201203"/>
                  <a:gd name="connsiteY9" fmla="*/ 8971 h 1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1203" h="147377">
                    <a:moveTo>
                      <a:pt x="11534" y="8971"/>
                    </a:moveTo>
                    <a:cubicBezTo>
                      <a:pt x="14097" y="10252"/>
                      <a:pt x="17942" y="12815"/>
                      <a:pt x="21786" y="15379"/>
                    </a:cubicBezTo>
                    <a:cubicBezTo>
                      <a:pt x="69204" y="46136"/>
                      <a:pt x="115340" y="79456"/>
                      <a:pt x="158912" y="115339"/>
                    </a:cubicBezTo>
                    <a:cubicBezTo>
                      <a:pt x="173009" y="125591"/>
                      <a:pt x="187106" y="138407"/>
                      <a:pt x="201203" y="147378"/>
                    </a:cubicBezTo>
                    <a:cubicBezTo>
                      <a:pt x="198640" y="143533"/>
                      <a:pt x="183262" y="131999"/>
                      <a:pt x="183262" y="131999"/>
                    </a:cubicBezTo>
                    <a:cubicBezTo>
                      <a:pt x="183262" y="131999"/>
                      <a:pt x="183262" y="131999"/>
                      <a:pt x="183262" y="131999"/>
                    </a:cubicBezTo>
                    <a:lnTo>
                      <a:pt x="157631" y="112776"/>
                    </a:lnTo>
                    <a:cubicBezTo>
                      <a:pt x="114058" y="78174"/>
                      <a:pt x="69204" y="44854"/>
                      <a:pt x="21786" y="14097"/>
                    </a:cubicBezTo>
                    <a:cubicBezTo>
                      <a:pt x="19223" y="11534"/>
                      <a:pt x="3844" y="1282"/>
                      <a:pt x="0" y="0"/>
                    </a:cubicBezTo>
                    <a:cubicBezTo>
                      <a:pt x="1281" y="2563"/>
                      <a:pt x="2563" y="3845"/>
                      <a:pt x="11534"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39" name="Freeform: Shape 379357">
                <a:extLst>
                  <a:ext uri="{FF2B5EF4-FFF2-40B4-BE49-F238E27FC236}">
                    <a16:creationId xmlns:a16="http://schemas.microsoft.com/office/drawing/2014/main" id="{9F39F2BA-87F9-41B3-B883-45DCC7F910EE}"/>
                  </a:ext>
                </a:extLst>
              </p:cNvPr>
              <p:cNvSpPr/>
              <p:nvPr/>
            </p:nvSpPr>
            <p:spPr>
              <a:xfrm>
                <a:off x="6925163" y="2149017"/>
                <a:ext cx="283222" cy="220425"/>
              </a:xfrm>
              <a:custGeom>
                <a:avLst/>
                <a:gdLst>
                  <a:gd name="connsiteX0" fmla="*/ 11534 w 283222"/>
                  <a:gd name="connsiteY0" fmla="*/ 6408 h 220425"/>
                  <a:gd name="connsiteX1" fmla="*/ 21786 w 283222"/>
                  <a:gd name="connsiteY1" fmla="*/ 12815 h 220425"/>
                  <a:gd name="connsiteX2" fmla="*/ 158912 w 283222"/>
                  <a:gd name="connsiteY2" fmla="*/ 112776 h 220425"/>
                  <a:gd name="connsiteX3" fmla="*/ 192233 w 283222"/>
                  <a:gd name="connsiteY3" fmla="*/ 138407 h 220425"/>
                  <a:gd name="connsiteX4" fmla="*/ 263999 w 283222"/>
                  <a:gd name="connsiteY4" fmla="*/ 202484 h 220425"/>
                  <a:gd name="connsiteX5" fmla="*/ 283222 w 283222"/>
                  <a:gd name="connsiteY5" fmla="*/ 220426 h 220425"/>
                  <a:gd name="connsiteX6" fmla="*/ 265281 w 283222"/>
                  <a:gd name="connsiteY6" fmla="*/ 203766 h 220425"/>
                  <a:gd name="connsiteX7" fmla="*/ 190951 w 283222"/>
                  <a:gd name="connsiteY7" fmla="*/ 138407 h 220425"/>
                  <a:gd name="connsiteX8" fmla="*/ 157631 w 283222"/>
                  <a:gd name="connsiteY8" fmla="*/ 112776 h 220425"/>
                  <a:gd name="connsiteX9" fmla="*/ 21786 w 283222"/>
                  <a:gd name="connsiteY9" fmla="*/ 14097 h 220425"/>
                  <a:gd name="connsiteX10" fmla="*/ 0 w 283222"/>
                  <a:gd name="connsiteY10" fmla="*/ 0 h 220425"/>
                  <a:gd name="connsiteX11" fmla="*/ 11534 w 283222"/>
                  <a:gd name="connsiteY11" fmla="*/ 6408 h 220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3222" h="220425">
                    <a:moveTo>
                      <a:pt x="11534" y="6408"/>
                    </a:moveTo>
                    <a:cubicBezTo>
                      <a:pt x="16660" y="10252"/>
                      <a:pt x="19223" y="11534"/>
                      <a:pt x="21786" y="12815"/>
                    </a:cubicBezTo>
                    <a:cubicBezTo>
                      <a:pt x="69203" y="43573"/>
                      <a:pt x="115339" y="78174"/>
                      <a:pt x="158912" y="112776"/>
                    </a:cubicBezTo>
                    <a:lnTo>
                      <a:pt x="192233" y="138407"/>
                    </a:lnTo>
                    <a:cubicBezTo>
                      <a:pt x="216582" y="158912"/>
                      <a:pt x="240931" y="180698"/>
                      <a:pt x="263999" y="202484"/>
                    </a:cubicBezTo>
                    <a:cubicBezTo>
                      <a:pt x="267844" y="206329"/>
                      <a:pt x="278096" y="216581"/>
                      <a:pt x="283222" y="220426"/>
                    </a:cubicBezTo>
                    <a:cubicBezTo>
                      <a:pt x="278096" y="214018"/>
                      <a:pt x="265281" y="203766"/>
                      <a:pt x="265281" y="203766"/>
                    </a:cubicBezTo>
                    <a:cubicBezTo>
                      <a:pt x="240931" y="181979"/>
                      <a:pt x="216582" y="160193"/>
                      <a:pt x="190951" y="138407"/>
                    </a:cubicBezTo>
                    <a:lnTo>
                      <a:pt x="157631" y="112776"/>
                    </a:lnTo>
                    <a:cubicBezTo>
                      <a:pt x="114058" y="78174"/>
                      <a:pt x="69203" y="44854"/>
                      <a:pt x="21786" y="14097"/>
                    </a:cubicBezTo>
                    <a:cubicBezTo>
                      <a:pt x="16660" y="10252"/>
                      <a:pt x="5126" y="2563"/>
                      <a:pt x="0" y="0"/>
                    </a:cubicBezTo>
                    <a:cubicBezTo>
                      <a:pt x="3844" y="0"/>
                      <a:pt x="3844" y="1282"/>
                      <a:pt x="11534" y="640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0" name="Freeform: Shape 379358">
                <a:extLst>
                  <a:ext uri="{FF2B5EF4-FFF2-40B4-BE49-F238E27FC236}">
                    <a16:creationId xmlns:a16="http://schemas.microsoft.com/office/drawing/2014/main" id="{99923FDC-B853-43A3-AEE2-D2750DB5703C}"/>
                  </a:ext>
                </a:extLst>
              </p:cNvPr>
              <p:cNvSpPr/>
              <p:nvPr/>
            </p:nvSpPr>
            <p:spPr>
              <a:xfrm>
                <a:off x="4282606" y="2768003"/>
                <a:ext cx="87145" cy="180697"/>
              </a:xfrm>
              <a:custGeom>
                <a:avLst/>
                <a:gdLst>
                  <a:gd name="connsiteX0" fmla="*/ 78174 w 87145"/>
                  <a:gd name="connsiteY0" fmla="*/ 14097 h 180697"/>
                  <a:gd name="connsiteX1" fmla="*/ 74330 w 87145"/>
                  <a:gd name="connsiteY1" fmla="*/ 21786 h 180697"/>
                  <a:gd name="connsiteX2" fmla="*/ 75611 w 87145"/>
                  <a:gd name="connsiteY2" fmla="*/ 20505 h 180697"/>
                  <a:gd name="connsiteX3" fmla="*/ 66641 w 87145"/>
                  <a:gd name="connsiteY3" fmla="*/ 42291 h 180697"/>
                  <a:gd name="connsiteX4" fmla="*/ 10252 w 87145"/>
                  <a:gd name="connsiteY4" fmla="*/ 158912 h 180697"/>
                  <a:gd name="connsiteX5" fmla="*/ 0 w 87145"/>
                  <a:gd name="connsiteY5" fmla="*/ 180698 h 180697"/>
                  <a:gd name="connsiteX6" fmla="*/ 10252 w 87145"/>
                  <a:gd name="connsiteY6" fmla="*/ 157630 h 180697"/>
                  <a:gd name="connsiteX7" fmla="*/ 67922 w 87145"/>
                  <a:gd name="connsiteY7" fmla="*/ 39728 h 180697"/>
                  <a:gd name="connsiteX8" fmla="*/ 78174 w 87145"/>
                  <a:gd name="connsiteY8" fmla="*/ 14097 h 180697"/>
                  <a:gd name="connsiteX9" fmla="*/ 87145 w 87145"/>
                  <a:gd name="connsiteY9" fmla="*/ 0 h 180697"/>
                  <a:gd name="connsiteX10" fmla="*/ 78174 w 87145"/>
                  <a:gd name="connsiteY10" fmla="*/ 14097 h 18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7145" h="180697">
                    <a:moveTo>
                      <a:pt x="78174" y="14097"/>
                    </a:moveTo>
                    <a:cubicBezTo>
                      <a:pt x="75611" y="19223"/>
                      <a:pt x="74330" y="20505"/>
                      <a:pt x="74330" y="21786"/>
                    </a:cubicBezTo>
                    <a:cubicBezTo>
                      <a:pt x="74330" y="21786"/>
                      <a:pt x="75611" y="20505"/>
                      <a:pt x="75611" y="20505"/>
                    </a:cubicBezTo>
                    <a:lnTo>
                      <a:pt x="66641" y="42291"/>
                    </a:lnTo>
                    <a:cubicBezTo>
                      <a:pt x="46136" y="80737"/>
                      <a:pt x="26912" y="119184"/>
                      <a:pt x="10252" y="158912"/>
                    </a:cubicBezTo>
                    <a:cubicBezTo>
                      <a:pt x="7689" y="164038"/>
                      <a:pt x="1282" y="176853"/>
                      <a:pt x="0" y="180698"/>
                    </a:cubicBezTo>
                    <a:cubicBezTo>
                      <a:pt x="2563" y="179416"/>
                      <a:pt x="10252" y="160193"/>
                      <a:pt x="10252" y="157630"/>
                    </a:cubicBezTo>
                    <a:cubicBezTo>
                      <a:pt x="28194" y="117902"/>
                      <a:pt x="47417" y="78174"/>
                      <a:pt x="67922" y="39728"/>
                    </a:cubicBezTo>
                    <a:cubicBezTo>
                      <a:pt x="71767" y="30757"/>
                      <a:pt x="75611" y="21786"/>
                      <a:pt x="78174" y="14097"/>
                    </a:cubicBezTo>
                    <a:cubicBezTo>
                      <a:pt x="79456" y="15379"/>
                      <a:pt x="87145" y="1282"/>
                      <a:pt x="87145" y="0"/>
                    </a:cubicBezTo>
                    <a:cubicBezTo>
                      <a:pt x="84582" y="3845"/>
                      <a:pt x="80738" y="10252"/>
                      <a:pt x="78174"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1" name="Freeform: Shape 379359">
                <a:extLst>
                  <a:ext uri="{FF2B5EF4-FFF2-40B4-BE49-F238E27FC236}">
                    <a16:creationId xmlns:a16="http://schemas.microsoft.com/office/drawing/2014/main" id="{7ADD9B56-41E3-4309-B297-0A84B24F8949}"/>
                  </a:ext>
                </a:extLst>
              </p:cNvPr>
              <p:cNvSpPr/>
              <p:nvPr/>
            </p:nvSpPr>
            <p:spPr>
              <a:xfrm>
                <a:off x="4264664" y="2739809"/>
                <a:ext cx="144815" cy="292192"/>
              </a:xfrm>
              <a:custGeom>
                <a:avLst/>
                <a:gdLst>
                  <a:gd name="connsiteX0" fmla="*/ 1282 w 144815"/>
                  <a:gd name="connsiteY0" fmla="*/ 284503 h 292192"/>
                  <a:gd name="connsiteX1" fmla="*/ 0 w 144815"/>
                  <a:gd name="connsiteY1" fmla="*/ 292192 h 292192"/>
                  <a:gd name="connsiteX2" fmla="*/ 8971 w 144815"/>
                  <a:gd name="connsiteY2" fmla="*/ 274251 h 292192"/>
                  <a:gd name="connsiteX3" fmla="*/ 47417 w 144815"/>
                  <a:gd name="connsiteY3" fmla="*/ 205047 h 292192"/>
                  <a:gd name="connsiteX4" fmla="*/ 133281 w 144815"/>
                  <a:gd name="connsiteY4" fmla="*/ 20505 h 292192"/>
                  <a:gd name="connsiteX5" fmla="*/ 144815 w 144815"/>
                  <a:gd name="connsiteY5" fmla="*/ 0 h 292192"/>
                  <a:gd name="connsiteX6" fmla="*/ 144815 w 144815"/>
                  <a:gd name="connsiteY6" fmla="*/ 0 h 292192"/>
                  <a:gd name="connsiteX7" fmla="*/ 132000 w 144815"/>
                  <a:gd name="connsiteY7" fmla="*/ 21786 h 292192"/>
                  <a:gd name="connsiteX8" fmla="*/ 46136 w 144815"/>
                  <a:gd name="connsiteY8" fmla="*/ 203766 h 292192"/>
                  <a:gd name="connsiteX9" fmla="*/ 8971 w 144815"/>
                  <a:gd name="connsiteY9" fmla="*/ 270406 h 292192"/>
                  <a:gd name="connsiteX10" fmla="*/ 8971 w 144815"/>
                  <a:gd name="connsiteY10" fmla="*/ 269125 h 292192"/>
                  <a:gd name="connsiteX11" fmla="*/ 1282 w 144815"/>
                  <a:gd name="connsiteY11" fmla="*/ 284503 h 292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4815" h="292192">
                    <a:moveTo>
                      <a:pt x="1282" y="284503"/>
                    </a:moveTo>
                    <a:cubicBezTo>
                      <a:pt x="0" y="288348"/>
                      <a:pt x="0" y="289629"/>
                      <a:pt x="0" y="292192"/>
                    </a:cubicBezTo>
                    <a:cubicBezTo>
                      <a:pt x="3845" y="290911"/>
                      <a:pt x="8971" y="274251"/>
                      <a:pt x="8971" y="274251"/>
                    </a:cubicBezTo>
                    <a:lnTo>
                      <a:pt x="47417" y="205047"/>
                    </a:lnTo>
                    <a:cubicBezTo>
                      <a:pt x="73049" y="142252"/>
                      <a:pt x="101243" y="80737"/>
                      <a:pt x="133281" y="20505"/>
                    </a:cubicBezTo>
                    <a:cubicBezTo>
                      <a:pt x="137126" y="15379"/>
                      <a:pt x="143534" y="5126"/>
                      <a:pt x="144815" y="0"/>
                    </a:cubicBezTo>
                    <a:cubicBezTo>
                      <a:pt x="144815" y="0"/>
                      <a:pt x="144815" y="0"/>
                      <a:pt x="144815" y="0"/>
                    </a:cubicBezTo>
                    <a:cubicBezTo>
                      <a:pt x="139689" y="5126"/>
                      <a:pt x="132000" y="19223"/>
                      <a:pt x="132000" y="21786"/>
                    </a:cubicBezTo>
                    <a:cubicBezTo>
                      <a:pt x="99961" y="80737"/>
                      <a:pt x="71767" y="140970"/>
                      <a:pt x="46136" y="203766"/>
                    </a:cubicBezTo>
                    <a:cubicBezTo>
                      <a:pt x="34602" y="224270"/>
                      <a:pt x="20505" y="251183"/>
                      <a:pt x="8971" y="270406"/>
                    </a:cubicBezTo>
                    <a:cubicBezTo>
                      <a:pt x="8971" y="270406"/>
                      <a:pt x="8971" y="269125"/>
                      <a:pt x="8971" y="269125"/>
                    </a:cubicBezTo>
                    <a:cubicBezTo>
                      <a:pt x="6408" y="270406"/>
                      <a:pt x="1282" y="283222"/>
                      <a:pt x="1282" y="2845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2" name="Freeform: Shape 379360">
                <a:extLst>
                  <a:ext uri="{FF2B5EF4-FFF2-40B4-BE49-F238E27FC236}">
                    <a16:creationId xmlns:a16="http://schemas.microsoft.com/office/drawing/2014/main" id="{9F3A606D-8F80-4850-B6EF-2F82FBDB4BF2}"/>
                  </a:ext>
                </a:extLst>
              </p:cNvPr>
              <p:cNvSpPr/>
              <p:nvPr/>
            </p:nvSpPr>
            <p:spPr>
              <a:xfrm>
                <a:off x="4460075" y="2619344"/>
                <a:ext cx="64744" cy="108931"/>
              </a:xfrm>
              <a:custGeom>
                <a:avLst/>
                <a:gdLst>
                  <a:gd name="connsiteX0" fmla="*/ 51929 w 64744"/>
                  <a:gd name="connsiteY0" fmla="*/ 12816 h 108931"/>
                  <a:gd name="connsiteX1" fmla="*/ 49366 w 64744"/>
                  <a:gd name="connsiteY1" fmla="*/ 19223 h 108931"/>
                  <a:gd name="connsiteX2" fmla="*/ 10919 w 64744"/>
                  <a:gd name="connsiteY2" fmla="*/ 88427 h 108931"/>
                  <a:gd name="connsiteX3" fmla="*/ 667 w 64744"/>
                  <a:gd name="connsiteY3" fmla="*/ 108931 h 108931"/>
                  <a:gd name="connsiteX4" fmla="*/ 13482 w 64744"/>
                  <a:gd name="connsiteY4" fmla="*/ 88427 h 108931"/>
                  <a:gd name="connsiteX5" fmla="*/ 13482 w 64744"/>
                  <a:gd name="connsiteY5" fmla="*/ 88427 h 108931"/>
                  <a:gd name="connsiteX6" fmla="*/ 51929 w 64744"/>
                  <a:gd name="connsiteY6" fmla="*/ 19223 h 108931"/>
                  <a:gd name="connsiteX7" fmla="*/ 64744 w 64744"/>
                  <a:gd name="connsiteY7" fmla="*/ 0 h 108931"/>
                  <a:gd name="connsiteX8" fmla="*/ 63463 w 64744"/>
                  <a:gd name="connsiteY8" fmla="*/ 0 h 108931"/>
                  <a:gd name="connsiteX9" fmla="*/ 51929 w 64744"/>
                  <a:gd name="connsiteY9" fmla="*/ 12816 h 10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44" h="108931">
                    <a:moveTo>
                      <a:pt x="51929" y="12816"/>
                    </a:moveTo>
                    <a:cubicBezTo>
                      <a:pt x="50647" y="15379"/>
                      <a:pt x="49366" y="19223"/>
                      <a:pt x="49366" y="19223"/>
                    </a:cubicBezTo>
                    <a:cubicBezTo>
                      <a:pt x="35269" y="42291"/>
                      <a:pt x="22453" y="65359"/>
                      <a:pt x="10919" y="88427"/>
                    </a:cubicBezTo>
                    <a:cubicBezTo>
                      <a:pt x="3230" y="94834"/>
                      <a:pt x="-1896" y="108931"/>
                      <a:pt x="667" y="108931"/>
                    </a:cubicBezTo>
                    <a:cubicBezTo>
                      <a:pt x="4511" y="108931"/>
                      <a:pt x="16045" y="90990"/>
                      <a:pt x="13482" y="88427"/>
                    </a:cubicBezTo>
                    <a:cubicBezTo>
                      <a:pt x="13482" y="88427"/>
                      <a:pt x="13482" y="88427"/>
                      <a:pt x="13482" y="88427"/>
                    </a:cubicBezTo>
                    <a:cubicBezTo>
                      <a:pt x="26298" y="65359"/>
                      <a:pt x="39113" y="42291"/>
                      <a:pt x="51929" y="19223"/>
                    </a:cubicBezTo>
                    <a:cubicBezTo>
                      <a:pt x="57055" y="14097"/>
                      <a:pt x="64744" y="2563"/>
                      <a:pt x="64744" y="0"/>
                    </a:cubicBezTo>
                    <a:cubicBezTo>
                      <a:pt x="64744" y="0"/>
                      <a:pt x="63463" y="0"/>
                      <a:pt x="63463" y="0"/>
                    </a:cubicBezTo>
                    <a:cubicBezTo>
                      <a:pt x="58337" y="2563"/>
                      <a:pt x="53210" y="10252"/>
                      <a:pt x="51929"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3" name="Freeform: Shape 379361">
                <a:extLst>
                  <a:ext uri="{FF2B5EF4-FFF2-40B4-BE49-F238E27FC236}">
                    <a16:creationId xmlns:a16="http://schemas.microsoft.com/office/drawing/2014/main" id="{48030770-6F3F-4232-95F2-558197E5CB9F}"/>
                  </a:ext>
                </a:extLst>
              </p:cNvPr>
              <p:cNvSpPr/>
              <p:nvPr/>
            </p:nvSpPr>
            <p:spPr>
              <a:xfrm>
                <a:off x="4472890" y="2614218"/>
                <a:ext cx="63604" cy="108931"/>
              </a:xfrm>
              <a:custGeom>
                <a:avLst/>
                <a:gdLst>
                  <a:gd name="connsiteX0" fmla="*/ 50647 w 63604"/>
                  <a:gd name="connsiteY0" fmla="*/ 12816 h 108931"/>
                  <a:gd name="connsiteX1" fmla="*/ 49366 w 63604"/>
                  <a:gd name="connsiteY1" fmla="*/ 19223 h 108931"/>
                  <a:gd name="connsiteX2" fmla="*/ 10919 w 63604"/>
                  <a:gd name="connsiteY2" fmla="*/ 88427 h 108931"/>
                  <a:gd name="connsiteX3" fmla="*/ 667 w 63604"/>
                  <a:gd name="connsiteY3" fmla="*/ 108931 h 108931"/>
                  <a:gd name="connsiteX4" fmla="*/ 13482 w 63604"/>
                  <a:gd name="connsiteY4" fmla="*/ 88427 h 108931"/>
                  <a:gd name="connsiteX5" fmla="*/ 13482 w 63604"/>
                  <a:gd name="connsiteY5" fmla="*/ 88427 h 108931"/>
                  <a:gd name="connsiteX6" fmla="*/ 51929 w 63604"/>
                  <a:gd name="connsiteY6" fmla="*/ 19223 h 108931"/>
                  <a:gd name="connsiteX7" fmla="*/ 63463 w 63604"/>
                  <a:gd name="connsiteY7" fmla="*/ 0 h 108931"/>
                  <a:gd name="connsiteX8" fmla="*/ 62181 w 63604"/>
                  <a:gd name="connsiteY8" fmla="*/ 0 h 108931"/>
                  <a:gd name="connsiteX9" fmla="*/ 50647 w 63604"/>
                  <a:gd name="connsiteY9" fmla="*/ 12816 h 108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04" h="108931">
                    <a:moveTo>
                      <a:pt x="50647" y="12816"/>
                    </a:moveTo>
                    <a:cubicBezTo>
                      <a:pt x="49366" y="15379"/>
                      <a:pt x="48084" y="19223"/>
                      <a:pt x="49366" y="19223"/>
                    </a:cubicBezTo>
                    <a:cubicBezTo>
                      <a:pt x="36550" y="42291"/>
                      <a:pt x="23735" y="65359"/>
                      <a:pt x="10919" y="88427"/>
                    </a:cubicBezTo>
                    <a:cubicBezTo>
                      <a:pt x="3230" y="94834"/>
                      <a:pt x="-1896" y="108931"/>
                      <a:pt x="667" y="108931"/>
                    </a:cubicBezTo>
                    <a:cubicBezTo>
                      <a:pt x="4511" y="108931"/>
                      <a:pt x="16045" y="90990"/>
                      <a:pt x="13482" y="88427"/>
                    </a:cubicBezTo>
                    <a:cubicBezTo>
                      <a:pt x="13482" y="88427"/>
                      <a:pt x="13482" y="88427"/>
                      <a:pt x="13482" y="88427"/>
                    </a:cubicBezTo>
                    <a:cubicBezTo>
                      <a:pt x="26298" y="65359"/>
                      <a:pt x="39113" y="42291"/>
                      <a:pt x="51929" y="19223"/>
                    </a:cubicBezTo>
                    <a:cubicBezTo>
                      <a:pt x="57055" y="14097"/>
                      <a:pt x="64744" y="2563"/>
                      <a:pt x="63463" y="0"/>
                    </a:cubicBezTo>
                    <a:cubicBezTo>
                      <a:pt x="63463" y="0"/>
                      <a:pt x="62181" y="0"/>
                      <a:pt x="62181" y="0"/>
                    </a:cubicBezTo>
                    <a:cubicBezTo>
                      <a:pt x="57055" y="2563"/>
                      <a:pt x="50647" y="12816"/>
                      <a:pt x="50647"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4" name="Freeform: Shape 379362">
                <a:extLst>
                  <a:ext uri="{FF2B5EF4-FFF2-40B4-BE49-F238E27FC236}">
                    <a16:creationId xmlns:a16="http://schemas.microsoft.com/office/drawing/2014/main" id="{36383AC8-F029-488F-8E43-0B14E1619F73}"/>
                  </a:ext>
                </a:extLst>
              </p:cNvPr>
              <p:cNvSpPr/>
              <p:nvPr/>
            </p:nvSpPr>
            <p:spPr>
              <a:xfrm>
                <a:off x="4543263" y="2586024"/>
                <a:ext cx="59598" cy="107649"/>
              </a:xfrm>
              <a:custGeom>
                <a:avLst/>
                <a:gdLst>
                  <a:gd name="connsiteX0" fmla="*/ 48197 w 59598"/>
                  <a:gd name="connsiteY0" fmla="*/ 12815 h 107649"/>
                  <a:gd name="connsiteX1" fmla="*/ 46915 w 59598"/>
                  <a:gd name="connsiteY1" fmla="*/ 19223 h 107649"/>
                  <a:gd name="connsiteX2" fmla="*/ 11032 w 59598"/>
                  <a:gd name="connsiteY2" fmla="*/ 87145 h 107649"/>
                  <a:gd name="connsiteX3" fmla="*/ 779 w 59598"/>
                  <a:gd name="connsiteY3" fmla="*/ 107650 h 107649"/>
                  <a:gd name="connsiteX4" fmla="*/ 13595 w 59598"/>
                  <a:gd name="connsiteY4" fmla="*/ 87145 h 107649"/>
                  <a:gd name="connsiteX5" fmla="*/ 13595 w 59598"/>
                  <a:gd name="connsiteY5" fmla="*/ 87145 h 107649"/>
                  <a:gd name="connsiteX6" fmla="*/ 48197 w 59598"/>
                  <a:gd name="connsiteY6" fmla="*/ 19223 h 107649"/>
                  <a:gd name="connsiteX7" fmla="*/ 58449 w 59598"/>
                  <a:gd name="connsiteY7" fmla="*/ 0 h 107649"/>
                  <a:gd name="connsiteX8" fmla="*/ 57168 w 59598"/>
                  <a:gd name="connsiteY8" fmla="*/ 0 h 107649"/>
                  <a:gd name="connsiteX9" fmla="*/ 48197 w 59598"/>
                  <a:gd name="connsiteY9" fmla="*/ 12815 h 107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598" h="107649">
                    <a:moveTo>
                      <a:pt x="48197" y="12815"/>
                    </a:moveTo>
                    <a:cubicBezTo>
                      <a:pt x="46915" y="15379"/>
                      <a:pt x="45634" y="19223"/>
                      <a:pt x="46915" y="19223"/>
                    </a:cubicBezTo>
                    <a:cubicBezTo>
                      <a:pt x="34100" y="41009"/>
                      <a:pt x="22566" y="64077"/>
                      <a:pt x="11032" y="87145"/>
                    </a:cubicBezTo>
                    <a:cubicBezTo>
                      <a:pt x="2061" y="93553"/>
                      <a:pt x="-1783" y="107650"/>
                      <a:pt x="779" y="107650"/>
                    </a:cubicBezTo>
                    <a:cubicBezTo>
                      <a:pt x="5906" y="107650"/>
                      <a:pt x="16158" y="89708"/>
                      <a:pt x="13595" y="87145"/>
                    </a:cubicBezTo>
                    <a:cubicBezTo>
                      <a:pt x="13595" y="87145"/>
                      <a:pt x="13595" y="87145"/>
                      <a:pt x="13595" y="87145"/>
                    </a:cubicBezTo>
                    <a:cubicBezTo>
                      <a:pt x="25129" y="64077"/>
                      <a:pt x="36663" y="42291"/>
                      <a:pt x="48197" y="19223"/>
                    </a:cubicBezTo>
                    <a:cubicBezTo>
                      <a:pt x="55886" y="12815"/>
                      <a:pt x="62294" y="0"/>
                      <a:pt x="58449" y="0"/>
                    </a:cubicBezTo>
                    <a:cubicBezTo>
                      <a:pt x="58449" y="0"/>
                      <a:pt x="58449" y="0"/>
                      <a:pt x="57168" y="0"/>
                    </a:cubicBezTo>
                    <a:cubicBezTo>
                      <a:pt x="53323" y="1282"/>
                      <a:pt x="49478" y="10252"/>
                      <a:pt x="48197"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5" name="Freeform: Shape 379363">
                <a:extLst>
                  <a:ext uri="{FF2B5EF4-FFF2-40B4-BE49-F238E27FC236}">
                    <a16:creationId xmlns:a16="http://schemas.microsoft.com/office/drawing/2014/main" id="{355C25EC-2C6A-4E99-943D-03C69C338531}"/>
                  </a:ext>
                </a:extLst>
              </p:cNvPr>
              <p:cNvSpPr/>
              <p:nvPr/>
            </p:nvSpPr>
            <p:spPr>
              <a:xfrm>
                <a:off x="4707878" y="2501442"/>
                <a:ext cx="65059" cy="130983"/>
              </a:xfrm>
              <a:custGeom>
                <a:avLst/>
                <a:gdLst>
                  <a:gd name="connsiteX0" fmla="*/ 50184 w 65059"/>
                  <a:gd name="connsiteY0" fmla="*/ 12815 h 130983"/>
                  <a:gd name="connsiteX1" fmla="*/ 51465 w 65059"/>
                  <a:gd name="connsiteY1" fmla="*/ 19223 h 130983"/>
                  <a:gd name="connsiteX2" fmla="*/ 10455 w 65059"/>
                  <a:gd name="connsiteY2" fmla="*/ 111494 h 130983"/>
                  <a:gd name="connsiteX3" fmla="*/ 1484 w 65059"/>
                  <a:gd name="connsiteY3" fmla="*/ 130718 h 130983"/>
                  <a:gd name="connsiteX4" fmla="*/ 15582 w 65059"/>
                  <a:gd name="connsiteY4" fmla="*/ 111494 h 130983"/>
                  <a:gd name="connsiteX5" fmla="*/ 13018 w 65059"/>
                  <a:gd name="connsiteY5" fmla="*/ 110213 h 130983"/>
                  <a:gd name="connsiteX6" fmla="*/ 54028 w 65059"/>
                  <a:gd name="connsiteY6" fmla="*/ 17942 h 130983"/>
                  <a:gd name="connsiteX7" fmla="*/ 64280 w 65059"/>
                  <a:gd name="connsiteY7" fmla="*/ 0 h 130983"/>
                  <a:gd name="connsiteX8" fmla="*/ 61717 w 65059"/>
                  <a:gd name="connsiteY8" fmla="*/ 0 h 130983"/>
                  <a:gd name="connsiteX9" fmla="*/ 50184 w 65059"/>
                  <a:gd name="connsiteY9" fmla="*/ 12815 h 13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059" h="130983">
                    <a:moveTo>
                      <a:pt x="50184" y="12815"/>
                    </a:moveTo>
                    <a:cubicBezTo>
                      <a:pt x="48902" y="15379"/>
                      <a:pt x="48902" y="17942"/>
                      <a:pt x="51465" y="19223"/>
                    </a:cubicBezTo>
                    <a:cubicBezTo>
                      <a:pt x="37368" y="48699"/>
                      <a:pt x="23271" y="79456"/>
                      <a:pt x="10455" y="111494"/>
                    </a:cubicBezTo>
                    <a:cubicBezTo>
                      <a:pt x="1484" y="117902"/>
                      <a:pt x="-2360" y="129436"/>
                      <a:pt x="1484" y="130718"/>
                    </a:cubicBezTo>
                    <a:cubicBezTo>
                      <a:pt x="6611" y="133281"/>
                      <a:pt x="18145" y="116621"/>
                      <a:pt x="15582" y="111494"/>
                    </a:cubicBezTo>
                    <a:cubicBezTo>
                      <a:pt x="15582" y="110213"/>
                      <a:pt x="14300" y="110213"/>
                      <a:pt x="13018" y="110213"/>
                    </a:cubicBezTo>
                    <a:cubicBezTo>
                      <a:pt x="25834" y="78174"/>
                      <a:pt x="38650" y="47417"/>
                      <a:pt x="54028" y="17942"/>
                    </a:cubicBezTo>
                    <a:cubicBezTo>
                      <a:pt x="62999" y="12815"/>
                      <a:pt x="66843" y="1282"/>
                      <a:pt x="64280" y="0"/>
                    </a:cubicBezTo>
                    <a:cubicBezTo>
                      <a:pt x="64280" y="0"/>
                      <a:pt x="62999" y="0"/>
                      <a:pt x="61717" y="0"/>
                    </a:cubicBezTo>
                    <a:cubicBezTo>
                      <a:pt x="55309" y="3845"/>
                      <a:pt x="50184" y="12815"/>
                      <a:pt x="50184"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6" name="Freeform: Shape 379364">
                <a:extLst>
                  <a:ext uri="{FF2B5EF4-FFF2-40B4-BE49-F238E27FC236}">
                    <a16:creationId xmlns:a16="http://schemas.microsoft.com/office/drawing/2014/main" id="{8A388D85-03D6-4640-8469-48FDC3A5E065}"/>
                  </a:ext>
                </a:extLst>
              </p:cNvPr>
              <p:cNvSpPr/>
              <p:nvPr/>
            </p:nvSpPr>
            <p:spPr>
              <a:xfrm>
                <a:off x="5128906" y="2384252"/>
                <a:ext cx="36168" cy="118836"/>
              </a:xfrm>
              <a:custGeom>
                <a:avLst/>
                <a:gdLst>
                  <a:gd name="connsiteX0" fmla="*/ 17464 w 36168"/>
                  <a:gd name="connsiteY0" fmla="*/ 12104 h 118836"/>
                  <a:gd name="connsiteX1" fmla="*/ 22591 w 36168"/>
                  <a:gd name="connsiteY1" fmla="*/ 17230 h 118836"/>
                  <a:gd name="connsiteX2" fmla="*/ 8494 w 36168"/>
                  <a:gd name="connsiteY2" fmla="*/ 100530 h 118836"/>
                  <a:gd name="connsiteX3" fmla="*/ 3367 w 36168"/>
                  <a:gd name="connsiteY3" fmla="*/ 118472 h 118836"/>
                  <a:gd name="connsiteX4" fmla="*/ 18746 w 36168"/>
                  <a:gd name="connsiteY4" fmla="*/ 101812 h 118836"/>
                  <a:gd name="connsiteX5" fmla="*/ 13620 w 36168"/>
                  <a:gd name="connsiteY5" fmla="*/ 99249 h 118836"/>
                  <a:gd name="connsiteX6" fmla="*/ 27717 w 36168"/>
                  <a:gd name="connsiteY6" fmla="*/ 15948 h 118836"/>
                  <a:gd name="connsiteX7" fmla="*/ 34125 w 36168"/>
                  <a:gd name="connsiteY7" fmla="*/ 570 h 118836"/>
                  <a:gd name="connsiteX8" fmla="*/ 28998 w 36168"/>
                  <a:gd name="connsiteY8" fmla="*/ 570 h 118836"/>
                  <a:gd name="connsiteX9" fmla="*/ 17464 w 36168"/>
                  <a:gd name="connsiteY9" fmla="*/ 12104 h 11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168" h="118836">
                    <a:moveTo>
                      <a:pt x="17464" y="12104"/>
                    </a:moveTo>
                    <a:cubicBezTo>
                      <a:pt x="17464" y="14667"/>
                      <a:pt x="18746" y="17230"/>
                      <a:pt x="22591" y="17230"/>
                    </a:cubicBezTo>
                    <a:cubicBezTo>
                      <a:pt x="17464" y="44142"/>
                      <a:pt x="12338" y="72336"/>
                      <a:pt x="8494" y="100530"/>
                    </a:cubicBezTo>
                    <a:cubicBezTo>
                      <a:pt x="-1759" y="105656"/>
                      <a:pt x="-1759" y="115909"/>
                      <a:pt x="3367" y="118472"/>
                    </a:cubicBezTo>
                    <a:cubicBezTo>
                      <a:pt x="11057" y="121035"/>
                      <a:pt x="22591" y="109501"/>
                      <a:pt x="18746" y="101812"/>
                    </a:cubicBezTo>
                    <a:cubicBezTo>
                      <a:pt x="17464" y="99249"/>
                      <a:pt x="14901" y="99249"/>
                      <a:pt x="13620" y="99249"/>
                    </a:cubicBezTo>
                    <a:cubicBezTo>
                      <a:pt x="17464" y="69773"/>
                      <a:pt x="22591" y="42861"/>
                      <a:pt x="27717" y="15948"/>
                    </a:cubicBezTo>
                    <a:cubicBezTo>
                      <a:pt x="36688" y="10822"/>
                      <a:pt x="37969" y="1851"/>
                      <a:pt x="34125" y="570"/>
                    </a:cubicBezTo>
                    <a:cubicBezTo>
                      <a:pt x="32843" y="-712"/>
                      <a:pt x="31562" y="570"/>
                      <a:pt x="28998" y="570"/>
                    </a:cubicBezTo>
                    <a:cubicBezTo>
                      <a:pt x="20028" y="1851"/>
                      <a:pt x="17464" y="9540"/>
                      <a:pt x="17464" y="1210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7" name="Freeform: Shape 379365">
                <a:extLst>
                  <a:ext uri="{FF2B5EF4-FFF2-40B4-BE49-F238E27FC236}">
                    <a16:creationId xmlns:a16="http://schemas.microsoft.com/office/drawing/2014/main" id="{878B17BC-AE85-4CC6-9D05-BC8BA280C2CC}"/>
                  </a:ext>
                </a:extLst>
              </p:cNvPr>
              <p:cNvSpPr/>
              <p:nvPr/>
            </p:nvSpPr>
            <p:spPr>
              <a:xfrm>
                <a:off x="5306940" y="2257743"/>
                <a:ext cx="80095" cy="196321"/>
              </a:xfrm>
              <a:custGeom>
                <a:avLst/>
                <a:gdLst>
                  <a:gd name="connsiteX0" fmla="*/ 906 w 80095"/>
                  <a:gd name="connsiteY0" fmla="*/ 191155 h 196321"/>
                  <a:gd name="connsiteX1" fmla="*/ 18848 w 80095"/>
                  <a:gd name="connsiteY1" fmla="*/ 189874 h 196321"/>
                  <a:gd name="connsiteX2" fmla="*/ 12440 w 80095"/>
                  <a:gd name="connsiteY2" fmla="*/ 178340 h 196321"/>
                  <a:gd name="connsiteX3" fmla="*/ 16285 w 80095"/>
                  <a:gd name="connsiteY3" fmla="*/ 66845 h 196321"/>
                  <a:gd name="connsiteX4" fmla="*/ 66265 w 80095"/>
                  <a:gd name="connsiteY4" fmla="*/ 15584 h 196321"/>
                  <a:gd name="connsiteX5" fmla="*/ 79081 w 80095"/>
                  <a:gd name="connsiteY5" fmla="*/ 2768 h 196321"/>
                  <a:gd name="connsiteX6" fmla="*/ 71392 w 80095"/>
                  <a:gd name="connsiteY6" fmla="*/ 205 h 196321"/>
                  <a:gd name="connsiteX7" fmla="*/ 63702 w 80095"/>
                  <a:gd name="connsiteY7" fmla="*/ 13021 h 196321"/>
                  <a:gd name="connsiteX8" fmla="*/ 12440 w 80095"/>
                  <a:gd name="connsiteY8" fmla="*/ 65564 h 196321"/>
                  <a:gd name="connsiteX9" fmla="*/ 7314 w 80095"/>
                  <a:gd name="connsiteY9" fmla="*/ 178340 h 196321"/>
                  <a:gd name="connsiteX10" fmla="*/ 906 w 80095"/>
                  <a:gd name="connsiteY10" fmla="*/ 191155 h 196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095" h="196321">
                    <a:moveTo>
                      <a:pt x="906" y="191155"/>
                    </a:moveTo>
                    <a:cubicBezTo>
                      <a:pt x="2188" y="198845"/>
                      <a:pt x="13722" y="197563"/>
                      <a:pt x="18848" y="189874"/>
                    </a:cubicBezTo>
                    <a:cubicBezTo>
                      <a:pt x="21411" y="186029"/>
                      <a:pt x="22693" y="178340"/>
                      <a:pt x="12440" y="178340"/>
                    </a:cubicBezTo>
                    <a:cubicBezTo>
                      <a:pt x="12440" y="139894"/>
                      <a:pt x="13722" y="102729"/>
                      <a:pt x="16285" y="66845"/>
                    </a:cubicBezTo>
                    <a:cubicBezTo>
                      <a:pt x="31663" y="51467"/>
                      <a:pt x="50887" y="30962"/>
                      <a:pt x="66265" y="15584"/>
                    </a:cubicBezTo>
                    <a:cubicBezTo>
                      <a:pt x="75236" y="18147"/>
                      <a:pt x="82926" y="7894"/>
                      <a:pt x="79081" y="2768"/>
                    </a:cubicBezTo>
                    <a:cubicBezTo>
                      <a:pt x="77799" y="-1076"/>
                      <a:pt x="72673" y="205"/>
                      <a:pt x="71392" y="205"/>
                    </a:cubicBezTo>
                    <a:cubicBezTo>
                      <a:pt x="62421" y="2768"/>
                      <a:pt x="61139" y="10457"/>
                      <a:pt x="63702" y="13021"/>
                    </a:cubicBezTo>
                    <a:lnTo>
                      <a:pt x="12440" y="65564"/>
                    </a:lnTo>
                    <a:cubicBezTo>
                      <a:pt x="9877" y="101447"/>
                      <a:pt x="8595" y="138612"/>
                      <a:pt x="7314" y="178340"/>
                    </a:cubicBezTo>
                    <a:cubicBezTo>
                      <a:pt x="-1657" y="184748"/>
                      <a:pt x="-375" y="191155"/>
                      <a:pt x="906" y="19115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8" name="Freeform: Shape 379366">
                <a:extLst>
                  <a:ext uri="{FF2B5EF4-FFF2-40B4-BE49-F238E27FC236}">
                    <a16:creationId xmlns:a16="http://schemas.microsoft.com/office/drawing/2014/main" id="{31BC6227-6E87-4520-8A68-FFED71B2A9D5}"/>
                  </a:ext>
                </a:extLst>
              </p:cNvPr>
              <p:cNvSpPr/>
              <p:nvPr/>
            </p:nvSpPr>
            <p:spPr>
              <a:xfrm>
                <a:off x="5338073" y="2356422"/>
                <a:ext cx="110376" cy="89953"/>
              </a:xfrm>
              <a:custGeom>
                <a:avLst/>
                <a:gdLst>
                  <a:gd name="connsiteX0" fmla="*/ 531 w 110376"/>
                  <a:gd name="connsiteY0" fmla="*/ 84787 h 89953"/>
                  <a:gd name="connsiteX1" fmla="*/ 19754 w 110376"/>
                  <a:gd name="connsiteY1" fmla="*/ 83506 h 89953"/>
                  <a:gd name="connsiteX2" fmla="*/ 21036 w 110376"/>
                  <a:gd name="connsiteY2" fmla="*/ 80942 h 89953"/>
                  <a:gd name="connsiteX3" fmla="*/ 42822 w 110376"/>
                  <a:gd name="connsiteY3" fmla="*/ 75816 h 89953"/>
                  <a:gd name="connsiteX4" fmla="*/ 95366 w 110376"/>
                  <a:gd name="connsiteY4" fmla="*/ 16865 h 89953"/>
                  <a:gd name="connsiteX5" fmla="*/ 109462 w 110376"/>
                  <a:gd name="connsiteY5" fmla="*/ 2768 h 89953"/>
                  <a:gd name="connsiteX6" fmla="*/ 100492 w 110376"/>
                  <a:gd name="connsiteY6" fmla="*/ 205 h 89953"/>
                  <a:gd name="connsiteX7" fmla="*/ 92803 w 110376"/>
                  <a:gd name="connsiteY7" fmla="*/ 14302 h 89953"/>
                  <a:gd name="connsiteX8" fmla="*/ 41540 w 110376"/>
                  <a:gd name="connsiteY8" fmla="*/ 70690 h 89953"/>
                  <a:gd name="connsiteX9" fmla="*/ 21036 w 110376"/>
                  <a:gd name="connsiteY9" fmla="*/ 75816 h 89953"/>
                  <a:gd name="connsiteX10" fmla="*/ 1812 w 110376"/>
                  <a:gd name="connsiteY10" fmla="*/ 79661 h 89953"/>
                  <a:gd name="connsiteX11" fmla="*/ 531 w 110376"/>
                  <a:gd name="connsiteY11" fmla="*/ 84787 h 8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0376" h="89953">
                    <a:moveTo>
                      <a:pt x="531" y="84787"/>
                    </a:moveTo>
                    <a:cubicBezTo>
                      <a:pt x="1812" y="92476"/>
                      <a:pt x="14628" y="91195"/>
                      <a:pt x="19754" y="83506"/>
                    </a:cubicBezTo>
                    <a:cubicBezTo>
                      <a:pt x="19754" y="82224"/>
                      <a:pt x="21036" y="80942"/>
                      <a:pt x="21036" y="80942"/>
                    </a:cubicBezTo>
                    <a:lnTo>
                      <a:pt x="42822" y="75816"/>
                    </a:lnTo>
                    <a:cubicBezTo>
                      <a:pt x="58201" y="57875"/>
                      <a:pt x="79987" y="34807"/>
                      <a:pt x="95366" y="16865"/>
                    </a:cubicBezTo>
                    <a:cubicBezTo>
                      <a:pt x="104336" y="19428"/>
                      <a:pt x="113307" y="9176"/>
                      <a:pt x="109462" y="2768"/>
                    </a:cubicBezTo>
                    <a:cubicBezTo>
                      <a:pt x="106899" y="-1076"/>
                      <a:pt x="101773" y="205"/>
                      <a:pt x="100492" y="205"/>
                    </a:cubicBezTo>
                    <a:cubicBezTo>
                      <a:pt x="91521" y="2768"/>
                      <a:pt x="88958" y="10457"/>
                      <a:pt x="92803" y="14302"/>
                    </a:cubicBezTo>
                    <a:lnTo>
                      <a:pt x="41540" y="70690"/>
                    </a:lnTo>
                    <a:cubicBezTo>
                      <a:pt x="35133" y="71972"/>
                      <a:pt x="27443" y="74535"/>
                      <a:pt x="21036" y="75816"/>
                    </a:cubicBezTo>
                    <a:cubicBezTo>
                      <a:pt x="17191" y="66845"/>
                      <a:pt x="4375" y="71972"/>
                      <a:pt x="1812" y="79661"/>
                    </a:cubicBezTo>
                    <a:cubicBezTo>
                      <a:pt x="531" y="80942"/>
                      <a:pt x="-751" y="83506"/>
                      <a:pt x="531" y="8478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49" name="Freeform: Shape 379367">
                <a:extLst>
                  <a:ext uri="{FF2B5EF4-FFF2-40B4-BE49-F238E27FC236}">
                    <a16:creationId xmlns:a16="http://schemas.microsoft.com/office/drawing/2014/main" id="{B29DA55A-A2D0-4266-9D46-0A295C81ACD5}"/>
                  </a:ext>
                </a:extLst>
              </p:cNvPr>
              <p:cNvSpPr/>
              <p:nvPr/>
            </p:nvSpPr>
            <p:spPr>
              <a:xfrm>
                <a:off x="6010481" y="2275320"/>
                <a:ext cx="173027" cy="174101"/>
              </a:xfrm>
              <a:custGeom>
                <a:avLst/>
                <a:gdLst>
                  <a:gd name="connsiteX0" fmla="*/ 2217 w 173027"/>
                  <a:gd name="connsiteY0" fmla="*/ 10822 h 174101"/>
                  <a:gd name="connsiteX1" fmla="*/ 12470 w 173027"/>
                  <a:gd name="connsiteY1" fmla="*/ 15948 h 174101"/>
                  <a:gd name="connsiteX2" fmla="*/ 71421 w 173027"/>
                  <a:gd name="connsiteY2" fmla="*/ 127443 h 174101"/>
                  <a:gd name="connsiteX3" fmla="*/ 150877 w 173027"/>
                  <a:gd name="connsiteY3" fmla="*/ 162044 h 174101"/>
                  <a:gd name="connsiteX4" fmla="*/ 171382 w 173027"/>
                  <a:gd name="connsiteY4" fmla="*/ 171015 h 174101"/>
                  <a:gd name="connsiteX5" fmla="*/ 159848 w 173027"/>
                  <a:gd name="connsiteY5" fmla="*/ 155637 h 174101"/>
                  <a:gd name="connsiteX6" fmla="*/ 152159 w 173027"/>
                  <a:gd name="connsiteY6" fmla="*/ 158200 h 174101"/>
                  <a:gd name="connsiteX7" fmla="*/ 73984 w 173027"/>
                  <a:gd name="connsiteY7" fmla="*/ 124879 h 174101"/>
                  <a:gd name="connsiteX8" fmla="*/ 16314 w 173027"/>
                  <a:gd name="connsiteY8" fmla="*/ 14667 h 174101"/>
                  <a:gd name="connsiteX9" fmla="*/ 11188 w 173027"/>
                  <a:gd name="connsiteY9" fmla="*/ 570 h 174101"/>
                  <a:gd name="connsiteX10" fmla="*/ 4780 w 173027"/>
                  <a:gd name="connsiteY10" fmla="*/ 570 h 174101"/>
                  <a:gd name="connsiteX11" fmla="*/ 2217 w 173027"/>
                  <a:gd name="connsiteY11" fmla="*/ 10822 h 17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027" h="174101">
                    <a:moveTo>
                      <a:pt x="2217" y="10822"/>
                    </a:moveTo>
                    <a:cubicBezTo>
                      <a:pt x="3499" y="13385"/>
                      <a:pt x="7343" y="14667"/>
                      <a:pt x="12470" y="15948"/>
                    </a:cubicBezTo>
                    <a:cubicBezTo>
                      <a:pt x="31693" y="51831"/>
                      <a:pt x="52198" y="88996"/>
                      <a:pt x="71421" y="127443"/>
                    </a:cubicBezTo>
                    <a:cubicBezTo>
                      <a:pt x="95771" y="137695"/>
                      <a:pt x="127810" y="151792"/>
                      <a:pt x="150877" y="162044"/>
                    </a:cubicBezTo>
                    <a:cubicBezTo>
                      <a:pt x="149596" y="173578"/>
                      <a:pt x="166256" y="177423"/>
                      <a:pt x="171382" y="171015"/>
                    </a:cubicBezTo>
                    <a:cubicBezTo>
                      <a:pt x="176508" y="164607"/>
                      <a:pt x="168819" y="155637"/>
                      <a:pt x="159848" y="155637"/>
                    </a:cubicBezTo>
                    <a:cubicBezTo>
                      <a:pt x="156003" y="155637"/>
                      <a:pt x="153440" y="156918"/>
                      <a:pt x="152159" y="158200"/>
                    </a:cubicBezTo>
                    <a:lnTo>
                      <a:pt x="73984" y="124879"/>
                    </a:lnTo>
                    <a:cubicBezTo>
                      <a:pt x="54761" y="86433"/>
                      <a:pt x="35538" y="49268"/>
                      <a:pt x="16314" y="14667"/>
                    </a:cubicBezTo>
                    <a:cubicBezTo>
                      <a:pt x="24004" y="10822"/>
                      <a:pt x="18877" y="1851"/>
                      <a:pt x="11188" y="570"/>
                    </a:cubicBezTo>
                    <a:cubicBezTo>
                      <a:pt x="8625" y="-712"/>
                      <a:pt x="7343" y="570"/>
                      <a:pt x="4780" y="570"/>
                    </a:cubicBezTo>
                    <a:cubicBezTo>
                      <a:pt x="-4190" y="1851"/>
                      <a:pt x="2217" y="10822"/>
                      <a:pt x="2217" y="1082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0" name="Freeform: Shape 379368">
                <a:extLst>
                  <a:ext uri="{FF2B5EF4-FFF2-40B4-BE49-F238E27FC236}">
                    <a16:creationId xmlns:a16="http://schemas.microsoft.com/office/drawing/2014/main" id="{04C66417-30B9-4E6A-9756-863BBBA96B94}"/>
                  </a:ext>
                </a:extLst>
              </p:cNvPr>
              <p:cNvSpPr/>
              <p:nvPr/>
            </p:nvSpPr>
            <p:spPr>
              <a:xfrm>
                <a:off x="6040197" y="2268913"/>
                <a:ext cx="176531" cy="173759"/>
              </a:xfrm>
              <a:custGeom>
                <a:avLst/>
                <a:gdLst>
                  <a:gd name="connsiteX0" fmla="*/ 1978 w 176531"/>
                  <a:gd name="connsiteY0" fmla="*/ 10822 h 173759"/>
                  <a:gd name="connsiteX1" fmla="*/ 12230 w 176531"/>
                  <a:gd name="connsiteY1" fmla="*/ 15948 h 173759"/>
                  <a:gd name="connsiteX2" fmla="*/ 73744 w 176531"/>
                  <a:gd name="connsiteY2" fmla="*/ 127443 h 173759"/>
                  <a:gd name="connsiteX3" fmla="*/ 154482 w 176531"/>
                  <a:gd name="connsiteY3" fmla="*/ 162044 h 173759"/>
                  <a:gd name="connsiteX4" fmla="*/ 173705 w 176531"/>
                  <a:gd name="connsiteY4" fmla="*/ 172297 h 173759"/>
                  <a:gd name="connsiteX5" fmla="*/ 164734 w 176531"/>
                  <a:gd name="connsiteY5" fmla="*/ 155637 h 173759"/>
                  <a:gd name="connsiteX6" fmla="*/ 155764 w 176531"/>
                  <a:gd name="connsiteY6" fmla="*/ 158200 h 173759"/>
                  <a:gd name="connsiteX7" fmla="*/ 77589 w 176531"/>
                  <a:gd name="connsiteY7" fmla="*/ 124880 h 173759"/>
                  <a:gd name="connsiteX8" fmla="*/ 17356 w 176531"/>
                  <a:gd name="connsiteY8" fmla="*/ 14667 h 173759"/>
                  <a:gd name="connsiteX9" fmla="*/ 12230 w 176531"/>
                  <a:gd name="connsiteY9" fmla="*/ 570 h 173759"/>
                  <a:gd name="connsiteX10" fmla="*/ 5822 w 176531"/>
                  <a:gd name="connsiteY10" fmla="*/ 570 h 173759"/>
                  <a:gd name="connsiteX11" fmla="*/ 1978 w 176531"/>
                  <a:gd name="connsiteY11" fmla="*/ 10822 h 17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6531" h="173759">
                    <a:moveTo>
                      <a:pt x="1978" y="10822"/>
                    </a:moveTo>
                    <a:cubicBezTo>
                      <a:pt x="3259" y="13385"/>
                      <a:pt x="7104" y="14667"/>
                      <a:pt x="12230" y="15948"/>
                    </a:cubicBezTo>
                    <a:cubicBezTo>
                      <a:pt x="32735" y="50550"/>
                      <a:pt x="53240" y="87715"/>
                      <a:pt x="73744" y="127443"/>
                    </a:cubicBezTo>
                    <a:cubicBezTo>
                      <a:pt x="98094" y="137695"/>
                      <a:pt x="130133" y="151792"/>
                      <a:pt x="154482" y="162044"/>
                    </a:cubicBezTo>
                    <a:cubicBezTo>
                      <a:pt x="154482" y="172297"/>
                      <a:pt x="168579" y="176141"/>
                      <a:pt x="173705" y="172297"/>
                    </a:cubicBezTo>
                    <a:cubicBezTo>
                      <a:pt x="180113" y="167171"/>
                      <a:pt x="174987" y="156918"/>
                      <a:pt x="164734" y="155637"/>
                    </a:cubicBezTo>
                    <a:cubicBezTo>
                      <a:pt x="159609" y="154355"/>
                      <a:pt x="155764" y="156918"/>
                      <a:pt x="155764" y="158200"/>
                    </a:cubicBezTo>
                    <a:lnTo>
                      <a:pt x="77589" y="124880"/>
                    </a:lnTo>
                    <a:cubicBezTo>
                      <a:pt x="57084" y="86433"/>
                      <a:pt x="37861" y="49268"/>
                      <a:pt x="17356" y="14667"/>
                    </a:cubicBezTo>
                    <a:cubicBezTo>
                      <a:pt x="25045" y="10822"/>
                      <a:pt x="19920" y="1851"/>
                      <a:pt x="12230" y="570"/>
                    </a:cubicBezTo>
                    <a:cubicBezTo>
                      <a:pt x="9667" y="-712"/>
                      <a:pt x="8386" y="570"/>
                      <a:pt x="5822" y="570"/>
                    </a:cubicBezTo>
                    <a:cubicBezTo>
                      <a:pt x="-4430" y="3133"/>
                      <a:pt x="1978" y="10822"/>
                      <a:pt x="1978" y="1082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1" name="Freeform: Shape 379369">
                <a:extLst>
                  <a:ext uri="{FF2B5EF4-FFF2-40B4-BE49-F238E27FC236}">
                    <a16:creationId xmlns:a16="http://schemas.microsoft.com/office/drawing/2014/main" id="{4B30E0C7-363B-4231-B570-133140D7FC8C}"/>
                  </a:ext>
                </a:extLst>
              </p:cNvPr>
              <p:cNvSpPr/>
              <p:nvPr/>
            </p:nvSpPr>
            <p:spPr>
              <a:xfrm>
                <a:off x="6526304" y="2118260"/>
                <a:ext cx="92292" cy="73381"/>
              </a:xfrm>
              <a:custGeom>
                <a:avLst/>
                <a:gdLst>
                  <a:gd name="connsiteX0" fmla="*/ 5423 w 92292"/>
                  <a:gd name="connsiteY0" fmla="*/ 7689 h 73381"/>
                  <a:gd name="connsiteX1" fmla="*/ 16957 w 92292"/>
                  <a:gd name="connsiteY1" fmla="*/ 12815 h 73381"/>
                  <a:gd name="connsiteX2" fmla="*/ 72063 w 92292"/>
                  <a:gd name="connsiteY2" fmla="*/ 58951 h 73381"/>
                  <a:gd name="connsiteX3" fmla="*/ 86160 w 92292"/>
                  <a:gd name="connsiteY3" fmla="*/ 73048 h 73381"/>
                  <a:gd name="connsiteX4" fmla="*/ 91287 w 92292"/>
                  <a:gd name="connsiteY4" fmla="*/ 67922 h 73381"/>
                  <a:gd name="connsiteX5" fmla="*/ 75908 w 92292"/>
                  <a:gd name="connsiteY5" fmla="*/ 58951 h 73381"/>
                  <a:gd name="connsiteX6" fmla="*/ 20801 w 92292"/>
                  <a:gd name="connsiteY6" fmla="*/ 12815 h 73381"/>
                  <a:gd name="connsiteX7" fmla="*/ 4141 w 92292"/>
                  <a:gd name="connsiteY7" fmla="*/ 0 h 73381"/>
                  <a:gd name="connsiteX8" fmla="*/ 2860 w 92292"/>
                  <a:gd name="connsiteY8" fmla="*/ 0 h 73381"/>
                  <a:gd name="connsiteX9" fmla="*/ 5423 w 92292"/>
                  <a:gd name="connsiteY9" fmla="*/ 7689 h 73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292" h="73381">
                    <a:moveTo>
                      <a:pt x="5423" y="7689"/>
                    </a:moveTo>
                    <a:cubicBezTo>
                      <a:pt x="7986" y="8971"/>
                      <a:pt x="11831" y="11534"/>
                      <a:pt x="16957" y="12815"/>
                    </a:cubicBezTo>
                    <a:cubicBezTo>
                      <a:pt x="36180" y="26912"/>
                      <a:pt x="54121" y="42291"/>
                      <a:pt x="72063" y="58951"/>
                    </a:cubicBezTo>
                    <a:cubicBezTo>
                      <a:pt x="66937" y="62796"/>
                      <a:pt x="78471" y="70485"/>
                      <a:pt x="86160" y="73048"/>
                    </a:cubicBezTo>
                    <a:cubicBezTo>
                      <a:pt x="91287" y="74330"/>
                      <a:pt x="93850" y="71767"/>
                      <a:pt x="91287" y="67922"/>
                    </a:cubicBezTo>
                    <a:cubicBezTo>
                      <a:pt x="90005" y="65359"/>
                      <a:pt x="83597" y="60233"/>
                      <a:pt x="75908" y="58951"/>
                    </a:cubicBezTo>
                    <a:cubicBezTo>
                      <a:pt x="57966" y="43573"/>
                      <a:pt x="38743" y="28194"/>
                      <a:pt x="20801" y="12815"/>
                    </a:cubicBezTo>
                    <a:cubicBezTo>
                      <a:pt x="25928" y="8971"/>
                      <a:pt x="11831" y="0"/>
                      <a:pt x="4141" y="0"/>
                    </a:cubicBezTo>
                    <a:cubicBezTo>
                      <a:pt x="4141" y="0"/>
                      <a:pt x="2860" y="0"/>
                      <a:pt x="2860" y="0"/>
                    </a:cubicBezTo>
                    <a:cubicBezTo>
                      <a:pt x="-4830" y="1282"/>
                      <a:pt x="5423" y="7689"/>
                      <a:pt x="5423"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2" name="Freeform: Shape 379370">
                <a:extLst>
                  <a:ext uri="{FF2B5EF4-FFF2-40B4-BE49-F238E27FC236}">
                    <a16:creationId xmlns:a16="http://schemas.microsoft.com/office/drawing/2014/main" id="{BEACF95D-955B-492D-B9C2-C1012330981A}"/>
                  </a:ext>
                </a:extLst>
              </p:cNvPr>
              <p:cNvSpPr/>
              <p:nvPr/>
            </p:nvSpPr>
            <p:spPr>
              <a:xfrm>
                <a:off x="6868774" y="2110571"/>
                <a:ext cx="114057" cy="71766"/>
              </a:xfrm>
              <a:custGeom>
                <a:avLst/>
                <a:gdLst>
                  <a:gd name="connsiteX0" fmla="*/ 11534 w 114057"/>
                  <a:gd name="connsiteY0" fmla="*/ 7689 h 71766"/>
                  <a:gd name="connsiteX1" fmla="*/ 21787 w 114057"/>
                  <a:gd name="connsiteY1" fmla="*/ 12815 h 71766"/>
                  <a:gd name="connsiteX2" fmla="*/ 93553 w 114057"/>
                  <a:gd name="connsiteY2" fmla="*/ 57670 h 71766"/>
                  <a:gd name="connsiteX3" fmla="*/ 114058 w 114057"/>
                  <a:gd name="connsiteY3" fmla="*/ 71767 h 71766"/>
                  <a:gd name="connsiteX4" fmla="*/ 93553 w 114057"/>
                  <a:gd name="connsiteY4" fmla="*/ 57670 h 71766"/>
                  <a:gd name="connsiteX5" fmla="*/ 21787 w 114057"/>
                  <a:gd name="connsiteY5" fmla="*/ 12815 h 71766"/>
                  <a:gd name="connsiteX6" fmla="*/ 0 w 114057"/>
                  <a:gd name="connsiteY6" fmla="*/ 0 h 71766"/>
                  <a:gd name="connsiteX7" fmla="*/ 11534 w 114057"/>
                  <a:gd name="connsiteY7" fmla="*/ 7689 h 7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057" h="71766">
                    <a:moveTo>
                      <a:pt x="11534" y="7689"/>
                    </a:moveTo>
                    <a:cubicBezTo>
                      <a:pt x="17942" y="11534"/>
                      <a:pt x="20505" y="12815"/>
                      <a:pt x="21787" y="12815"/>
                    </a:cubicBezTo>
                    <a:cubicBezTo>
                      <a:pt x="46136" y="26912"/>
                      <a:pt x="69204" y="42291"/>
                      <a:pt x="93553" y="57670"/>
                    </a:cubicBezTo>
                    <a:cubicBezTo>
                      <a:pt x="97398" y="60233"/>
                      <a:pt x="111495" y="70485"/>
                      <a:pt x="114058" y="71767"/>
                    </a:cubicBezTo>
                    <a:cubicBezTo>
                      <a:pt x="111495" y="69203"/>
                      <a:pt x="96116" y="60233"/>
                      <a:pt x="93553" y="57670"/>
                    </a:cubicBezTo>
                    <a:cubicBezTo>
                      <a:pt x="70486" y="42291"/>
                      <a:pt x="46136" y="26912"/>
                      <a:pt x="21787" y="12815"/>
                    </a:cubicBezTo>
                    <a:cubicBezTo>
                      <a:pt x="17942" y="10252"/>
                      <a:pt x="2563" y="1282"/>
                      <a:pt x="0" y="0"/>
                    </a:cubicBezTo>
                    <a:cubicBezTo>
                      <a:pt x="1282" y="2563"/>
                      <a:pt x="2563" y="2563"/>
                      <a:pt x="11534"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3" name="Freeform: Shape 379371">
                <a:extLst>
                  <a:ext uri="{FF2B5EF4-FFF2-40B4-BE49-F238E27FC236}">
                    <a16:creationId xmlns:a16="http://schemas.microsoft.com/office/drawing/2014/main" id="{B46B3410-E651-45A7-9979-4708B402B7E3}"/>
                  </a:ext>
                </a:extLst>
              </p:cNvPr>
              <p:cNvSpPr/>
              <p:nvPr/>
            </p:nvSpPr>
            <p:spPr>
              <a:xfrm>
                <a:off x="4336431" y="2771848"/>
                <a:ext cx="29475" cy="53824"/>
              </a:xfrm>
              <a:custGeom>
                <a:avLst/>
                <a:gdLst>
                  <a:gd name="connsiteX0" fmla="*/ 20505 w 29475"/>
                  <a:gd name="connsiteY0" fmla="*/ 14097 h 53824"/>
                  <a:gd name="connsiteX1" fmla="*/ 16660 w 29475"/>
                  <a:gd name="connsiteY1" fmla="*/ 21786 h 53824"/>
                  <a:gd name="connsiteX2" fmla="*/ 11534 w 29475"/>
                  <a:gd name="connsiteY2" fmla="*/ 32039 h 53824"/>
                  <a:gd name="connsiteX3" fmla="*/ 0 w 29475"/>
                  <a:gd name="connsiteY3" fmla="*/ 53825 h 53824"/>
                  <a:gd name="connsiteX4" fmla="*/ 12816 w 29475"/>
                  <a:gd name="connsiteY4" fmla="*/ 32039 h 53824"/>
                  <a:gd name="connsiteX5" fmla="*/ 17942 w 29475"/>
                  <a:gd name="connsiteY5" fmla="*/ 21786 h 53824"/>
                  <a:gd name="connsiteX6" fmla="*/ 29476 w 29475"/>
                  <a:gd name="connsiteY6" fmla="*/ 0 h 53824"/>
                  <a:gd name="connsiteX7" fmla="*/ 29476 w 29475"/>
                  <a:gd name="connsiteY7" fmla="*/ 0 h 53824"/>
                  <a:gd name="connsiteX8" fmla="*/ 20505 w 29475"/>
                  <a:gd name="connsiteY8" fmla="*/ 14097 h 53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75" h="53824">
                    <a:moveTo>
                      <a:pt x="20505" y="14097"/>
                    </a:moveTo>
                    <a:cubicBezTo>
                      <a:pt x="19223" y="16660"/>
                      <a:pt x="16660" y="20505"/>
                      <a:pt x="16660" y="21786"/>
                    </a:cubicBezTo>
                    <a:cubicBezTo>
                      <a:pt x="15378" y="25631"/>
                      <a:pt x="12816" y="28194"/>
                      <a:pt x="11534" y="32039"/>
                    </a:cubicBezTo>
                    <a:cubicBezTo>
                      <a:pt x="7689" y="37165"/>
                      <a:pt x="0" y="51262"/>
                      <a:pt x="0" y="53825"/>
                    </a:cubicBezTo>
                    <a:cubicBezTo>
                      <a:pt x="2563" y="51262"/>
                      <a:pt x="11534" y="33320"/>
                      <a:pt x="12816" y="32039"/>
                    </a:cubicBezTo>
                    <a:cubicBezTo>
                      <a:pt x="14097" y="28194"/>
                      <a:pt x="16660" y="25631"/>
                      <a:pt x="17942" y="21786"/>
                    </a:cubicBezTo>
                    <a:cubicBezTo>
                      <a:pt x="21786" y="16660"/>
                      <a:pt x="29476" y="2563"/>
                      <a:pt x="29476" y="0"/>
                    </a:cubicBezTo>
                    <a:cubicBezTo>
                      <a:pt x="29476" y="0"/>
                      <a:pt x="29476" y="0"/>
                      <a:pt x="29476" y="0"/>
                    </a:cubicBezTo>
                    <a:cubicBezTo>
                      <a:pt x="28194" y="2563"/>
                      <a:pt x="21786" y="11534"/>
                      <a:pt x="20505"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254" name="Graphic 379285">
                <a:extLst>
                  <a:ext uri="{FF2B5EF4-FFF2-40B4-BE49-F238E27FC236}">
                    <a16:creationId xmlns:a16="http://schemas.microsoft.com/office/drawing/2014/main" id="{D973D960-FBCD-4D6F-9AA8-88935B4C1FE3}"/>
                  </a:ext>
                </a:extLst>
              </p:cNvPr>
              <p:cNvGrpSpPr/>
              <p:nvPr/>
            </p:nvGrpSpPr>
            <p:grpSpPr>
              <a:xfrm>
                <a:off x="4371033" y="2739809"/>
                <a:ext cx="83466" cy="290910"/>
                <a:chOff x="4371033" y="2739809"/>
                <a:chExt cx="83466" cy="290910"/>
              </a:xfrm>
              <a:grpFill/>
            </p:grpSpPr>
            <p:sp>
              <p:nvSpPr>
                <p:cNvPr id="997" name="Freeform: Shape 379373">
                  <a:extLst>
                    <a:ext uri="{FF2B5EF4-FFF2-40B4-BE49-F238E27FC236}">
                      <a16:creationId xmlns:a16="http://schemas.microsoft.com/office/drawing/2014/main" id="{AB0A87A9-39AE-4796-B30F-089673AA7E27}"/>
                    </a:ext>
                  </a:extLst>
                </p:cNvPr>
                <p:cNvSpPr/>
                <p:nvPr/>
              </p:nvSpPr>
              <p:spPr>
                <a:xfrm>
                  <a:off x="4382567" y="2882061"/>
                  <a:ext cx="11533" cy="47417"/>
                </a:xfrm>
                <a:custGeom>
                  <a:avLst/>
                  <a:gdLst>
                    <a:gd name="connsiteX0" fmla="*/ 0 w 11533"/>
                    <a:gd name="connsiteY0" fmla="*/ 25631 h 47417"/>
                    <a:gd name="connsiteX1" fmla="*/ 10252 w 11533"/>
                    <a:gd name="connsiteY1" fmla="*/ 0 h 47417"/>
                    <a:gd name="connsiteX2" fmla="*/ 11534 w 11533"/>
                    <a:gd name="connsiteY2" fmla="*/ 21786 h 47417"/>
                    <a:gd name="connsiteX3" fmla="*/ 2563 w 11533"/>
                    <a:gd name="connsiteY3" fmla="*/ 47417 h 47417"/>
                    <a:gd name="connsiteX4" fmla="*/ 0 w 11533"/>
                    <a:gd name="connsiteY4" fmla="*/ 25631 h 474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3" h="47417">
                      <a:moveTo>
                        <a:pt x="0" y="25631"/>
                      </a:moveTo>
                      <a:cubicBezTo>
                        <a:pt x="3845" y="16660"/>
                        <a:pt x="6408" y="8971"/>
                        <a:pt x="10252" y="0"/>
                      </a:cubicBezTo>
                      <a:lnTo>
                        <a:pt x="11534" y="21786"/>
                      </a:lnTo>
                      <a:cubicBezTo>
                        <a:pt x="8971" y="30757"/>
                        <a:pt x="5126" y="38446"/>
                        <a:pt x="2563" y="47417"/>
                      </a:cubicBezTo>
                      <a:lnTo>
                        <a:pt x="0" y="25631"/>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98" name="Freeform: Shape 379374">
                  <a:extLst>
                    <a:ext uri="{FF2B5EF4-FFF2-40B4-BE49-F238E27FC236}">
                      <a16:creationId xmlns:a16="http://schemas.microsoft.com/office/drawing/2014/main" id="{9F322032-A171-4B63-93D7-642FE85DD811}"/>
                    </a:ext>
                  </a:extLst>
                </p:cNvPr>
                <p:cNvSpPr/>
                <p:nvPr/>
              </p:nvSpPr>
              <p:spPr>
                <a:xfrm>
                  <a:off x="4371033" y="2739809"/>
                  <a:ext cx="83466" cy="290910"/>
                </a:xfrm>
                <a:custGeom>
                  <a:avLst/>
                  <a:gdLst>
                    <a:gd name="connsiteX0" fmla="*/ 62796 w 83466"/>
                    <a:gd name="connsiteY0" fmla="*/ 19223 h 290910"/>
                    <a:gd name="connsiteX1" fmla="*/ 61514 w 83466"/>
                    <a:gd name="connsiteY1" fmla="*/ 25631 h 290910"/>
                    <a:gd name="connsiteX2" fmla="*/ 61514 w 83466"/>
                    <a:gd name="connsiteY2" fmla="*/ 25631 h 290910"/>
                    <a:gd name="connsiteX3" fmla="*/ 21786 w 83466"/>
                    <a:gd name="connsiteY3" fmla="*/ 111495 h 290910"/>
                    <a:gd name="connsiteX4" fmla="*/ 21786 w 83466"/>
                    <a:gd name="connsiteY4" fmla="*/ 137125 h 290910"/>
                    <a:gd name="connsiteX5" fmla="*/ 8971 w 83466"/>
                    <a:gd name="connsiteY5" fmla="*/ 169164 h 290910"/>
                    <a:gd name="connsiteX6" fmla="*/ 11534 w 83466"/>
                    <a:gd name="connsiteY6" fmla="*/ 196077 h 290910"/>
                    <a:gd name="connsiteX7" fmla="*/ 0 w 83466"/>
                    <a:gd name="connsiteY7" fmla="*/ 229397 h 290910"/>
                    <a:gd name="connsiteX8" fmla="*/ 8971 w 83466"/>
                    <a:gd name="connsiteY8" fmla="*/ 278095 h 290910"/>
                    <a:gd name="connsiteX9" fmla="*/ 7689 w 83466"/>
                    <a:gd name="connsiteY9" fmla="*/ 290911 h 290910"/>
                    <a:gd name="connsiteX10" fmla="*/ 17942 w 83466"/>
                    <a:gd name="connsiteY10" fmla="*/ 267843 h 290910"/>
                    <a:gd name="connsiteX11" fmla="*/ 11534 w 83466"/>
                    <a:gd name="connsiteY11" fmla="*/ 271688 h 290910"/>
                    <a:gd name="connsiteX12" fmla="*/ 2563 w 83466"/>
                    <a:gd name="connsiteY12" fmla="*/ 225552 h 290910"/>
                    <a:gd name="connsiteX13" fmla="*/ 11534 w 83466"/>
                    <a:gd name="connsiteY13" fmla="*/ 199921 h 290910"/>
                    <a:gd name="connsiteX14" fmla="*/ 17942 w 83466"/>
                    <a:gd name="connsiteY14" fmla="*/ 244775 h 290910"/>
                    <a:gd name="connsiteX15" fmla="*/ 16660 w 83466"/>
                    <a:gd name="connsiteY15" fmla="*/ 257591 h 290910"/>
                    <a:gd name="connsiteX16" fmla="*/ 26912 w 83466"/>
                    <a:gd name="connsiteY16" fmla="*/ 234523 h 290910"/>
                    <a:gd name="connsiteX17" fmla="*/ 20505 w 83466"/>
                    <a:gd name="connsiteY17" fmla="*/ 238368 h 290910"/>
                    <a:gd name="connsiteX18" fmla="*/ 12815 w 83466"/>
                    <a:gd name="connsiteY18" fmla="*/ 193513 h 290910"/>
                    <a:gd name="connsiteX19" fmla="*/ 21786 w 83466"/>
                    <a:gd name="connsiteY19" fmla="*/ 167883 h 290910"/>
                    <a:gd name="connsiteX20" fmla="*/ 26912 w 83466"/>
                    <a:gd name="connsiteY20" fmla="*/ 212737 h 290910"/>
                    <a:gd name="connsiteX21" fmla="*/ 25631 w 83466"/>
                    <a:gd name="connsiteY21" fmla="*/ 225552 h 290910"/>
                    <a:gd name="connsiteX22" fmla="*/ 35883 w 83466"/>
                    <a:gd name="connsiteY22" fmla="*/ 202484 h 290910"/>
                    <a:gd name="connsiteX23" fmla="*/ 29476 w 83466"/>
                    <a:gd name="connsiteY23" fmla="*/ 206329 h 290910"/>
                    <a:gd name="connsiteX24" fmla="*/ 23068 w 83466"/>
                    <a:gd name="connsiteY24" fmla="*/ 161475 h 290910"/>
                    <a:gd name="connsiteX25" fmla="*/ 71767 w 83466"/>
                    <a:gd name="connsiteY25" fmla="*/ 44854 h 290910"/>
                    <a:gd name="connsiteX26" fmla="*/ 82019 w 83466"/>
                    <a:gd name="connsiteY26" fmla="*/ 24349 h 290910"/>
                    <a:gd name="connsiteX27" fmla="*/ 80738 w 83466"/>
                    <a:gd name="connsiteY27" fmla="*/ 23068 h 290910"/>
                    <a:gd name="connsiteX28" fmla="*/ 69204 w 83466"/>
                    <a:gd name="connsiteY28" fmla="*/ 44854 h 290910"/>
                    <a:gd name="connsiteX29" fmla="*/ 69204 w 83466"/>
                    <a:gd name="connsiteY29" fmla="*/ 44854 h 290910"/>
                    <a:gd name="connsiteX30" fmla="*/ 23068 w 83466"/>
                    <a:gd name="connsiteY30" fmla="*/ 157630 h 290910"/>
                    <a:gd name="connsiteX31" fmla="*/ 21786 w 83466"/>
                    <a:gd name="connsiteY31" fmla="*/ 135844 h 290910"/>
                    <a:gd name="connsiteX32" fmla="*/ 73048 w 83466"/>
                    <a:gd name="connsiteY32" fmla="*/ 20505 h 290910"/>
                    <a:gd name="connsiteX33" fmla="*/ 83301 w 83466"/>
                    <a:gd name="connsiteY33" fmla="*/ 0 h 290910"/>
                    <a:gd name="connsiteX34" fmla="*/ 82019 w 83466"/>
                    <a:gd name="connsiteY34" fmla="*/ 0 h 290910"/>
                    <a:gd name="connsiteX35" fmla="*/ 73048 w 83466"/>
                    <a:gd name="connsiteY35" fmla="*/ 20505 h 290910"/>
                    <a:gd name="connsiteX36" fmla="*/ 23068 w 83466"/>
                    <a:gd name="connsiteY36" fmla="*/ 131999 h 290910"/>
                    <a:gd name="connsiteX37" fmla="*/ 23068 w 83466"/>
                    <a:gd name="connsiteY37" fmla="*/ 110213 h 290910"/>
                    <a:gd name="connsiteX38" fmla="*/ 61514 w 83466"/>
                    <a:gd name="connsiteY38" fmla="*/ 25631 h 290910"/>
                    <a:gd name="connsiteX39" fmla="*/ 71767 w 83466"/>
                    <a:gd name="connsiteY39" fmla="*/ 5126 h 290910"/>
                    <a:gd name="connsiteX40" fmla="*/ 62796 w 83466"/>
                    <a:gd name="connsiteY40" fmla="*/ 19223 h 290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83466" h="290910">
                      <a:moveTo>
                        <a:pt x="62796" y="19223"/>
                      </a:moveTo>
                      <a:cubicBezTo>
                        <a:pt x="60233" y="23068"/>
                        <a:pt x="61514" y="25631"/>
                        <a:pt x="61514" y="25631"/>
                      </a:cubicBezTo>
                      <a:cubicBezTo>
                        <a:pt x="61514" y="25631"/>
                        <a:pt x="61514" y="25631"/>
                        <a:pt x="61514" y="25631"/>
                      </a:cubicBezTo>
                      <a:cubicBezTo>
                        <a:pt x="47417" y="53825"/>
                        <a:pt x="34602" y="83301"/>
                        <a:pt x="21786" y="111495"/>
                      </a:cubicBezTo>
                      <a:lnTo>
                        <a:pt x="21786" y="137125"/>
                      </a:lnTo>
                      <a:cubicBezTo>
                        <a:pt x="17942" y="147378"/>
                        <a:pt x="12815" y="158912"/>
                        <a:pt x="8971" y="169164"/>
                      </a:cubicBezTo>
                      <a:lnTo>
                        <a:pt x="11534" y="196077"/>
                      </a:lnTo>
                      <a:cubicBezTo>
                        <a:pt x="7689" y="207610"/>
                        <a:pt x="3844" y="217863"/>
                        <a:pt x="0" y="229397"/>
                      </a:cubicBezTo>
                      <a:cubicBezTo>
                        <a:pt x="2563" y="243494"/>
                        <a:pt x="14097" y="265280"/>
                        <a:pt x="8971" y="278095"/>
                      </a:cubicBezTo>
                      <a:cubicBezTo>
                        <a:pt x="5126" y="285785"/>
                        <a:pt x="7689" y="289629"/>
                        <a:pt x="7689" y="290911"/>
                      </a:cubicBezTo>
                      <a:cubicBezTo>
                        <a:pt x="14097" y="290911"/>
                        <a:pt x="21786" y="274251"/>
                        <a:pt x="17942" y="267843"/>
                      </a:cubicBezTo>
                      <a:cubicBezTo>
                        <a:pt x="16660" y="267843"/>
                        <a:pt x="15378" y="267843"/>
                        <a:pt x="11534" y="271688"/>
                      </a:cubicBezTo>
                      <a:lnTo>
                        <a:pt x="2563" y="225552"/>
                      </a:lnTo>
                      <a:cubicBezTo>
                        <a:pt x="5126" y="216581"/>
                        <a:pt x="7689" y="207610"/>
                        <a:pt x="11534" y="199921"/>
                      </a:cubicBezTo>
                      <a:cubicBezTo>
                        <a:pt x="14097" y="212737"/>
                        <a:pt x="24349" y="231960"/>
                        <a:pt x="17942" y="244775"/>
                      </a:cubicBezTo>
                      <a:cubicBezTo>
                        <a:pt x="14097" y="252464"/>
                        <a:pt x="16660" y="256309"/>
                        <a:pt x="16660" y="257591"/>
                      </a:cubicBezTo>
                      <a:cubicBezTo>
                        <a:pt x="23068" y="257591"/>
                        <a:pt x="30757" y="240931"/>
                        <a:pt x="26912" y="234523"/>
                      </a:cubicBezTo>
                      <a:cubicBezTo>
                        <a:pt x="25631" y="234523"/>
                        <a:pt x="24349" y="234523"/>
                        <a:pt x="20505" y="238368"/>
                      </a:cubicBezTo>
                      <a:lnTo>
                        <a:pt x="12815" y="193513"/>
                      </a:lnTo>
                      <a:cubicBezTo>
                        <a:pt x="15378" y="184543"/>
                        <a:pt x="19223" y="176853"/>
                        <a:pt x="21786" y="167883"/>
                      </a:cubicBezTo>
                      <a:cubicBezTo>
                        <a:pt x="24349" y="180698"/>
                        <a:pt x="33320" y="199921"/>
                        <a:pt x="26912" y="212737"/>
                      </a:cubicBezTo>
                      <a:cubicBezTo>
                        <a:pt x="23068" y="220426"/>
                        <a:pt x="25631" y="224270"/>
                        <a:pt x="25631" y="225552"/>
                      </a:cubicBezTo>
                      <a:cubicBezTo>
                        <a:pt x="32039" y="225552"/>
                        <a:pt x="39728" y="208892"/>
                        <a:pt x="35883" y="202484"/>
                      </a:cubicBezTo>
                      <a:cubicBezTo>
                        <a:pt x="34602" y="202484"/>
                        <a:pt x="33320" y="202484"/>
                        <a:pt x="29476" y="206329"/>
                      </a:cubicBezTo>
                      <a:lnTo>
                        <a:pt x="23068" y="161475"/>
                      </a:lnTo>
                      <a:cubicBezTo>
                        <a:pt x="37165" y="121747"/>
                        <a:pt x="53825" y="83301"/>
                        <a:pt x="71767" y="44854"/>
                      </a:cubicBezTo>
                      <a:cubicBezTo>
                        <a:pt x="76893" y="39728"/>
                        <a:pt x="82019" y="32039"/>
                        <a:pt x="82019" y="24349"/>
                      </a:cubicBezTo>
                      <a:cubicBezTo>
                        <a:pt x="82019" y="24349"/>
                        <a:pt x="80738" y="24349"/>
                        <a:pt x="80738" y="23068"/>
                      </a:cubicBezTo>
                      <a:cubicBezTo>
                        <a:pt x="74330" y="28194"/>
                        <a:pt x="67922" y="39728"/>
                        <a:pt x="69204" y="44854"/>
                      </a:cubicBezTo>
                      <a:cubicBezTo>
                        <a:pt x="69204" y="44854"/>
                        <a:pt x="69204" y="44854"/>
                        <a:pt x="69204" y="44854"/>
                      </a:cubicBezTo>
                      <a:cubicBezTo>
                        <a:pt x="52544" y="82019"/>
                        <a:pt x="37165" y="119184"/>
                        <a:pt x="23068" y="157630"/>
                      </a:cubicBezTo>
                      <a:lnTo>
                        <a:pt x="21786" y="135844"/>
                      </a:lnTo>
                      <a:cubicBezTo>
                        <a:pt x="37165" y="96116"/>
                        <a:pt x="55106" y="57670"/>
                        <a:pt x="73048" y="20505"/>
                      </a:cubicBezTo>
                      <a:cubicBezTo>
                        <a:pt x="78174" y="15379"/>
                        <a:pt x="84582" y="5126"/>
                        <a:pt x="83301" y="0"/>
                      </a:cubicBezTo>
                      <a:cubicBezTo>
                        <a:pt x="83301" y="0"/>
                        <a:pt x="82019" y="0"/>
                        <a:pt x="82019" y="0"/>
                      </a:cubicBezTo>
                      <a:cubicBezTo>
                        <a:pt x="79456" y="2563"/>
                        <a:pt x="71767" y="15379"/>
                        <a:pt x="73048" y="20505"/>
                      </a:cubicBezTo>
                      <a:cubicBezTo>
                        <a:pt x="55106" y="56388"/>
                        <a:pt x="38446" y="93553"/>
                        <a:pt x="23068" y="131999"/>
                      </a:cubicBezTo>
                      <a:lnTo>
                        <a:pt x="23068" y="110213"/>
                      </a:lnTo>
                      <a:cubicBezTo>
                        <a:pt x="35883" y="82019"/>
                        <a:pt x="48699" y="53825"/>
                        <a:pt x="61514" y="25631"/>
                      </a:cubicBezTo>
                      <a:cubicBezTo>
                        <a:pt x="66640" y="20505"/>
                        <a:pt x="73048" y="10252"/>
                        <a:pt x="71767" y="5126"/>
                      </a:cubicBezTo>
                      <a:cubicBezTo>
                        <a:pt x="69204" y="5126"/>
                        <a:pt x="64078" y="16660"/>
                        <a:pt x="62796"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255" name="Freeform: Shape 379375">
                <a:extLst>
                  <a:ext uri="{FF2B5EF4-FFF2-40B4-BE49-F238E27FC236}">
                    <a16:creationId xmlns:a16="http://schemas.microsoft.com/office/drawing/2014/main" id="{AF856EDC-DC2F-48EC-A032-58959C5F62F3}"/>
                  </a:ext>
                </a:extLst>
              </p:cNvPr>
              <p:cNvSpPr/>
              <p:nvPr/>
            </p:nvSpPr>
            <p:spPr>
              <a:xfrm>
                <a:off x="4637115" y="2568082"/>
                <a:ext cx="70991" cy="113781"/>
              </a:xfrm>
              <a:custGeom>
                <a:avLst/>
                <a:gdLst>
                  <a:gd name="connsiteX0" fmla="*/ 481 w 70991"/>
                  <a:gd name="connsiteY0" fmla="*/ 107650 h 113781"/>
                  <a:gd name="connsiteX1" fmla="*/ 4325 w 70991"/>
                  <a:gd name="connsiteY1" fmla="*/ 112776 h 113781"/>
                  <a:gd name="connsiteX2" fmla="*/ 14577 w 70991"/>
                  <a:gd name="connsiteY2" fmla="*/ 96116 h 113781"/>
                  <a:gd name="connsiteX3" fmla="*/ 38927 w 70991"/>
                  <a:gd name="connsiteY3" fmla="*/ 67922 h 113781"/>
                  <a:gd name="connsiteX4" fmla="*/ 60713 w 70991"/>
                  <a:gd name="connsiteY4" fmla="*/ 19223 h 113781"/>
                  <a:gd name="connsiteX5" fmla="*/ 69684 w 70991"/>
                  <a:gd name="connsiteY5" fmla="*/ 0 h 113781"/>
                  <a:gd name="connsiteX6" fmla="*/ 67121 w 70991"/>
                  <a:gd name="connsiteY6" fmla="*/ 0 h 113781"/>
                  <a:gd name="connsiteX7" fmla="*/ 55587 w 70991"/>
                  <a:gd name="connsiteY7" fmla="*/ 19223 h 113781"/>
                  <a:gd name="connsiteX8" fmla="*/ 56869 w 70991"/>
                  <a:gd name="connsiteY8" fmla="*/ 19223 h 113781"/>
                  <a:gd name="connsiteX9" fmla="*/ 36364 w 70991"/>
                  <a:gd name="connsiteY9" fmla="*/ 66640 h 113781"/>
                  <a:gd name="connsiteX10" fmla="*/ 13296 w 70991"/>
                  <a:gd name="connsiteY10" fmla="*/ 92271 h 113781"/>
                  <a:gd name="connsiteX11" fmla="*/ 481 w 70991"/>
                  <a:gd name="connsiteY11" fmla="*/ 107650 h 113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991" h="113781">
                    <a:moveTo>
                      <a:pt x="481" y="107650"/>
                    </a:moveTo>
                    <a:cubicBezTo>
                      <a:pt x="-801" y="112776"/>
                      <a:pt x="481" y="115339"/>
                      <a:pt x="4325" y="112776"/>
                    </a:cubicBezTo>
                    <a:cubicBezTo>
                      <a:pt x="8170" y="110213"/>
                      <a:pt x="14577" y="102524"/>
                      <a:pt x="14577" y="96116"/>
                    </a:cubicBezTo>
                    <a:lnTo>
                      <a:pt x="38927" y="67922"/>
                    </a:lnTo>
                    <a:cubicBezTo>
                      <a:pt x="45335" y="51262"/>
                      <a:pt x="53024" y="34602"/>
                      <a:pt x="60713" y="19223"/>
                    </a:cubicBezTo>
                    <a:cubicBezTo>
                      <a:pt x="68403" y="14097"/>
                      <a:pt x="73529" y="1282"/>
                      <a:pt x="69684" y="0"/>
                    </a:cubicBezTo>
                    <a:cubicBezTo>
                      <a:pt x="69684" y="0"/>
                      <a:pt x="68403" y="0"/>
                      <a:pt x="67121" y="0"/>
                    </a:cubicBezTo>
                    <a:cubicBezTo>
                      <a:pt x="58150" y="3845"/>
                      <a:pt x="53024" y="17942"/>
                      <a:pt x="55587" y="19223"/>
                    </a:cubicBezTo>
                    <a:cubicBezTo>
                      <a:pt x="55587" y="19223"/>
                      <a:pt x="55587" y="19223"/>
                      <a:pt x="56869" y="19223"/>
                    </a:cubicBezTo>
                    <a:cubicBezTo>
                      <a:pt x="49179" y="34602"/>
                      <a:pt x="42772" y="49980"/>
                      <a:pt x="36364" y="66640"/>
                    </a:cubicBezTo>
                    <a:cubicBezTo>
                      <a:pt x="29956" y="74330"/>
                      <a:pt x="19704" y="84582"/>
                      <a:pt x="13296" y="92271"/>
                    </a:cubicBezTo>
                    <a:cubicBezTo>
                      <a:pt x="10733" y="90990"/>
                      <a:pt x="1762" y="101242"/>
                      <a:pt x="481" y="10765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6" name="Freeform: Shape 379376">
                <a:extLst>
                  <a:ext uri="{FF2B5EF4-FFF2-40B4-BE49-F238E27FC236}">
                    <a16:creationId xmlns:a16="http://schemas.microsoft.com/office/drawing/2014/main" id="{0D18ABD3-4B09-44C3-86F9-0E43C14BDA77}"/>
                  </a:ext>
                </a:extLst>
              </p:cNvPr>
              <p:cNvSpPr/>
              <p:nvPr/>
            </p:nvSpPr>
            <p:spPr>
              <a:xfrm>
                <a:off x="4677120" y="2507850"/>
                <a:ext cx="77762" cy="160459"/>
              </a:xfrm>
              <a:custGeom>
                <a:avLst/>
                <a:gdLst>
                  <a:gd name="connsiteX0" fmla="*/ 62999 w 77762"/>
                  <a:gd name="connsiteY0" fmla="*/ 12815 h 160459"/>
                  <a:gd name="connsiteX1" fmla="*/ 64281 w 77762"/>
                  <a:gd name="connsiteY1" fmla="*/ 19223 h 160459"/>
                  <a:gd name="connsiteX2" fmla="*/ 10455 w 77762"/>
                  <a:gd name="connsiteY2" fmla="*/ 140970 h 160459"/>
                  <a:gd name="connsiteX3" fmla="*/ 1485 w 77762"/>
                  <a:gd name="connsiteY3" fmla="*/ 160193 h 160459"/>
                  <a:gd name="connsiteX4" fmla="*/ 15581 w 77762"/>
                  <a:gd name="connsiteY4" fmla="*/ 140970 h 160459"/>
                  <a:gd name="connsiteX5" fmla="*/ 13018 w 77762"/>
                  <a:gd name="connsiteY5" fmla="*/ 139688 h 160459"/>
                  <a:gd name="connsiteX6" fmla="*/ 66844 w 77762"/>
                  <a:gd name="connsiteY6" fmla="*/ 17942 h 160459"/>
                  <a:gd name="connsiteX7" fmla="*/ 77096 w 77762"/>
                  <a:gd name="connsiteY7" fmla="*/ 0 h 160459"/>
                  <a:gd name="connsiteX8" fmla="*/ 74533 w 77762"/>
                  <a:gd name="connsiteY8" fmla="*/ 0 h 160459"/>
                  <a:gd name="connsiteX9" fmla="*/ 62999 w 77762"/>
                  <a:gd name="connsiteY9" fmla="*/ 12815 h 16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62" h="160459">
                    <a:moveTo>
                      <a:pt x="62999" y="12815"/>
                    </a:moveTo>
                    <a:cubicBezTo>
                      <a:pt x="61717" y="17942"/>
                      <a:pt x="62999" y="17942"/>
                      <a:pt x="64281" y="19223"/>
                    </a:cubicBezTo>
                    <a:cubicBezTo>
                      <a:pt x="45057" y="57670"/>
                      <a:pt x="27115" y="98679"/>
                      <a:pt x="10455" y="140970"/>
                    </a:cubicBezTo>
                    <a:cubicBezTo>
                      <a:pt x="1485" y="147378"/>
                      <a:pt x="-2360" y="158912"/>
                      <a:pt x="1485" y="160193"/>
                    </a:cubicBezTo>
                    <a:cubicBezTo>
                      <a:pt x="6611" y="162756"/>
                      <a:pt x="18145" y="146096"/>
                      <a:pt x="15581" y="140970"/>
                    </a:cubicBezTo>
                    <a:cubicBezTo>
                      <a:pt x="15581" y="139688"/>
                      <a:pt x="14300" y="139688"/>
                      <a:pt x="13018" y="139688"/>
                    </a:cubicBezTo>
                    <a:cubicBezTo>
                      <a:pt x="29679" y="97397"/>
                      <a:pt x="47620" y="57670"/>
                      <a:pt x="66844" y="17942"/>
                    </a:cubicBezTo>
                    <a:cubicBezTo>
                      <a:pt x="74533" y="12815"/>
                      <a:pt x="79659" y="1282"/>
                      <a:pt x="77096" y="0"/>
                    </a:cubicBezTo>
                    <a:cubicBezTo>
                      <a:pt x="77096" y="0"/>
                      <a:pt x="75814" y="0"/>
                      <a:pt x="74533" y="0"/>
                    </a:cubicBezTo>
                    <a:cubicBezTo>
                      <a:pt x="66844" y="3845"/>
                      <a:pt x="62999" y="12815"/>
                      <a:pt x="62999"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7" name="Freeform: Shape 379377">
                <a:extLst>
                  <a:ext uri="{FF2B5EF4-FFF2-40B4-BE49-F238E27FC236}">
                    <a16:creationId xmlns:a16="http://schemas.microsoft.com/office/drawing/2014/main" id="{AE6CA8C1-A95B-486D-BFA1-481B3B18578D}"/>
                  </a:ext>
                </a:extLst>
              </p:cNvPr>
              <p:cNvSpPr/>
              <p:nvPr/>
            </p:nvSpPr>
            <p:spPr>
              <a:xfrm>
                <a:off x="4764020" y="2561675"/>
                <a:ext cx="34783" cy="76968"/>
              </a:xfrm>
              <a:custGeom>
                <a:avLst/>
                <a:gdLst>
                  <a:gd name="connsiteX0" fmla="*/ 19672 w 34783"/>
                  <a:gd name="connsiteY0" fmla="*/ 14097 h 76968"/>
                  <a:gd name="connsiteX1" fmla="*/ 22235 w 34783"/>
                  <a:gd name="connsiteY1" fmla="*/ 20505 h 76968"/>
                  <a:gd name="connsiteX2" fmla="*/ 9419 w 34783"/>
                  <a:gd name="connsiteY2" fmla="*/ 57670 h 76968"/>
                  <a:gd name="connsiteX3" fmla="*/ 1730 w 34783"/>
                  <a:gd name="connsiteY3" fmla="*/ 76893 h 76968"/>
                  <a:gd name="connsiteX4" fmla="*/ 14546 w 34783"/>
                  <a:gd name="connsiteY4" fmla="*/ 57670 h 76968"/>
                  <a:gd name="connsiteX5" fmla="*/ 11983 w 34783"/>
                  <a:gd name="connsiteY5" fmla="*/ 56388 h 76968"/>
                  <a:gd name="connsiteX6" fmla="*/ 24798 w 34783"/>
                  <a:gd name="connsiteY6" fmla="*/ 19223 h 76968"/>
                  <a:gd name="connsiteX7" fmla="*/ 32487 w 34783"/>
                  <a:gd name="connsiteY7" fmla="*/ 0 h 76968"/>
                  <a:gd name="connsiteX8" fmla="*/ 29924 w 34783"/>
                  <a:gd name="connsiteY8" fmla="*/ 0 h 76968"/>
                  <a:gd name="connsiteX9" fmla="*/ 19672 w 34783"/>
                  <a:gd name="connsiteY9" fmla="*/ 14097 h 7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83" h="76968">
                    <a:moveTo>
                      <a:pt x="19672" y="14097"/>
                    </a:moveTo>
                    <a:cubicBezTo>
                      <a:pt x="18390" y="16660"/>
                      <a:pt x="18390" y="19223"/>
                      <a:pt x="22235" y="20505"/>
                    </a:cubicBezTo>
                    <a:cubicBezTo>
                      <a:pt x="17109" y="33320"/>
                      <a:pt x="13264" y="44854"/>
                      <a:pt x="9419" y="57670"/>
                    </a:cubicBezTo>
                    <a:cubicBezTo>
                      <a:pt x="449" y="64077"/>
                      <a:pt x="-2115" y="75611"/>
                      <a:pt x="1730" y="76893"/>
                    </a:cubicBezTo>
                    <a:cubicBezTo>
                      <a:pt x="8138" y="78174"/>
                      <a:pt x="18390" y="62796"/>
                      <a:pt x="14546" y="57670"/>
                    </a:cubicBezTo>
                    <a:cubicBezTo>
                      <a:pt x="13264" y="56388"/>
                      <a:pt x="13264" y="56388"/>
                      <a:pt x="11983" y="56388"/>
                    </a:cubicBezTo>
                    <a:cubicBezTo>
                      <a:pt x="15827" y="43573"/>
                      <a:pt x="20953" y="30757"/>
                      <a:pt x="24798" y="19223"/>
                    </a:cubicBezTo>
                    <a:cubicBezTo>
                      <a:pt x="33769" y="12815"/>
                      <a:pt x="37614" y="1282"/>
                      <a:pt x="32487" y="0"/>
                    </a:cubicBezTo>
                    <a:cubicBezTo>
                      <a:pt x="31206" y="0"/>
                      <a:pt x="31206" y="0"/>
                      <a:pt x="29924" y="0"/>
                    </a:cubicBezTo>
                    <a:cubicBezTo>
                      <a:pt x="22235" y="5126"/>
                      <a:pt x="19672" y="14097"/>
                      <a:pt x="1967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8" name="Freeform: Shape 379378">
                <a:extLst>
                  <a:ext uri="{FF2B5EF4-FFF2-40B4-BE49-F238E27FC236}">
                    <a16:creationId xmlns:a16="http://schemas.microsoft.com/office/drawing/2014/main" id="{EF2D37CD-CA59-4EEE-A07B-FA1EE352FA68}"/>
                  </a:ext>
                </a:extLst>
              </p:cNvPr>
              <p:cNvSpPr/>
              <p:nvPr/>
            </p:nvSpPr>
            <p:spPr>
              <a:xfrm>
                <a:off x="4785807" y="2582179"/>
                <a:ext cx="23965" cy="48774"/>
              </a:xfrm>
              <a:custGeom>
                <a:avLst/>
                <a:gdLst>
                  <a:gd name="connsiteX0" fmla="*/ 9419 w 23965"/>
                  <a:gd name="connsiteY0" fmla="*/ 14097 h 48774"/>
                  <a:gd name="connsiteX1" fmla="*/ 11982 w 23965"/>
                  <a:gd name="connsiteY1" fmla="*/ 20505 h 48774"/>
                  <a:gd name="connsiteX2" fmla="*/ 9419 w 23965"/>
                  <a:gd name="connsiteY2" fmla="*/ 29476 h 48774"/>
                  <a:gd name="connsiteX3" fmla="*/ 1730 w 23965"/>
                  <a:gd name="connsiteY3" fmla="*/ 48699 h 48774"/>
                  <a:gd name="connsiteX4" fmla="*/ 14546 w 23965"/>
                  <a:gd name="connsiteY4" fmla="*/ 29476 h 48774"/>
                  <a:gd name="connsiteX5" fmla="*/ 11982 w 23965"/>
                  <a:gd name="connsiteY5" fmla="*/ 28194 h 48774"/>
                  <a:gd name="connsiteX6" fmla="*/ 14546 w 23965"/>
                  <a:gd name="connsiteY6" fmla="*/ 19223 h 48774"/>
                  <a:gd name="connsiteX7" fmla="*/ 22235 w 23965"/>
                  <a:gd name="connsiteY7" fmla="*/ 0 h 48774"/>
                  <a:gd name="connsiteX8" fmla="*/ 19672 w 23965"/>
                  <a:gd name="connsiteY8" fmla="*/ 0 h 48774"/>
                  <a:gd name="connsiteX9" fmla="*/ 9419 w 23965"/>
                  <a:gd name="connsiteY9" fmla="*/ 14097 h 48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5" h="48774">
                    <a:moveTo>
                      <a:pt x="9419" y="14097"/>
                    </a:moveTo>
                    <a:cubicBezTo>
                      <a:pt x="9419" y="16660"/>
                      <a:pt x="9419" y="19223"/>
                      <a:pt x="11982" y="20505"/>
                    </a:cubicBezTo>
                    <a:cubicBezTo>
                      <a:pt x="10701" y="23068"/>
                      <a:pt x="9419" y="26912"/>
                      <a:pt x="9419" y="29476"/>
                    </a:cubicBezTo>
                    <a:cubicBezTo>
                      <a:pt x="448" y="35883"/>
                      <a:pt x="-2115" y="47417"/>
                      <a:pt x="1730" y="48699"/>
                    </a:cubicBezTo>
                    <a:cubicBezTo>
                      <a:pt x="8138" y="49980"/>
                      <a:pt x="19672" y="34602"/>
                      <a:pt x="14546" y="29476"/>
                    </a:cubicBezTo>
                    <a:cubicBezTo>
                      <a:pt x="13264" y="28194"/>
                      <a:pt x="13264" y="28194"/>
                      <a:pt x="11982" y="28194"/>
                    </a:cubicBezTo>
                    <a:cubicBezTo>
                      <a:pt x="13264" y="25631"/>
                      <a:pt x="14546" y="21786"/>
                      <a:pt x="14546" y="19223"/>
                    </a:cubicBezTo>
                    <a:cubicBezTo>
                      <a:pt x="23516" y="12815"/>
                      <a:pt x="26080" y="1282"/>
                      <a:pt x="22235" y="0"/>
                    </a:cubicBezTo>
                    <a:cubicBezTo>
                      <a:pt x="20953" y="0"/>
                      <a:pt x="20953" y="0"/>
                      <a:pt x="19672" y="0"/>
                    </a:cubicBezTo>
                    <a:cubicBezTo>
                      <a:pt x="13264" y="3845"/>
                      <a:pt x="10701" y="11534"/>
                      <a:pt x="9419"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59" name="Freeform: Shape 379379">
                <a:extLst>
                  <a:ext uri="{FF2B5EF4-FFF2-40B4-BE49-F238E27FC236}">
                    <a16:creationId xmlns:a16="http://schemas.microsoft.com/office/drawing/2014/main" id="{712D9F06-8F3A-4E87-94BC-2FFF2632AE80}"/>
                  </a:ext>
                </a:extLst>
              </p:cNvPr>
              <p:cNvSpPr/>
              <p:nvPr/>
            </p:nvSpPr>
            <p:spPr>
              <a:xfrm>
                <a:off x="4980979" y="2551422"/>
                <a:ext cx="23211" cy="46225"/>
              </a:xfrm>
              <a:custGeom>
                <a:avLst/>
                <a:gdLst>
                  <a:gd name="connsiteX0" fmla="*/ 5198 w 23211"/>
                  <a:gd name="connsiteY0" fmla="*/ 12815 h 46225"/>
                  <a:gd name="connsiteX1" fmla="*/ 10325 w 23211"/>
                  <a:gd name="connsiteY1" fmla="*/ 17942 h 46225"/>
                  <a:gd name="connsiteX2" fmla="*/ 9043 w 23211"/>
                  <a:gd name="connsiteY2" fmla="*/ 26912 h 46225"/>
                  <a:gd name="connsiteX3" fmla="*/ 3917 w 23211"/>
                  <a:gd name="connsiteY3" fmla="*/ 46136 h 46225"/>
                  <a:gd name="connsiteX4" fmla="*/ 16732 w 23211"/>
                  <a:gd name="connsiteY4" fmla="*/ 28194 h 46225"/>
                  <a:gd name="connsiteX5" fmla="*/ 12888 w 23211"/>
                  <a:gd name="connsiteY5" fmla="*/ 26912 h 46225"/>
                  <a:gd name="connsiteX6" fmla="*/ 14169 w 23211"/>
                  <a:gd name="connsiteY6" fmla="*/ 17942 h 46225"/>
                  <a:gd name="connsiteX7" fmla="*/ 19295 w 23211"/>
                  <a:gd name="connsiteY7" fmla="*/ 0 h 46225"/>
                  <a:gd name="connsiteX8" fmla="*/ 15450 w 23211"/>
                  <a:gd name="connsiteY8" fmla="*/ 0 h 46225"/>
                  <a:gd name="connsiteX9" fmla="*/ 5198 w 23211"/>
                  <a:gd name="connsiteY9" fmla="*/ 12815 h 4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11" h="46225">
                    <a:moveTo>
                      <a:pt x="5198" y="12815"/>
                    </a:moveTo>
                    <a:cubicBezTo>
                      <a:pt x="5198" y="15379"/>
                      <a:pt x="6480" y="17942"/>
                      <a:pt x="10325" y="17942"/>
                    </a:cubicBezTo>
                    <a:cubicBezTo>
                      <a:pt x="10325" y="20505"/>
                      <a:pt x="9043" y="24349"/>
                      <a:pt x="9043" y="26912"/>
                    </a:cubicBezTo>
                    <a:cubicBezTo>
                      <a:pt x="-1209" y="33320"/>
                      <a:pt x="-2491" y="44854"/>
                      <a:pt x="3917" y="46136"/>
                    </a:cubicBezTo>
                    <a:cubicBezTo>
                      <a:pt x="11606" y="47417"/>
                      <a:pt x="21859" y="34602"/>
                      <a:pt x="16732" y="28194"/>
                    </a:cubicBezTo>
                    <a:cubicBezTo>
                      <a:pt x="15450" y="26912"/>
                      <a:pt x="14169" y="26912"/>
                      <a:pt x="12888" y="26912"/>
                    </a:cubicBezTo>
                    <a:cubicBezTo>
                      <a:pt x="12888" y="24349"/>
                      <a:pt x="14169" y="20505"/>
                      <a:pt x="14169" y="17942"/>
                    </a:cubicBezTo>
                    <a:cubicBezTo>
                      <a:pt x="24422" y="11534"/>
                      <a:pt x="25703" y="0"/>
                      <a:pt x="19295" y="0"/>
                    </a:cubicBezTo>
                    <a:cubicBezTo>
                      <a:pt x="18014" y="0"/>
                      <a:pt x="16732" y="0"/>
                      <a:pt x="15450" y="0"/>
                    </a:cubicBezTo>
                    <a:cubicBezTo>
                      <a:pt x="7761" y="1282"/>
                      <a:pt x="5198" y="10252"/>
                      <a:pt x="5198"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0" name="Freeform: Shape 379380">
                <a:extLst>
                  <a:ext uri="{FF2B5EF4-FFF2-40B4-BE49-F238E27FC236}">
                    <a16:creationId xmlns:a16="http://schemas.microsoft.com/office/drawing/2014/main" id="{55EB709A-BC81-4623-9463-1E2C97D6B34F}"/>
                  </a:ext>
                </a:extLst>
              </p:cNvPr>
              <p:cNvSpPr/>
              <p:nvPr/>
            </p:nvSpPr>
            <p:spPr>
              <a:xfrm>
                <a:off x="5151053" y="2296395"/>
                <a:ext cx="111059" cy="252179"/>
              </a:xfrm>
              <a:custGeom>
                <a:avLst/>
                <a:gdLst>
                  <a:gd name="connsiteX0" fmla="*/ 31201 w 111059"/>
                  <a:gd name="connsiteY0" fmla="*/ 44854 h 252179"/>
                  <a:gd name="connsiteX1" fmla="*/ 42735 w 111059"/>
                  <a:gd name="connsiteY1" fmla="*/ 46136 h 252179"/>
                  <a:gd name="connsiteX2" fmla="*/ 82464 w 111059"/>
                  <a:gd name="connsiteY2" fmla="*/ 74330 h 252179"/>
                  <a:gd name="connsiteX3" fmla="*/ 72211 w 111059"/>
                  <a:gd name="connsiteY3" fmla="*/ 171727 h 252179"/>
                  <a:gd name="connsiteX4" fmla="*/ 45299 w 111059"/>
                  <a:gd name="connsiteY4" fmla="*/ 202484 h 252179"/>
                  <a:gd name="connsiteX5" fmla="*/ 58114 w 111059"/>
                  <a:gd name="connsiteY5" fmla="*/ 89708 h 252179"/>
                  <a:gd name="connsiteX6" fmla="*/ 63240 w 111059"/>
                  <a:gd name="connsiteY6" fmla="*/ 74330 h 252179"/>
                  <a:gd name="connsiteX7" fmla="*/ 49143 w 111059"/>
                  <a:gd name="connsiteY7" fmla="*/ 88427 h 252179"/>
                  <a:gd name="connsiteX8" fmla="*/ 54269 w 111059"/>
                  <a:gd name="connsiteY8" fmla="*/ 90990 h 252179"/>
                  <a:gd name="connsiteX9" fmla="*/ 40172 w 111059"/>
                  <a:gd name="connsiteY9" fmla="*/ 207610 h 252179"/>
                  <a:gd name="connsiteX10" fmla="*/ 15823 w 111059"/>
                  <a:gd name="connsiteY10" fmla="*/ 233241 h 252179"/>
                  <a:gd name="connsiteX11" fmla="*/ 445 w 111059"/>
                  <a:gd name="connsiteY11" fmla="*/ 248620 h 252179"/>
                  <a:gd name="connsiteX12" fmla="*/ 18386 w 111059"/>
                  <a:gd name="connsiteY12" fmla="*/ 243494 h 252179"/>
                  <a:gd name="connsiteX13" fmla="*/ 18386 w 111059"/>
                  <a:gd name="connsiteY13" fmla="*/ 235804 h 252179"/>
                  <a:gd name="connsiteX14" fmla="*/ 38891 w 111059"/>
                  <a:gd name="connsiteY14" fmla="*/ 214018 h 252179"/>
                  <a:gd name="connsiteX15" fmla="*/ 37609 w 111059"/>
                  <a:gd name="connsiteY15" fmla="*/ 226834 h 252179"/>
                  <a:gd name="connsiteX16" fmla="*/ 32483 w 111059"/>
                  <a:gd name="connsiteY16" fmla="*/ 244775 h 252179"/>
                  <a:gd name="connsiteX17" fmla="*/ 47862 w 111059"/>
                  <a:gd name="connsiteY17" fmla="*/ 229397 h 252179"/>
                  <a:gd name="connsiteX18" fmla="*/ 41454 w 111059"/>
                  <a:gd name="connsiteY18" fmla="*/ 225552 h 252179"/>
                  <a:gd name="connsiteX19" fmla="*/ 42735 w 111059"/>
                  <a:gd name="connsiteY19" fmla="*/ 208892 h 252179"/>
                  <a:gd name="connsiteX20" fmla="*/ 74774 w 111059"/>
                  <a:gd name="connsiteY20" fmla="*/ 175572 h 252179"/>
                  <a:gd name="connsiteX21" fmla="*/ 83745 w 111059"/>
                  <a:gd name="connsiteY21" fmla="*/ 79456 h 252179"/>
                  <a:gd name="connsiteX22" fmla="*/ 105532 w 111059"/>
                  <a:gd name="connsiteY22" fmla="*/ 93553 h 252179"/>
                  <a:gd name="connsiteX23" fmla="*/ 99124 w 111059"/>
                  <a:gd name="connsiteY23" fmla="*/ 184543 h 252179"/>
                  <a:gd name="connsiteX24" fmla="*/ 95279 w 111059"/>
                  <a:gd name="connsiteY24" fmla="*/ 201203 h 252179"/>
                  <a:gd name="connsiteX25" fmla="*/ 110658 w 111059"/>
                  <a:gd name="connsiteY25" fmla="*/ 187106 h 252179"/>
                  <a:gd name="connsiteX26" fmla="*/ 104250 w 111059"/>
                  <a:gd name="connsiteY26" fmla="*/ 183261 h 252179"/>
                  <a:gd name="connsiteX27" fmla="*/ 110658 w 111059"/>
                  <a:gd name="connsiteY27" fmla="*/ 90990 h 252179"/>
                  <a:gd name="connsiteX28" fmla="*/ 85027 w 111059"/>
                  <a:gd name="connsiteY28" fmla="*/ 74330 h 252179"/>
                  <a:gd name="connsiteX29" fmla="*/ 93998 w 111059"/>
                  <a:gd name="connsiteY29" fmla="*/ 14097 h 252179"/>
                  <a:gd name="connsiteX30" fmla="*/ 99124 w 111059"/>
                  <a:gd name="connsiteY30" fmla="*/ 0 h 252179"/>
                  <a:gd name="connsiteX31" fmla="*/ 95279 w 111059"/>
                  <a:gd name="connsiteY31" fmla="*/ 0 h 252179"/>
                  <a:gd name="connsiteX32" fmla="*/ 88871 w 111059"/>
                  <a:gd name="connsiteY32" fmla="*/ 15379 h 252179"/>
                  <a:gd name="connsiteX33" fmla="*/ 91434 w 111059"/>
                  <a:gd name="connsiteY33" fmla="*/ 15379 h 252179"/>
                  <a:gd name="connsiteX34" fmla="*/ 82464 w 111059"/>
                  <a:gd name="connsiteY34" fmla="*/ 73048 h 252179"/>
                  <a:gd name="connsiteX35" fmla="*/ 45299 w 111059"/>
                  <a:gd name="connsiteY35" fmla="*/ 46136 h 252179"/>
                  <a:gd name="connsiteX36" fmla="*/ 40172 w 111059"/>
                  <a:gd name="connsiteY36" fmla="*/ 35883 h 252179"/>
                  <a:gd name="connsiteX37" fmla="*/ 31201 w 111059"/>
                  <a:gd name="connsiteY37" fmla="*/ 44854 h 252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1059" h="252179">
                    <a:moveTo>
                      <a:pt x="31201" y="44854"/>
                    </a:moveTo>
                    <a:cubicBezTo>
                      <a:pt x="31201" y="48699"/>
                      <a:pt x="36328" y="51262"/>
                      <a:pt x="42735" y="46136"/>
                    </a:cubicBezTo>
                    <a:lnTo>
                      <a:pt x="82464" y="74330"/>
                    </a:lnTo>
                    <a:cubicBezTo>
                      <a:pt x="78619" y="105087"/>
                      <a:pt x="74774" y="138407"/>
                      <a:pt x="72211" y="171727"/>
                    </a:cubicBezTo>
                    <a:lnTo>
                      <a:pt x="45299" y="202484"/>
                    </a:lnTo>
                    <a:cubicBezTo>
                      <a:pt x="49143" y="162756"/>
                      <a:pt x="52988" y="125591"/>
                      <a:pt x="58114" y="89708"/>
                    </a:cubicBezTo>
                    <a:cubicBezTo>
                      <a:pt x="67085" y="84582"/>
                      <a:pt x="68367" y="75611"/>
                      <a:pt x="63240" y="74330"/>
                    </a:cubicBezTo>
                    <a:cubicBezTo>
                      <a:pt x="55551" y="71767"/>
                      <a:pt x="45299" y="83300"/>
                      <a:pt x="49143" y="88427"/>
                    </a:cubicBezTo>
                    <a:cubicBezTo>
                      <a:pt x="50425" y="90990"/>
                      <a:pt x="52988" y="90990"/>
                      <a:pt x="54269" y="90990"/>
                    </a:cubicBezTo>
                    <a:cubicBezTo>
                      <a:pt x="49143" y="128155"/>
                      <a:pt x="44017" y="167882"/>
                      <a:pt x="40172" y="207610"/>
                    </a:cubicBezTo>
                    <a:cubicBezTo>
                      <a:pt x="32483" y="215300"/>
                      <a:pt x="23512" y="225552"/>
                      <a:pt x="15823" y="233241"/>
                    </a:cubicBezTo>
                    <a:cubicBezTo>
                      <a:pt x="6852" y="230678"/>
                      <a:pt x="-2119" y="242212"/>
                      <a:pt x="445" y="248620"/>
                    </a:cubicBezTo>
                    <a:cubicBezTo>
                      <a:pt x="3008" y="255028"/>
                      <a:pt x="14542" y="252464"/>
                      <a:pt x="18386" y="243494"/>
                    </a:cubicBezTo>
                    <a:cubicBezTo>
                      <a:pt x="20949" y="239649"/>
                      <a:pt x="19667" y="237086"/>
                      <a:pt x="18386" y="235804"/>
                    </a:cubicBezTo>
                    <a:lnTo>
                      <a:pt x="38891" y="214018"/>
                    </a:lnTo>
                    <a:cubicBezTo>
                      <a:pt x="38891" y="217863"/>
                      <a:pt x="37609" y="222989"/>
                      <a:pt x="37609" y="226834"/>
                    </a:cubicBezTo>
                    <a:cubicBezTo>
                      <a:pt x="27357" y="233241"/>
                      <a:pt x="27357" y="242212"/>
                      <a:pt x="32483" y="244775"/>
                    </a:cubicBezTo>
                    <a:cubicBezTo>
                      <a:pt x="40172" y="247338"/>
                      <a:pt x="50425" y="237086"/>
                      <a:pt x="47862" y="229397"/>
                    </a:cubicBezTo>
                    <a:cubicBezTo>
                      <a:pt x="46580" y="225552"/>
                      <a:pt x="42735" y="225552"/>
                      <a:pt x="41454" y="225552"/>
                    </a:cubicBezTo>
                    <a:cubicBezTo>
                      <a:pt x="41454" y="220426"/>
                      <a:pt x="42735" y="214018"/>
                      <a:pt x="42735" y="208892"/>
                    </a:cubicBezTo>
                    <a:lnTo>
                      <a:pt x="74774" y="175572"/>
                    </a:lnTo>
                    <a:cubicBezTo>
                      <a:pt x="77337" y="142252"/>
                      <a:pt x="79900" y="110213"/>
                      <a:pt x="83745" y="79456"/>
                    </a:cubicBezTo>
                    <a:lnTo>
                      <a:pt x="105532" y="93553"/>
                    </a:lnTo>
                    <a:cubicBezTo>
                      <a:pt x="102968" y="123028"/>
                      <a:pt x="100405" y="152504"/>
                      <a:pt x="99124" y="184543"/>
                    </a:cubicBezTo>
                    <a:cubicBezTo>
                      <a:pt x="88871" y="189669"/>
                      <a:pt x="88871" y="199921"/>
                      <a:pt x="95279" y="201203"/>
                    </a:cubicBezTo>
                    <a:cubicBezTo>
                      <a:pt x="102968" y="203766"/>
                      <a:pt x="113221" y="193513"/>
                      <a:pt x="110658" y="187106"/>
                    </a:cubicBezTo>
                    <a:cubicBezTo>
                      <a:pt x="109376" y="183261"/>
                      <a:pt x="105532" y="183261"/>
                      <a:pt x="104250" y="183261"/>
                    </a:cubicBezTo>
                    <a:cubicBezTo>
                      <a:pt x="105532" y="151222"/>
                      <a:pt x="108095" y="120465"/>
                      <a:pt x="110658" y="90990"/>
                    </a:cubicBezTo>
                    <a:lnTo>
                      <a:pt x="85027" y="74330"/>
                    </a:lnTo>
                    <a:cubicBezTo>
                      <a:pt x="87590" y="53825"/>
                      <a:pt x="90153" y="33320"/>
                      <a:pt x="93998" y="14097"/>
                    </a:cubicBezTo>
                    <a:cubicBezTo>
                      <a:pt x="102968" y="8971"/>
                      <a:pt x="104250" y="1282"/>
                      <a:pt x="99124" y="0"/>
                    </a:cubicBezTo>
                    <a:cubicBezTo>
                      <a:pt x="97842" y="0"/>
                      <a:pt x="96561" y="0"/>
                      <a:pt x="95279" y="0"/>
                    </a:cubicBezTo>
                    <a:cubicBezTo>
                      <a:pt x="85027" y="3845"/>
                      <a:pt x="82464" y="12815"/>
                      <a:pt x="88871" y="15379"/>
                    </a:cubicBezTo>
                    <a:cubicBezTo>
                      <a:pt x="90153" y="15379"/>
                      <a:pt x="90153" y="15379"/>
                      <a:pt x="91434" y="15379"/>
                    </a:cubicBezTo>
                    <a:cubicBezTo>
                      <a:pt x="87590" y="34602"/>
                      <a:pt x="85027" y="52543"/>
                      <a:pt x="82464" y="73048"/>
                    </a:cubicBezTo>
                    <a:cubicBezTo>
                      <a:pt x="70930" y="65359"/>
                      <a:pt x="56833" y="53825"/>
                      <a:pt x="45299" y="46136"/>
                    </a:cubicBezTo>
                    <a:cubicBezTo>
                      <a:pt x="49143" y="39728"/>
                      <a:pt x="46580" y="34602"/>
                      <a:pt x="40172" y="35883"/>
                    </a:cubicBezTo>
                    <a:cubicBezTo>
                      <a:pt x="36328" y="34602"/>
                      <a:pt x="31201" y="41009"/>
                      <a:pt x="31201" y="448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1" name="Freeform: Shape 379381">
                <a:extLst>
                  <a:ext uri="{FF2B5EF4-FFF2-40B4-BE49-F238E27FC236}">
                    <a16:creationId xmlns:a16="http://schemas.microsoft.com/office/drawing/2014/main" id="{B471A20B-E8DD-4349-9E6A-DF8E8E15AEAE}"/>
                  </a:ext>
                </a:extLst>
              </p:cNvPr>
              <p:cNvSpPr/>
              <p:nvPr/>
            </p:nvSpPr>
            <p:spPr>
              <a:xfrm>
                <a:off x="6166475" y="2265068"/>
                <a:ext cx="111361" cy="271616"/>
              </a:xfrm>
              <a:custGeom>
                <a:avLst/>
                <a:gdLst>
                  <a:gd name="connsiteX0" fmla="*/ 2573 w 111361"/>
                  <a:gd name="connsiteY0" fmla="*/ 265849 h 271616"/>
                  <a:gd name="connsiteX1" fmla="*/ 24360 w 111361"/>
                  <a:gd name="connsiteY1" fmla="*/ 265849 h 271616"/>
                  <a:gd name="connsiteX2" fmla="*/ 20515 w 111361"/>
                  <a:gd name="connsiteY2" fmla="*/ 255597 h 271616"/>
                  <a:gd name="connsiteX3" fmla="*/ 87155 w 111361"/>
                  <a:gd name="connsiteY3" fmla="*/ 136413 h 271616"/>
                  <a:gd name="connsiteX4" fmla="*/ 93563 w 111361"/>
                  <a:gd name="connsiteY4" fmla="*/ 149229 h 271616"/>
                  <a:gd name="connsiteX5" fmla="*/ 98689 w 111361"/>
                  <a:gd name="connsiteY5" fmla="*/ 165889 h 271616"/>
                  <a:gd name="connsiteX6" fmla="*/ 110223 w 111361"/>
                  <a:gd name="connsiteY6" fmla="*/ 155637 h 271616"/>
                  <a:gd name="connsiteX7" fmla="*/ 97408 w 111361"/>
                  <a:gd name="connsiteY7" fmla="*/ 147947 h 271616"/>
                  <a:gd name="connsiteX8" fmla="*/ 88437 w 111361"/>
                  <a:gd name="connsiteY8" fmla="*/ 132569 h 271616"/>
                  <a:gd name="connsiteX9" fmla="*/ 103816 w 111361"/>
                  <a:gd name="connsiteY9" fmla="*/ 101812 h 271616"/>
                  <a:gd name="connsiteX10" fmla="*/ 46146 w 111361"/>
                  <a:gd name="connsiteY10" fmla="*/ 14667 h 271616"/>
                  <a:gd name="connsiteX11" fmla="*/ 39738 w 111361"/>
                  <a:gd name="connsiteY11" fmla="*/ 570 h 271616"/>
                  <a:gd name="connsiteX12" fmla="*/ 33330 w 111361"/>
                  <a:gd name="connsiteY12" fmla="*/ 570 h 271616"/>
                  <a:gd name="connsiteX13" fmla="*/ 34612 w 111361"/>
                  <a:gd name="connsiteY13" fmla="*/ 14667 h 271616"/>
                  <a:gd name="connsiteX14" fmla="*/ 41019 w 111361"/>
                  <a:gd name="connsiteY14" fmla="*/ 15948 h 271616"/>
                  <a:gd name="connsiteX15" fmla="*/ 97408 w 111361"/>
                  <a:gd name="connsiteY15" fmla="*/ 101812 h 271616"/>
                  <a:gd name="connsiteX16" fmla="*/ 84592 w 111361"/>
                  <a:gd name="connsiteY16" fmla="*/ 127443 h 271616"/>
                  <a:gd name="connsiteX17" fmla="*/ 17951 w 111361"/>
                  <a:gd name="connsiteY17" fmla="*/ 19793 h 271616"/>
                  <a:gd name="connsiteX18" fmla="*/ 11544 w 111361"/>
                  <a:gd name="connsiteY18" fmla="*/ 5696 h 271616"/>
                  <a:gd name="connsiteX19" fmla="*/ 1292 w 111361"/>
                  <a:gd name="connsiteY19" fmla="*/ 14667 h 271616"/>
                  <a:gd name="connsiteX20" fmla="*/ 14107 w 111361"/>
                  <a:gd name="connsiteY20" fmla="*/ 21074 h 271616"/>
                  <a:gd name="connsiteX21" fmla="*/ 83311 w 111361"/>
                  <a:gd name="connsiteY21" fmla="*/ 131287 h 271616"/>
                  <a:gd name="connsiteX22" fmla="*/ 14107 w 111361"/>
                  <a:gd name="connsiteY22" fmla="*/ 253034 h 271616"/>
                  <a:gd name="connsiteX23" fmla="*/ 2573 w 111361"/>
                  <a:gd name="connsiteY23" fmla="*/ 265849 h 271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1361" h="271616">
                    <a:moveTo>
                      <a:pt x="2573" y="265849"/>
                    </a:moveTo>
                    <a:cubicBezTo>
                      <a:pt x="7699" y="273539"/>
                      <a:pt x="21796" y="273539"/>
                      <a:pt x="24360" y="265849"/>
                    </a:cubicBezTo>
                    <a:cubicBezTo>
                      <a:pt x="25641" y="262005"/>
                      <a:pt x="24360" y="259442"/>
                      <a:pt x="20515" y="255597"/>
                    </a:cubicBezTo>
                    <a:cubicBezTo>
                      <a:pt x="41019" y="219714"/>
                      <a:pt x="67932" y="172297"/>
                      <a:pt x="87155" y="136413"/>
                    </a:cubicBezTo>
                    <a:cubicBezTo>
                      <a:pt x="89718" y="140258"/>
                      <a:pt x="92282" y="144103"/>
                      <a:pt x="93563" y="149229"/>
                    </a:cubicBezTo>
                    <a:cubicBezTo>
                      <a:pt x="84592" y="154355"/>
                      <a:pt x="91000" y="163326"/>
                      <a:pt x="98689" y="165889"/>
                    </a:cubicBezTo>
                    <a:cubicBezTo>
                      <a:pt x="107660" y="168452"/>
                      <a:pt x="114068" y="163326"/>
                      <a:pt x="110223" y="155637"/>
                    </a:cubicBezTo>
                    <a:cubicBezTo>
                      <a:pt x="108942" y="153073"/>
                      <a:pt x="105097" y="149229"/>
                      <a:pt x="97408" y="147947"/>
                    </a:cubicBezTo>
                    <a:cubicBezTo>
                      <a:pt x="94845" y="142821"/>
                      <a:pt x="91000" y="137695"/>
                      <a:pt x="88437" y="132569"/>
                    </a:cubicBezTo>
                    <a:lnTo>
                      <a:pt x="103816" y="101812"/>
                    </a:lnTo>
                    <a:cubicBezTo>
                      <a:pt x="84592" y="71055"/>
                      <a:pt x="65369" y="42861"/>
                      <a:pt x="46146" y="14667"/>
                    </a:cubicBezTo>
                    <a:cubicBezTo>
                      <a:pt x="53835" y="10822"/>
                      <a:pt x="47427" y="1851"/>
                      <a:pt x="39738" y="570"/>
                    </a:cubicBezTo>
                    <a:cubicBezTo>
                      <a:pt x="37175" y="-712"/>
                      <a:pt x="35894" y="570"/>
                      <a:pt x="33330" y="570"/>
                    </a:cubicBezTo>
                    <a:cubicBezTo>
                      <a:pt x="24360" y="3133"/>
                      <a:pt x="29485" y="10822"/>
                      <a:pt x="34612" y="14667"/>
                    </a:cubicBezTo>
                    <a:cubicBezTo>
                      <a:pt x="37175" y="15948"/>
                      <a:pt x="39738" y="15948"/>
                      <a:pt x="41019" y="15948"/>
                    </a:cubicBezTo>
                    <a:cubicBezTo>
                      <a:pt x="60243" y="42861"/>
                      <a:pt x="78185" y="72336"/>
                      <a:pt x="97408" y="101812"/>
                    </a:cubicBezTo>
                    <a:lnTo>
                      <a:pt x="84592" y="127443"/>
                    </a:lnTo>
                    <a:cubicBezTo>
                      <a:pt x="62806" y="90278"/>
                      <a:pt x="39738" y="54394"/>
                      <a:pt x="17951" y="19793"/>
                    </a:cubicBezTo>
                    <a:cubicBezTo>
                      <a:pt x="25641" y="15948"/>
                      <a:pt x="19233" y="6977"/>
                      <a:pt x="11544" y="5696"/>
                    </a:cubicBezTo>
                    <a:cubicBezTo>
                      <a:pt x="2573" y="3133"/>
                      <a:pt x="-2553" y="8259"/>
                      <a:pt x="1292" y="14667"/>
                    </a:cubicBezTo>
                    <a:cubicBezTo>
                      <a:pt x="2573" y="15948"/>
                      <a:pt x="6418" y="19793"/>
                      <a:pt x="14107" y="21074"/>
                    </a:cubicBezTo>
                    <a:cubicBezTo>
                      <a:pt x="37175" y="55676"/>
                      <a:pt x="60243" y="92841"/>
                      <a:pt x="83311" y="131287"/>
                    </a:cubicBezTo>
                    <a:cubicBezTo>
                      <a:pt x="62806" y="168452"/>
                      <a:pt x="35894" y="217151"/>
                      <a:pt x="14107" y="253034"/>
                    </a:cubicBezTo>
                    <a:cubicBezTo>
                      <a:pt x="3855" y="249189"/>
                      <a:pt x="-1271" y="259442"/>
                      <a:pt x="2573" y="26584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2" name="Freeform: Shape 379382">
                <a:extLst>
                  <a:ext uri="{FF2B5EF4-FFF2-40B4-BE49-F238E27FC236}">
                    <a16:creationId xmlns:a16="http://schemas.microsoft.com/office/drawing/2014/main" id="{8A54DFC2-4A4A-4EE5-A395-CAF2C1AC7560}"/>
                  </a:ext>
                </a:extLst>
              </p:cNvPr>
              <p:cNvSpPr/>
              <p:nvPr/>
            </p:nvSpPr>
            <p:spPr>
              <a:xfrm>
                <a:off x="6224457" y="2258660"/>
                <a:ext cx="77872" cy="140898"/>
              </a:xfrm>
              <a:custGeom>
                <a:avLst/>
                <a:gdLst>
                  <a:gd name="connsiteX0" fmla="*/ 50960 w 77872"/>
                  <a:gd name="connsiteY0" fmla="*/ 135132 h 140898"/>
                  <a:gd name="connsiteX1" fmla="*/ 71465 w 77872"/>
                  <a:gd name="connsiteY1" fmla="*/ 135132 h 140898"/>
                  <a:gd name="connsiteX2" fmla="*/ 66339 w 77872"/>
                  <a:gd name="connsiteY2" fmla="*/ 126161 h 140898"/>
                  <a:gd name="connsiteX3" fmla="*/ 77872 w 77872"/>
                  <a:gd name="connsiteY3" fmla="*/ 101812 h 140898"/>
                  <a:gd name="connsiteX4" fmla="*/ 18921 w 77872"/>
                  <a:gd name="connsiteY4" fmla="*/ 14667 h 140898"/>
                  <a:gd name="connsiteX5" fmla="*/ 11232 w 77872"/>
                  <a:gd name="connsiteY5" fmla="*/ 570 h 140898"/>
                  <a:gd name="connsiteX6" fmla="*/ 4824 w 77872"/>
                  <a:gd name="connsiteY6" fmla="*/ 570 h 140898"/>
                  <a:gd name="connsiteX7" fmla="*/ 7387 w 77872"/>
                  <a:gd name="connsiteY7" fmla="*/ 14667 h 140898"/>
                  <a:gd name="connsiteX8" fmla="*/ 13795 w 77872"/>
                  <a:gd name="connsiteY8" fmla="*/ 15948 h 140898"/>
                  <a:gd name="connsiteX9" fmla="*/ 71465 w 77872"/>
                  <a:gd name="connsiteY9" fmla="*/ 100530 h 140898"/>
                  <a:gd name="connsiteX10" fmla="*/ 61212 w 77872"/>
                  <a:gd name="connsiteY10" fmla="*/ 123598 h 140898"/>
                  <a:gd name="connsiteX11" fmla="*/ 49678 w 77872"/>
                  <a:gd name="connsiteY11" fmla="*/ 133850 h 140898"/>
                  <a:gd name="connsiteX12" fmla="*/ 50960 w 77872"/>
                  <a:gd name="connsiteY12" fmla="*/ 135132 h 14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72" h="140898">
                    <a:moveTo>
                      <a:pt x="50960" y="135132"/>
                    </a:moveTo>
                    <a:cubicBezTo>
                      <a:pt x="57368" y="142821"/>
                      <a:pt x="70183" y="142821"/>
                      <a:pt x="71465" y="135132"/>
                    </a:cubicBezTo>
                    <a:cubicBezTo>
                      <a:pt x="71465" y="131287"/>
                      <a:pt x="70183" y="128724"/>
                      <a:pt x="66339" y="126161"/>
                    </a:cubicBezTo>
                    <a:lnTo>
                      <a:pt x="77872" y="101812"/>
                    </a:lnTo>
                    <a:cubicBezTo>
                      <a:pt x="58649" y="71055"/>
                      <a:pt x="39426" y="42861"/>
                      <a:pt x="18921" y="14667"/>
                    </a:cubicBezTo>
                    <a:cubicBezTo>
                      <a:pt x="26610" y="10822"/>
                      <a:pt x="18921" y="1851"/>
                      <a:pt x="11232" y="570"/>
                    </a:cubicBezTo>
                    <a:cubicBezTo>
                      <a:pt x="8669" y="-712"/>
                      <a:pt x="7387" y="570"/>
                      <a:pt x="4824" y="570"/>
                    </a:cubicBezTo>
                    <a:cubicBezTo>
                      <a:pt x="-4147" y="3133"/>
                      <a:pt x="979" y="10822"/>
                      <a:pt x="7387" y="14667"/>
                    </a:cubicBezTo>
                    <a:cubicBezTo>
                      <a:pt x="9950" y="15948"/>
                      <a:pt x="12513" y="15948"/>
                      <a:pt x="13795" y="15948"/>
                    </a:cubicBezTo>
                    <a:cubicBezTo>
                      <a:pt x="33018" y="42861"/>
                      <a:pt x="52241" y="71055"/>
                      <a:pt x="71465" y="100530"/>
                    </a:cubicBezTo>
                    <a:cubicBezTo>
                      <a:pt x="67620" y="106938"/>
                      <a:pt x="63775" y="115909"/>
                      <a:pt x="61212" y="123598"/>
                    </a:cubicBezTo>
                    <a:cubicBezTo>
                      <a:pt x="50960" y="121035"/>
                      <a:pt x="45834" y="127443"/>
                      <a:pt x="49678" y="133850"/>
                    </a:cubicBezTo>
                    <a:cubicBezTo>
                      <a:pt x="49678" y="133850"/>
                      <a:pt x="49678" y="135132"/>
                      <a:pt x="50960" y="13513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3" name="Freeform: Shape 379383">
                <a:extLst>
                  <a:ext uri="{FF2B5EF4-FFF2-40B4-BE49-F238E27FC236}">
                    <a16:creationId xmlns:a16="http://schemas.microsoft.com/office/drawing/2014/main" id="{8311932E-7AA5-4962-9A3C-90473FF0CFA3}"/>
                  </a:ext>
                </a:extLst>
              </p:cNvPr>
              <p:cNvSpPr/>
              <p:nvPr/>
            </p:nvSpPr>
            <p:spPr>
              <a:xfrm>
                <a:off x="6266968" y="2240007"/>
                <a:ext cx="113535" cy="277454"/>
              </a:xfrm>
              <a:custGeom>
                <a:avLst/>
                <a:gdLst>
                  <a:gd name="connsiteX0" fmla="*/ 2040 w 113535"/>
                  <a:gd name="connsiteY0" fmla="*/ 271688 h 277454"/>
                  <a:gd name="connsiteX1" fmla="*/ 22545 w 113535"/>
                  <a:gd name="connsiteY1" fmla="*/ 271688 h 277454"/>
                  <a:gd name="connsiteX2" fmla="*/ 17419 w 113535"/>
                  <a:gd name="connsiteY2" fmla="*/ 261435 h 277454"/>
                  <a:gd name="connsiteX3" fmla="*/ 113536 w 113535"/>
                  <a:gd name="connsiteY3" fmla="*/ 53825 h 277454"/>
                  <a:gd name="connsiteX4" fmla="*/ 113536 w 113535"/>
                  <a:gd name="connsiteY4" fmla="*/ 52543 h 277454"/>
                  <a:gd name="connsiteX5" fmla="*/ 82778 w 113535"/>
                  <a:gd name="connsiteY5" fmla="*/ 14097 h 277454"/>
                  <a:gd name="connsiteX6" fmla="*/ 72526 w 113535"/>
                  <a:gd name="connsiteY6" fmla="*/ 0 h 277454"/>
                  <a:gd name="connsiteX7" fmla="*/ 68681 w 113535"/>
                  <a:gd name="connsiteY7" fmla="*/ 0 h 277454"/>
                  <a:gd name="connsiteX8" fmla="*/ 69963 w 113535"/>
                  <a:gd name="connsiteY8" fmla="*/ 12815 h 277454"/>
                  <a:gd name="connsiteX9" fmla="*/ 78934 w 113535"/>
                  <a:gd name="connsiteY9" fmla="*/ 15379 h 277454"/>
                  <a:gd name="connsiteX10" fmla="*/ 108409 w 113535"/>
                  <a:gd name="connsiteY10" fmla="*/ 52543 h 277454"/>
                  <a:gd name="connsiteX11" fmla="*/ 13574 w 113535"/>
                  <a:gd name="connsiteY11" fmla="*/ 258872 h 277454"/>
                  <a:gd name="connsiteX12" fmla="*/ 759 w 113535"/>
                  <a:gd name="connsiteY12" fmla="*/ 270406 h 277454"/>
                  <a:gd name="connsiteX13" fmla="*/ 2040 w 113535"/>
                  <a:gd name="connsiteY13" fmla="*/ 271688 h 27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535" h="277454">
                    <a:moveTo>
                      <a:pt x="2040" y="271688"/>
                    </a:moveTo>
                    <a:cubicBezTo>
                      <a:pt x="8448" y="279377"/>
                      <a:pt x="21264" y="279377"/>
                      <a:pt x="22545" y="271688"/>
                    </a:cubicBezTo>
                    <a:cubicBezTo>
                      <a:pt x="22545" y="269125"/>
                      <a:pt x="22545" y="265280"/>
                      <a:pt x="17419" y="261435"/>
                    </a:cubicBezTo>
                    <a:cubicBezTo>
                      <a:pt x="76371" y="147378"/>
                      <a:pt x="80215" y="140970"/>
                      <a:pt x="113536" y="53825"/>
                    </a:cubicBezTo>
                    <a:lnTo>
                      <a:pt x="113536" y="52543"/>
                    </a:lnTo>
                    <a:cubicBezTo>
                      <a:pt x="103283" y="39728"/>
                      <a:pt x="93031" y="26912"/>
                      <a:pt x="82778" y="14097"/>
                    </a:cubicBezTo>
                    <a:cubicBezTo>
                      <a:pt x="90468" y="7689"/>
                      <a:pt x="77652" y="0"/>
                      <a:pt x="72526" y="0"/>
                    </a:cubicBezTo>
                    <a:cubicBezTo>
                      <a:pt x="71244" y="0"/>
                      <a:pt x="69963" y="0"/>
                      <a:pt x="68681" y="0"/>
                    </a:cubicBezTo>
                    <a:cubicBezTo>
                      <a:pt x="62273" y="2563"/>
                      <a:pt x="63555" y="8971"/>
                      <a:pt x="69963" y="12815"/>
                    </a:cubicBezTo>
                    <a:cubicBezTo>
                      <a:pt x="73807" y="15379"/>
                      <a:pt x="77652" y="15379"/>
                      <a:pt x="78934" y="15379"/>
                    </a:cubicBezTo>
                    <a:cubicBezTo>
                      <a:pt x="89186" y="26912"/>
                      <a:pt x="98157" y="39728"/>
                      <a:pt x="108409" y="52543"/>
                    </a:cubicBezTo>
                    <a:cubicBezTo>
                      <a:pt x="68681" y="153785"/>
                      <a:pt x="67400" y="157630"/>
                      <a:pt x="13574" y="258872"/>
                    </a:cubicBezTo>
                    <a:cubicBezTo>
                      <a:pt x="2040" y="256309"/>
                      <a:pt x="-1804" y="263998"/>
                      <a:pt x="759" y="270406"/>
                    </a:cubicBezTo>
                    <a:cubicBezTo>
                      <a:pt x="759" y="270406"/>
                      <a:pt x="2040" y="270406"/>
                      <a:pt x="2040" y="2716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4" name="Freeform: Shape 379384">
                <a:extLst>
                  <a:ext uri="{FF2B5EF4-FFF2-40B4-BE49-F238E27FC236}">
                    <a16:creationId xmlns:a16="http://schemas.microsoft.com/office/drawing/2014/main" id="{87ECD4C8-29D3-4356-A111-D58CE3C4D89A}"/>
                  </a:ext>
                </a:extLst>
              </p:cNvPr>
              <p:cNvSpPr/>
              <p:nvPr/>
            </p:nvSpPr>
            <p:spPr>
              <a:xfrm>
                <a:off x="6308737" y="2236162"/>
                <a:ext cx="99960" cy="360434"/>
              </a:xfrm>
              <a:custGeom>
                <a:avLst/>
                <a:gdLst>
                  <a:gd name="connsiteX0" fmla="*/ 34602 w 99960"/>
                  <a:gd name="connsiteY0" fmla="*/ 353707 h 360434"/>
                  <a:gd name="connsiteX1" fmla="*/ 56388 w 99960"/>
                  <a:gd name="connsiteY1" fmla="*/ 353707 h 360434"/>
                  <a:gd name="connsiteX2" fmla="*/ 42291 w 99960"/>
                  <a:gd name="connsiteY2" fmla="*/ 339610 h 360434"/>
                  <a:gd name="connsiteX3" fmla="*/ 5126 w 99960"/>
                  <a:gd name="connsiteY3" fmla="*/ 266561 h 360434"/>
                  <a:gd name="connsiteX4" fmla="*/ 99961 w 99960"/>
                  <a:gd name="connsiteY4" fmla="*/ 53825 h 360434"/>
                  <a:gd name="connsiteX5" fmla="*/ 99961 w 99960"/>
                  <a:gd name="connsiteY5" fmla="*/ 52543 h 360434"/>
                  <a:gd name="connsiteX6" fmla="*/ 69204 w 99960"/>
                  <a:gd name="connsiteY6" fmla="*/ 14097 h 360434"/>
                  <a:gd name="connsiteX7" fmla="*/ 58951 w 99960"/>
                  <a:gd name="connsiteY7" fmla="*/ 0 h 360434"/>
                  <a:gd name="connsiteX8" fmla="*/ 55107 w 99960"/>
                  <a:gd name="connsiteY8" fmla="*/ 0 h 360434"/>
                  <a:gd name="connsiteX9" fmla="*/ 60233 w 99960"/>
                  <a:gd name="connsiteY9" fmla="*/ 14097 h 360434"/>
                  <a:gd name="connsiteX10" fmla="*/ 65359 w 99960"/>
                  <a:gd name="connsiteY10" fmla="*/ 15379 h 360434"/>
                  <a:gd name="connsiteX11" fmla="*/ 94835 w 99960"/>
                  <a:gd name="connsiteY11" fmla="*/ 52543 h 360434"/>
                  <a:gd name="connsiteX12" fmla="*/ 0 w 99960"/>
                  <a:gd name="connsiteY12" fmla="*/ 265280 h 360434"/>
                  <a:gd name="connsiteX13" fmla="*/ 0 w 99960"/>
                  <a:gd name="connsiteY13" fmla="*/ 266561 h 360434"/>
                  <a:gd name="connsiteX14" fmla="*/ 37165 w 99960"/>
                  <a:gd name="connsiteY14" fmla="*/ 342173 h 360434"/>
                  <a:gd name="connsiteX15" fmla="*/ 34602 w 99960"/>
                  <a:gd name="connsiteY15" fmla="*/ 353707 h 36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960" h="360434">
                    <a:moveTo>
                      <a:pt x="34602" y="353707"/>
                    </a:moveTo>
                    <a:cubicBezTo>
                      <a:pt x="41010" y="362677"/>
                      <a:pt x="53825" y="362677"/>
                      <a:pt x="56388" y="353707"/>
                    </a:cubicBezTo>
                    <a:cubicBezTo>
                      <a:pt x="57670" y="348580"/>
                      <a:pt x="53825" y="340891"/>
                      <a:pt x="42291" y="339610"/>
                    </a:cubicBezTo>
                    <a:cubicBezTo>
                      <a:pt x="30757" y="313979"/>
                      <a:pt x="17942" y="289629"/>
                      <a:pt x="5126" y="266561"/>
                    </a:cubicBezTo>
                    <a:cubicBezTo>
                      <a:pt x="64078" y="149941"/>
                      <a:pt x="66641" y="144815"/>
                      <a:pt x="99961" y="53825"/>
                    </a:cubicBezTo>
                    <a:lnTo>
                      <a:pt x="99961" y="52543"/>
                    </a:lnTo>
                    <a:cubicBezTo>
                      <a:pt x="89709" y="39728"/>
                      <a:pt x="79456" y="26912"/>
                      <a:pt x="69204" y="14097"/>
                    </a:cubicBezTo>
                    <a:cubicBezTo>
                      <a:pt x="76893" y="7689"/>
                      <a:pt x="64078" y="0"/>
                      <a:pt x="58951" y="0"/>
                    </a:cubicBezTo>
                    <a:cubicBezTo>
                      <a:pt x="57670" y="0"/>
                      <a:pt x="56388" y="0"/>
                      <a:pt x="55107" y="0"/>
                    </a:cubicBezTo>
                    <a:cubicBezTo>
                      <a:pt x="44854" y="3845"/>
                      <a:pt x="55107" y="12815"/>
                      <a:pt x="60233" y="14097"/>
                    </a:cubicBezTo>
                    <a:cubicBezTo>
                      <a:pt x="62796" y="15379"/>
                      <a:pt x="64078" y="15379"/>
                      <a:pt x="65359" y="15379"/>
                    </a:cubicBezTo>
                    <a:cubicBezTo>
                      <a:pt x="75611" y="26912"/>
                      <a:pt x="85864" y="39728"/>
                      <a:pt x="94835" y="52543"/>
                    </a:cubicBezTo>
                    <a:cubicBezTo>
                      <a:pt x="56388" y="156349"/>
                      <a:pt x="56388" y="157630"/>
                      <a:pt x="0" y="265280"/>
                    </a:cubicBezTo>
                    <a:lnTo>
                      <a:pt x="0" y="266561"/>
                    </a:lnTo>
                    <a:cubicBezTo>
                      <a:pt x="12815" y="290911"/>
                      <a:pt x="25631" y="316542"/>
                      <a:pt x="37165" y="342173"/>
                    </a:cubicBezTo>
                    <a:cubicBezTo>
                      <a:pt x="30757" y="344736"/>
                      <a:pt x="32039" y="349862"/>
                      <a:pt x="34602" y="35370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5" name="Freeform: Shape 379385">
                <a:extLst>
                  <a:ext uri="{FF2B5EF4-FFF2-40B4-BE49-F238E27FC236}">
                    <a16:creationId xmlns:a16="http://schemas.microsoft.com/office/drawing/2014/main" id="{4465D363-7909-4D8D-9EBB-98887FCCE5D8}"/>
                  </a:ext>
                </a:extLst>
              </p:cNvPr>
              <p:cNvSpPr/>
              <p:nvPr/>
            </p:nvSpPr>
            <p:spPr>
              <a:xfrm>
                <a:off x="6384171" y="2230894"/>
                <a:ext cx="20681" cy="15888"/>
              </a:xfrm>
              <a:custGeom>
                <a:avLst/>
                <a:gdLst>
                  <a:gd name="connsiteX0" fmla="*/ 2740 w 20681"/>
                  <a:gd name="connsiteY0" fmla="*/ 10394 h 15888"/>
                  <a:gd name="connsiteX1" fmla="*/ 20682 w 20681"/>
                  <a:gd name="connsiteY1" fmla="*/ 11676 h 15888"/>
                  <a:gd name="connsiteX2" fmla="*/ 4022 w 20681"/>
                  <a:gd name="connsiteY2" fmla="*/ 142 h 15888"/>
                  <a:gd name="connsiteX3" fmla="*/ 2740 w 20681"/>
                  <a:gd name="connsiteY3" fmla="*/ 10394 h 15888"/>
                </a:gdLst>
                <a:ahLst/>
                <a:cxnLst>
                  <a:cxn ang="0">
                    <a:pos x="connsiteX0" y="connsiteY0"/>
                  </a:cxn>
                  <a:cxn ang="0">
                    <a:pos x="connsiteX1" y="connsiteY1"/>
                  </a:cxn>
                  <a:cxn ang="0">
                    <a:pos x="connsiteX2" y="connsiteY2"/>
                  </a:cxn>
                  <a:cxn ang="0">
                    <a:pos x="connsiteX3" y="connsiteY3"/>
                  </a:cxn>
                </a:cxnLst>
                <a:rect l="l" t="t" r="r" b="b"/>
                <a:pathLst>
                  <a:path w="20681" h="15888">
                    <a:moveTo>
                      <a:pt x="2740" y="10394"/>
                    </a:moveTo>
                    <a:cubicBezTo>
                      <a:pt x="9148" y="16802"/>
                      <a:pt x="20682" y="18083"/>
                      <a:pt x="20682" y="11676"/>
                    </a:cubicBezTo>
                    <a:cubicBezTo>
                      <a:pt x="20682" y="6550"/>
                      <a:pt x="11711" y="-1140"/>
                      <a:pt x="4022" y="142"/>
                    </a:cubicBezTo>
                    <a:cubicBezTo>
                      <a:pt x="-2386" y="1423"/>
                      <a:pt x="177" y="6550"/>
                      <a:pt x="2740" y="1039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6" name="Freeform: Shape 379386">
                <a:extLst>
                  <a:ext uri="{FF2B5EF4-FFF2-40B4-BE49-F238E27FC236}">
                    <a16:creationId xmlns:a16="http://schemas.microsoft.com/office/drawing/2014/main" id="{92CB73D7-9792-41F2-A3FB-1BFC7580B41C}"/>
                  </a:ext>
                </a:extLst>
              </p:cNvPr>
              <p:cNvSpPr/>
              <p:nvPr/>
            </p:nvSpPr>
            <p:spPr>
              <a:xfrm>
                <a:off x="6409583" y="2225910"/>
                <a:ext cx="20901" cy="15746"/>
              </a:xfrm>
              <a:custGeom>
                <a:avLst/>
                <a:gdLst>
                  <a:gd name="connsiteX0" fmla="*/ 2960 w 20901"/>
                  <a:gd name="connsiteY0" fmla="*/ 10252 h 15746"/>
                  <a:gd name="connsiteX1" fmla="*/ 20901 w 20901"/>
                  <a:gd name="connsiteY1" fmla="*/ 11534 h 15746"/>
                  <a:gd name="connsiteX2" fmla="*/ 2960 w 20901"/>
                  <a:gd name="connsiteY2" fmla="*/ 0 h 15746"/>
                  <a:gd name="connsiteX3" fmla="*/ 2960 w 20901"/>
                  <a:gd name="connsiteY3" fmla="*/ 10252 h 15746"/>
                </a:gdLst>
                <a:ahLst/>
                <a:cxnLst>
                  <a:cxn ang="0">
                    <a:pos x="connsiteX0" y="connsiteY0"/>
                  </a:cxn>
                  <a:cxn ang="0">
                    <a:pos x="connsiteX1" y="connsiteY1"/>
                  </a:cxn>
                  <a:cxn ang="0">
                    <a:pos x="connsiteX2" y="connsiteY2"/>
                  </a:cxn>
                  <a:cxn ang="0">
                    <a:pos x="connsiteX3" y="connsiteY3"/>
                  </a:cxn>
                </a:cxnLst>
                <a:rect l="l" t="t" r="r" b="b"/>
                <a:pathLst>
                  <a:path w="20901" h="15746">
                    <a:moveTo>
                      <a:pt x="2960" y="10252"/>
                    </a:moveTo>
                    <a:cubicBezTo>
                      <a:pt x="9367" y="16660"/>
                      <a:pt x="20901" y="17942"/>
                      <a:pt x="20901" y="11534"/>
                    </a:cubicBezTo>
                    <a:cubicBezTo>
                      <a:pt x="20901" y="6408"/>
                      <a:pt x="11930" y="0"/>
                      <a:pt x="2960" y="0"/>
                    </a:cubicBezTo>
                    <a:cubicBezTo>
                      <a:pt x="-2167" y="2563"/>
                      <a:pt x="397" y="7689"/>
                      <a:pt x="2960"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7" name="Freeform: Shape 379387">
                <a:extLst>
                  <a:ext uri="{FF2B5EF4-FFF2-40B4-BE49-F238E27FC236}">
                    <a16:creationId xmlns:a16="http://schemas.microsoft.com/office/drawing/2014/main" id="{46DCBA87-1948-4214-9707-5A2C7BFFCDC6}"/>
                  </a:ext>
                </a:extLst>
              </p:cNvPr>
              <p:cNvSpPr/>
              <p:nvPr/>
            </p:nvSpPr>
            <p:spPr>
              <a:xfrm>
                <a:off x="6434792" y="2222065"/>
                <a:ext cx="21322" cy="15746"/>
              </a:xfrm>
              <a:custGeom>
                <a:avLst/>
                <a:gdLst>
                  <a:gd name="connsiteX0" fmla="*/ 3381 w 21322"/>
                  <a:gd name="connsiteY0" fmla="*/ 10252 h 15746"/>
                  <a:gd name="connsiteX1" fmla="*/ 21323 w 21322"/>
                  <a:gd name="connsiteY1" fmla="*/ 11534 h 15746"/>
                  <a:gd name="connsiteX2" fmla="*/ 3381 w 21322"/>
                  <a:gd name="connsiteY2" fmla="*/ 0 h 15746"/>
                  <a:gd name="connsiteX3" fmla="*/ 3381 w 21322"/>
                  <a:gd name="connsiteY3" fmla="*/ 10252 h 15746"/>
                </a:gdLst>
                <a:ahLst/>
                <a:cxnLst>
                  <a:cxn ang="0">
                    <a:pos x="connsiteX0" y="connsiteY0"/>
                  </a:cxn>
                  <a:cxn ang="0">
                    <a:pos x="connsiteX1" y="connsiteY1"/>
                  </a:cxn>
                  <a:cxn ang="0">
                    <a:pos x="connsiteX2" y="connsiteY2"/>
                  </a:cxn>
                  <a:cxn ang="0">
                    <a:pos x="connsiteX3" y="connsiteY3"/>
                  </a:cxn>
                </a:cxnLst>
                <a:rect l="l" t="t" r="r" b="b"/>
                <a:pathLst>
                  <a:path w="21322" h="15746">
                    <a:moveTo>
                      <a:pt x="3381" y="10252"/>
                    </a:moveTo>
                    <a:cubicBezTo>
                      <a:pt x="9789" y="16660"/>
                      <a:pt x="21323" y="17942"/>
                      <a:pt x="21323" y="11534"/>
                    </a:cubicBezTo>
                    <a:cubicBezTo>
                      <a:pt x="21323" y="6408"/>
                      <a:pt x="11070" y="0"/>
                      <a:pt x="3381" y="0"/>
                    </a:cubicBezTo>
                    <a:cubicBezTo>
                      <a:pt x="-1745" y="2563"/>
                      <a:pt x="-464" y="7689"/>
                      <a:pt x="3381"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8" name="Freeform: Shape 379388">
                <a:extLst>
                  <a:ext uri="{FF2B5EF4-FFF2-40B4-BE49-F238E27FC236}">
                    <a16:creationId xmlns:a16="http://schemas.microsoft.com/office/drawing/2014/main" id="{90DFAC05-9E56-4196-BB30-BEF45ED7CA9F}"/>
                  </a:ext>
                </a:extLst>
              </p:cNvPr>
              <p:cNvSpPr/>
              <p:nvPr/>
            </p:nvSpPr>
            <p:spPr>
              <a:xfrm>
                <a:off x="6593241" y="2090066"/>
                <a:ext cx="149164" cy="110212"/>
              </a:xfrm>
              <a:custGeom>
                <a:avLst/>
                <a:gdLst>
                  <a:gd name="connsiteX0" fmla="*/ 6408 w 149164"/>
                  <a:gd name="connsiteY0" fmla="*/ 7689 h 110212"/>
                  <a:gd name="connsiteX1" fmla="*/ 17942 w 149164"/>
                  <a:gd name="connsiteY1" fmla="*/ 11534 h 110212"/>
                  <a:gd name="connsiteX2" fmla="*/ 129436 w 149164"/>
                  <a:gd name="connsiteY2" fmla="*/ 96116 h 110212"/>
                  <a:gd name="connsiteX3" fmla="*/ 146097 w 149164"/>
                  <a:gd name="connsiteY3" fmla="*/ 110213 h 110212"/>
                  <a:gd name="connsiteX4" fmla="*/ 147378 w 149164"/>
                  <a:gd name="connsiteY4" fmla="*/ 105087 h 110212"/>
                  <a:gd name="connsiteX5" fmla="*/ 130718 w 149164"/>
                  <a:gd name="connsiteY5" fmla="*/ 96116 h 110212"/>
                  <a:gd name="connsiteX6" fmla="*/ 20505 w 149164"/>
                  <a:gd name="connsiteY6" fmla="*/ 11534 h 110212"/>
                  <a:gd name="connsiteX7" fmla="*/ 1281 w 149164"/>
                  <a:gd name="connsiteY7" fmla="*/ 0 h 110212"/>
                  <a:gd name="connsiteX8" fmla="*/ 0 w 149164"/>
                  <a:gd name="connsiteY8" fmla="*/ 1282 h 110212"/>
                  <a:gd name="connsiteX9" fmla="*/ 6408 w 149164"/>
                  <a:gd name="connsiteY9" fmla="*/ 7689 h 11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164" h="110212">
                    <a:moveTo>
                      <a:pt x="6408" y="7689"/>
                    </a:moveTo>
                    <a:cubicBezTo>
                      <a:pt x="8971" y="8971"/>
                      <a:pt x="14097" y="11534"/>
                      <a:pt x="17942" y="11534"/>
                    </a:cubicBezTo>
                    <a:cubicBezTo>
                      <a:pt x="56388" y="37165"/>
                      <a:pt x="92271" y="65359"/>
                      <a:pt x="129436" y="96116"/>
                    </a:cubicBezTo>
                    <a:cubicBezTo>
                      <a:pt x="125592" y="99961"/>
                      <a:pt x="139689" y="110213"/>
                      <a:pt x="146097" y="110213"/>
                    </a:cubicBezTo>
                    <a:cubicBezTo>
                      <a:pt x="149941" y="110213"/>
                      <a:pt x="149941" y="108931"/>
                      <a:pt x="147378" y="105087"/>
                    </a:cubicBezTo>
                    <a:cubicBezTo>
                      <a:pt x="146097" y="103805"/>
                      <a:pt x="139689" y="97397"/>
                      <a:pt x="130718" y="96116"/>
                    </a:cubicBezTo>
                    <a:cubicBezTo>
                      <a:pt x="96116" y="65359"/>
                      <a:pt x="58951" y="37165"/>
                      <a:pt x="20505" y="11534"/>
                    </a:cubicBezTo>
                    <a:cubicBezTo>
                      <a:pt x="23068" y="7689"/>
                      <a:pt x="7689" y="0"/>
                      <a:pt x="1281" y="0"/>
                    </a:cubicBezTo>
                    <a:cubicBezTo>
                      <a:pt x="1281" y="0"/>
                      <a:pt x="0" y="0"/>
                      <a:pt x="0" y="1282"/>
                    </a:cubicBezTo>
                    <a:cubicBezTo>
                      <a:pt x="0" y="1282"/>
                      <a:pt x="0" y="3845"/>
                      <a:pt x="6408"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69" name="Freeform: Shape 379389">
                <a:extLst>
                  <a:ext uri="{FF2B5EF4-FFF2-40B4-BE49-F238E27FC236}">
                    <a16:creationId xmlns:a16="http://schemas.microsoft.com/office/drawing/2014/main" id="{F2B43EE5-7353-4085-8A34-D2232F2DB1EC}"/>
                  </a:ext>
                </a:extLst>
              </p:cNvPr>
              <p:cNvSpPr/>
              <p:nvPr/>
            </p:nvSpPr>
            <p:spPr>
              <a:xfrm>
                <a:off x="4210839" y="2835925"/>
                <a:ext cx="121747" cy="315260"/>
              </a:xfrm>
              <a:custGeom>
                <a:avLst/>
                <a:gdLst>
                  <a:gd name="connsiteX0" fmla="*/ 112776 w 121747"/>
                  <a:gd name="connsiteY0" fmla="*/ 14097 h 315260"/>
                  <a:gd name="connsiteX1" fmla="*/ 108932 w 121747"/>
                  <a:gd name="connsiteY1" fmla="*/ 21786 h 315260"/>
                  <a:gd name="connsiteX2" fmla="*/ 14097 w 121747"/>
                  <a:gd name="connsiteY2" fmla="*/ 247338 h 315260"/>
                  <a:gd name="connsiteX3" fmla="*/ 0 w 121747"/>
                  <a:gd name="connsiteY3" fmla="*/ 315260 h 315260"/>
                  <a:gd name="connsiteX4" fmla="*/ 7689 w 121747"/>
                  <a:gd name="connsiteY4" fmla="*/ 292192 h 315260"/>
                  <a:gd name="connsiteX5" fmla="*/ 5126 w 121747"/>
                  <a:gd name="connsiteY5" fmla="*/ 296037 h 315260"/>
                  <a:gd name="connsiteX6" fmla="*/ 15378 w 121747"/>
                  <a:gd name="connsiteY6" fmla="*/ 244775 h 315260"/>
                  <a:gd name="connsiteX7" fmla="*/ 110213 w 121747"/>
                  <a:gd name="connsiteY7" fmla="*/ 21786 h 315260"/>
                  <a:gd name="connsiteX8" fmla="*/ 121747 w 121747"/>
                  <a:gd name="connsiteY8" fmla="*/ 0 h 315260"/>
                  <a:gd name="connsiteX9" fmla="*/ 112776 w 121747"/>
                  <a:gd name="connsiteY9" fmla="*/ 14097 h 315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47" h="315260">
                    <a:moveTo>
                      <a:pt x="112776" y="14097"/>
                    </a:moveTo>
                    <a:cubicBezTo>
                      <a:pt x="110213" y="19223"/>
                      <a:pt x="108932" y="20505"/>
                      <a:pt x="108932" y="21786"/>
                    </a:cubicBezTo>
                    <a:cubicBezTo>
                      <a:pt x="71767" y="94834"/>
                      <a:pt x="39728" y="170446"/>
                      <a:pt x="14097" y="247338"/>
                    </a:cubicBezTo>
                    <a:cubicBezTo>
                      <a:pt x="8971" y="270406"/>
                      <a:pt x="1281" y="292192"/>
                      <a:pt x="0" y="315260"/>
                    </a:cubicBezTo>
                    <a:cubicBezTo>
                      <a:pt x="3844" y="311416"/>
                      <a:pt x="7689" y="293474"/>
                      <a:pt x="7689" y="292192"/>
                    </a:cubicBezTo>
                    <a:cubicBezTo>
                      <a:pt x="6408" y="293474"/>
                      <a:pt x="6408" y="293474"/>
                      <a:pt x="5126" y="296037"/>
                    </a:cubicBezTo>
                    <a:lnTo>
                      <a:pt x="15378" y="244775"/>
                    </a:lnTo>
                    <a:cubicBezTo>
                      <a:pt x="42291" y="167883"/>
                      <a:pt x="73048" y="93553"/>
                      <a:pt x="110213" y="21786"/>
                    </a:cubicBezTo>
                    <a:cubicBezTo>
                      <a:pt x="114058" y="15379"/>
                      <a:pt x="121747" y="1282"/>
                      <a:pt x="121747" y="0"/>
                    </a:cubicBezTo>
                    <a:cubicBezTo>
                      <a:pt x="117902" y="2563"/>
                      <a:pt x="114058" y="10252"/>
                      <a:pt x="11277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0" name="Freeform: Shape 379390">
                <a:extLst>
                  <a:ext uri="{FF2B5EF4-FFF2-40B4-BE49-F238E27FC236}">
                    <a16:creationId xmlns:a16="http://schemas.microsoft.com/office/drawing/2014/main" id="{E56483EB-80E2-44E8-A911-2106A88101DD}"/>
                  </a:ext>
                </a:extLst>
              </p:cNvPr>
              <p:cNvSpPr/>
              <p:nvPr/>
            </p:nvSpPr>
            <p:spPr>
              <a:xfrm>
                <a:off x="4408050" y="2757751"/>
                <a:ext cx="61420" cy="175571"/>
              </a:xfrm>
              <a:custGeom>
                <a:avLst/>
                <a:gdLst>
                  <a:gd name="connsiteX0" fmla="*/ 48847 w 61420"/>
                  <a:gd name="connsiteY0" fmla="*/ 14097 h 175571"/>
                  <a:gd name="connsiteX1" fmla="*/ 48847 w 61420"/>
                  <a:gd name="connsiteY1" fmla="*/ 21786 h 175571"/>
                  <a:gd name="connsiteX2" fmla="*/ 148 w 61420"/>
                  <a:gd name="connsiteY2" fmla="*/ 140970 h 175571"/>
                  <a:gd name="connsiteX3" fmla="*/ 2711 w 61420"/>
                  <a:gd name="connsiteY3" fmla="*/ 162756 h 175571"/>
                  <a:gd name="connsiteX4" fmla="*/ 1430 w 61420"/>
                  <a:gd name="connsiteY4" fmla="*/ 175572 h 175571"/>
                  <a:gd name="connsiteX5" fmla="*/ 12964 w 61420"/>
                  <a:gd name="connsiteY5" fmla="*/ 152504 h 175571"/>
                  <a:gd name="connsiteX6" fmla="*/ 6556 w 61420"/>
                  <a:gd name="connsiteY6" fmla="*/ 156349 h 175571"/>
                  <a:gd name="connsiteX7" fmla="*/ 3993 w 61420"/>
                  <a:gd name="connsiteY7" fmla="*/ 137125 h 175571"/>
                  <a:gd name="connsiteX8" fmla="*/ 51410 w 61420"/>
                  <a:gd name="connsiteY8" fmla="*/ 20505 h 175571"/>
                  <a:gd name="connsiteX9" fmla="*/ 60381 w 61420"/>
                  <a:gd name="connsiteY9" fmla="*/ 0 h 175571"/>
                  <a:gd name="connsiteX10" fmla="*/ 59100 w 61420"/>
                  <a:gd name="connsiteY10" fmla="*/ 0 h 175571"/>
                  <a:gd name="connsiteX11" fmla="*/ 48847 w 61420"/>
                  <a:gd name="connsiteY11" fmla="*/ 14097 h 175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420" h="175571">
                    <a:moveTo>
                      <a:pt x="48847" y="14097"/>
                    </a:moveTo>
                    <a:cubicBezTo>
                      <a:pt x="46284" y="19223"/>
                      <a:pt x="47566" y="20505"/>
                      <a:pt x="48847" y="21786"/>
                    </a:cubicBezTo>
                    <a:cubicBezTo>
                      <a:pt x="30905" y="60233"/>
                      <a:pt x="15527" y="99961"/>
                      <a:pt x="148" y="140970"/>
                    </a:cubicBezTo>
                    <a:cubicBezTo>
                      <a:pt x="1430" y="147378"/>
                      <a:pt x="5275" y="156349"/>
                      <a:pt x="2711" y="162756"/>
                    </a:cubicBezTo>
                    <a:cubicBezTo>
                      <a:pt x="2711" y="162756"/>
                      <a:pt x="-2415" y="171727"/>
                      <a:pt x="1430" y="175572"/>
                    </a:cubicBezTo>
                    <a:cubicBezTo>
                      <a:pt x="9119" y="175572"/>
                      <a:pt x="15527" y="156349"/>
                      <a:pt x="12964" y="152504"/>
                    </a:cubicBezTo>
                    <a:cubicBezTo>
                      <a:pt x="10401" y="152504"/>
                      <a:pt x="10401" y="152504"/>
                      <a:pt x="6556" y="156349"/>
                    </a:cubicBezTo>
                    <a:lnTo>
                      <a:pt x="3993" y="137125"/>
                    </a:lnTo>
                    <a:cubicBezTo>
                      <a:pt x="18090" y="97397"/>
                      <a:pt x="34750" y="58951"/>
                      <a:pt x="51410" y="20505"/>
                    </a:cubicBezTo>
                    <a:cubicBezTo>
                      <a:pt x="56537" y="16660"/>
                      <a:pt x="64226" y="2563"/>
                      <a:pt x="60381" y="0"/>
                    </a:cubicBezTo>
                    <a:cubicBezTo>
                      <a:pt x="60381" y="0"/>
                      <a:pt x="60381" y="0"/>
                      <a:pt x="59100" y="0"/>
                    </a:cubicBezTo>
                    <a:cubicBezTo>
                      <a:pt x="53973" y="2563"/>
                      <a:pt x="50129" y="11534"/>
                      <a:pt x="4884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1" name="Freeform: Shape 379391">
                <a:extLst>
                  <a:ext uri="{FF2B5EF4-FFF2-40B4-BE49-F238E27FC236}">
                    <a16:creationId xmlns:a16="http://schemas.microsoft.com/office/drawing/2014/main" id="{581CD164-40DB-4AFF-9FDA-7A2A99B54247}"/>
                  </a:ext>
                </a:extLst>
              </p:cNvPr>
              <p:cNvSpPr/>
              <p:nvPr/>
            </p:nvSpPr>
            <p:spPr>
              <a:xfrm>
                <a:off x="4485065" y="2712897"/>
                <a:ext cx="28245" cy="52543"/>
              </a:xfrm>
              <a:custGeom>
                <a:avLst/>
                <a:gdLst>
                  <a:gd name="connsiteX0" fmla="*/ 15404 w 28245"/>
                  <a:gd name="connsiteY0" fmla="*/ 15379 h 52543"/>
                  <a:gd name="connsiteX1" fmla="*/ 15404 w 28245"/>
                  <a:gd name="connsiteY1" fmla="*/ 21786 h 52543"/>
                  <a:gd name="connsiteX2" fmla="*/ 10278 w 28245"/>
                  <a:gd name="connsiteY2" fmla="*/ 32039 h 52543"/>
                  <a:gd name="connsiteX3" fmla="*/ 1307 w 28245"/>
                  <a:gd name="connsiteY3" fmla="*/ 52543 h 52543"/>
                  <a:gd name="connsiteX4" fmla="*/ 12841 w 28245"/>
                  <a:gd name="connsiteY4" fmla="*/ 30757 h 52543"/>
                  <a:gd name="connsiteX5" fmla="*/ 12841 w 28245"/>
                  <a:gd name="connsiteY5" fmla="*/ 30757 h 52543"/>
                  <a:gd name="connsiteX6" fmla="*/ 17968 w 28245"/>
                  <a:gd name="connsiteY6" fmla="*/ 20505 h 52543"/>
                  <a:gd name="connsiteX7" fmla="*/ 26938 w 28245"/>
                  <a:gd name="connsiteY7" fmla="*/ 0 h 52543"/>
                  <a:gd name="connsiteX8" fmla="*/ 25657 w 28245"/>
                  <a:gd name="connsiteY8" fmla="*/ 0 h 52543"/>
                  <a:gd name="connsiteX9" fmla="*/ 15404 w 28245"/>
                  <a:gd name="connsiteY9" fmla="*/ 15379 h 5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245" h="52543">
                    <a:moveTo>
                      <a:pt x="15404" y="15379"/>
                    </a:moveTo>
                    <a:cubicBezTo>
                      <a:pt x="14123" y="17942"/>
                      <a:pt x="12841" y="21786"/>
                      <a:pt x="15404" y="21786"/>
                    </a:cubicBezTo>
                    <a:cubicBezTo>
                      <a:pt x="12841" y="25631"/>
                      <a:pt x="11560" y="29475"/>
                      <a:pt x="10278" y="32039"/>
                    </a:cubicBezTo>
                    <a:cubicBezTo>
                      <a:pt x="2589" y="38446"/>
                      <a:pt x="-2537" y="52543"/>
                      <a:pt x="1307" y="52543"/>
                    </a:cubicBezTo>
                    <a:cubicBezTo>
                      <a:pt x="6434" y="52543"/>
                      <a:pt x="16686" y="33320"/>
                      <a:pt x="12841" y="30757"/>
                    </a:cubicBezTo>
                    <a:cubicBezTo>
                      <a:pt x="12841" y="30757"/>
                      <a:pt x="12841" y="30757"/>
                      <a:pt x="12841" y="30757"/>
                    </a:cubicBezTo>
                    <a:cubicBezTo>
                      <a:pt x="14123" y="26912"/>
                      <a:pt x="15404" y="24349"/>
                      <a:pt x="17968" y="20505"/>
                    </a:cubicBezTo>
                    <a:cubicBezTo>
                      <a:pt x="25657" y="14097"/>
                      <a:pt x="30783" y="0"/>
                      <a:pt x="26938" y="0"/>
                    </a:cubicBezTo>
                    <a:cubicBezTo>
                      <a:pt x="26938" y="0"/>
                      <a:pt x="26938" y="0"/>
                      <a:pt x="25657" y="0"/>
                    </a:cubicBezTo>
                    <a:cubicBezTo>
                      <a:pt x="20531" y="3845"/>
                      <a:pt x="16686" y="12815"/>
                      <a:pt x="15404"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2" name="Freeform: Shape 379392">
                <a:extLst>
                  <a:ext uri="{FF2B5EF4-FFF2-40B4-BE49-F238E27FC236}">
                    <a16:creationId xmlns:a16="http://schemas.microsoft.com/office/drawing/2014/main" id="{8B5BA276-F7D8-46AE-AB54-4AF71C1FEAF1}"/>
                  </a:ext>
                </a:extLst>
              </p:cNvPr>
              <p:cNvSpPr/>
              <p:nvPr/>
            </p:nvSpPr>
            <p:spPr>
              <a:xfrm>
                <a:off x="4643800" y="2656509"/>
                <a:ext cx="26036" cy="48964"/>
              </a:xfrm>
              <a:custGeom>
                <a:avLst/>
                <a:gdLst>
                  <a:gd name="connsiteX0" fmla="*/ 13019 w 26036"/>
                  <a:gd name="connsiteY0" fmla="*/ 12816 h 48964"/>
                  <a:gd name="connsiteX1" fmla="*/ 14300 w 26036"/>
                  <a:gd name="connsiteY1" fmla="*/ 19223 h 48964"/>
                  <a:gd name="connsiteX2" fmla="*/ 10455 w 26036"/>
                  <a:gd name="connsiteY2" fmla="*/ 28194 h 48964"/>
                  <a:gd name="connsiteX3" fmla="*/ 1485 w 26036"/>
                  <a:gd name="connsiteY3" fmla="*/ 48699 h 48964"/>
                  <a:gd name="connsiteX4" fmla="*/ 14300 w 26036"/>
                  <a:gd name="connsiteY4" fmla="*/ 29476 h 48964"/>
                  <a:gd name="connsiteX5" fmla="*/ 11737 w 26036"/>
                  <a:gd name="connsiteY5" fmla="*/ 28194 h 48964"/>
                  <a:gd name="connsiteX6" fmla="*/ 15582 w 26036"/>
                  <a:gd name="connsiteY6" fmla="*/ 19223 h 48964"/>
                  <a:gd name="connsiteX7" fmla="*/ 24553 w 26036"/>
                  <a:gd name="connsiteY7" fmla="*/ 0 h 48964"/>
                  <a:gd name="connsiteX8" fmla="*/ 21989 w 26036"/>
                  <a:gd name="connsiteY8" fmla="*/ 0 h 48964"/>
                  <a:gd name="connsiteX9" fmla="*/ 13019 w 26036"/>
                  <a:gd name="connsiteY9" fmla="*/ 12816 h 4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36" h="48964">
                    <a:moveTo>
                      <a:pt x="13019" y="12816"/>
                    </a:moveTo>
                    <a:cubicBezTo>
                      <a:pt x="11737" y="15379"/>
                      <a:pt x="11737" y="19223"/>
                      <a:pt x="14300" y="19223"/>
                    </a:cubicBezTo>
                    <a:cubicBezTo>
                      <a:pt x="13019" y="21786"/>
                      <a:pt x="11737" y="25631"/>
                      <a:pt x="10455" y="28194"/>
                    </a:cubicBezTo>
                    <a:cubicBezTo>
                      <a:pt x="1485" y="34602"/>
                      <a:pt x="-2360" y="46136"/>
                      <a:pt x="1485" y="48699"/>
                    </a:cubicBezTo>
                    <a:cubicBezTo>
                      <a:pt x="6611" y="51262"/>
                      <a:pt x="18145" y="34602"/>
                      <a:pt x="14300" y="29476"/>
                    </a:cubicBezTo>
                    <a:cubicBezTo>
                      <a:pt x="14300" y="28194"/>
                      <a:pt x="13019" y="28194"/>
                      <a:pt x="11737" y="28194"/>
                    </a:cubicBezTo>
                    <a:cubicBezTo>
                      <a:pt x="13019" y="25631"/>
                      <a:pt x="14300" y="21786"/>
                      <a:pt x="15582" y="19223"/>
                    </a:cubicBezTo>
                    <a:cubicBezTo>
                      <a:pt x="24553" y="12816"/>
                      <a:pt x="28397" y="1282"/>
                      <a:pt x="24553" y="0"/>
                    </a:cubicBezTo>
                    <a:cubicBezTo>
                      <a:pt x="24553" y="0"/>
                      <a:pt x="23271" y="0"/>
                      <a:pt x="21989" y="0"/>
                    </a:cubicBezTo>
                    <a:cubicBezTo>
                      <a:pt x="18145" y="1282"/>
                      <a:pt x="14300" y="8971"/>
                      <a:pt x="13019"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3" name="Freeform: Shape 379393">
                <a:extLst>
                  <a:ext uri="{FF2B5EF4-FFF2-40B4-BE49-F238E27FC236}">
                    <a16:creationId xmlns:a16="http://schemas.microsoft.com/office/drawing/2014/main" id="{C0C9B8D5-096B-4A7E-AA28-B0305C78F5A1}"/>
                  </a:ext>
                </a:extLst>
              </p:cNvPr>
              <p:cNvSpPr/>
              <p:nvPr/>
            </p:nvSpPr>
            <p:spPr>
              <a:xfrm>
                <a:off x="4730822" y="2655227"/>
                <a:ext cx="16487" cy="20205"/>
              </a:xfrm>
              <a:custGeom>
                <a:avLst/>
                <a:gdLst>
                  <a:gd name="connsiteX0" fmla="*/ 326 w 16487"/>
                  <a:gd name="connsiteY0" fmla="*/ 12816 h 20205"/>
                  <a:gd name="connsiteX1" fmla="*/ 6735 w 16487"/>
                  <a:gd name="connsiteY1" fmla="*/ 19223 h 20205"/>
                  <a:gd name="connsiteX2" fmla="*/ 14424 w 16487"/>
                  <a:gd name="connsiteY2" fmla="*/ 0 h 20205"/>
                  <a:gd name="connsiteX3" fmla="*/ 11860 w 16487"/>
                  <a:gd name="connsiteY3" fmla="*/ 0 h 20205"/>
                  <a:gd name="connsiteX4" fmla="*/ 326 w 16487"/>
                  <a:gd name="connsiteY4" fmla="*/ 12816 h 20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 h="20205">
                    <a:moveTo>
                      <a:pt x="326" y="12816"/>
                    </a:moveTo>
                    <a:cubicBezTo>
                      <a:pt x="-955" y="19223"/>
                      <a:pt x="1608" y="21786"/>
                      <a:pt x="6735" y="19223"/>
                    </a:cubicBezTo>
                    <a:cubicBezTo>
                      <a:pt x="14424" y="15379"/>
                      <a:pt x="19550" y="1282"/>
                      <a:pt x="14424" y="0"/>
                    </a:cubicBezTo>
                    <a:cubicBezTo>
                      <a:pt x="13142" y="0"/>
                      <a:pt x="13142" y="0"/>
                      <a:pt x="11860" y="0"/>
                    </a:cubicBezTo>
                    <a:cubicBezTo>
                      <a:pt x="5453" y="1282"/>
                      <a:pt x="1608" y="8971"/>
                      <a:pt x="326"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4" name="Freeform: Shape 379394">
                <a:extLst>
                  <a:ext uri="{FF2B5EF4-FFF2-40B4-BE49-F238E27FC236}">
                    <a16:creationId xmlns:a16="http://schemas.microsoft.com/office/drawing/2014/main" id="{9A5E083D-AE23-48CC-B3AA-B60DCDDEB39B}"/>
                  </a:ext>
                </a:extLst>
              </p:cNvPr>
              <p:cNvSpPr/>
              <p:nvPr/>
            </p:nvSpPr>
            <p:spPr>
              <a:xfrm>
                <a:off x="4825618" y="2596276"/>
                <a:ext cx="25080" cy="48788"/>
              </a:xfrm>
              <a:custGeom>
                <a:avLst/>
                <a:gdLst>
                  <a:gd name="connsiteX0" fmla="*/ 8055 w 25080"/>
                  <a:gd name="connsiteY0" fmla="*/ 14097 h 48788"/>
                  <a:gd name="connsiteX1" fmla="*/ 11900 w 25080"/>
                  <a:gd name="connsiteY1" fmla="*/ 20505 h 48788"/>
                  <a:gd name="connsiteX2" fmla="*/ 9336 w 25080"/>
                  <a:gd name="connsiteY2" fmla="*/ 29476 h 48788"/>
                  <a:gd name="connsiteX3" fmla="*/ 2929 w 25080"/>
                  <a:gd name="connsiteY3" fmla="*/ 48699 h 48788"/>
                  <a:gd name="connsiteX4" fmla="*/ 17026 w 25080"/>
                  <a:gd name="connsiteY4" fmla="*/ 30757 h 48788"/>
                  <a:gd name="connsiteX5" fmla="*/ 13181 w 25080"/>
                  <a:gd name="connsiteY5" fmla="*/ 28194 h 48788"/>
                  <a:gd name="connsiteX6" fmla="*/ 15744 w 25080"/>
                  <a:gd name="connsiteY6" fmla="*/ 19223 h 48788"/>
                  <a:gd name="connsiteX7" fmla="*/ 22152 w 25080"/>
                  <a:gd name="connsiteY7" fmla="*/ 0 h 48788"/>
                  <a:gd name="connsiteX8" fmla="*/ 19589 w 25080"/>
                  <a:gd name="connsiteY8" fmla="*/ 0 h 48788"/>
                  <a:gd name="connsiteX9" fmla="*/ 8055 w 25080"/>
                  <a:gd name="connsiteY9" fmla="*/ 14097 h 4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80" h="48788">
                    <a:moveTo>
                      <a:pt x="8055" y="14097"/>
                    </a:moveTo>
                    <a:cubicBezTo>
                      <a:pt x="8055" y="16660"/>
                      <a:pt x="8055" y="19223"/>
                      <a:pt x="11900" y="20505"/>
                    </a:cubicBezTo>
                    <a:cubicBezTo>
                      <a:pt x="10618" y="23068"/>
                      <a:pt x="10618" y="26912"/>
                      <a:pt x="9336" y="29476"/>
                    </a:cubicBezTo>
                    <a:cubicBezTo>
                      <a:pt x="-916" y="35883"/>
                      <a:pt x="-2198" y="47417"/>
                      <a:pt x="2929" y="48699"/>
                    </a:cubicBezTo>
                    <a:cubicBezTo>
                      <a:pt x="9336" y="49980"/>
                      <a:pt x="19589" y="37165"/>
                      <a:pt x="17026" y="30757"/>
                    </a:cubicBezTo>
                    <a:cubicBezTo>
                      <a:pt x="15744" y="29476"/>
                      <a:pt x="14463" y="29476"/>
                      <a:pt x="13181" y="28194"/>
                    </a:cubicBezTo>
                    <a:cubicBezTo>
                      <a:pt x="14463" y="25631"/>
                      <a:pt x="14463" y="21786"/>
                      <a:pt x="15744" y="19223"/>
                    </a:cubicBezTo>
                    <a:cubicBezTo>
                      <a:pt x="25997" y="12815"/>
                      <a:pt x="27278" y="1282"/>
                      <a:pt x="22152" y="0"/>
                    </a:cubicBezTo>
                    <a:cubicBezTo>
                      <a:pt x="20870" y="0"/>
                      <a:pt x="19589" y="0"/>
                      <a:pt x="19589" y="0"/>
                    </a:cubicBezTo>
                    <a:cubicBezTo>
                      <a:pt x="10618" y="2563"/>
                      <a:pt x="8055" y="11534"/>
                      <a:pt x="8055"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5" name="Freeform: Shape 379395">
                <a:extLst>
                  <a:ext uri="{FF2B5EF4-FFF2-40B4-BE49-F238E27FC236}">
                    <a16:creationId xmlns:a16="http://schemas.microsoft.com/office/drawing/2014/main" id="{E03ED131-F285-46D4-B4F3-78B010713FDD}"/>
                  </a:ext>
                </a:extLst>
              </p:cNvPr>
              <p:cNvSpPr/>
              <p:nvPr/>
            </p:nvSpPr>
            <p:spPr>
              <a:xfrm>
                <a:off x="5028754" y="2561675"/>
                <a:ext cx="25909" cy="75693"/>
              </a:xfrm>
              <a:custGeom>
                <a:avLst/>
                <a:gdLst>
                  <a:gd name="connsiteX0" fmla="*/ 7403 w 25909"/>
                  <a:gd name="connsiteY0" fmla="*/ 14097 h 75693"/>
                  <a:gd name="connsiteX1" fmla="*/ 13811 w 25909"/>
                  <a:gd name="connsiteY1" fmla="*/ 19223 h 75693"/>
                  <a:gd name="connsiteX2" fmla="*/ 8685 w 25909"/>
                  <a:gd name="connsiteY2" fmla="*/ 56388 h 75693"/>
                  <a:gd name="connsiteX3" fmla="*/ 4840 w 25909"/>
                  <a:gd name="connsiteY3" fmla="*/ 75611 h 75693"/>
                  <a:gd name="connsiteX4" fmla="*/ 17656 w 25909"/>
                  <a:gd name="connsiteY4" fmla="*/ 57670 h 75693"/>
                  <a:gd name="connsiteX5" fmla="*/ 12530 w 25909"/>
                  <a:gd name="connsiteY5" fmla="*/ 56388 h 75693"/>
                  <a:gd name="connsiteX6" fmla="*/ 17656 w 25909"/>
                  <a:gd name="connsiteY6" fmla="*/ 19223 h 75693"/>
                  <a:gd name="connsiteX7" fmla="*/ 21501 w 25909"/>
                  <a:gd name="connsiteY7" fmla="*/ 0 h 75693"/>
                  <a:gd name="connsiteX8" fmla="*/ 17656 w 25909"/>
                  <a:gd name="connsiteY8" fmla="*/ 0 h 75693"/>
                  <a:gd name="connsiteX9" fmla="*/ 7403 w 25909"/>
                  <a:gd name="connsiteY9" fmla="*/ 14097 h 7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09" h="75693">
                    <a:moveTo>
                      <a:pt x="7403" y="14097"/>
                    </a:moveTo>
                    <a:cubicBezTo>
                      <a:pt x="7403" y="16660"/>
                      <a:pt x="8685" y="19223"/>
                      <a:pt x="13811" y="19223"/>
                    </a:cubicBezTo>
                    <a:cubicBezTo>
                      <a:pt x="12530" y="32039"/>
                      <a:pt x="9967" y="43573"/>
                      <a:pt x="8685" y="56388"/>
                    </a:cubicBezTo>
                    <a:cubicBezTo>
                      <a:pt x="-2849" y="62796"/>
                      <a:pt x="-1567" y="74330"/>
                      <a:pt x="4840" y="75611"/>
                    </a:cubicBezTo>
                    <a:cubicBezTo>
                      <a:pt x="13811" y="76893"/>
                      <a:pt x="22782" y="62796"/>
                      <a:pt x="17656" y="57670"/>
                    </a:cubicBezTo>
                    <a:cubicBezTo>
                      <a:pt x="16374" y="56388"/>
                      <a:pt x="13811" y="56388"/>
                      <a:pt x="12530" y="56388"/>
                    </a:cubicBezTo>
                    <a:cubicBezTo>
                      <a:pt x="13811" y="43573"/>
                      <a:pt x="16374" y="32039"/>
                      <a:pt x="17656" y="19223"/>
                    </a:cubicBezTo>
                    <a:cubicBezTo>
                      <a:pt x="27908" y="12815"/>
                      <a:pt x="27908" y="1282"/>
                      <a:pt x="21501" y="0"/>
                    </a:cubicBezTo>
                    <a:cubicBezTo>
                      <a:pt x="20219" y="0"/>
                      <a:pt x="18937" y="0"/>
                      <a:pt x="17656" y="0"/>
                    </a:cubicBezTo>
                    <a:cubicBezTo>
                      <a:pt x="8685" y="2563"/>
                      <a:pt x="7403" y="11534"/>
                      <a:pt x="740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6" name="Freeform: Shape 379396">
                <a:extLst>
                  <a:ext uri="{FF2B5EF4-FFF2-40B4-BE49-F238E27FC236}">
                    <a16:creationId xmlns:a16="http://schemas.microsoft.com/office/drawing/2014/main" id="{B86CC6B8-AA91-49BC-8D06-DC8B3646DEA4}"/>
                  </a:ext>
                </a:extLst>
              </p:cNvPr>
              <p:cNvSpPr/>
              <p:nvPr/>
            </p:nvSpPr>
            <p:spPr>
              <a:xfrm>
                <a:off x="5063070" y="2322025"/>
                <a:ext cx="90143" cy="242301"/>
              </a:xfrm>
              <a:custGeom>
                <a:avLst/>
                <a:gdLst>
                  <a:gd name="connsiteX0" fmla="*/ 20505 w 90143"/>
                  <a:gd name="connsiteY0" fmla="*/ 47417 h 242301"/>
                  <a:gd name="connsiteX1" fmla="*/ 24350 w 90143"/>
                  <a:gd name="connsiteY1" fmla="*/ 52543 h 242301"/>
                  <a:gd name="connsiteX2" fmla="*/ 0 w 90143"/>
                  <a:gd name="connsiteY2" fmla="*/ 143533 h 242301"/>
                  <a:gd name="connsiteX3" fmla="*/ 21787 w 90143"/>
                  <a:gd name="connsiteY3" fmla="*/ 162756 h 242301"/>
                  <a:gd name="connsiteX4" fmla="*/ 14097 w 90143"/>
                  <a:gd name="connsiteY4" fmla="*/ 205047 h 242301"/>
                  <a:gd name="connsiteX5" fmla="*/ 10253 w 90143"/>
                  <a:gd name="connsiteY5" fmla="*/ 222989 h 242301"/>
                  <a:gd name="connsiteX6" fmla="*/ 23068 w 90143"/>
                  <a:gd name="connsiteY6" fmla="*/ 205047 h 242301"/>
                  <a:gd name="connsiteX7" fmla="*/ 17942 w 90143"/>
                  <a:gd name="connsiteY7" fmla="*/ 203766 h 242301"/>
                  <a:gd name="connsiteX8" fmla="*/ 24350 w 90143"/>
                  <a:gd name="connsiteY8" fmla="*/ 165319 h 242301"/>
                  <a:gd name="connsiteX9" fmla="*/ 44855 w 90143"/>
                  <a:gd name="connsiteY9" fmla="*/ 181979 h 242301"/>
                  <a:gd name="connsiteX10" fmla="*/ 38447 w 90143"/>
                  <a:gd name="connsiteY10" fmla="*/ 224270 h 242301"/>
                  <a:gd name="connsiteX11" fmla="*/ 34602 w 90143"/>
                  <a:gd name="connsiteY11" fmla="*/ 242212 h 242301"/>
                  <a:gd name="connsiteX12" fmla="*/ 47418 w 90143"/>
                  <a:gd name="connsiteY12" fmla="*/ 224270 h 242301"/>
                  <a:gd name="connsiteX13" fmla="*/ 42291 w 90143"/>
                  <a:gd name="connsiteY13" fmla="*/ 222989 h 242301"/>
                  <a:gd name="connsiteX14" fmla="*/ 47418 w 90143"/>
                  <a:gd name="connsiteY14" fmla="*/ 184543 h 242301"/>
                  <a:gd name="connsiteX15" fmla="*/ 62796 w 90143"/>
                  <a:gd name="connsiteY15" fmla="*/ 196076 h 242301"/>
                  <a:gd name="connsiteX16" fmla="*/ 69204 w 90143"/>
                  <a:gd name="connsiteY16" fmla="*/ 207610 h 242301"/>
                  <a:gd name="connsiteX17" fmla="*/ 76893 w 90143"/>
                  <a:gd name="connsiteY17" fmla="*/ 189669 h 242301"/>
                  <a:gd name="connsiteX18" fmla="*/ 65359 w 90143"/>
                  <a:gd name="connsiteY18" fmla="*/ 193513 h 242301"/>
                  <a:gd name="connsiteX19" fmla="*/ 47418 w 90143"/>
                  <a:gd name="connsiteY19" fmla="*/ 179416 h 242301"/>
                  <a:gd name="connsiteX20" fmla="*/ 82020 w 90143"/>
                  <a:gd name="connsiteY20" fmla="*/ 15379 h 242301"/>
                  <a:gd name="connsiteX21" fmla="*/ 87145 w 90143"/>
                  <a:gd name="connsiteY21" fmla="*/ 0 h 242301"/>
                  <a:gd name="connsiteX22" fmla="*/ 84582 w 90143"/>
                  <a:gd name="connsiteY22" fmla="*/ 0 h 242301"/>
                  <a:gd name="connsiteX23" fmla="*/ 76893 w 90143"/>
                  <a:gd name="connsiteY23" fmla="*/ 15379 h 242301"/>
                  <a:gd name="connsiteX24" fmla="*/ 79456 w 90143"/>
                  <a:gd name="connsiteY24" fmla="*/ 15379 h 242301"/>
                  <a:gd name="connsiteX25" fmla="*/ 44855 w 90143"/>
                  <a:gd name="connsiteY25" fmla="*/ 175572 h 242301"/>
                  <a:gd name="connsiteX26" fmla="*/ 25631 w 90143"/>
                  <a:gd name="connsiteY26" fmla="*/ 158912 h 242301"/>
                  <a:gd name="connsiteX27" fmla="*/ 58952 w 90143"/>
                  <a:gd name="connsiteY27" fmla="*/ 20505 h 242301"/>
                  <a:gd name="connsiteX28" fmla="*/ 65359 w 90143"/>
                  <a:gd name="connsiteY28" fmla="*/ 5126 h 242301"/>
                  <a:gd name="connsiteX29" fmla="*/ 52544 w 90143"/>
                  <a:gd name="connsiteY29" fmla="*/ 20505 h 242301"/>
                  <a:gd name="connsiteX30" fmla="*/ 56389 w 90143"/>
                  <a:gd name="connsiteY30" fmla="*/ 21786 h 242301"/>
                  <a:gd name="connsiteX31" fmla="*/ 23068 w 90143"/>
                  <a:gd name="connsiteY31" fmla="*/ 156349 h 242301"/>
                  <a:gd name="connsiteX32" fmla="*/ 5126 w 90143"/>
                  <a:gd name="connsiteY32" fmla="*/ 140970 h 242301"/>
                  <a:gd name="connsiteX33" fmla="*/ 28194 w 90143"/>
                  <a:gd name="connsiteY33" fmla="*/ 51262 h 242301"/>
                  <a:gd name="connsiteX34" fmla="*/ 34602 w 90143"/>
                  <a:gd name="connsiteY34" fmla="*/ 35883 h 242301"/>
                  <a:gd name="connsiteX35" fmla="*/ 20505 w 90143"/>
                  <a:gd name="connsiteY35" fmla="*/ 47417 h 242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0143" h="242301">
                    <a:moveTo>
                      <a:pt x="20505" y="47417"/>
                    </a:moveTo>
                    <a:cubicBezTo>
                      <a:pt x="20505" y="51262"/>
                      <a:pt x="23068" y="52543"/>
                      <a:pt x="24350" y="52543"/>
                    </a:cubicBezTo>
                    <a:cubicBezTo>
                      <a:pt x="15379" y="82019"/>
                      <a:pt x="7689" y="111495"/>
                      <a:pt x="0" y="143533"/>
                    </a:cubicBezTo>
                    <a:lnTo>
                      <a:pt x="21787" y="162756"/>
                    </a:lnTo>
                    <a:cubicBezTo>
                      <a:pt x="19223" y="176853"/>
                      <a:pt x="16660" y="190950"/>
                      <a:pt x="14097" y="205047"/>
                    </a:cubicBezTo>
                    <a:cubicBezTo>
                      <a:pt x="3845" y="211455"/>
                      <a:pt x="3845" y="221707"/>
                      <a:pt x="10253" y="222989"/>
                    </a:cubicBezTo>
                    <a:cubicBezTo>
                      <a:pt x="17942" y="224270"/>
                      <a:pt x="28194" y="211455"/>
                      <a:pt x="23068" y="205047"/>
                    </a:cubicBezTo>
                    <a:cubicBezTo>
                      <a:pt x="21787" y="203766"/>
                      <a:pt x="20505" y="203766"/>
                      <a:pt x="17942" y="203766"/>
                    </a:cubicBezTo>
                    <a:cubicBezTo>
                      <a:pt x="20505" y="190950"/>
                      <a:pt x="21787" y="178135"/>
                      <a:pt x="24350" y="165319"/>
                    </a:cubicBezTo>
                    <a:lnTo>
                      <a:pt x="44855" y="181979"/>
                    </a:lnTo>
                    <a:cubicBezTo>
                      <a:pt x="42291" y="196076"/>
                      <a:pt x="41010" y="210174"/>
                      <a:pt x="38447" y="224270"/>
                    </a:cubicBezTo>
                    <a:cubicBezTo>
                      <a:pt x="26913" y="230678"/>
                      <a:pt x="28194" y="242212"/>
                      <a:pt x="34602" y="242212"/>
                    </a:cubicBezTo>
                    <a:cubicBezTo>
                      <a:pt x="43573" y="243494"/>
                      <a:pt x="52544" y="230678"/>
                      <a:pt x="47418" y="224270"/>
                    </a:cubicBezTo>
                    <a:cubicBezTo>
                      <a:pt x="46136" y="222989"/>
                      <a:pt x="43573" y="222989"/>
                      <a:pt x="42291" y="222989"/>
                    </a:cubicBezTo>
                    <a:cubicBezTo>
                      <a:pt x="43573" y="210174"/>
                      <a:pt x="46136" y="197358"/>
                      <a:pt x="47418" y="184543"/>
                    </a:cubicBezTo>
                    <a:cubicBezTo>
                      <a:pt x="52544" y="188387"/>
                      <a:pt x="58952" y="193513"/>
                      <a:pt x="62796" y="196076"/>
                    </a:cubicBezTo>
                    <a:cubicBezTo>
                      <a:pt x="58952" y="203766"/>
                      <a:pt x="62796" y="208892"/>
                      <a:pt x="69204" y="207610"/>
                    </a:cubicBezTo>
                    <a:cubicBezTo>
                      <a:pt x="78175" y="205047"/>
                      <a:pt x="83301" y="192232"/>
                      <a:pt x="76893" y="189669"/>
                    </a:cubicBezTo>
                    <a:cubicBezTo>
                      <a:pt x="74330" y="188387"/>
                      <a:pt x="70486" y="188387"/>
                      <a:pt x="65359" y="193513"/>
                    </a:cubicBezTo>
                    <a:lnTo>
                      <a:pt x="47418" y="179416"/>
                    </a:lnTo>
                    <a:cubicBezTo>
                      <a:pt x="56389" y="120465"/>
                      <a:pt x="67922" y="65359"/>
                      <a:pt x="82020" y="15379"/>
                    </a:cubicBezTo>
                    <a:cubicBezTo>
                      <a:pt x="90990" y="10252"/>
                      <a:pt x="92272" y="1282"/>
                      <a:pt x="87145" y="0"/>
                    </a:cubicBezTo>
                    <a:cubicBezTo>
                      <a:pt x="85864" y="0"/>
                      <a:pt x="84582" y="0"/>
                      <a:pt x="84582" y="0"/>
                    </a:cubicBezTo>
                    <a:cubicBezTo>
                      <a:pt x="74330" y="3845"/>
                      <a:pt x="71767" y="14097"/>
                      <a:pt x="76893" y="15379"/>
                    </a:cubicBezTo>
                    <a:cubicBezTo>
                      <a:pt x="76893" y="15379"/>
                      <a:pt x="78175" y="15379"/>
                      <a:pt x="79456" y="15379"/>
                    </a:cubicBezTo>
                    <a:cubicBezTo>
                      <a:pt x="65359" y="65359"/>
                      <a:pt x="53825" y="119184"/>
                      <a:pt x="44855" y="175572"/>
                    </a:cubicBezTo>
                    <a:lnTo>
                      <a:pt x="25631" y="158912"/>
                    </a:lnTo>
                    <a:cubicBezTo>
                      <a:pt x="34602" y="110213"/>
                      <a:pt x="46136" y="64077"/>
                      <a:pt x="58952" y="20505"/>
                    </a:cubicBezTo>
                    <a:cubicBezTo>
                      <a:pt x="67922" y="15379"/>
                      <a:pt x="70486" y="6408"/>
                      <a:pt x="65359" y="5126"/>
                    </a:cubicBezTo>
                    <a:cubicBezTo>
                      <a:pt x="58952" y="3845"/>
                      <a:pt x="48699" y="15379"/>
                      <a:pt x="52544" y="20505"/>
                    </a:cubicBezTo>
                    <a:cubicBezTo>
                      <a:pt x="52544" y="21786"/>
                      <a:pt x="55107" y="21786"/>
                      <a:pt x="56389" y="21786"/>
                    </a:cubicBezTo>
                    <a:cubicBezTo>
                      <a:pt x="43573" y="64077"/>
                      <a:pt x="33321" y="108931"/>
                      <a:pt x="23068" y="156349"/>
                    </a:cubicBezTo>
                    <a:lnTo>
                      <a:pt x="5126" y="140970"/>
                    </a:lnTo>
                    <a:cubicBezTo>
                      <a:pt x="11534" y="110213"/>
                      <a:pt x="20505" y="79456"/>
                      <a:pt x="28194" y="51262"/>
                    </a:cubicBezTo>
                    <a:cubicBezTo>
                      <a:pt x="37165" y="46136"/>
                      <a:pt x="39728" y="35883"/>
                      <a:pt x="34602" y="35883"/>
                    </a:cubicBezTo>
                    <a:cubicBezTo>
                      <a:pt x="29476" y="34602"/>
                      <a:pt x="21787" y="41009"/>
                      <a:pt x="20505" y="474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7" name="Freeform: Shape 379397">
                <a:extLst>
                  <a:ext uri="{FF2B5EF4-FFF2-40B4-BE49-F238E27FC236}">
                    <a16:creationId xmlns:a16="http://schemas.microsoft.com/office/drawing/2014/main" id="{92B03E7D-248F-4D38-9C49-03780D9BE7B2}"/>
                  </a:ext>
                </a:extLst>
              </p:cNvPr>
              <p:cNvSpPr/>
              <p:nvPr/>
            </p:nvSpPr>
            <p:spPr>
              <a:xfrm>
                <a:off x="5372763" y="2460948"/>
                <a:ext cx="52612" cy="54631"/>
              </a:xfrm>
              <a:custGeom>
                <a:avLst/>
                <a:gdLst>
                  <a:gd name="connsiteX0" fmla="*/ 442 w 52612"/>
                  <a:gd name="connsiteY0" fmla="*/ 49465 h 54631"/>
                  <a:gd name="connsiteX1" fmla="*/ 19665 w 52612"/>
                  <a:gd name="connsiteY1" fmla="*/ 48184 h 54631"/>
                  <a:gd name="connsiteX2" fmla="*/ 19665 w 52612"/>
                  <a:gd name="connsiteY2" fmla="*/ 37931 h 54631"/>
                  <a:gd name="connsiteX3" fmla="*/ 36326 w 52612"/>
                  <a:gd name="connsiteY3" fmla="*/ 18708 h 54631"/>
                  <a:gd name="connsiteX4" fmla="*/ 51704 w 52612"/>
                  <a:gd name="connsiteY4" fmla="*/ 3330 h 54631"/>
                  <a:gd name="connsiteX5" fmla="*/ 41452 w 52612"/>
                  <a:gd name="connsiteY5" fmla="*/ 766 h 54631"/>
                  <a:gd name="connsiteX6" fmla="*/ 33763 w 52612"/>
                  <a:gd name="connsiteY6" fmla="*/ 16145 h 54631"/>
                  <a:gd name="connsiteX7" fmla="*/ 17103 w 52612"/>
                  <a:gd name="connsiteY7" fmla="*/ 34087 h 54631"/>
                  <a:gd name="connsiteX8" fmla="*/ 442 w 52612"/>
                  <a:gd name="connsiteY8" fmla="*/ 49465 h 54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612" h="54631">
                    <a:moveTo>
                      <a:pt x="442" y="49465"/>
                    </a:moveTo>
                    <a:cubicBezTo>
                      <a:pt x="3006" y="57154"/>
                      <a:pt x="15821" y="55873"/>
                      <a:pt x="19665" y="48184"/>
                    </a:cubicBezTo>
                    <a:cubicBezTo>
                      <a:pt x="20947" y="46902"/>
                      <a:pt x="22229" y="41776"/>
                      <a:pt x="19665" y="37931"/>
                    </a:cubicBezTo>
                    <a:cubicBezTo>
                      <a:pt x="24792" y="32805"/>
                      <a:pt x="31199" y="25116"/>
                      <a:pt x="36326" y="18708"/>
                    </a:cubicBezTo>
                    <a:cubicBezTo>
                      <a:pt x="46578" y="21271"/>
                      <a:pt x="55549" y="9737"/>
                      <a:pt x="51704" y="3330"/>
                    </a:cubicBezTo>
                    <a:cubicBezTo>
                      <a:pt x="49141" y="-515"/>
                      <a:pt x="44015" y="-515"/>
                      <a:pt x="41452" y="766"/>
                    </a:cubicBezTo>
                    <a:cubicBezTo>
                      <a:pt x="31199" y="4611"/>
                      <a:pt x="29918" y="12300"/>
                      <a:pt x="33763" y="16145"/>
                    </a:cubicBezTo>
                    <a:cubicBezTo>
                      <a:pt x="28637" y="21271"/>
                      <a:pt x="22229" y="28960"/>
                      <a:pt x="17103" y="34087"/>
                    </a:cubicBezTo>
                    <a:cubicBezTo>
                      <a:pt x="6850" y="34087"/>
                      <a:pt x="-2121" y="43057"/>
                      <a:pt x="442" y="4946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8" name="Freeform: Shape 379398">
                <a:extLst>
                  <a:ext uri="{FF2B5EF4-FFF2-40B4-BE49-F238E27FC236}">
                    <a16:creationId xmlns:a16="http://schemas.microsoft.com/office/drawing/2014/main" id="{8408CB13-DDE9-4108-9BA8-069A14CCEFFB}"/>
                  </a:ext>
                </a:extLst>
              </p:cNvPr>
              <p:cNvSpPr/>
              <p:nvPr/>
            </p:nvSpPr>
            <p:spPr>
              <a:xfrm>
                <a:off x="5469012" y="2445830"/>
                <a:ext cx="22105" cy="18937"/>
              </a:xfrm>
              <a:custGeom>
                <a:avLst/>
                <a:gdLst>
                  <a:gd name="connsiteX0" fmla="*/ 310 w 22105"/>
                  <a:gd name="connsiteY0" fmla="*/ 13321 h 18937"/>
                  <a:gd name="connsiteX1" fmla="*/ 20814 w 22105"/>
                  <a:gd name="connsiteY1" fmla="*/ 12040 h 18937"/>
                  <a:gd name="connsiteX2" fmla="*/ 10562 w 22105"/>
                  <a:gd name="connsiteY2" fmla="*/ 506 h 18937"/>
                  <a:gd name="connsiteX3" fmla="*/ 310 w 22105"/>
                  <a:gd name="connsiteY3" fmla="*/ 13321 h 18937"/>
                </a:gdLst>
                <a:ahLst/>
                <a:cxnLst>
                  <a:cxn ang="0">
                    <a:pos x="connsiteX0" y="connsiteY0"/>
                  </a:cxn>
                  <a:cxn ang="0">
                    <a:pos x="connsiteX1" y="connsiteY1"/>
                  </a:cxn>
                  <a:cxn ang="0">
                    <a:pos x="connsiteX2" y="connsiteY2"/>
                  </a:cxn>
                  <a:cxn ang="0">
                    <a:pos x="connsiteX3" y="connsiteY3"/>
                  </a:cxn>
                </a:cxnLst>
                <a:rect l="l" t="t" r="r" b="b"/>
                <a:pathLst>
                  <a:path w="22105" h="18937">
                    <a:moveTo>
                      <a:pt x="310" y="13321"/>
                    </a:moveTo>
                    <a:cubicBezTo>
                      <a:pt x="2873" y="21011"/>
                      <a:pt x="15688" y="21011"/>
                      <a:pt x="20814" y="12040"/>
                    </a:cubicBezTo>
                    <a:cubicBezTo>
                      <a:pt x="24659" y="5632"/>
                      <a:pt x="19532" y="-2057"/>
                      <a:pt x="10562" y="506"/>
                    </a:cubicBezTo>
                    <a:cubicBezTo>
                      <a:pt x="1591" y="3069"/>
                      <a:pt x="-972" y="9477"/>
                      <a:pt x="310" y="1332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79" name="Freeform: Shape 379399">
                <a:extLst>
                  <a:ext uri="{FF2B5EF4-FFF2-40B4-BE49-F238E27FC236}">
                    <a16:creationId xmlns:a16="http://schemas.microsoft.com/office/drawing/2014/main" id="{4B3A49B6-D67C-4250-A2D0-744043367D1A}"/>
                  </a:ext>
                </a:extLst>
              </p:cNvPr>
              <p:cNvSpPr/>
              <p:nvPr/>
            </p:nvSpPr>
            <p:spPr>
              <a:xfrm>
                <a:off x="5441127" y="2430957"/>
                <a:ext cx="113221" cy="94757"/>
              </a:xfrm>
              <a:custGeom>
                <a:avLst/>
                <a:gdLst>
                  <a:gd name="connsiteX0" fmla="*/ 0 w 113221"/>
                  <a:gd name="connsiteY0" fmla="*/ 89708 h 94757"/>
                  <a:gd name="connsiteX1" fmla="*/ 20505 w 113221"/>
                  <a:gd name="connsiteY1" fmla="*/ 87145 h 94757"/>
                  <a:gd name="connsiteX2" fmla="*/ 20505 w 113221"/>
                  <a:gd name="connsiteY2" fmla="*/ 85863 h 94757"/>
                  <a:gd name="connsiteX3" fmla="*/ 44855 w 113221"/>
                  <a:gd name="connsiteY3" fmla="*/ 79456 h 94757"/>
                  <a:gd name="connsiteX4" fmla="*/ 97398 w 113221"/>
                  <a:gd name="connsiteY4" fmla="*/ 17942 h 94757"/>
                  <a:gd name="connsiteX5" fmla="*/ 112777 w 113221"/>
                  <a:gd name="connsiteY5" fmla="*/ 5126 h 94757"/>
                  <a:gd name="connsiteX6" fmla="*/ 101243 w 113221"/>
                  <a:gd name="connsiteY6" fmla="*/ 0 h 94757"/>
                  <a:gd name="connsiteX7" fmla="*/ 94835 w 113221"/>
                  <a:gd name="connsiteY7" fmla="*/ 15379 h 94757"/>
                  <a:gd name="connsiteX8" fmla="*/ 43573 w 113221"/>
                  <a:gd name="connsiteY8" fmla="*/ 75611 h 94757"/>
                  <a:gd name="connsiteX9" fmla="*/ 21787 w 113221"/>
                  <a:gd name="connsiteY9" fmla="*/ 82019 h 94757"/>
                  <a:gd name="connsiteX10" fmla="*/ 0 w 113221"/>
                  <a:gd name="connsiteY10" fmla="*/ 84582 h 94757"/>
                  <a:gd name="connsiteX11" fmla="*/ 0 w 113221"/>
                  <a:gd name="connsiteY11" fmla="*/ 89708 h 9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221" h="94757">
                    <a:moveTo>
                      <a:pt x="0" y="89708"/>
                    </a:moveTo>
                    <a:cubicBezTo>
                      <a:pt x="2563" y="97397"/>
                      <a:pt x="16660" y="96116"/>
                      <a:pt x="20505" y="87145"/>
                    </a:cubicBezTo>
                    <a:cubicBezTo>
                      <a:pt x="20505" y="87145"/>
                      <a:pt x="20505" y="85863"/>
                      <a:pt x="20505" y="85863"/>
                    </a:cubicBezTo>
                    <a:lnTo>
                      <a:pt x="44855" y="79456"/>
                    </a:lnTo>
                    <a:cubicBezTo>
                      <a:pt x="60233" y="61514"/>
                      <a:pt x="82019" y="37165"/>
                      <a:pt x="97398" y="17942"/>
                    </a:cubicBezTo>
                    <a:cubicBezTo>
                      <a:pt x="106369" y="20505"/>
                      <a:pt x="115340" y="11534"/>
                      <a:pt x="112777" y="5126"/>
                    </a:cubicBezTo>
                    <a:cubicBezTo>
                      <a:pt x="111495" y="3845"/>
                      <a:pt x="108932" y="0"/>
                      <a:pt x="101243" y="0"/>
                    </a:cubicBezTo>
                    <a:cubicBezTo>
                      <a:pt x="92272" y="2563"/>
                      <a:pt x="89709" y="10252"/>
                      <a:pt x="94835" y="15379"/>
                    </a:cubicBezTo>
                    <a:lnTo>
                      <a:pt x="43573" y="75611"/>
                    </a:lnTo>
                    <a:cubicBezTo>
                      <a:pt x="37165" y="76893"/>
                      <a:pt x="28194" y="79456"/>
                      <a:pt x="21787" y="82019"/>
                    </a:cubicBezTo>
                    <a:cubicBezTo>
                      <a:pt x="17942" y="71767"/>
                      <a:pt x="2563" y="76893"/>
                      <a:pt x="0" y="84582"/>
                    </a:cubicBezTo>
                    <a:cubicBezTo>
                      <a:pt x="0" y="85863"/>
                      <a:pt x="0" y="88427"/>
                      <a:pt x="0" y="8970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0" name="Freeform: Shape 379400">
                <a:extLst>
                  <a:ext uri="{FF2B5EF4-FFF2-40B4-BE49-F238E27FC236}">
                    <a16:creationId xmlns:a16="http://schemas.microsoft.com/office/drawing/2014/main" id="{6C290197-E5E0-437E-B065-B7CD32570349}"/>
                  </a:ext>
                </a:extLst>
              </p:cNvPr>
              <p:cNvSpPr/>
              <p:nvPr/>
            </p:nvSpPr>
            <p:spPr>
              <a:xfrm>
                <a:off x="6251590" y="2266349"/>
                <a:ext cx="100719" cy="222917"/>
              </a:xfrm>
              <a:custGeom>
                <a:avLst/>
                <a:gdLst>
                  <a:gd name="connsiteX0" fmla="*/ 3322 w 100719"/>
                  <a:gd name="connsiteY0" fmla="*/ 217151 h 222917"/>
                  <a:gd name="connsiteX1" fmla="*/ 23827 w 100719"/>
                  <a:gd name="connsiteY1" fmla="*/ 217151 h 222917"/>
                  <a:gd name="connsiteX2" fmla="*/ 18701 w 100719"/>
                  <a:gd name="connsiteY2" fmla="*/ 206898 h 222917"/>
                  <a:gd name="connsiteX3" fmla="*/ 100720 w 100719"/>
                  <a:gd name="connsiteY3" fmla="*/ 30045 h 222917"/>
                  <a:gd name="connsiteX4" fmla="*/ 89186 w 100719"/>
                  <a:gd name="connsiteY4" fmla="*/ 14667 h 222917"/>
                  <a:gd name="connsiteX5" fmla="*/ 81496 w 100719"/>
                  <a:gd name="connsiteY5" fmla="*/ 570 h 222917"/>
                  <a:gd name="connsiteX6" fmla="*/ 75089 w 100719"/>
                  <a:gd name="connsiteY6" fmla="*/ 570 h 222917"/>
                  <a:gd name="connsiteX7" fmla="*/ 77652 w 100719"/>
                  <a:gd name="connsiteY7" fmla="*/ 14667 h 222917"/>
                  <a:gd name="connsiteX8" fmla="*/ 85341 w 100719"/>
                  <a:gd name="connsiteY8" fmla="*/ 15948 h 222917"/>
                  <a:gd name="connsiteX9" fmla="*/ 95593 w 100719"/>
                  <a:gd name="connsiteY9" fmla="*/ 30045 h 222917"/>
                  <a:gd name="connsiteX10" fmla="*/ 13574 w 100719"/>
                  <a:gd name="connsiteY10" fmla="*/ 204335 h 222917"/>
                  <a:gd name="connsiteX11" fmla="*/ 759 w 100719"/>
                  <a:gd name="connsiteY11" fmla="*/ 214588 h 222917"/>
                  <a:gd name="connsiteX12" fmla="*/ 3322 w 100719"/>
                  <a:gd name="connsiteY12" fmla="*/ 217151 h 22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719" h="222917">
                    <a:moveTo>
                      <a:pt x="3322" y="217151"/>
                    </a:moveTo>
                    <a:cubicBezTo>
                      <a:pt x="9730" y="224840"/>
                      <a:pt x="22545" y="224840"/>
                      <a:pt x="23827" y="217151"/>
                    </a:cubicBezTo>
                    <a:cubicBezTo>
                      <a:pt x="23827" y="214588"/>
                      <a:pt x="23827" y="210743"/>
                      <a:pt x="18701" y="206898"/>
                    </a:cubicBezTo>
                    <a:cubicBezTo>
                      <a:pt x="72526" y="101812"/>
                      <a:pt x="76371" y="94122"/>
                      <a:pt x="100720" y="30045"/>
                    </a:cubicBezTo>
                    <a:cubicBezTo>
                      <a:pt x="96875" y="24919"/>
                      <a:pt x="93030" y="19793"/>
                      <a:pt x="89186" y="14667"/>
                    </a:cubicBezTo>
                    <a:cubicBezTo>
                      <a:pt x="95593" y="10822"/>
                      <a:pt x="89186" y="1851"/>
                      <a:pt x="81496" y="570"/>
                    </a:cubicBezTo>
                    <a:cubicBezTo>
                      <a:pt x="78934" y="-712"/>
                      <a:pt x="77652" y="570"/>
                      <a:pt x="75089" y="570"/>
                    </a:cubicBezTo>
                    <a:cubicBezTo>
                      <a:pt x="66118" y="3133"/>
                      <a:pt x="71244" y="10822"/>
                      <a:pt x="77652" y="14667"/>
                    </a:cubicBezTo>
                    <a:cubicBezTo>
                      <a:pt x="80215" y="15948"/>
                      <a:pt x="82778" y="15948"/>
                      <a:pt x="85341" y="15948"/>
                    </a:cubicBezTo>
                    <a:cubicBezTo>
                      <a:pt x="89186" y="21074"/>
                      <a:pt x="93030" y="24919"/>
                      <a:pt x="95593" y="30045"/>
                    </a:cubicBezTo>
                    <a:cubicBezTo>
                      <a:pt x="54584" y="127443"/>
                      <a:pt x="53303" y="131287"/>
                      <a:pt x="13574" y="204335"/>
                    </a:cubicBezTo>
                    <a:cubicBezTo>
                      <a:pt x="2040" y="201772"/>
                      <a:pt x="-1804" y="209461"/>
                      <a:pt x="759" y="214588"/>
                    </a:cubicBezTo>
                    <a:cubicBezTo>
                      <a:pt x="3322" y="215869"/>
                      <a:pt x="3322" y="217151"/>
                      <a:pt x="3322" y="2171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1" name="Freeform: Shape 379401">
                <a:extLst>
                  <a:ext uri="{FF2B5EF4-FFF2-40B4-BE49-F238E27FC236}">
                    <a16:creationId xmlns:a16="http://schemas.microsoft.com/office/drawing/2014/main" id="{9F42DC28-1C65-499D-A6C2-262008A25420}"/>
                  </a:ext>
                </a:extLst>
              </p:cNvPr>
              <p:cNvSpPr/>
              <p:nvPr/>
            </p:nvSpPr>
            <p:spPr>
              <a:xfrm>
                <a:off x="6403314" y="2251541"/>
                <a:ext cx="141228" cy="251823"/>
              </a:xfrm>
              <a:custGeom>
                <a:avLst/>
                <a:gdLst>
                  <a:gd name="connsiteX0" fmla="*/ 102782 w 141228"/>
                  <a:gd name="connsiteY0" fmla="*/ 246057 h 251823"/>
                  <a:gd name="connsiteX1" fmla="*/ 123287 w 141228"/>
                  <a:gd name="connsiteY1" fmla="*/ 246057 h 251823"/>
                  <a:gd name="connsiteX2" fmla="*/ 118161 w 141228"/>
                  <a:gd name="connsiteY2" fmla="*/ 235804 h 251823"/>
                  <a:gd name="connsiteX3" fmla="*/ 141229 w 141228"/>
                  <a:gd name="connsiteY3" fmla="*/ 179416 h 251823"/>
                  <a:gd name="connsiteX4" fmla="*/ 19481 w 141228"/>
                  <a:gd name="connsiteY4" fmla="*/ 15379 h 251823"/>
                  <a:gd name="connsiteX5" fmla="*/ 7947 w 141228"/>
                  <a:gd name="connsiteY5" fmla="*/ 0 h 251823"/>
                  <a:gd name="connsiteX6" fmla="*/ 4103 w 141228"/>
                  <a:gd name="connsiteY6" fmla="*/ 0 h 251823"/>
                  <a:gd name="connsiteX7" fmla="*/ 6666 w 141228"/>
                  <a:gd name="connsiteY7" fmla="*/ 12815 h 251823"/>
                  <a:gd name="connsiteX8" fmla="*/ 14355 w 141228"/>
                  <a:gd name="connsiteY8" fmla="*/ 16660 h 251823"/>
                  <a:gd name="connsiteX9" fmla="*/ 133539 w 141228"/>
                  <a:gd name="connsiteY9" fmla="*/ 178135 h 251823"/>
                  <a:gd name="connsiteX10" fmla="*/ 111753 w 141228"/>
                  <a:gd name="connsiteY10" fmla="*/ 234523 h 251823"/>
                  <a:gd name="connsiteX11" fmla="*/ 101500 w 141228"/>
                  <a:gd name="connsiteY11" fmla="*/ 244775 h 251823"/>
                  <a:gd name="connsiteX12" fmla="*/ 102782 w 141228"/>
                  <a:gd name="connsiteY12" fmla="*/ 246057 h 25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228" h="251823">
                    <a:moveTo>
                      <a:pt x="102782" y="246057"/>
                    </a:moveTo>
                    <a:cubicBezTo>
                      <a:pt x="109190" y="253746"/>
                      <a:pt x="122005" y="253746"/>
                      <a:pt x="123287" y="246057"/>
                    </a:cubicBezTo>
                    <a:cubicBezTo>
                      <a:pt x="123287" y="242212"/>
                      <a:pt x="122005" y="239649"/>
                      <a:pt x="118161" y="235804"/>
                    </a:cubicBezTo>
                    <a:lnTo>
                      <a:pt x="141229" y="179416"/>
                    </a:lnTo>
                    <a:cubicBezTo>
                      <a:pt x="102782" y="120465"/>
                      <a:pt x="61773" y="66640"/>
                      <a:pt x="19481" y="15379"/>
                    </a:cubicBezTo>
                    <a:cubicBezTo>
                      <a:pt x="27171" y="8971"/>
                      <a:pt x="14355" y="1282"/>
                      <a:pt x="7947" y="0"/>
                    </a:cubicBezTo>
                    <a:cubicBezTo>
                      <a:pt x="6666" y="0"/>
                      <a:pt x="5384" y="0"/>
                      <a:pt x="4103" y="0"/>
                    </a:cubicBezTo>
                    <a:cubicBezTo>
                      <a:pt x="-2305" y="1282"/>
                      <a:pt x="-1024" y="8971"/>
                      <a:pt x="6666" y="12815"/>
                    </a:cubicBezTo>
                    <a:cubicBezTo>
                      <a:pt x="10510" y="16660"/>
                      <a:pt x="13074" y="16660"/>
                      <a:pt x="14355" y="16660"/>
                    </a:cubicBezTo>
                    <a:cubicBezTo>
                      <a:pt x="55365" y="66640"/>
                      <a:pt x="95093" y="120465"/>
                      <a:pt x="133539" y="178135"/>
                    </a:cubicBezTo>
                    <a:cubicBezTo>
                      <a:pt x="128413" y="194795"/>
                      <a:pt x="119442" y="217863"/>
                      <a:pt x="111753" y="234523"/>
                    </a:cubicBezTo>
                    <a:cubicBezTo>
                      <a:pt x="100219" y="231960"/>
                      <a:pt x="97656" y="238367"/>
                      <a:pt x="101500" y="244775"/>
                    </a:cubicBezTo>
                    <a:cubicBezTo>
                      <a:pt x="101500" y="244775"/>
                      <a:pt x="102782" y="246057"/>
                      <a:pt x="102782" y="24605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2" name="Freeform: Shape 379402">
                <a:extLst>
                  <a:ext uri="{FF2B5EF4-FFF2-40B4-BE49-F238E27FC236}">
                    <a16:creationId xmlns:a16="http://schemas.microsoft.com/office/drawing/2014/main" id="{FE512084-5A09-41C3-A53E-812637ACE3C2}"/>
                  </a:ext>
                </a:extLst>
              </p:cNvPr>
              <p:cNvSpPr/>
              <p:nvPr/>
            </p:nvSpPr>
            <p:spPr>
              <a:xfrm>
                <a:off x="6428806" y="2247554"/>
                <a:ext cx="20901" cy="15888"/>
              </a:xfrm>
              <a:custGeom>
                <a:avLst/>
                <a:gdLst>
                  <a:gd name="connsiteX0" fmla="*/ 2959 w 20901"/>
                  <a:gd name="connsiteY0" fmla="*/ 10394 h 15888"/>
                  <a:gd name="connsiteX1" fmla="*/ 20901 w 20901"/>
                  <a:gd name="connsiteY1" fmla="*/ 11676 h 15888"/>
                  <a:gd name="connsiteX2" fmla="*/ 2959 w 20901"/>
                  <a:gd name="connsiteY2" fmla="*/ 142 h 15888"/>
                  <a:gd name="connsiteX3" fmla="*/ 2959 w 20901"/>
                  <a:gd name="connsiteY3" fmla="*/ 10394 h 15888"/>
                </a:gdLst>
                <a:ahLst/>
                <a:cxnLst>
                  <a:cxn ang="0">
                    <a:pos x="connsiteX0" y="connsiteY0"/>
                  </a:cxn>
                  <a:cxn ang="0">
                    <a:pos x="connsiteX1" y="connsiteY1"/>
                  </a:cxn>
                  <a:cxn ang="0">
                    <a:pos x="connsiteX2" y="connsiteY2"/>
                  </a:cxn>
                  <a:cxn ang="0">
                    <a:pos x="connsiteX3" y="connsiteY3"/>
                  </a:cxn>
                </a:cxnLst>
                <a:rect l="l" t="t" r="r" b="b"/>
                <a:pathLst>
                  <a:path w="20901" h="15888">
                    <a:moveTo>
                      <a:pt x="2959" y="10394"/>
                    </a:moveTo>
                    <a:cubicBezTo>
                      <a:pt x="9367" y="16802"/>
                      <a:pt x="20901" y="18084"/>
                      <a:pt x="20901" y="11676"/>
                    </a:cubicBezTo>
                    <a:cubicBezTo>
                      <a:pt x="20901" y="6550"/>
                      <a:pt x="11930" y="-1140"/>
                      <a:pt x="2959" y="142"/>
                    </a:cubicBezTo>
                    <a:cubicBezTo>
                      <a:pt x="-2166" y="2705"/>
                      <a:pt x="396" y="7831"/>
                      <a:pt x="2959" y="1039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3" name="Freeform: Shape 379403">
                <a:extLst>
                  <a:ext uri="{FF2B5EF4-FFF2-40B4-BE49-F238E27FC236}">
                    <a16:creationId xmlns:a16="http://schemas.microsoft.com/office/drawing/2014/main" id="{82F49BD0-7822-4AF9-9C36-74F01A18AB40}"/>
                  </a:ext>
                </a:extLst>
              </p:cNvPr>
              <p:cNvSpPr/>
              <p:nvPr/>
            </p:nvSpPr>
            <p:spPr>
              <a:xfrm>
                <a:off x="6554243" y="2206686"/>
                <a:ext cx="43367" cy="34853"/>
              </a:xfrm>
              <a:custGeom>
                <a:avLst/>
                <a:gdLst>
                  <a:gd name="connsiteX0" fmla="*/ 4396 w 43367"/>
                  <a:gd name="connsiteY0" fmla="*/ 8971 h 34853"/>
                  <a:gd name="connsiteX1" fmla="*/ 15930 w 43367"/>
                  <a:gd name="connsiteY1" fmla="*/ 14097 h 34853"/>
                  <a:gd name="connsiteX2" fmla="*/ 23619 w 43367"/>
                  <a:gd name="connsiteY2" fmla="*/ 20505 h 34853"/>
                  <a:gd name="connsiteX3" fmla="*/ 36435 w 43367"/>
                  <a:gd name="connsiteY3" fmla="*/ 34602 h 34853"/>
                  <a:gd name="connsiteX4" fmla="*/ 41561 w 43367"/>
                  <a:gd name="connsiteY4" fmla="*/ 28194 h 34853"/>
                  <a:gd name="connsiteX5" fmla="*/ 27464 w 43367"/>
                  <a:gd name="connsiteY5" fmla="*/ 20505 h 34853"/>
                  <a:gd name="connsiteX6" fmla="*/ 19774 w 43367"/>
                  <a:gd name="connsiteY6" fmla="*/ 14097 h 34853"/>
                  <a:gd name="connsiteX7" fmla="*/ 6959 w 43367"/>
                  <a:gd name="connsiteY7" fmla="*/ 0 h 34853"/>
                  <a:gd name="connsiteX8" fmla="*/ 3114 w 43367"/>
                  <a:gd name="connsiteY8" fmla="*/ 0 h 34853"/>
                  <a:gd name="connsiteX9" fmla="*/ 4396 w 43367"/>
                  <a:gd name="connsiteY9" fmla="*/ 8971 h 3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67" h="34853">
                    <a:moveTo>
                      <a:pt x="4396" y="8971"/>
                    </a:moveTo>
                    <a:cubicBezTo>
                      <a:pt x="6959" y="11534"/>
                      <a:pt x="10803" y="12815"/>
                      <a:pt x="15930" y="14097"/>
                    </a:cubicBezTo>
                    <a:cubicBezTo>
                      <a:pt x="18493" y="16660"/>
                      <a:pt x="21056" y="19223"/>
                      <a:pt x="23619" y="20505"/>
                    </a:cubicBezTo>
                    <a:cubicBezTo>
                      <a:pt x="18493" y="24349"/>
                      <a:pt x="28745" y="33320"/>
                      <a:pt x="36435" y="34602"/>
                    </a:cubicBezTo>
                    <a:cubicBezTo>
                      <a:pt x="42842" y="35883"/>
                      <a:pt x="45405" y="32039"/>
                      <a:pt x="41561" y="28194"/>
                    </a:cubicBezTo>
                    <a:cubicBezTo>
                      <a:pt x="41561" y="26912"/>
                      <a:pt x="36435" y="21786"/>
                      <a:pt x="27464" y="20505"/>
                    </a:cubicBezTo>
                    <a:cubicBezTo>
                      <a:pt x="24901" y="17942"/>
                      <a:pt x="22337" y="15379"/>
                      <a:pt x="19774" y="14097"/>
                    </a:cubicBezTo>
                    <a:cubicBezTo>
                      <a:pt x="24901" y="10252"/>
                      <a:pt x="14648" y="1282"/>
                      <a:pt x="6959" y="0"/>
                    </a:cubicBezTo>
                    <a:cubicBezTo>
                      <a:pt x="5677" y="0"/>
                      <a:pt x="4396" y="0"/>
                      <a:pt x="3114" y="0"/>
                    </a:cubicBezTo>
                    <a:cubicBezTo>
                      <a:pt x="-4575" y="1282"/>
                      <a:pt x="4396" y="7689"/>
                      <a:pt x="4396"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4" name="Freeform: Shape 379404">
                <a:extLst>
                  <a:ext uri="{FF2B5EF4-FFF2-40B4-BE49-F238E27FC236}">
                    <a16:creationId xmlns:a16="http://schemas.microsoft.com/office/drawing/2014/main" id="{FF4498D4-5687-4DA8-83F4-468CC86BF82A}"/>
                  </a:ext>
                </a:extLst>
              </p:cNvPr>
              <p:cNvSpPr/>
              <p:nvPr/>
            </p:nvSpPr>
            <p:spPr>
              <a:xfrm>
                <a:off x="6546079" y="2116978"/>
                <a:ext cx="141116" cy="114057"/>
              </a:xfrm>
              <a:custGeom>
                <a:avLst/>
                <a:gdLst>
                  <a:gd name="connsiteX0" fmla="*/ 4871 w 141116"/>
                  <a:gd name="connsiteY0" fmla="*/ 6408 h 114057"/>
                  <a:gd name="connsiteX1" fmla="*/ 16405 w 141116"/>
                  <a:gd name="connsiteY1" fmla="*/ 11534 h 114057"/>
                  <a:gd name="connsiteX2" fmla="*/ 120210 w 141116"/>
                  <a:gd name="connsiteY2" fmla="*/ 98679 h 114057"/>
                  <a:gd name="connsiteX3" fmla="*/ 136871 w 141116"/>
                  <a:gd name="connsiteY3" fmla="*/ 114058 h 114057"/>
                  <a:gd name="connsiteX4" fmla="*/ 139433 w 141116"/>
                  <a:gd name="connsiteY4" fmla="*/ 107650 h 114057"/>
                  <a:gd name="connsiteX5" fmla="*/ 124055 w 141116"/>
                  <a:gd name="connsiteY5" fmla="*/ 99961 h 114057"/>
                  <a:gd name="connsiteX6" fmla="*/ 20249 w 141116"/>
                  <a:gd name="connsiteY6" fmla="*/ 12815 h 114057"/>
                  <a:gd name="connsiteX7" fmla="*/ 3589 w 141116"/>
                  <a:gd name="connsiteY7" fmla="*/ 0 h 114057"/>
                  <a:gd name="connsiteX8" fmla="*/ 2307 w 141116"/>
                  <a:gd name="connsiteY8" fmla="*/ 0 h 114057"/>
                  <a:gd name="connsiteX9" fmla="*/ 4871 w 141116"/>
                  <a:gd name="connsiteY9" fmla="*/ 6408 h 114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1116" h="114057">
                    <a:moveTo>
                      <a:pt x="4871" y="6408"/>
                    </a:moveTo>
                    <a:cubicBezTo>
                      <a:pt x="7434" y="7689"/>
                      <a:pt x="11278" y="10252"/>
                      <a:pt x="16405" y="11534"/>
                    </a:cubicBezTo>
                    <a:cubicBezTo>
                      <a:pt x="52288" y="38446"/>
                      <a:pt x="85608" y="67922"/>
                      <a:pt x="120210" y="98679"/>
                    </a:cubicBezTo>
                    <a:cubicBezTo>
                      <a:pt x="115084" y="102524"/>
                      <a:pt x="129181" y="112776"/>
                      <a:pt x="136871" y="114058"/>
                    </a:cubicBezTo>
                    <a:cubicBezTo>
                      <a:pt x="141996" y="114058"/>
                      <a:pt x="141996" y="111494"/>
                      <a:pt x="139433" y="107650"/>
                    </a:cubicBezTo>
                    <a:cubicBezTo>
                      <a:pt x="139433" y="106368"/>
                      <a:pt x="133026" y="101242"/>
                      <a:pt x="124055" y="99961"/>
                    </a:cubicBezTo>
                    <a:cubicBezTo>
                      <a:pt x="90735" y="69203"/>
                      <a:pt x="56133" y="39728"/>
                      <a:pt x="20249" y="12815"/>
                    </a:cubicBezTo>
                    <a:cubicBezTo>
                      <a:pt x="24094" y="8971"/>
                      <a:pt x="9997" y="0"/>
                      <a:pt x="3589" y="0"/>
                    </a:cubicBezTo>
                    <a:cubicBezTo>
                      <a:pt x="3589" y="0"/>
                      <a:pt x="2307" y="0"/>
                      <a:pt x="2307" y="0"/>
                    </a:cubicBezTo>
                    <a:cubicBezTo>
                      <a:pt x="-4100" y="0"/>
                      <a:pt x="4871" y="6408"/>
                      <a:pt x="4871" y="640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5" name="Freeform: Shape 379405">
                <a:extLst>
                  <a:ext uri="{FF2B5EF4-FFF2-40B4-BE49-F238E27FC236}">
                    <a16:creationId xmlns:a16="http://schemas.microsoft.com/office/drawing/2014/main" id="{EB1E9DF3-E667-4C8F-90D0-1D50F8AF0D4D}"/>
                  </a:ext>
                </a:extLst>
              </p:cNvPr>
              <p:cNvSpPr/>
              <p:nvPr/>
            </p:nvSpPr>
            <p:spPr>
              <a:xfrm>
                <a:off x="6819922" y="2200279"/>
                <a:ext cx="46289" cy="35883"/>
              </a:xfrm>
              <a:custGeom>
                <a:avLst/>
                <a:gdLst>
                  <a:gd name="connsiteX0" fmla="*/ 6562 w 46289"/>
                  <a:gd name="connsiteY0" fmla="*/ 8971 h 35883"/>
                  <a:gd name="connsiteX1" fmla="*/ 18096 w 46289"/>
                  <a:gd name="connsiteY1" fmla="*/ 14097 h 35883"/>
                  <a:gd name="connsiteX2" fmla="*/ 25785 w 46289"/>
                  <a:gd name="connsiteY2" fmla="*/ 20505 h 35883"/>
                  <a:gd name="connsiteX3" fmla="*/ 45008 w 46289"/>
                  <a:gd name="connsiteY3" fmla="*/ 35883 h 35883"/>
                  <a:gd name="connsiteX4" fmla="*/ 41164 w 46289"/>
                  <a:gd name="connsiteY4" fmla="*/ 28194 h 35883"/>
                  <a:gd name="connsiteX5" fmla="*/ 28348 w 46289"/>
                  <a:gd name="connsiteY5" fmla="*/ 20505 h 35883"/>
                  <a:gd name="connsiteX6" fmla="*/ 20659 w 46289"/>
                  <a:gd name="connsiteY6" fmla="*/ 14097 h 35883"/>
                  <a:gd name="connsiteX7" fmla="*/ 1435 w 46289"/>
                  <a:gd name="connsiteY7" fmla="*/ 0 h 35883"/>
                  <a:gd name="connsiteX8" fmla="*/ 6562 w 46289"/>
                  <a:gd name="connsiteY8" fmla="*/ 8971 h 35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89" h="35883">
                    <a:moveTo>
                      <a:pt x="6562" y="8971"/>
                    </a:moveTo>
                    <a:cubicBezTo>
                      <a:pt x="9125" y="11534"/>
                      <a:pt x="12969" y="14097"/>
                      <a:pt x="18096" y="14097"/>
                    </a:cubicBezTo>
                    <a:cubicBezTo>
                      <a:pt x="20659" y="16660"/>
                      <a:pt x="23222" y="19223"/>
                      <a:pt x="25785" y="20505"/>
                    </a:cubicBezTo>
                    <a:cubicBezTo>
                      <a:pt x="21940" y="24349"/>
                      <a:pt x="38600" y="35883"/>
                      <a:pt x="45008" y="35883"/>
                    </a:cubicBezTo>
                    <a:cubicBezTo>
                      <a:pt x="47571" y="35883"/>
                      <a:pt x="46289" y="32039"/>
                      <a:pt x="41164" y="28194"/>
                    </a:cubicBezTo>
                    <a:cubicBezTo>
                      <a:pt x="39882" y="26912"/>
                      <a:pt x="34755" y="23068"/>
                      <a:pt x="28348" y="20505"/>
                    </a:cubicBezTo>
                    <a:cubicBezTo>
                      <a:pt x="25785" y="17942"/>
                      <a:pt x="23222" y="15379"/>
                      <a:pt x="20659" y="14097"/>
                    </a:cubicBezTo>
                    <a:cubicBezTo>
                      <a:pt x="24503" y="10252"/>
                      <a:pt x="9125" y="0"/>
                      <a:pt x="1435" y="0"/>
                    </a:cubicBezTo>
                    <a:cubicBezTo>
                      <a:pt x="-3691" y="1282"/>
                      <a:pt x="6562" y="8971"/>
                      <a:pt x="6562"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6" name="Freeform: Shape 379406">
                <a:extLst>
                  <a:ext uri="{FF2B5EF4-FFF2-40B4-BE49-F238E27FC236}">
                    <a16:creationId xmlns:a16="http://schemas.microsoft.com/office/drawing/2014/main" id="{D7AD495A-E14F-487F-A927-80840667BA88}"/>
                  </a:ext>
                </a:extLst>
              </p:cNvPr>
              <p:cNvSpPr/>
              <p:nvPr/>
            </p:nvSpPr>
            <p:spPr>
              <a:xfrm>
                <a:off x="6852114" y="2197716"/>
                <a:ext cx="190123" cy="156472"/>
              </a:xfrm>
              <a:custGeom>
                <a:avLst/>
                <a:gdLst>
                  <a:gd name="connsiteX0" fmla="*/ 7689 w 190123"/>
                  <a:gd name="connsiteY0" fmla="*/ 10252 h 156472"/>
                  <a:gd name="connsiteX1" fmla="*/ 19223 w 190123"/>
                  <a:gd name="connsiteY1" fmla="*/ 16660 h 156472"/>
                  <a:gd name="connsiteX2" fmla="*/ 138407 w 190123"/>
                  <a:gd name="connsiteY2" fmla="*/ 124310 h 156472"/>
                  <a:gd name="connsiteX3" fmla="*/ 171728 w 190123"/>
                  <a:gd name="connsiteY3" fmla="*/ 144815 h 156472"/>
                  <a:gd name="connsiteX4" fmla="*/ 189669 w 190123"/>
                  <a:gd name="connsiteY4" fmla="*/ 156349 h 156472"/>
                  <a:gd name="connsiteX5" fmla="*/ 170446 w 190123"/>
                  <a:gd name="connsiteY5" fmla="*/ 139688 h 156472"/>
                  <a:gd name="connsiteX6" fmla="*/ 170446 w 190123"/>
                  <a:gd name="connsiteY6" fmla="*/ 140970 h 156472"/>
                  <a:gd name="connsiteX7" fmla="*/ 138407 w 190123"/>
                  <a:gd name="connsiteY7" fmla="*/ 121747 h 156472"/>
                  <a:gd name="connsiteX8" fmla="*/ 20505 w 190123"/>
                  <a:gd name="connsiteY8" fmla="*/ 15379 h 156472"/>
                  <a:gd name="connsiteX9" fmla="*/ 20505 w 190123"/>
                  <a:gd name="connsiteY9" fmla="*/ 14097 h 156472"/>
                  <a:gd name="connsiteX10" fmla="*/ 1281 w 190123"/>
                  <a:gd name="connsiteY10" fmla="*/ 0 h 156472"/>
                  <a:gd name="connsiteX11" fmla="*/ 0 w 190123"/>
                  <a:gd name="connsiteY11" fmla="*/ 1282 h 156472"/>
                  <a:gd name="connsiteX12" fmla="*/ 7689 w 190123"/>
                  <a:gd name="connsiteY12" fmla="*/ 10252 h 15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123" h="156472">
                    <a:moveTo>
                      <a:pt x="7689" y="10252"/>
                    </a:moveTo>
                    <a:cubicBezTo>
                      <a:pt x="10252" y="12815"/>
                      <a:pt x="14097" y="15379"/>
                      <a:pt x="19223" y="16660"/>
                    </a:cubicBezTo>
                    <a:cubicBezTo>
                      <a:pt x="60233" y="49980"/>
                      <a:pt x="99961" y="87145"/>
                      <a:pt x="138407" y="124310"/>
                    </a:cubicBezTo>
                    <a:cubicBezTo>
                      <a:pt x="148660" y="130718"/>
                      <a:pt x="165320" y="134562"/>
                      <a:pt x="171728" y="144815"/>
                    </a:cubicBezTo>
                    <a:cubicBezTo>
                      <a:pt x="174290" y="148659"/>
                      <a:pt x="184543" y="157630"/>
                      <a:pt x="189669" y="156349"/>
                    </a:cubicBezTo>
                    <a:cubicBezTo>
                      <a:pt x="193514" y="148659"/>
                      <a:pt x="171728" y="139688"/>
                      <a:pt x="170446" y="139688"/>
                    </a:cubicBezTo>
                    <a:cubicBezTo>
                      <a:pt x="170446" y="139688"/>
                      <a:pt x="170446" y="140970"/>
                      <a:pt x="170446" y="140970"/>
                    </a:cubicBezTo>
                    <a:lnTo>
                      <a:pt x="138407" y="121747"/>
                    </a:lnTo>
                    <a:cubicBezTo>
                      <a:pt x="99961" y="84582"/>
                      <a:pt x="61514" y="48699"/>
                      <a:pt x="20505" y="15379"/>
                    </a:cubicBezTo>
                    <a:cubicBezTo>
                      <a:pt x="20505" y="15379"/>
                      <a:pt x="20505" y="14097"/>
                      <a:pt x="20505" y="14097"/>
                    </a:cubicBezTo>
                    <a:cubicBezTo>
                      <a:pt x="17942" y="7689"/>
                      <a:pt x="6408" y="1282"/>
                      <a:pt x="1281" y="0"/>
                    </a:cubicBezTo>
                    <a:cubicBezTo>
                      <a:pt x="1281" y="0"/>
                      <a:pt x="0" y="0"/>
                      <a:pt x="0" y="1282"/>
                    </a:cubicBezTo>
                    <a:cubicBezTo>
                      <a:pt x="0" y="2563"/>
                      <a:pt x="1281" y="5126"/>
                      <a:pt x="7689"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7" name="Freeform: Shape 379407">
                <a:extLst>
                  <a:ext uri="{FF2B5EF4-FFF2-40B4-BE49-F238E27FC236}">
                    <a16:creationId xmlns:a16="http://schemas.microsoft.com/office/drawing/2014/main" id="{F85232E4-440F-417A-B890-070BFBCD018F}"/>
                  </a:ext>
                </a:extLst>
              </p:cNvPr>
              <p:cNvSpPr/>
              <p:nvPr/>
            </p:nvSpPr>
            <p:spPr>
              <a:xfrm>
                <a:off x="4300548" y="2775693"/>
                <a:ext cx="62795" cy="117902"/>
              </a:xfrm>
              <a:custGeom>
                <a:avLst/>
                <a:gdLst>
                  <a:gd name="connsiteX0" fmla="*/ 53825 w 62795"/>
                  <a:gd name="connsiteY0" fmla="*/ 14097 h 117902"/>
                  <a:gd name="connsiteX1" fmla="*/ 49980 w 62795"/>
                  <a:gd name="connsiteY1" fmla="*/ 21786 h 117902"/>
                  <a:gd name="connsiteX2" fmla="*/ 10252 w 62795"/>
                  <a:gd name="connsiteY2" fmla="*/ 96116 h 117902"/>
                  <a:gd name="connsiteX3" fmla="*/ 0 w 62795"/>
                  <a:gd name="connsiteY3" fmla="*/ 117902 h 117902"/>
                  <a:gd name="connsiteX4" fmla="*/ 11534 w 62795"/>
                  <a:gd name="connsiteY4" fmla="*/ 96116 h 117902"/>
                  <a:gd name="connsiteX5" fmla="*/ 51262 w 62795"/>
                  <a:gd name="connsiteY5" fmla="*/ 21786 h 117902"/>
                  <a:gd name="connsiteX6" fmla="*/ 62796 w 62795"/>
                  <a:gd name="connsiteY6" fmla="*/ 0 h 117902"/>
                  <a:gd name="connsiteX7" fmla="*/ 53825 w 62795"/>
                  <a:gd name="connsiteY7" fmla="*/ 14097 h 117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95" h="117902">
                    <a:moveTo>
                      <a:pt x="53825" y="14097"/>
                    </a:moveTo>
                    <a:cubicBezTo>
                      <a:pt x="52544" y="16660"/>
                      <a:pt x="49980" y="20505"/>
                      <a:pt x="49980" y="21786"/>
                    </a:cubicBezTo>
                    <a:cubicBezTo>
                      <a:pt x="35883" y="46136"/>
                      <a:pt x="23068" y="71766"/>
                      <a:pt x="10252" y="96116"/>
                    </a:cubicBezTo>
                    <a:cubicBezTo>
                      <a:pt x="7689" y="101242"/>
                      <a:pt x="1282" y="114057"/>
                      <a:pt x="0" y="117902"/>
                    </a:cubicBezTo>
                    <a:cubicBezTo>
                      <a:pt x="2563" y="114057"/>
                      <a:pt x="11534" y="96116"/>
                      <a:pt x="11534" y="96116"/>
                    </a:cubicBezTo>
                    <a:cubicBezTo>
                      <a:pt x="24350" y="70485"/>
                      <a:pt x="37165" y="46136"/>
                      <a:pt x="51262" y="21786"/>
                    </a:cubicBezTo>
                    <a:cubicBezTo>
                      <a:pt x="53825" y="17942"/>
                      <a:pt x="62796" y="1282"/>
                      <a:pt x="62796" y="0"/>
                    </a:cubicBezTo>
                    <a:cubicBezTo>
                      <a:pt x="60233" y="2563"/>
                      <a:pt x="55107" y="11534"/>
                      <a:pt x="53825"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8" name="Freeform: Shape 379408">
                <a:extLst>
                  <a:ext uri="{FF2B5EF4-FFF2-40B4-BE49-F238E27FC236}">
                    <a16:creationId xmlns:a16="http://schemas.microsoft.com/office/drawing/2014/main" id="{FBB0CEE0-270F-47B5-AED4-41C5F4AFFF2D}"/>
                  </a:ext>
                </a:extLst>
              </p:cNvPr>
              <p:cNvSpPr/>
              <p:nvPr/>
            </p:nvSpPr>
            <p:spPr>
              <a:xfrm>
                <a:off x="4308237" y="2797479"/>
                <a:ext cx="44854" cy="87145"/>
              </a:xfrm>
              <a:custGeom>
                <a:avLst/>
                <a:gdLst>
                  <a:gd name="connsiteX0" fmla="*/ 35883 w 44854"/>
                  <a:gd name="connsiteY0" fmla="*/ 15379 h 87145"/>
                  <a:gd name="connsiteX1" fmla="*/ 32039 w 44854"/>
                  <a:gd name="connsiteY1" fmla="*/ 23068 h 87145"/>
                  <a:gd name="connsiteX2" fmla="*/ 10252 w 44854"/>
                  <a:gd name="connsiteY2" fmla="*/ 65359 h 87145"/>
                  <a:gd name="connsiteX3" fmla="*/ 0 w 44854"/>
                  <a:gd name="connsiteY3" fmla="*/ 87145 h 87145"/>
                  <a:gd name="connsiteX4" fmla="*/ 11534 w 44854"/>
                  <a:gd name="connsiteY4" fmla="*/ 64077 h 87145"/>
                  <a:gd name="connsiteX5" fmla="*/ 33320 w 44854"/>
                  <a:gd name="connsiteY5" fmla="*/ 21786 h 87145"/>
                  <a:gd name="connsiteX6" fmla="*/ 44854 w 44854"/>
                  <a:gd name="connsiteY6" fmla="*/ 0 h 87145"/>
                  <a:gd name="connsiteX7" fmla="*/ 44854 w 44854"/>
                  <a:gd name="connsiteY7" fmla="*/ 0 h 87145"/>
                  <a:gd name="connsiteX8" fmla="*/ 35883 w 44854"/>
                  <a:gd name="connsiteY8" fmla="*/ 15379 h 8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54" h="87145">
                    <a:moveTo>
                      <a:pt x="35883" y="15379"/>
                    </a:moveTo>
                    <a:cubicBezTo>
                      <a:pt x="34602" y="17942"/>
                      <a:pt x="32039" y="21786"/>
                      <a:pt x="32039" y="23068"/>
                    </a:cubicBezTo>
                    <a:cubicBezTo>
                      <a:pt x="24350" y="37165"/>
                      <a:pt x="16660" y="51262"/>
                      <a:pt x="10252" y="65359"/>
                    </a:cubicBezTo>
                    <a:cubicBezTo>
                      <a:pt x="6408" y="70485"/>
                      <a:pt x="0" y="85864"/>
                      <a:pt x="0" y="87145"/>
                    </a:cubicBezTo>
                    <a:cubicBezTo>
                      <a:pt x="2563" y="84582"/>
                      <a:pt x="11534" y="66640"/>
                      <a:pt x="11534" y="64077"/>
                    </a:cubicBezTo>
                    <a:cubicBezTo>
                      <a:pt x="19223" y="49980"/>
                      <a:pt x="25631" y="35883"/>
                      <a:pt x="33320" y="21786"/>
                    </a:cubicBezTo>
                    <a:cubicBezTo>
                      <a:pt x="37165" y="16660"/>
                      <a:pt x="44854" y="2563"/>
                      <a:pt x="44854" y="0"/>
                    </a:cubicBezTo>
                    <a:cubicBezTo>
                      <a:pt x="44854" y="0"/>
                      <a:pt x="44854" y="0"/>
                      <a:pt x="44854" y="0"/>
                    </a:cubicBezTo>
                    <a:cubicBezTo>
                      <a:pt x="42291" y="3845"/>
                      <a:pt x="37165" y="12815"/>
                      <a:pt x="35883"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89" name="Freeform: Shape 379409">
                <a:extLst>
                  <a:ext uri="{FF2B5EF4-FFF2-40B4-BE49-F238E27FC236}">
                    <a16:creationId xmlns:a16="http://schemas.microsoft.com/office/drawing/2014/main" id="{754420E9-DF08-48BB-B0D5-46458A3B1885}"/>
                  </a:ext>
                </a:extLst>
              </p:cNvPr>
              <p:cNvSpPr/>
              <p:nvPr/>
            </p:nvSpPr>
            <p:spPr>
              <a:xfrm>
                <a:off x="4539183" y="2687266"/>
                <a:ext cx="39663" cy="82018"/>
              </a:xfrm>
              <a:custGeom>
                <a:avLst/>
                <a:gdLst>
                  <a:gd name="connsiteX0" fmla="*/ 25364 w 39663"/>
                  <a:gd name="connsiteY0" fmla="*/ 15379 h 82018"/>
                  <a:gd name="connsiteX1" fmla="*/ 26645 w 39663"/>
                  <a:gd name="connsiteY1" fmla="*/ 21786 h 82018"/>
                  <a:gd name="connsiteX2" fmla="*/ 9985 w 39663"/>
                  <a:gd name="connsiteY2" fmla="*/ 61514 h 82018"/>
                  <a:gd name="connsiteX3" fmla="*/ 2296 w 39663"/>
                  <a:gd name="connsiteY3" fmla="*/ 82019 h 82018"/>
                  <a:gd name="connsiteX4" fmla="*/ 13830 w 39663"/>
                  <a:gd name="connsiteY4" fmla="*/ 61514 h 82018"/>
                  <a:gd name="connsiteX5" fmla="*/ 12548 w 39663"/>
                  <a:gd name="connsiteY5" fmla="*/ 60233 h 82018"/>
                  <a:gd name="connsiteX6" fmla="*/ 29209 w 39663"/>
                  <a:gd name="connsiteY6" fmla="*/ 20505 h 82018"/>
                  <a:gd name="connsiteX7" fmla="*/ 38179 w 39663"/>
                  <a:gd name="connsiteY7" fmla="*/ 0 h 82018"/>
                  <a:gd name="connsiteX8" fmla="*/ 36898 w 39663"/>
                  <a:gd name="connsiteY8" fmla="*/ 0 h 82018"/>
                  <a:gd name="connsiteX9" fmla="*/ 25364 w 39663"/>
                  <a:gd name="connsiteY9" fmla="*/ 15379 h 8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63" h="82018">
                    <a:moveTo>
                      <a:pt x="25364" y="15379"/>
                    </a:moveTo>
                    <a:cubicBezTo>
                      <a:pt x="24082" y="17942"/>
                      <a:pt x="24082" y="21786"/>
                      <a:pt x="26645" y="21786"/>
                    </a:cubicBezTo>
                    <a:cubicBezTo>
                      <a:pt x="21519" y="34602"/>
                      <a:pt x="15111" y="48699"/>
                      <a:pt x="9985" y="61514"/>
                    </a:cubicBezTo>
                    <a:cubicBezTo>
                      <a:pt x="1015" y="67922"/>
                      <a:pt x="-2830" y="82019"/>
                      <a:pt x="2296" y="82019"/>
                    </a:cubicBezTo>
                    <a:cubicBezTo>
                      <a:pt x="7422" y="82019"/>
                      <a:pt x="17675" y="65359"/>
                      <a:pt x="13830" y="61514"/>
                    </a:cubicBezTo>
                    <a:cubicBezTo>
                      <a:pt x="13830" y="61514"/>
                      <a:pt x="12548" y="61514"/>
                      <a:pt x="12548" y="60233"/>
                    </a:cubicBezTo>
                    <a:cubicBezTo>
                      <a:pt x="17675" y="46136"/>
                      <a:pt x="24082" y="33320"/>
                      <a:pt x="29209" y="20505"/>
                    </a:cubicBezTo>
                    <a:cubicBezTo>
                      <a:pt x="38179" y="14097"/>
                      <a:pt x="42024" y="0"/>
                      <a:pt x="38179" y="0"/>
                    </a:cubicBezTo>
                    <a:cubicBezTo>
                      <a:pt x="38179" y="0"/>
                      <a:pt x="36898" y="0"/>
                      <a:pt x="36898" y="0"/>
                    </a:cubicBezTo>
                    <a:cubicBezTo>
                      <a:pt x="30490" y="3845"/>
                      <a:pt x="26645" y="12816"/>
                      <a:pt x="25364"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0" name="Freeform: Shape 379410">
                <a:extLst>
                  <a:ext uri="{FF2B5EF4-FFF2-40B4-BE49-F238E27FC236}">
                    <a16:creationId xmlns:a16="http://schemas.microsoft.com/office/drawing/2014/main" id="{1DED6A4E-3EAA-46D1-A394-F775693DC3A1}"/>
                  </a:ext>
                </a:extLst>
              </p:cNvPr>
              <p:cNvSpPr/>
              <p:nvPr/>
            </p:nvSpPr>
            <p:spPr>
              <a:xfrm>
                <a:off x="4614478" y="2691111"/>
                <a:ext cx="26695" cy="51261"/>
              </a:xfrm>
              <a:custGeom>
                <a:avLst/>
                <a:gdLst>
                  <a:gd name="connsiteX0" fmla="*/ 11584 w 26695"/>
                  <a:gd name="connsiteY0" fmla="*/ 14097 h 51261"/>
                  <a:gd name="connsiteX1" fmla="*/ 12865 w 26695"/>
                  <a:gd name="connsiteY1" fmla="*/ 20505 h 51261"/>
                  <a:gd name="connsiteX2" fmla="*/ 9020 w 26695"/>
                  <a:gd name="connsiteY2" fmla="*/ 30757 h 51261"/>
                  <a:gd name="connsiteX3" fmla="*/ 2613 w 26695"/>
                  <a:gd name="connsiteY3" fmla="*/ 51262 h 51261"/>
                  <a:gd name="connsiteX4" fmla="*/ 14147 w 26695"/>
                  <a:gd name="connsiteY4" fmla="*/ 30757 h 51261"/>
                  <a:gd name="connsiteX5" fmla="*/ 12865 w 26695"/>
                  <a:gd name="connsiteY5" fmla="*/ 30757 h 51261"/>
                  <a:gd name="connsiteX6" fmla="*/ 16710 w 26695"/>
                  <a:gd name="connsiteY6" fmla="*/ 20505 h 51261"/>
                  <a:gd name="connsiteX7" fmla="*/ 24399 w 26695"/>
                  <a:gd name="connsiteY7" fmla="*/ 0 h 51261"/>
                  <a:gd name="connsiteX8" fmla="*/ 23118 w 26695"/>
                  <a:gd name="connsiteY8" fmla="*/ 0 h 51261"/>
                  <a:gd name="connsiteX9" fmla="*/ 11584 w 26695"/>
                  <a:gd name="connsiteY9" fmla="*/ 14097 h 5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695" h="51261">
                    <a:moveTo>
                      <a:pt x="11584" y="14097"/>
                    </a:moveTo>
                    <a:cubicBezTo>
                      <a:pt x="10302" y="16660"/>
                      <a:pt x="10302" y="20505"/>
                      <a:pt x="12865" y="20505"/>
                    </a:cubicBezTo>
                    <a:cubicBezTo>
                      <a:pt x="11584" y="24349"/>
                      <a:pt x="10302" y="26912"/>
                      <a:pt x="9020" y="30757"/>
                    </a:cubicBezTo>
                    <a:cubicBezTo>
                      <a:pt x="50" y="37165"/>
                      <a:pt x="-2514" y="51262"/>
                      <a:pt x="2613" y="51262"/>
                    </a:cubicBezTo>
                    <a:cubicBezTo>
                      <a:pt x="9020" y="51262"/>
                      <a:pt x="17991" y="34602"/>
                      <a:pt x="14147" y="30757"/>
                    </a:cubicBezTo>
                    <a:cubicBezTo>
                      <a:pt x="14147" y="30757"/>
                      <a:pt x="12865" y="30757"/>
                      <a:pt x="12865" y="30757"/>
                    </a:cubicBezTo>
                    <a:cubicBezTo>
                      <a:pt x="14147" y="26912"/>
                      <a:pt x="15428" y="24349"/>
                      <a:pt x="16710" y="20505"/>
                    </a:cubicBezTo>
                    <a:cubicBezTo>
                      <a:pt x="25680" y="14097"/>
                      <a:pt x="29525" y="0"/>
                      <a:pt x="24399" y="0"/>
                    </a:cubicBezTo>
                    <a:cubicBezTo>
                      <a:pt x="24399" y="0"/>
                      <a:pt x="23118" y="0"/>
                      <a:pt x="23118" y="0"/>
                    </a:cubicBezTo>
                    <a:cubicBezTo>
                      <a:pt x="15428" y="2563"/>
                      <a:pt x="11584" y="11534"/>
                      <a:pt x="11584"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1" name="Freeform: Shape 379411">
                <a:extLst>
                  <a:ext uri="{FF2B5EF4-FFF2-40B4-BE49-F238E27FC236}">
                    <a16:creationId xmlns:a16="http://schemas.microsoft.com/office/drawing/2014/main" id="{9F6793AF-C50A-4F6B-A9B1-1D0161255F42}"/>
                  </a:ext>
                </a:extLst>
              </p:cNvPr>
              <p:cNvSpPr/>
              <p:nvPr/>
            </p:nvSpPr>
            <p:spPr>
              <a:xfrm>
                <a:off x="4676990" y="2698800"/>
                <a:ext cx="15212" cy="21486"/>
              </a:xfrm>
              <a:custGeom>
                <a:avLst/>
                <a:gdLst>
                  <a:gd name="connsiteX0" fmla="*/ 333 w 15212"/>
                  <a:gd name="connsiteY0" fmla="*/ 14097 h 21486"/>
                  <a:gd name="connsiteX1" fmla="*/ 5459 w 15212"/>
                  <a:gd name="connsiteY1" fmla="*/ 20505 h 21486"/>
                  <a:gd name="connsiteX2" fmla="*/ 13149 w 15212"/>
                  <a:gd name="connsiteY2" fmla="*/ 0 h 21486"/>
                  <a:gd name="connsiteX3" fmla="*/ 10586 w 15212"/>
                  <a:gd name="connsiteY3" fmla="*/ 0 h 21486"/>
                  <a:gd name="connsiteX4" fmla="*/ 333 w 15212"/>
                  <a:gd name="connsiteY4" fmla="*/ 14097 h 21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2" h="21486">
                    <a:moveTo>
                      <a:pt x="333" y="14097"/>
                    </a:moveTo>
                    <a:cubicBezTo>
                      <a:pt x="-948" y="20505"/>
                      <a:pt x="1615" y="23068"/>
                      <a:pt x="5459" y="20505"/>
                    </a:cubicBezTo>
                    <a:cubicBezTo>
                      <a:pt x="13149" y="16660"/>
                      <a:pt x="18275" y="2563"/>
                      <a:pt x="13149" y="0"/>
                    </a:cubicBezTo>
                    <a:cubicBezTo>
                      <a:pt x="11867" y="0"/>
                      <a:pt x="11867" y="0"/>
                      <a:pt x="10586" y="0"/>
                    </a:cubicBezTo>
                    <a:cubicBezTo>
                      <a:pt x="5459" y="2563"/>
                      <a:pt x="1615" y="8971"/>
                      <a:pt x="33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2" name="Freeform: Shape 379412">
                <a:extLst>
                  <a:ext uri="{FF2B5EF4-FFF2-40B4-BE49-F238E27FC236}">
                    <a16:creationId xmlns:a16="http://schemas.microsoft.com/office/drawing/2014/main" id="{74E78E3B-EE75-4F28-A39D-6492273D14A3}"/>
                  </a:ext>
                </a:extLst>
              </p:cNvPr>
              <p:cNvSpPr/>
              <p:nvPr/>
            </p:nvSpPr>
            <p:spPr>
              <a:xfrm>
                <a:off x="4698783" y="2691111"/>
                <a:ext cx="16487" cy="21486"/>
              </a:xfrm>
              <a:custGeom>
                <a:avLst/>
                <a:gdLst>
                  <a:gd name="connsiteX0" fmla="*/ 326 w 16487"/>
                  <a:gd name="connsiteY0" fmla="*/ 14097 h 21486"/>
                  <a:gd name="connsiteX1" fmla="*/ 6735 w 16487"/>
                  <a:gd name="connsiteY1" fmla="*/ 20505 h 21486"/>
                  <a:gd name="connsiteX2" fmla="*/ 14424 w 16487"/>
                  <a:gd name="connsiteY2" fmla="*/ 0 h 21486"/>
                  <a:gd name="connsiteX3" fmla="*/ 11860 w 16487"/>
                  <a:gd name="connsiteY3" fmla="*/ 0 h 21486"/>
                  <a:gd name="connsiteX4" fmla="*/ 326 w 16487"/>
                  <a:gd name="connsiteY4" fmla="*/ 14097 h 21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87" h="21486">
                    <a:moveTo>
                      <a:pt x="326" y="14097"/>
                    </a:moveTo>
                    <a:cubicBezTo>
                      <a:pt x="-955" y="20505"/>
                      <a:pt x="1608" y="23068"/>
                      <a:pt x="6735" y="20505"/>
                    </a:cubicBezTo>
                    <a:cubicBezTo>
                      <a:pt x="14424" y="16660"/>
                      <a:pt x="19550" y="2563"/>
                      <a:pt x="14424" y="0"/>
                    </a:cubicBezTo>
                    <a:cubicBezTo>
                      <a:pt x="13142" y="0"/>
                      <a:pt x="13142" y="0"/>
                      <a:pt x="11860" y="0"/>
                    </a:cubicBezTo>
                    <a:cubicBezTo>
                      <a:pt x="5453" y="2563"/>
                      <a:pt x="1608" y="10252"/>
                      <a:pt x="32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3" name="Freeform: Shape 379413">
                <a:extLst>
                  <a:ext uri="{FF2B5EF4-FFF2-40B4-BE49-F238E27FC236}">
                    <a16:creationId xmlns:a16="http://schemas.microsoft.com/office/drawing/2014/main" id="{B6E39346-FFAD-4C9F-9DE7-8998EA1FF212}"/>
                  </a:ext>
                </a:extLst>
              </p:cNvPr>
              <p:cNvSpPr/>
              <p:nvPr/>
            </p:nvSpPr>
            <p:spPr>
              <a:xfrm>
                <a:off x="4721929" y="2647538"/>
                <a:ext cx="48068" cy="57269"/>
              </a:xfrm>
              <a:custGeom>
                <a:avLst/>
                <a:gdLst>
                  <a:gd name="connsiteX0" fmla="*/ 248 w 48068"/>
                  <a:gd name="connsiteY0" fmla="*/ 51262 h 57269"/>
                  <a:gd name="connsiteX1" fmla="*/ 7938 w 48068"/>
                  <a:gd name="connsiteY1" fmla="*/ 55106 h 57269"/>
                  <a:gd name="connsiteX2" fmla="*/ 15627 w 48068"/>
                  <a:gd name="connsiteY2" fmla="*/ 39728 h 57269"/>
                  <a:gd name="connsiteX3" fmla="*/ 33569 w 48068"/>
                  <a:gd name="connsiteY3" fmla="*/ 20505 h 57269"/>
                  <a:gd name="connsiteX4" fmla="*/ 47666 w 48068"/>
                  <a:gd name="connsiteY4" fmla="*/ 2563 h 57269"/>
                  <a:gd name="connsiteX5" fmla="*/ 42540 w 48068"/>
                  <a:gd name="connsiteY5" fmla="*/ 0 h 57269"/>
                  <a:gd name="connsiteX6" fmla="*/ 31006 w 48068"/>
                  <a:gd name="connsiteY6" fmla="*/ 17942 h 57269"/>
                  <a:gd name="connsiteX7" fmla="*/ 13064 w 48068"/>
                  <a:gd name="connsiteY7" fmla="*/ 37165 h 57269"/>
                  <a:gd name="connsiteX8" fmla="*/ 248 w 48068"/>
                  <a:gd name="connsiteY8" fmla="*/ 51262 h 5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068" h="57269">
                    <a:moveTo>
                      <a:pt x="248" y="51262"/>
                    </a:moveTo>
                    <a:cubicBezTo>
                      <a:pt x="-1033" y="57670"/>
                      <a:pt x="2811" y="58951"/>
                      <a:pt x="7938" y="55106"/>
                    </a:cubicBezTo>
                    <a:cubicBezTo>
                      <a:pt x="11782" y="52543"/>
                      <a:pt x="16909" y="44854"/>
                      <a:pt x="15627" y="39728"/>
                    </a:cubicBezTo>
                    <a:cubicBezTo>
                      <a:pt x="20753" y="33320"/>
                      <a:pt x="28443" y="25631"/>
                      <a:pt x="33569" y="20505"/>
                    </a:cubicBezTo>
                    <a:cubicBezTo>
                      <a:pt x="39977" y="23068"/>
                      <a:pt x="50229" y="8971"/>
                      <a:pt x="47666" y="2563"/>
                    </a:cubicBezTo>
                    <a:cubicBezTo>
                      <a:pt x="46384" y="0"/>
                      <a:pt x="43821" y="0"/>
                      <a:pt x="42540" y="0"/>
                    </a:cubicBezTo>
                    <a:cubicBezTo>
                      <a:pt x="34850" y="3845"/>
                      <a:pt x="31006" y="12815"/>
                      <a:pt x="31006" y="17942"/>
                    </a:cubicBezTo>
                    <a:cubicBezTo>
                      <a:pt x="25879" y="24349"/>
                      <a:pt x="19472" y="30757"/>
                      <a:pt x="13064" y="37165"/>
                    </a:cubicBezTo>
                    <a:cubicBezTo>
                      <a:pt x="9219" y="33320"/>
                      <a:pt x="1530" y="43573"/>
                      <a:pt x="248" y="5126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4" name="Freeform: Shape 379414">
                <a:extLst>
                  <a:ext uri="{FF2B5EF4-FFF2-40B4-BE49-F238E27FC236}">
                    <a16:creationId xmlns:a16="http://schemas.microsoft.com/office/drawing/2014/main" id="{CC22EF68-BFC7-45F4-852F-413A7FDFB2E4}"/>
                  </a:ext>
                </a:extLst>
              </p:cNvPr>
              <p:cNvSpPr/>
              <p:nvPr/>
            </p:nvSpPr>
            <p:spPr>
              <a:xfrm>
                <a:off x="4768065" y="2668043"/>
                <a:ext cx="16679" cy="21029"/>
              </a:xfrm>
              <a:custGeom>
                <a:avLst/>
                <a:gdLst>
                  <a:gd name="connsiteX0" fmla="*/ 248 w 16679"/>
                  <a:gd name="connsiteY0" fmla="*/ 14097 h 21029"/>
                  <a:gd name="connsiteX1" fmla="*/ 7938 w 16679"/>
                  <a:gd name="connsiteY1" fmla="*/ 19223 h 21029"/>
                  <a:gd name="connsiteX2" fmla="*/ 14345 w 16679"/>
                  <a:gd name="connsiteY2" fmla="*/ 0 h 21029"/>
                  <a:gd name="connsiteX3" fmla="*/ 11782 w 16679"/>
                  <a:gd name="connsiteY3" fmla="*/ 0 h 21029"/>
                  <a:gd name="connsiteX4" fmla="*/ 248 w 16679"/>
                  <a:gd name="connsiteY4" fmla="*/ 14097 h 2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9" h="21029">
                    <a:moveTo>
                      <a:pt x="248" y="14097"/>
                    </a:moveTo>
                    <a:cubicBezTo>
                      <a:pt x="-1033" y="20505"/>
                      <a:pt x="2811" y="23068"/>
                      <a:pt x="7938" y="19223"/>
                    </a:cubicBezTo>
                    <a:cubicBezTo>
                      <a:pt x="15627" y="14097"/>
                      <a:pt x="19472" y="1282"/>
                      <a:pt x="14345" y="0"/>
                    </a:cubicBezTo>
                    <a:cubicBezTo>
                      <a:pt x="13064" y="0"/>
                      <a:pt x="13064" y="0"/>
                      <a:pt x="11782" y="0"/>
                    </a:cubicBezTo>
                    <a:cubicBezTo>
                      <a:pt x="5375" y="2563"/>
                      <a:pt x="1530" y="10252"/>
                      <a:pt x="24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5" name="Freeform: Shape 379415">
                <a:extLst>
                  <a:ext uri="{FF2B5EF4-FFF2-40B4-BE49-F238E27FC236}">
                    <a16:creationId xmlns:a16="http://schemas.microsoft.com/office/drawing/2014/main" id="{17E60A0C-444C-47DE-B2FE-5013B435AF03}"/>
                  </a:ext>
                </a:extLst>
              </p:cNvPr>
              <p:cNvSpPr/>
              <p:nvPr/>
            </p:nvSpPr>
            <p:spPr>
              <a:xfrm>
                <a:off x="4792297" y="2630878"/>
                <a:ext cx="25080" cy="50062"/>
              </a:xfrm>
              <a:custGeom>
                <a:avLst/>
                <a:gdLst>
                  <a:gd name="connsiteX0" fmla="*/ 8055 w 25080"/>
                  <a:gd name="connsiteY0" fmla="*/ 15379 h 50062"/>
                  <a:gd name="connsiteX1" fmla="*/ 11899 w 25080"/>
                  <a:gd name="connsiteY1" fmla="*/ 21786 h 50062"/>
                  <a:gd name="connsiteX2" fmla="*/ 9337 w 25080"/>
                  <a:gd name="connsiteY2" fmla="*/ 30757 h 50062"/>
                  <a:gd name="connsiteX3" fmla="*/ 2928 w 25080"/>
                  <a:gd name="connsiteY3" fmla="*/ 49980 h 50062"/>
                  <a:gd name="connsiteX4" fmla="*/ 17026 w 25080"/>
                  <a:gd name="connsiteY4" fmla="*/ 30757 h 50062"/>
                  <a:gd name="connsiteX5" fmla="*/ 13181 w 25080"/>
                  <a:gd name="connsiteY5" fmla="*/ 28194 h 50062"/>
                  <a:gd name="connsiteX6" fmla="*/ 15744 w 25080"/>
                  <a:gd name="connsiteY6" fmla="*/ 19223 h 50062"/>
                  <a:gd name="connsiteX7" fmla="*/ 22152 w 25080"/>
                  <a:gd name="connsiteY7" fmla="*/ 0 h 50062"/>
                  <a:gd name="connsiteX8" fmla="*/ 19589 w 25080"/>
                  <a:gd name="connsiteY8" fmla="*/ 0 h 50062"/>
                  <a:gd name="connsiteX9" fmla="*/ 8055 w 25080"/>
                  <a:gd name="connsiteY9" fmla="*/ 15379 h 5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80" h="50062">
                    <a:moveTo>
                      <a:pt x="8055" y="15379"/>
                    </a:moveTo>
                    <a:cubicBezTo>
                      <a:pt x="8055" y="17942"/>
                      <a:pt x="8055" y="20505"/>
                      <a:pt x="11899" y="21786"/>
                    </a:cubicBezTo>
                    <a:cubicBezTo>
                      <a:pt x="10618" y="24349"/>
                      <a:pt x="10618" y="28194"/>
                      <a:pt x="9337" y="30757"/>
                    </a:cubicBezTo>
                    <a:cubicBezTo>
                      <a:pt x="-916" y="37165"/>
                      <a:pt x="-2197" y="48699"/>
                      <a:pt x="2928" y="49980"/>
                    </a:cubicBezTo>
                    <a:cubicBezTo>
                      <a:pt x="9337" y="51262"/>
                      <a:pt x="19589" y="37165"/>
                      <a:pt x="17026" y="30757"/>
                    </a:cubicBezTo>
                    <a:cubicBezTo>
                      <a:pt x="15744" y="29475"/>
                      <a:pt x="14462" y="28194"/>
                      <a:pt x="13181" y="28194"/>
                    </a:cubicBezTo>
                    <a:cubicBezTo>
                      <a:pt x="14462" y="25631"/>
                      <a:pt x="14462" y="21786"/>
                      <a:pt x="15744" y="19223"/>
                    </a:cubicBezTo>
                    <a:cubicBezTo>
                      <a:pt x="25996" y="12815"/>
                      <a:pt x="27278" y="1282"/>
                      <a:pt x="22152" y="0"/>
                    </a:cubicBezTo>
                    <a:cubicBezTo>
                      <a:pt x="20871" y="0"/>
                      <a:pt x="19589" y="0"/>
                      <a:pt x="19589" y="0"/>
                    </a:cubicBezTo>
                    <a:cubicBezTo>
                      <a:pt x="11899" y="5126"/>
                      <a:pt x="9337" y="12815"/>
                      <a:pt x="8055"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6" name="Freeform: Shape 379416">
                <a:extLst>
                  <a:ext uri="{FF2B5EF4-FFF2-40B4-BE49-F238E27FC236}">
                    <a16:creationId xmlns:a16="http://schemas.microsoft.com/office/drawing/2014/main" id="{72C90417-58B1-4AFC-ACA9-1FAD5A9BE9BE}"/>
                  </a:ext>
                </a:extLst>
              </p:cNvPr>
              <p:cNvSpPr/>
              <p:nvPr/>
            </p:nvSpPr>
            <p:spPr>
              <a:xfrm>
                <a:off x="5056948" y="2579616"/>
                <a:ext cx="22496" cy="48780"/>
              </a:xfrm>
              <a:custGeom>
                <a:avLst/>
                <a:gdLst>
                  <a:gd name="connsiteX0" fmla="*/ 3559 w 22496"/>
                  <a:gd name="connsiteY0" fmla="*/ 15379 h 48780"/>
                  <a:gd name="connsiteX1" fmla="*/ 9967 w 22496"/>
                  <a:gd name="connsiteY1" fmla="*/ 20505 h 48780"/>
                  <a:gd name="connsiteX2" fmla="*/ 8685 w 22496"/>
                  <a:gd name="connsiteY2" fmla="*/ 29476 h 48780"/>
                  <a:gd name="connsiteX3" fmla="*/ 4841 w 22496"/>
                  <a:gd name="connsiteY3" fmla="*/ 48699 h 48780"/>
                  <a:gd name="connsiteX4" fmla="*/ 17656 w 22496"/>
                  <a:gd name="connsiteY4" fmla="*/ 30757 h 48780"/>
                  <a:gd name="connsiteX5" fmla="*/ 12530 w 22496"/>
                  <a:gd name="connsiteY5" fmla="*/ 29476 h 48780"/>
                  <a:gd name="connsiteX6" fmla="*/ 13811 w 22496"/>
                  <a:gd name="connsiteY6" fmla="*/ 19223 h 48780"/>
                  <a:gd name="connsiteX7" fmla="*/ 17656 w 22496"/>
                  <a:gd name="connsiteY7" fmla="*/ 0 h 48780"/>
                  <a:gd name="connsiteX8" fmla="*/ 13811 w 22496"/>
                  <a:gd name="connsiteY8" fmla="*/ 0 h 48780"/>
                  <a:gd name="connsiteX9" fmla="*/ 3559 w 22496"/>
                  <a:gd name="connsiteY9" fmla="*/ 15379 h 48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96" h="48780">
                    <a:moveTo>
                      <a:pt x="3559" y="15379"/>
                    </a:moveTo>
                    <a:cubicBezTo>
                      <a:pt x="3559" y="17942"/>
                      <a:pt x="4841" y="20505"/>
                      <a:pt x="9967" y="20505"/>
                    </a:cubicBezTo>
                    <a:cubicBezTo>
                      <a:pt x="9967" y="23068"/>
                      <a:pt x="8685" y="26912"/>
                      <a:pt x="8685" y="29476"/>
                    </a:cubicBezTo>
                    <a:cubicBezTo>
                      <a:pt x="-2849" y="35883"/>
                      <a:pt x="-1567" y="47417"/>
                      <a:pt x="4841" y="48699"/>
                    </a:cubicBezTo>
                    <a:cubicBezTo>
                      <a:pt x="13811" y="49980"/>
                      <a:pt x="22782" y="35883"/>
                      <a:pt x="17656" y="30757"/>
                    </a:cubicBezTo>
                    <a:cubicBezTo>
                      <a:pt x="16375" y="29476"/>
                      <a:pt x="13811" y="29476"/>
                      <a:pt x="12530" y="29476"/>
                    </a:cubicBezTo>
                    <a:cubicBezTo>
                      <a:pt x="13811" y="25631"/>
                      <a:pt x="13811" y="23068"/>
                      <a:pt x="13811" y="19223"/>
                    </a:cubicBezTo>
                    <a:cubicBezTo>
                      <a:pt x="25345" y="12815"/>
                      <a:pt x="24064" y="1282"/>
                      <a:pt x="17656" y="0"/>
                    </a:cubicBezTo>
                    <a:cubicBezTo>
                      <a:pt x="16375" y="0"/>
                      <a:pt x="15093" y="0"/>
                      <a:pt x="13811" y="0"/>
                    </a:cubicBezTo>
                    <a:cubicBezTo>
                      <a:pt x="4841" y="5126"/>
                      <a:pt x="3559" y="12815"/>
                      <a:pt x="3559"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7" name="Freeform: Shape 379417">
                <a:extLst>
                  <a:ext uri="{FF2B5EF4-FFF2-40B4-BE49-F238E27FC236}">
                    <a16:creationId xmlns:a16="http://schemas.microsoft.com/office/drawing/2014/main" id="{7DDCB7A3-D881-4CC0-B3BB-53E3EFD3F912}"/>
                  </a:ext>
                </a:extLst>
              </p:cNvPr>
              <p:cNvSpPr/>
              <p:nvPr/>
            </p:nvSpPr>
            <p:spPr>
              <a:xfrm>
                <a:off x="5047691" y="2480937"/>
                <a:ext cx="61229" cy="110393"/>
              </a:xfrm>
              <a:custGeom>
                <a:avLst/>
                <a:gdLst>
                  <a:gd name="connsiteX0" fmla="*/ 3844 w 61229"/>
                  <a:gd name="connsiteY0" fmla="*/ 12815 h 110393"/>
                  <a:gd name="connsiteX1" fmla="*/ 8971 w 61229"/>
                  <a:gd name="connsiteY1" fmla="*/ 17942 h 110393"/>
                  <a:gd name="connsiteX2" fmla="*/ 0 w 61229"/>
                  <a:gd name="connsiteY2" fmla="*/ 64077 h 110393"/>
                  <a:gd name="connsiteX3" fmla="*/ 43573 w 61229"/>
                  <a:gd name="connsiteY3" fmla="*/ 98679 h 110393"/>
                  <a:gd name="connsiteX4" fmla="*/ 52544 w 61229"/>
                  <a:gd name="connsiteY4" fmla="*/ 108931 h 110393"/>
                  <a:gd name="connsiteX5" fmla="*/ 57670 w 61229"/>
                  <a:gd name="connsiteY5" fmla="*/ 90990 h 110393"/>
                  <a:gd name="connsiteX6" fmla="*/ 46136 w 61229"/>
                  <a:gd name="connsiteY6" fmla="*/ 94834 h 110393"/>
                  <a:gd name="connsiteX7" fmla="*/ 3844 w 61229"/>
                  <a:gd name="connsiteY7" fmla="*/ 61514 h 110393"/>
                  <a:gd name="connsiteX8" fmla="*/ 12815 w 61229"/>
                  <a:gd name="connsiteY8" fmla="*/ 16660 h 110393"/>
                  <a:gd name="connsiteX9" fmla="*/ 17942 w 61229"/>
                  <a:gd name="connsiteY9" fmla="*/ 0 h 110393"/>
                  <a:gd name="connsiteX10" fmla="*/ 14097 w 61229"/>
                  <a:gd name="connsiteY10" fmla="*/ 0 h 110393"/>
                  <a:gd name="connsiteX11" fmla="*/ 3844 w 61229"/>
                  <a:gd name="connsiteY11" fmla="*/ 12815 h 110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229" h="110393">
                    <a:moveTo>
                      <a:pt x="3844" y="12815"/>
                    </a:moveTo>
                    <a:cubicBezTo>
                      <a:pt x="3844" y="15379"/>
                      <a:pt x="5126" y="17942"/>
                      <a:pt x="8971" y="17942"/>
                    </a:cubicBezTo>
                    <a:cubicBezTo>
                      <a:pt x="6408" y="33320"/>
                      <a:pt x="2563" y="48699"/>
                      <a:pt x="0" y="64077"/>
                    </a:cubicBezTo>
                    <a:cubicBezTo>
                      <a:pt x="12815" y="74330"/>
                      <a:pt x="30757" y="88427"/>
                      <a:pt x="43573" y="98679"/>
                    </a:cubicBezTo>
                    <a:cubicBezTo>
                      <a:pt x="39728" y="108931"/>
                      <a:pt x="46136" y="112776"/>
                      <a:pt x="52544" y="108931"/>
                    </a:cubicBezTo>
                    <a:cubicBezTo>
                      <a:pt x="61514" y="105087"/>
                      <a:pt x="64078" y="93553"/>
                      <a:pt x="57670" y="90990"/>
                    </a:cubicBezTo>
                    <a:cubicBezTo>
                      <a:pt x="56388" y="90990"/>
                      <a:pt x="52544" y="89708"/>
                      <a:pt x="46136" y="94834"/>
                    </a:cubicBezTo>
                    <a:lnTo>
                      <a:pt x="3844" y="61514"/>
                    </a:lnTo>
                    <a:cubicBezTo>
                      <a:pt x="6408" y="46136"/>
                      <a:pt x="8971" y="32039"/>
                      <a:pt x="12815" y="16660"/>
                    </a:cubicBezTo>
                    <a:cubicBezTo>
                      <a:pt x="23068" y="11534"/>
                      <a:pt x="23068" y="1282"/>
                      <a:pt x="17942" y="0"/>
                    </a:cubicBezTo>
                    <a:cubicBezTo>
                      <a:pt x="16660" y="0"/>
                      <a:pt x="15378" y="0"/>
                      <a:pt x="14097" y="0"/>
                    </a:cubicBezTo>
                    <a:cubicBezTo>
                      <a:pt x="5126" y="3845"/>
                      <a:pt x="3844" y="11534"/>
                      <a:pt x="3844"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8" name="Freeform: Shape 379418">
                <a:extLst>
                  <a:ext uri="{FF2B5EF4-FFF2-40B4-BE49-F238E27FC236}">
                    <a16:creationId xmlns:a16="http://schemas.microsoft.com/office/drawing/2014/main" id="{CC19D569-08A2-4B9A-9B1E-BCB3D3C9B82E}"/>
                  </a:ext>
                </a:extLst>
              </p:cNvPr>
              <p:cNvSpPr/>
              <p:nvPr/>
            </p:nvSpPr>
            <p:spPr>
              <a:xfrm>
                <a:off x="5438564" y="2437880"/>
                <a:ext cx="83505" cy="60921"/>
              </a:xfrm>
              <a:custGeom>
                <a:avLst/>
                <a:gdLst>
                  <a:gd name="connsiteX0" fmla="*/ 0 w 83505"/>
                  <a:gd name="connsiteY0" fmla="*/ 55873 h 60921"/>
                  <a:gd name="connsiteX1" fmla="*/ 20505 w 83505"/>
                  <a:gd name="connsiteY1" fmla="*/ 53310 h 60921"/>
                  <a:gd name="connsiteX2" fmla="*/ 21787 w 83505"/>
                  <a:gd name="connsiteY2" fmla="*/ 50747 h 60921"/>
                  <a:gd name="connsiteX3" fmla="*/ 44855 w 83505"/>
                  <a:gd name="connsiteY3" fmla="*/ 44339 h 60921"/>
                  <a:gd name="connsiteX4" fmla="*/ 67922 w 83505"/>
                  <a:gd name="connsiteY4" fmla="*/ 17427 h 60921"/>
                  <a:gd name="connsiteX5" fmla="*/ 82019 w 83505"/>
                  <a:gd name="connsiteY5" fmla="*/ 3330 h 60921"/>
                  <a:gd name="connsiteX6" fmla="*/ 71767 w 83505"/>
                  <a:gd name="connsiteY6" fmla="*/ 766 h 60921"/>
                  <a:gd name="connsiteX7" fmla="*/ 64078 w 83505"/>
                  <a:gd name="connsiteY7" fmla="*/ 16145 h 60921"/>
                  <a:gd name="connsiteX8" fmla="*/ 42291 w 83505"/>
                  <a:gd name="connsiteY8" fmla="*/ 41776 h 60921"/>
                  <a:gd name="connsiteX9" fmla="*/ 20505 w 83505"/>
                  <a:gd name="connsiteY9" fmla="*/ 46902 h 60921"/>
                  <a:gd name="connsiteX10" fmla="*/ 0 w 83505"/>
                  <a:gd name="connsiteY10" fmla="*/ 50747 h 60921"/>
                  <a:gd name="connsiteX11" fmla="*/ 0 w 83505"/>
                  <a:gd name="connsiteY11" fmla="*/ 55873 h 60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505" h="60921">
                    <a:moveTo>
                      <a:pt x="0" y="55873"/>
                    </a:moveTo>
                    <a:cubicBezTo>
                      <a:pt x="2563" y="63562"/>
                      <a:pt x="15379" y="62281"/>
                      <a:pt x="20505" y="53310"/>
                    </a:cubicBezTo>
                    <a:cubicBezTo>
                      <a:pt x="20505" y="52028"/>
                      <a:pt x="21787" y="50747"/>
                      <a:pt x="21787" y="50747"/>
                    </a:cubicBezTo>
                    <a:cubicBezTo>
                      <a:pt x="29476" y="48184"/>
                      <a:pt x="37165" y="46902"/>
                      <a:pt x="44855" y="44339"/>
                    </a:cubicBezTo>
                    <a:cubicBezTo>
                      <a:pt x="51262" y="36650"/>
                      <a:pt x="61514" y="25116"/>
                      <a:pt x="67922" y="17427"/>
                    </a:cubicBezTo>
                    <a:cubicBezTo>
                      <a:pt x="78175" y="19990"/>
                      <a:pt x="87145" y="9737"/>
                      <a:pt x="82019" y="3330"/>
                    </a:cubicBezTo>
                    <a:cubicBezTo>
                      <a:pt x="79456" y="-515"/>
                      <a:pt x="73048" y="-515"/>
                      <a:pt x="71767" y="766"/>
                    </a:cubicBezTo>
                    <a:cubicBezTo>
                      <a:pt x="61514" y="4611"/>
                      <a:pt x="60233" y="12300"/>
                      <a:pt x="64078" y="16145"/>
                    </a:cubicBezTo>
                    <a:lnTo>
                      <a:pt x="42291" y="41776"/>
                    </a:lnTo>
                    <a:cubicBezTo>
                      <a:pt x="34602" y="43057"/>
                      <a:pt x="28194" y="45621"/>
                      <a:pt x="20505" y="46902"/>
                    </a:cubicBezTo>
                    <a:cubicBezTo>
                      <a:pt x="16660" y="37931"/>
                      <a:pt x="2563" y="43057"/>
                      <a:pt x="0" y="50747"/>
                    </a:cubicBezTo>
                    <a:cubicBezTo>
                      <a:pt x="0" y="52028"/>
                      <a:pt x="0" y="54591"/>
                      <a:pt x="0" y="5587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299" name="Freeform: Shape 379419">
                <a:extLst>
                  <a:ext uri="{FF2B5EF4-FFF2-40B4-BE49-F238E27FC236}">
                    <a16:creationId xmlns:a16="http://schemas.microsoft.com/office/drawing/2014/main" id="{0C5B176C-4265-471D-AF72-211E650B3F9D}"/>
                  </a:ext>
                </a:extLst>
              </p:cNvPr>
              <p:cNvSpPr/>
              <p:nvPr/>
            </p:nvSpPr>
            <p:spPr>
              <a:xfrm>
                <a:off x="6295417" y="2272757"/>
                <a:ext cx="38335" cy="38537"/>
              </a:xfrm>
              <a:custGeom>
                <a:avLst/>
                <a:gdLst>
                  <a:gd name="connsiteX0" fmla="*/ 3067 w 38335"/>
                  <a:gd name="connsiteY0" fmla="*/ 9540 h 38537"/>
                  <a:gd name="connsiteX1" fmla="*/ 14601 w 38335"/>
                  <a:gd name="connsiteY1" fmla="*/ 14667 h 38537"/>
                  <a:gd name="connsiteX2" fmla="*/ 19727 w 38335"/>
                  <a:gd name="connsiteY2" fmla="*/ 22356 h 38537"/>
                  <a:gd name="connsiteX3" fmla="*/ 27417 w 38335"/>
                  <a:gd name="connsiteY3" fmla="*/ 37734 h 38537"/>
                  <a:gd name="connsiteX4" fmla="*/ 37669 w 38335"/>
                  <a:gd name="connsiteY4" fmla="*/ 30045 h 38537"/>
                  <a:gd name="connsiteX5" fmla="*/ 23572 w 38335"/>
                  <a:gd name="connsiteY5" fmla="*/ 22356 h 38537"/>
                  <a:gd name="connsiteX6" fmla="*/ 18446 w 38335"/>
                  <a:gd name="connsiteY6" fmla="*/ 14667 h 38537"/>
                  <a:gd name="connsiteX7" fmla="*/ 10756 w 38335"/>
                  <a:gd name="connsiteY7" fmla="*/ 570 h 38537"/>
                  <a:gd name="connsiteX8" fmla="*/ 4349 w 38335"/>
                  <a:gd name="connsiteY8" fmla="*/ 570 h 38537"/>
                  <a:gd name="connsiteX9" fmla="*/ 3067 w 38335"/>
                  <a:gd name="connsiteY9" fmla="*/ 9540 h 38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335" h="38537">
                    <a:moveTo>
                      <a:pt x="3067" y="9540"/>
                    </a:moveTo>
                    <a:cubicBezTo>
                      <a:pt x="5630" y="12103"/>
                      <a:pt x="8193" y="14667"/>
                      <a:pt x="14601" y="14667"/>
                    </a:cubicBezTo>
                    <a:cubicBezTo>
                      <a:pt x="15883" y="17230"/>
                      <a:pt x="18446" y="19793"/>
                      <a:pt x="19727" y="22356"/>
                    </a:cubicBezTo>
                    <a:cubicBezTo>
                      <a:pt x="12038" y="26200"/>
                      <a:pt x="19727" y="35171"/>
                      <a:pt x="27417" y="37734"/>
                    </a:cubicBezTo>
                    <a:cubicBezTo>
                      <a:pt x="35106" y="40297"/>
                      <a:pt x="40232" y="36453"/>
                      <a:pt x="37669" y="30045"/>
                    </a:cubicBezTo>
                    <a:cubicBezTo>
                      <a:pt x="37669" y="28764"/>
                      <a:pt x="33824" y="22356"/>
                      <a:pt x="23572" y="22356"/>
                    </a:cubicBezTo>
                    <a:cubicBezTo>
                      <a:pt x="22290" y="19793"/>
                      <a:pt x="19727" y="17230"/>
                      <a:pt x="18446" y="14667"/>
                    </a:cubicBezTo>
                    <a:cubicBezTo>
                      <a:pt x="26135" y="10822"/>
                      <a:pt x="18446" y="1851"/>
                      <a:pt x="10756" y="570"/>
                    </a:cubicBezTo>
                    <a:cubicBezTo>
                      <a:pt x="8193" y="-712"/>
                      <a:pt x="5630" y="570"/>
                      <a:pt x="4349" y="570"/>
                    </a:cubicBezTo>
                    <a:cubicBezTo>
                      <a:pt x="-4622" y="570"/>
                      <a:pt x="3067" y="9540"/>
                      <a:pt x="3067" y="95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0" name="Freeform: Shape 379420">
                <a:extLst>
                  <a:ext uri="{FF2B5EF4-FFF2-40B4-BE49-F238E27FC236}">
                    <a16:creationId xmlns:a16="http://schemas.microsoft.com/office/drawing/2014/main" id="{5A46F825-8DAF-4EA5-A062-06585B7A8FFC}"/>
                  </a:ext>
                </a:extLst>
              </p:cNvPr>
              <p:cNvSpPr/>
              <p:nvPr/>
            </p:nvSpPr>
            <p:spPr>
              <a:xfrm>
                <a:off x="6448349" y="2270764"/>
                <a:ext cx="171804" cy="282648"/>
              </a:xfrm>
              <a:custGeom>
                <a:avLst/>
                <a:gdLst>
                  <a:gd name="connsiteX0" fmla="*/ 88503 w 171804"/>
                  <a:gd name="connsiteY0" fmla="*/ 221707 h 282648"/>
                  <a:gd name="connsiteX1" fmla="*/ 109008 w 171804"/>
                  <a:gd name="connsiteY1" fmla="*/ 221707 h 282648"/>
                  <a:gd name="connsiteX2" fmla="*/ 102600 w 171804"/>
                  <a:gd name="connsiteY2" fmla="*/ 211455 h 282648"/>
                  <a:gd name="connsiteX3" fmla="*/ 123105 w 171804"/>
                  <a:gd name="connsiteY3" fmla="*/ 158912 h 282648"/>
                  <a:gd name="connsiteX4" fmla="*/ 137202 w 171804"/>
                  <a:gd name="connsiteY4" fmla="*/ 179416 h 282648"/>
                  <a:gd name="connsiteX5" fmla="*/ 115416 w 171804"/>
                  <a:gd name="connsiteY5" fmla="*/ 235804 h 282648"/>
                  <a:gd name="connsiteX6" fmla="*/ 105164 w 171804"/>
                  <a:gd name="connsiteY6" fmla="*/ 246057 h 282648"/>
                  <a:gd name="connsiteX7" fmla="*/ 125668 w 171804"/>
                  <a:gd name="connsiteY7" fmla="*/ 249901 h 282648"/>
                  <a:gd name="connsiteX8" fmla="*/ 120542 w 171804"/>
                  <a:gd name="connsiteY8" fmla="*/ 238367 h 282648"/>
                  <a:gd name="connsiteX9" fmla="*/ 143610 w 171804"/>
                  <a:gd name="connsiteY9" fmla="*/ 180698 h 282648"/>
                  <a:gd name="connsiteX10" fmla="*/ 125668 w 171804"/>
                  <a:gd name="connsiteY10" fmla="*/ 153785 h 282648"/>
                  <a:gd name="connsiteX11" fmla="*/ 134639 w 171804"/>
                  <a:gd name="connsiteY11" fmla="*/ 128155 h 282648"/>
                  <a:gd name="connsiteX12" fmla="*/ 166678 w 171804"/>
                  <a:gd name="connsiteY12" fmla="*/ 175572 h 282648"/>
                  <a:gd name="connsiteX13" fmla="*/ 132076 w 171804"/>
                  <a:gd name="connsiteY13" fmla="*/ 263998 h 282648"/>
                  <a:gd name="connsiteX14" fmla="*/ 120542 w 171804"/>
                  <a:gd name="connsiteY14" fmla="*/ 274251 h 282648"/>
                  <a:gd name="connsiteX15" fmla="*/ 142329 w 171804"/>
                  <a:gd name="connsiteY15" fmla="*/ 278095 h 282648"/>
                  <a:gd name="connsiteX16" fmla="*/ 137202 w 171804"/>
                  <a:gd name="connsiteY16" fmla="*/ 265280 h 282648"/>
                  <a:gd name="connsiteX17" fmla="*/ 171804 w 171804"/>
                  <a:gd name="connsiteY17" fmla="*/ 175572 h 282648"/>
                  <a:gd name="connsiteX18" fmla="*/ 135921 w 171804"/>
                  <a:gd name="connsiteY18" fmla="*/ 123028 h 282648"/>
                  <a:gd name="connsiteX19" fmla="*/ 144892 w 171804"/>
                  <a:gd name="connsiteY19" fmla="*/ 93553 h 282648"/>
                  <a:gd name="connsiteX20" fmla="*/ 132076 w 171804"/>
                  <a:gd name="connsiteY20" fmla="*/ 76893 h 282648"/>
                  <a:gd name="connsiteX21" fmla="*/ 119261 w 171804"/>
                  <a:gd name="connsiteY21" fmla="*/ 60233 h 282648"/>
                  <a:gd name="connsiteX22" fmla="*/ 116698 w 171804"/>
                  <a:gd name="connsiteY22" fmla="*/ 71767 h 282648"/>
                  <a:gd name="connsiteX23" fmla="*/ 128231 w 171804"/>
                  <a:gd name="connsiteY23" fmla="*/ 78174 h 282648"/>
                  <a:gd name="connsiteX24" fmla="*/ 139765 w 171804"/>
                  <a:gd name="connsiteY24" fmla="*/ 93553 h 282648"/>
                  <a:gd name="connsiteX25" fmla="*/ 132076 w 171804"/>
                  <a:gd name="connsiteY25" fmla="*/ 119184 h 282648"/>
                  <a:gd name="connsiteX26" fmla="*/ 85940 w 171804"/>
                  <a:gd name="connsiteY26" fmla="*/ 57670 h 282648"/>
                  <a:gd name="connsiteX27" fmla="*/ 74407 w 171804"/>
                  <a:gd name="connsiteY27" fmla="*/ 42291 h 282648"/>
                  <a:gd name="connsiteX28" fmla="*/ 67998 w 171804"/>
                  <a:gd name="connsiteY28" fmla="*/ 51262 h 282648"/>
                  <a:gd name="connsiteX29" fmla="*/ 80814 w 171804"/>
                  <a:gd name="connsiteY29" fmla="*/ 58951 h 282648"/>
                  <a:gd name="connsiteX30" fmla="*/ 129513 w 171804"/>
                  <a:gd name="connsiteY30" fmla="*/ 124310 h 282648"/>
                  <a:gd name="connsiteX31" fmla="*/ 120542 w 171804"/>
                  <a:gd name="connsiteY31" fmla="*/ 149941 h 282648"/>
                  <a:gd name="connsiteX32" fmla="*/ 19300 w 171804"/>
                  <a:gd name="connsiteY32" fmla="*/ 15379 h 282648"/>
                  <a:gd name="connsiteX33" fmla="*/ 7766 w 171804"/>
                  <a:gd name="connsiteY33" fmla="*/ 0 h 282648"/>
                  <a:gd name="connsiteX34" fmla="*/ 3921 w 171804"/>
                  <a:gd name="connsiteY34" fmla="*/ 0 h 282648"/>
                  <a:gd name="connsiteX35" fmla="*/ 6484 w 171804"/>
                  <a:gd name="connsiteY35" fmla="*/ 12815 h 282648"/>
                  <a:gd name="connsiteX36" fmla="*/ 15455 w 171804"/>
                  <a:gd name="connsiteY36" fmla="*/ 15379 h 282648"/>
                  <a:gd name="connsiteX37" fmla="*/ 119261 w 171804"/>
                  <a:gd name="connsiteY37" fmla="*/ 153785 h 282648"/>
                  <a:gd name="connsiteX38" fmla="*/ 98756 w 171804"/>
                  <a:gd name="connsiteY38" fmla="*/ 208892 h 282648"/>
                  <a:gd name="connsiteX39" fmla="*/ 88503 w 171804"/>
                  <a:gd name="connsiteY39" fmla="*/ 219144 h 282648"/>
                  <a:gd name="connsiteX40" fmla="*/ 88503 w 171804"/>
                  <a:gd name="connsiteY40" fmla="*/ 221707 h 28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804" h="282648">
                    <a:moveTo>
                      <a:pt x="88503" y="221707"/>
                    </a:moveTo>
                    <a:cubicBezTo>
                      <a:pt x="94911" y="229397"/>
                      <a:pt x="107727" y="230678"/>
                      <a:pt x="109008" y="221707"/>
                    </a:cubicBezTo>
                    <a:cubicBezTo>
                      <a:pt x="109008" y="217863"/>
                      <a:pt x="107727" y="215300"/>
                      <a:pt x="102600" y="211455"/>
                    </a:cubicBezTo>
                    <a:lnTo>
                      <a:pt x="123105" y="158912"/>
                    </a:lnTo>
                    <a:cubicBezTo>
                      <a:pt x="128231" y="165319"/>
                      <a:pt x="132076" y="173009"/>
                      <a:pt x="137202" y="179416"/>
                    </a:cubicBezTo>
                    <a:cubicBezTo>
                      <a:pt x="130795" y="196076"/>
                      <a:pt x="121824" y="219144"/>
                      <a:pt x="115416" y="235804"/>
                    </a:cubicBezTo>
                    <a:cubicBezTo>
                      <a:pt x="103882" y="231960"/>
                      <a:pt x="101319" y="239649"/>
                      <a:pt x="105164" y="246057"/>
                    </a:cubicBezTo>
                    <a:cubicBezTo>
                      <a:pt x="110290" y="255028"/>
                      <a:pt x="123105" y="257591"/>
                      <a:pt x="125668" y="249901"/>
                    </a:cubicBezTo>
                    <a:cubicBezTo>
                      <a:pt x="125668" y="248620"/>
                      <a:pt x="126950" y="243494"/>
                      <a:pt x="120542" y="238367"/>
                    </a:cubicBezTo>
                    <a:lnTo>
                      <a:pt x="143610" y="180698"/>
                    </a:lnTo>
                    <a:cubicBezTo>
                      <a:pt x="137202" y="171727"/>
                      <a:pt x="132076" y="162756"/>
                      <a:pt x="125668" y="153785"/>
                    </a:cubicBezTo>
                    <a:lnTo>
                      <a:pt x="134639" y="128155"/>
                    </a:lnTo>
                    <a:cubicBezTo>
                      <a:pt x="146173" y="143533"/>
                      <a:pt x="156426" y="158912"/>
                      <a:pt x="166678" y="175572"/>
                    </a:cubicBezTo>
                    <a:cubicBezTo>
                      <a:pt x="156426" y="202484"/>
                      <a:pt x="143610" y="238367"/>
                      <a:pt x="132076" y="263998"/>
                    </a:cubicBezTo>
                    <a:cubicBezTo>
                      <a:pt x="120542" y="260154"/>
                      <a:pt x="117979" y="267843"/>
                      <a:pt x="120542" y="274251"/>
                    </a:cubicBezTo>
                    <a:cubicBezTo>
                      <a:pt x="125668" y="283222"/>
                      <a:pt x="138484" y="285785"/>
                      <a:pt x="142329" y="278095"/>
                    </a:cubicBezTo>
                    <a:cubicBezTo>
                      <a:pt x="142329" y="276814"/>
                      <a:pt x="143610" y="271688"/>
                      <a:pt x="137202" y="265280"/>
                    </a:cubicBezTo>
                    <a:cubicBezTo>
                      <a:pt x="147455" y="238367"/>
                      <a:pt x="162833" y="202484"/>
                      <a:pt x="171804" y="175572"/>
                    </a:cubicBezTo>
                    <a:cubicBezTo>
                      <a:pt x="160270" y="157630"/>
                      <a:pt x="147455" y="140970"/>
                      <a:pt x="135921" y="123028"/>
                    </a:cubicBezTo>
                    <a:lnTo>
                      <a:pt x="144892" y="93553"/>
                    </a:lnTo>
                    <a:cubicBezTo>
                      <a:pt x="141047" y="87145"/>
                      <a:pt x="135921" y="82019"/>
                      <a:pt x="132076" y="76893"/>
                    </a:cubicBezTo>
                    <a:cubicBezTo>
                      <a:pt x="139765" y="70485"/>
                      <a:pt x="125668" y="60233"/>
                      <a:pt x="119261" y="60233"/>
                    </a:cubicBezTo>
                    <a:cubicBezTo>
                      <a:pt x="112853" y="60233"/>
                      <a:pt x="110290" y="65359"/>
                      <a:pt x="116698" y="71767"/>
                    </a:cubicBezTo>
                    <a:cubicBezTo>
                      <a:pt x="119261" y="74330"/>
                      <a:pt x="123105" y="76893"/>
                      <a:pt x="128231" y="78174"/>
                    </a:cubicBezTo>
                    <a:cubicBezTo>
                      <a:pt x="132076" y="83300"/>
                      <a:pt x="135921" y="88427"/>
                      <a:pt x="139765" y="93553"/>
                    </a:cubicBezTo>
                    <a:lnTo>
                      <a:pt x="132076" y="119184"/>
                    </a:lnTo>
                    <a:cubicBezTo>
                      <a:pt x="116698" y="98679"/>
                      <a:pt x="101319" y="78174"/>
                      <a:pt x="85940" y="57670"/>
                    </a:cubicBezTo>
                    <a:cubicBezTo>
                      <a:pt x="93630" y="51262"/>
                      <a:pt x="80814" y="42291"/>
                      <a:pt x="74407" y="42291"/>
                    </a:cubicBezTo>
                    <a:cubicBezTo>
                      <a:pt x="66717" y="41009"/>
                      <a:pt x="64154" y="46136"/>
                      <a:pt x="67998" y="51262"/>
                    </a:cubicBezTo>
                    <a:cubicBezTo>
                      <a:pt x="69280" y="52543"/>
                      <a:pt x="73125" y="57670"/>
                      <a:pt x="80814" y="58951"/>
                    </a:cubicBezTo>
                    <a:cubicBezTo>
                      <a:pt x="97474" y="79456"/>
                      <a:pt x="114134" y="101242"/>
                      <a:pt x="129513" y="124310"/>
                    </a:cubicBezTo>
                    <a:lnTo>
                      <a:pt x="120542" y="149941"/>
                    </a:lnTo>
                    <a:cubicBezTo>
                      <a:pt x="88503" y="102524"/>
                      <a:pt x="53901" y="57670"/>
                      <a:pt x="19300" y="15379"/>
                    </a:cubicBezTo>
                    <a:cubicBezTo>
                      <a:pt x="26989" y="8971"/>
                      <a:pt x="14174" y="1282"/>
                      <a:pt x="7766" y="0"/>
                    </a:cubicBezTo>
                    <a:cubicBezTo>
                      <a:pt x="6484" y="0"/>
                      <a:pt x="5203" y="0"/>
                      <a:pt x="3921" y="0"/>
                    </a:cubicBezTo>
                    <a:cubicBezTo>
                      <a:pt x="-3768" y="2563"/>
                      <a:pt x="1358" y="10252"/>
                      <a:pt x="6484" y="12815"/>
                    </a:cubicBezTo>
                    <a:cubicBezTo>
                      <a:pt x="10329" y="15379"/>
                      <a:pt x="14174" y="15379"/>
                      <a:pt x="15455" y="15379"/>
                    </a:cubicBezTo>
                    <a:cubicBezTo>
                      <a:pt x="51339" y="58951"/>
                      <a:pt x="85940" y="105087"/>
                      <a:pt x="119261" y="153785"/>
                    </a:cubicBezTo>
                    <a:cubicBezTo>
                      <a:pt x="112853" y="170446"/>
                      <a:pt x="105164" y="192232"/>
                      <a:pt x="98756" y="208892"/>
                    </a:cubicBezTo>
                    <a:cubicBezTo>
                      <a:pt x="87222" y="205047"/>
                      <a:pt x="84659" y="212737"/>
                      <a:pt x="88503" y="219144"/>
                    </a:cubicBezTo>
                    <a:cubicBezTo>
                      <a:pt x="87222" y="220426"/>
                      <a:pt x="87222" y="221707"/>
                      <a:pt x="88503" y="22170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1" name="Freeform: Shape 379421">
                <a:extLst>
                  <a:ext uri="{FF2B5EF4-FFF2-40B4-BE49-F238E27FC236}">
                    <a16:creationId xmlns:a16="http://schemas.microsoft.com/office/drawing/2014/main" id="{0D80865C-E74F-49DE-B9A6-724A9A49BA59}"/>
                  </a:ext>
                </a:extLst>
              </p:cNvPr>
              <p:cNvSpPr/>
              <p:nvPr/>
            </p:nvSpPr>
            <p:spPr>
              <a:xfrm>
                <a:off x="6714126" y="2163114"/>
                <a:ext cx="97030" cy="78174"/>
              </a:xfrm>
              <a:custGeom>
                <a:avLst/>
                <a:gdLst>
                  <a:gd name="connsiteX0" fmla="*/ 7270 w 97030"/>
                  <a:gd name="connsiteY0" fmla="*/ 8971 h 78174"/>
                  <a:gd name="connsiteX1" fmla="*/ 18804 w 97030"/>
                  <a:gd name="connsiteY1" fmla="*/ 14097 h 78174"/>
                  <a:gd name="connsiteX2" fmla="*/ 76474 w 97030"/>
                  <a:gd name="connsiteY2" fmla="*/ 62796 h 78174"/>
                  <a:gd name="connsiteX3" fmla="*/ 93134 w 97030"/>
                  <a:gd name="connsiteY3" fmla="*/ 78174 h 78174"/>
                  <a:gd name="connsiteX4" fmla="*/ 95697 w 97030"/>
                  <a:gd name="connsiteY4" fmla="*/ 73048 h 78174"/>
                  <a:gd name="connsiteX5" fmla="*/ 79037 w 97030"/>
                  <a:gd name="connsiteY5" fmla="*/ 62796 h 78174"/>
                  <a:gd name="connsiteX6" fmla="*/ 20086 w 97030"/>
                  <a:gd name="connsiteY6" fmla="*/ 14097 h 78174"/>
                  <a:gd name="connsiteX7" fmla="*/ 2144 w 97030"/>
                  <a:gd name="connsiteY7" fmla="*/ 0 h 78174"/>
                  <a:gd name="connsiteX8" fmla="*/ 863 w 97030"/>
                  <a:gd name="connsiteY8" fmla="*/ 0 h 78174"/>
                  <a:gd name="connsiteX9" fmla="*/ 7270 w 97030"/>
                  <a:gd name="connsiteY9" fmla="*/ 8971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030" h="78174">
                    <a:moveTo>
                      <a:pt x="7270" y="8971"/>
                    </a:moveTo>
                    <a:cubicBezTo>
                      <a:pt x="9834" y="10252"/>
                      <a:pt x="13678" y="12815"/>
                      <a:pt x="18804" y="14097"/>
                    </a:cubicBezTo>
                    <a:cubicBezTo>
                      <a:pt x="38027" y="29476"/>
                      <a:pt x="58532" y="46136"/>
                      <a:pt x="76474" y="62796"/>
                    </a:cubicBezTo>
                    <a:cubicBezTo>
                      <a:pt x="72629" y="66640"/>
                      <a:pt x="86726" y="76893"/>
                      <a:pt x="93134" y="78174"/>
                    </a:cubicBezTo>
                    <a:cubicBezTo>
                      <a:pt x="96979" y="78174"/>
                      <a:pt x="98260" y="76893"/>
                      <a:pt x="95697" y="73048"/>
                    </a:cubicBezTo>
                    <a:cubicBezTo>
                      <a:pt x="94416" y="70485"/>
                      <a:pt x="88008" y="65359"/>
                      <a:pt x="79037" y="62796"/>
                    </a:cubicBezTo>
                    <a:cubicBezTo>
                      <a:pt x="59814" y="46136"/>
                      <a:pt x="40591" y="29476"/>
                      <a:pt x="20086" y="14097"/>
                    </a:cubicBezTo>
                    <a:cubicBezTo>
                      <a:pt x="23930" y="10252"/>
                      <a:pt x="8552" y="1282"/>
                      <a:pt x="2144" y="0"/>
                    </a:cubicBezTo>
                    <a:cubicBezTo>
                      <a:pt x="2144" y="0"/>
                      <a:pt x="863" y="0"/>
                      <a:pt x="863" y="0"/>
                    </a:cubicBezTo>
                    <a:cubicBezTo>
                      <a:pt x="-2982" y="1282"/>
                      <a:pt x="7270" y="8971"/>
                      <a:pt x="7270"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2" name="Freeform: Shape 379422">
                <a:extLst>
                  <a:ext uri="{FF2B5EF4-FFF2-40B4-BE49-F238E27FC236}">
                    <a16:creationId xmlns:a16="http://schemas.microsoft.com/office/drawing/2014/main" id="{0AA48733-2192-473F-BC42-835568DB3428}"/>
                  </a:ext>
                </a:extLst>
              </p:cNvPr>
              <p:cNvSpPr/>
              <p:nvPr/>
            </p:nvSpPr>
            <p:spPr>
              <a:xfrm>
                <a:off x="6650911" y="2104163"/>
                <a:ext cx="178135" cy="135065"/>
              </a:xfrm>
              <a:custGeom>
                <a:avLst/>
                <a:gdLst>
                  <a:gd name="connsiteX0" fmla="*/ 10252 w 178135"/>
                  <a:gd name="connsiteY0" fmla="*/ 7689 h 135065"/>
                  <a:gd name="connsiteX1" fmla="*/ 21786 w 178135"/>
                  <a:gd name="connsiteY1" fmla="*/ 12815 h 135065"/>
                  <a:gd name="connsiteX2" fmla="*/ 158912 w 178135"/>
                  <a:gd name="connsiteY2" fmla="*/ 120465 h 135065"/>
                  <a:gd name="connsiteX3" fmla="*/ 157631 w 178135"/>
                  <a:gd name="connsiteY3" fmla="*/ 121747 h 135065"/>
                  <a:gd name="connsiteX4" fmla="*/ 178135 w 178135"/>
                  <a:gd name="connsiteY4" fmla="*/ 134562 h 135065"/>
                  <a:gd name="connsiteX5" fmla="*/ 160194 w 178135"/>
                  <a:gd name="connsiteY5" fmla="*/ 120465 h 135065"/>
                  <a:gd name="connsiteX6" fmla="*/ 21786 w 178135"/>
                  <a:gd name="connsiteY6" fmla="*/ 12815 h 135065"/>
                  <a:gd name="connsiteX7" fmla="*/ 21786 w 178135"/>
                  <a:gd name="connsiteY7" fmla="*/ 11534 h 135065"/>
                  <a:gd name="connsiteX8" fmla="*/ 1281 w 178135"/>
                  <a:gd name="connsiteY8" fmla="*/ 0 h 135065"/>
                  <a:gd name="connsiteX9" fmla="*/ 0 w 178135"/>
                  <a:gd name="connsiteY9" fmla="*/ 0 h 135065"/>
                  <a:gd name="connsiteX10" fmla="*/ 0 w 178135"/>
                  <a:gd name="connsiteY10" fmla="*/ 1282 h 135065"/>
                  <a:gd name="connsiteX11" fmla="*/ 10252 w 178135"/>
                  <a:gd name="connsiteY11" fmla="*/ 7689 h 135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8135" h="135065">
                    <a:moveTo>
                      <a:pt x="10252" y="7689"/>
                    </a:moveTo>
                    <a:cubicBezTo>
                      <a:pt x="12815" y="8971"/>
                      <a:pt x="16660" y="11534"/>
                      <a:pt x="21786" y="12815"/>
                    </a:cubicBezTo>
                    <a:cubicBezTo>
                      <a:pt x="69203" y="46136"/>
                      <a:pt x="115339" y="82019"/>
                      <a:pt x="158912" y="120465"/>
                    </a:cubicBezTo>
                    <a:cubicBezTo>
                      <a:pt x="158912" y="120465"/>
                      <a:pt x="158912" y="121747"/>
                      <a:pt x="157631" y="121747"/>
                    </a:cubicBezTo>
                    <a:cubicBezTo>
                      <a:pt x="158912" y="129436"/>
                      <a:pt x="175572" y="137125"/>
                      <a:pt x="178135" y="134562"/>
                    </a:cubicBezTo>
                    <a:cubicBezTo>
                      <a:pt x="178135" y="128155"/>
                      <a:pt x="166601" y="121747"/>
                      <a:pt x="160194" y="120465"/>
                    </a:cubicBezTo>
                    <a:cubicBezTo>
                      <a:pt x="115339" y="82019"/>
                      <a:pt x="69203" y="46136"/>
                      <a:pt x="21786" y="12815"/>
                    </a:cubicBezTo>
                    <a:cubicBezTo>
                      <a:pt x="21786" y="12815"/>
                      <a:pt x="21786" y="11534"/>
                      <a:pt x="21786" y="11534"/>
                    </a:cubicBezTo>
                    <a:cubicBezTo>
                      <a:pt x="19223" y="6408"/>
                      <a:pt x="7689" y="0"/>
                      <a:pt x="1281" y="0"/>
                    </a:cubicBezTo>
                    <a:cubicBezTo>
                      <a:pt x="1281" y="0"/>
                      <a:pt x="1281" y="0"/>
                      <a:pt x="0" y="0"/>
                    </a:cubicBezTo>
                    <a:cubicBezTo>
                      <a:pt x="0" y="0"/>
                      <a:pt x="0" y="1282"/>
                      <a:pt x="0" y="1282"/>
                    </a:cubicBezTo>
                    <a:cubicBezTo>
                      <a:pt x="2563" y="2563"/>
                      <a:pt x="3844" y="5126"/>
                      <a:pt x="10252"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3" name="Freeform: Shape 379423">
                <a:extLst>
                  <a:ext uri="{FF2B5EF4-FFF2-40B4-BE49-F238E27FC236}">
                    <a16:creationId xmlns:a16="http://schemas.microsoft.com/office/drawing/2014/main" id="{09E0FB26-5197-4C5B-B176-C7A5900A4522}"/>
                  </a:ext>
                </a:extLst>
              </p:cNvPr>
              <p:cNvSpPr/>
              <p:nvPr/>
            </p:nvSpPr>
            <p:spPr>
              <a:xfrm>
                <a:off x="4219810" y="2894876"/>
                <a:ext cx="83300" cy="221707"/>
              </a:xfrm>
              <a:custGeom>
                <a:avLst/>
                <a:gdLst>
                  <a:gd name="connsiteX0" fmla="*/ 75611 w 83300"/>
                  <a:gd name="connsiteY0" fmla="*/ 15379 h 221707"/>
                  <a:gd name="connsiteX1" fmla="*/ 73048 w 83300"/>
                  <a:gd name="connsiteY1" fmla="*/ 23068 h 221707"/>
                  <a:gd name="connsiteX2" fmla="*/ 8971 w 83300"/>
                  <a:gd name="connsiteY2" fmla="*/ 183261 h 221707"/>
                  <a:gd name="connsiteX3" fmla="*/ 3844 w 83300"/>
                  <a:gd name="connsiteY3" fmla="*/ 207610 h 221707"/>
                  <a:gd name="connsiteX4" fmla="*/ 0 w 83300"/>
                  <a:gd name="connsiteY4" fmla="*/ 221707 h 221707"/>
                  <a:gd name="connsiteX5" fmla="*/ 8971 w 83300"/>
                  <a:gd name="connsiteY5" fmla="*/ 197358 h 221707"/>
                  <a:gd name="connsiteX6" fmla="*/ 6408 w 83300"/>
                  <a:gd name="connsiteY6" fmla="*/ 201203 h 221707"/>
                  <a:gd name="connsiteX7" fmla="*/ 10252 w 83300"/>
                  <a:gd name="connsiteY7" fmla="*/ 179416 h 221707"/>
                  <a:gd name="connsiteX8" fmla="*/ 73048 w 83300"/>
                  <a:gd name="connsiteY8" fmla="*/ 21786 h 221707"/>
                  <a:gd name="connsiteX9" fmla="*/ 83301 w 83300"/>
                  <a:gd name="connsiteY9" fmla="*/ 0 h 221707"/>
                  <a:gd name="connsiteX10" fmla="*/ 83301 w 83300"/>
                  <a:gd name="connsiteY10" fmla="*/ 0 h 221707"/>
                  <a:gd name="connsiteX11" fmla="*/ 75611 w 83300"/>
                  <a:gd name="connsiteY11" fmla="*/ 15379 h 22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300" h="221707">
                    <a:moveTo>
                      <a:pt x="75611" y="15379"/>
                    </a:moveTo>
                    <a:cubicBezTo>
                      <a:pt x="74330" y="17942"/>
                      <a:pt x="73048" y="21786"/>
                      <a:pt x="73048" y="23068"/>
                    </a:cubicBezTo>
                    <a:cubicBezTo>
                      <a:pt x="49980" y="75611"/>
                      <a:pt x="28194" y="128155"/>
                      <a:pt x="8971" y="183261"/>
                    </a:cubicBezTo>
                    <a:cubicBezTo>
                      <a:pt x="7689" y="190950"/>
                      <a:pt x="6408" y="199921"/>
                      <a:pt x="3844" y="207610"/>
                    </a:cubicBezTo>
                    <a:cubicBezTo>
                      <a:pt x="2563" y="210174"/>
                      <a:pt x="0" y="219144"/>
                      <a:pt x="0" y="221707"/>
                    </a:cubicBezTo>
                    <a:cubicBezTo>
                      <a:pt x="2563" y="219144"/>
                      <a:pt x="8971" y="201203"/>
                      <a:pt x="8971" y="197358"/>
                    </a:cubicBezTo>
                    <a:cubicBezTo>
                      <a:pt x="7689" y="198640"/>
                      <a:pt x="7689" y="198640"/>
                      <a:pt x="6408" y="201203"/>
                    </a:cubicBezTo>
                    <a:lnTo>
                      <a:pt x="10252" y="179416"/>
                    </a:lnTo>
                    <a:cubicBezTo>
                      <a:pt x="28194" y="125592"/>
                      <a:pt x="49980" y="73048"/>
                      <a:pt x="73048" y="21786"/>
                    </a:cubicBezTo>
                    <a:cubicBezTo>
                      <a:pt x="76893" y="15379"/>
                      <a:pt x="82019" y="3845"/>
                      <a:pt x="83301" y="0"/>
                    </a:cubicBezTo>
                    <a:cubicBezTo>
                      <a:pt x="83301" y="0"/>
                      <a:pt x="83301" y="0"/>
                      <a:pt x="83301" y="0"/>
                    </a:cubicBezTo>
                    <a:cubicBezTo>
                      <a:pt x="80738" y="5126"/>
                      <a:pt x="76893" y="12816"/>
                      <a:pt x="7561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4" name="Freeform: Shape 379424">
                <a:extLst>
                  <a:ext uri="{FF2B5EF4-FFF2-40B4-BE49-F238E27FC236}">
                    <a16:creationId xmlns:a16="http://schemas.microsoft.com/office/drawing/2014/main" id="{FDD9BDA5-FA05-4E2B-AFB4-B7011CCE0658}"/>
                  </a:ext>
                </a:extLst>
              </p:cNvPr>
              <p:cNvSpPr/>
              <p:nvPr/>
            </p:nvSpPr>
            <p:spPr>
              <a:xfrm>
                <a:off x="4310800" y="2785945"/>
                <a:ext cx="58951" cy="117902"/>
              </a:xfrm>
              <a:custGeom>
                <a:avLst/>
                <a:gdLst>
                  <a:gd name="connsiteX0" fmla="*/ 49980 w 58951"/>
                  <a:gd name="connsiteY0" fmla="*/ 14097 h 117902"/>
                  <a:gd name="connsiteX1" fmla="*/ 47417 w 58951"/>
                  <a:gd name="connsiteY1" fmla="*/ 21786 h 117902"/>
                  <a:gd name="connsiteX2" fmla="*/ 10252 w 58951"/>
                  <a:gd name="connsiteY2" fmla="*/ 96116 h 117902"/>
                  <a:gd name="connsiteX3" fmla="*/ 0 w 58951"/>
                  <a:gd name="connsiteY3" fmla="*/ 117902 h 117902"/>
                  <a:gd name="connsiteX4" fmla="*/ 0 w 58951"/>
                  <a:gd name="connsiteY4" fmla="*/ 117902 h 117902"/>
                  <a:gd name="connsiteX5" fmla="*/ 10252 w 58951"/>
                  <a:gd name="connsiteY5" fmla="*/ 94834 h 117902"/>
                  <a:gd name="connsiteX6" fmla="*/ 47417 w 58951"/>
                  <a:gd name="connsiteY6" fmla="*/ 20505 h 117902"/>
                  <a:gd name="connsiteX7" fmla="*/ 58951 w 58951"/>
                  <a:gd name="connsiteY7" fmla="*/ 0 h 117902"/>
                  <a:gd name="connsiteX8" fmla="*/ 58951 w 58951"/>
                  <a:gd name="connsiteY8" fmla="*/ 0 h 117902"/>
                  <a:gd name="connsiteX9" fmla="*/ 49980 w 58951"/>
                  <a:gd name="connsiteY9" fmla="*/ 14097 h 117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51" h="117902">
                    <a:moveTo>
                      <a:pt x="49980" y="14097"/>
                    </a:moveTo>
                    <a:cubicBezTo>
                      <a:pt x="48699" y="16660"/>
                      <a:pt x="47417" y="20505"/>
                      <a:pt x="47417" y="21786"/>
                    </a:cubicBezTo>
                    <a:cubicBezTo>
                      <a:pt x="34602" y="46136"/>
                      <a:pt x="21786" y="71766"/>
                      <a:pt x="10252" y="96116"/>
                    </a:cubicBezTo>
                    <a:cubicBezTo>
                      <a:pt x="6408" y="101242"/>
                      <a:pt x="0" y="114057"/>
                      <a:pt x="0" y="117902"/>
                    </a:cubicBezTo>
                    <a:cubicBezTo>
                      <a:pt x="0" y="117902"/>
                      <a:pt x="0" y="117902"/>
                      <a:pt x="0" y="117902"/>
                    </a:cubicBezTo>
                    <a:cubicBezTo>
                      <a:pt x="3845" y="114057"/>
                      <a:pt x="11534" y="97397"/>
                      <a:pt x="10252" y="94834"/>
                    </a:cubicBezTo>
                    <a:cubicBezTo>
                      <a:pt x="21786" y="69203"/>
                      <a:pt x="34602" y="44854"/>
                      <a:pt x="47417" y="20505"/>
                    </a:cubicBezTo>
                    <a:cubicBezTo>
                      <a:pt x="51262" y="15379"/>
                      <a:pt x="57670" y="3845"/>
                      <a:pt x="58951" y="0"/>
                    </a:cubicBezTo>
                    <a:cubicBezTo>
                      <a:pt x="58951" y="0"/>
                      <a:pt x="58951" y="0"/>
                      <a:pt x="58951" y="0"/>
                    </a:cubicBezTo>
                    <a:cubicBezTo>
                      <a:pt x="56388" y="2563"/>
                      <a:pt x="51262" y="11534"/>
                      <a:pt x="49980"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5" name="Freeform: Shape 379425">
                <a:extLst>
                  <a:ext uri="{FF2B5EF4-FFF2-40B4-BE49-F238E27FC236}">
                    <a16:creationId xmlns:a16="http://schemas.microsoft.com/office/drawing/2014/main" id="{22C8FE08-CAED-422F-99F0-6F23FFE4077A}"/>
                  </a:ext>
                </a:extLst>
              </p:cNvPr>
              <p:cNvSpPr/>
              <p:nvPr/>
            </p:nvSpPr>
            <p:spPr>
              <a:xfrm>
                <a:off x="4508992" y="2723149"/>
                <a:ext cx="39098" cy="84581"/>
              </a:xfrm>
              <a:custGeom>
                <a:avLst/>
                <a:gdLst>
                  <a:gd name="connsiteX0" fmla="*/ 24798 w 39098"/>
                  <a:gd name="connsiteY0" fmla="*/ 16660 h 84581"/>
                  <a:gd name="connsiteX1" fmla="*/ 26080 w 39098"/>
                  <a:gd name="connsiteY1" fmla="*/ 23068 h 84581"/>
                  <a:gd name="connsiteX2" fmla="*/ 9419 w 39098"/>
                  <a:gd name="connsiteY2" fmla="*/ 64077 h 84581"/>
                  <a:gd name="connsiteX3" fmla="*/ 1730 w 39098"/>
                  <a:gd name="connsiteY3" fmla="*/ 84582 h 84581"/>
                  <a:gd name="connsiteX4" fmla="*/ 13264 w 39098"/>
                  <a:gd name="connsiteY4" fmla="*/ 62796 h 84581"/>
                  <a:gd name="connsiteX5" fmla="*/ 11982 w 39098"/>
                  <a:gd name="connsiteY5" fmla="*/ 61514 h 84581"/>
                  <a:gd name="connsiteX6" fmla="*/ 28643 w 39098"/>
                  <a:gd name="connsiteY6" fmla="*/ 20505 h 84581"/>
                  <a:gd name="connsiteX7" fmla="*/ 37613 w 39098"/>
                  <a:gd name="connsiteY7" fmla="*/ 0 h 84581"/>
                  <a:gd name="connsiteX8" fmla="*/ 36332 w 39098"/>
                  <a:gd name="connsiteY8" fmla="*/ 0 h 84581"/>
                  <a:gd name="connsiteX9" fmla="*/ 24798 w 39098"/>
                  <a:gd name="connsiteY9" fmla="*/ 16660 h 8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98" h="84581">
                    <a:moveTo>
                      <a:pt x="24798" y="16660"/>
                    </a:moveTo>
                    <a:cubicBezTo>
                      <a:pt x="23516" y="19223"/>
                      <a:pt x="23516" y="23068"/>
                      <a:pt x="26080" y="23068"/>
                    </a:cubicBezTo>
                    <a:cubicBezTo>
                      <a:pt x="20953" y="37165"/>
                      <a:pt x="14546" y="49980"/>
                      <a:pt x="9419" y="64077"/>
                    </a:cubicBezTo>
                    <a:cubicBezTo>
                      <a:pt x="449" y="71766"/>
                      <a:pt x="-2115" y="84582"/>
                      <a:pt x="1730" y="84582"/>
                    </a:cubicBezTo>
                    <a:cubicBezTo>
                      <a:pt x="6856" y="84582"/>
                      <a:pt x="17109" y="67922"/>
                      <a:pt x="13264" y="62796"/>
                    </a:cubicBezTo>
                    <a:cubicBezTo>
                      <a:pt x="13264" y="62796"/>
                      <a:pt x="11982" y="62796"/>
                      <a:pt x="11982" y="61514"/>
                    </a:cubicBezTo>
                    <a:cubicBezTo>
                      <a:pt x="17109" y="47417"/>
                      <a:pt x="22235" y="34602"/>
                      <a:pt x="28643" y="20505"/>
                    </a:cubicBezTo>
                    <a:cubicBezTo>
                      <a:pt x="37613" y="14097"/>
                      <a:pt x="41458" y="0"/>
                      <a:pt x="37613" y="0"/>
                    </a:cubicBezTo>
                    <a:cubicBezTo>
                      <a:pt x="37613" y="0"/>
                      <a:pt x="36332" y="0"/>
                      <a:pt x="36332" y="0"/>
                    </a:cubicBezTo>
                    <a:cubicBezTo>
                      <a:pt x="29924" y="5126"/>
                      <a:pt x="26080" y="14097"/>
                      <a:pt x="2479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6" name="Freeform: Shape 379426">
                <a:extLst>
                  <a:ext uri="{FF2B5EF4-FFF2-40B4-BE49-F238E27FC236}">
                    <a16:creationId xmlns:a16="http://schemas.microsoft.com/office/drawing/2014/main" id="{E82FF319-A714-4673-8025-25A2C2CAE23F}"/>
                  </a:ext>
                </a:extLst>
              </p:cNvPr>
              <p:cNvSpPr/>
              <p:nvPr/>
            </p:nvSpPr>
            <p:spPr>
              <a:xfrm>
                <a:off x="4736026" y="2705208"/>
                <a:ext cx="16679" cy="21029"/>
              </a:xfrm>
              <a:custGeom>
                <a:avLst/>
                <a:gdLst>
                  <a:gd name="connsiteX0" fmla="*/ 248 w 16679"/>
                  <a:gd name="connsiteY0" fmla="*/ 14097 h 21029"/>
                  <a:gd name="connsiteX1" fmla="*/ 7938 w 16679"/>
                  <a:gd name="connsiteY1" fmla="*/ 19223 h 21029"/>
                  <a:gd name="connsiteX2" fmla="*/ 14345 w 16679"/>
                  <a:gd name="connsiteY2" fmla="*/ 0 h 21029"/>
                  <a:gd name="connsiteX3" fmla="*/ 11782 w 16679"/>
                  <a:gd name="connsiteY3" fmla="*/ 0 h 21029"/>
                  <a:gd name="connsiteX4" fmla="*/ 248 w 16679"/>
                  <a:gd name="connsiteY4" fmla="*/ 14097 h 2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9" h="21029">
                    <a:moveTo>
                      <a:pt x="248" y="14097"/>
                    </a:moveTo>
                    <a:cubicBezTo>
                      <a:pt x="-1033" y="20505"/>
                      <a:pt x="2811" y="23068"/>
                      <a:pt x="7938" y="19223"/>
                    </a:cubicBezTo>
                    <a:cubicBezTo>
                      <a:pt x="15627" y="14097"/>
                      <a:pt x="19472" y="1282"/>
                      <a:pt x="14345" y="0"/>
                    </a:cubicBezTo>
                    <a:cubicBezTo>
                      <a:pt x="13064" y="0"/>
                      <a:pt x="13064" y="0"/>
                      <a:pt x="11782" y="0"/>
                    </a:cubicBezTo>
                    <a:cubicBezTo>
                      <a:pt x="5375" y="2563"/>
                      <a:pt x="1530" y="10252"/>
                      <a:pt x="24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7" name="Freeform: Shape 379427">
                <a:extLst>
                  <a:ext uri="{FF2B5EF4-FFF2-40B4-BE49-F238E27FC236}">
                    <a16:creationId xmlns:a16="http://schemas.microsoft.com/office/drawing/2014/main" id="{3028FFCC-B921-4EFA-90C6-8597A93136FC}"/>
                  </a:ext>
                </a:extLst>
              </p:cNvPr>
              <p:cNvSpPr/>
              <p:nvPr/>
            </p:nvSpPr>
            <p:spPr>
              <a:xfrm>
                <a:off x="4760376" y="2697518"/>
                <a:ext cx="16679" cy="21029"/>
              </a:xfrm>
              <a:custGeom>
                <a:avLst/>
                <a:gdLst>
                  <a:gd name="connsiteX0" fmla="*/ 248 w 16679"/>
                  <a:gd name="connsiteY0" fmla="*/ 14097 h 21029"/>
                  <a:gd name="connsiteX1" fmla="*/ 7937 w 16679"/>
                  <a:gd name="connsiteY1" fmla="*/ 19223 h 21029"/>
                  <a:gd name="connsiteX2" fmla="*/ 14345 w 16679"/>
                  <a:gd name="connsiteY2" fmla="*/ 0 h 21029"/>
                  <a:gd name="connsiteX3" fmla="*/ 11782 w 16679"/>
                  <a:gd name="connsiteY3" fmla="*/ 0 h 21029"/>
                  <a:gd name="connsiteX4" fmla="*/ 248 w 16679"/>
                  <a:gd name="connsiteY4" fmla="*/ 14097 h 210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79" h="21029">
                    <a:moveTo>
                      <a:pt x="248" y="14097"/>
                    </a:moveTo>
                    <a:cubicBezTo>
                      <a:pt x="-1033" y="20505"/>
                      <a:pt x="2811" y="23068"/>
                      <a:pt x="7937" y="19223"/>
                    </a:cubicBezTo>
                    <a:cubicBezTo>
                      <a:pt x="15627" y="14097"/>
                      <a:pt x="19471" y="1282"/>
                      <a:pt x="14345" y="0"/>
                    </a:cubicBezTo>
                    <a:cubicBezTo>
                      <a:pt x="13064" y="0"/>
                      <a:pt x="11782" y="0"/>
                      <a:pt x="11782" y="0"/>
                    </a:cubicBezTo>
                    <a:cubicBezTo>
                      <a:pt x="5374" y="2563"/>
                      <a:pt x="248" y="10252"/>
                      <a:pt x="24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8" name="Freeform: Shape 379428">
                <a:extLst>
                  <a:ext uri="{FF2B5EF4-FFF2-40B4-BE49-F238E27FC236}">
                    <a16:creationId xmlns:a16="http://schemas.microsoft.com/office/drawing/2014/main" id="{EDCDE40F-F456-4B2C-A5AB-0D895A113809}"/>
                  </a:ext>
                </a:extLst>
              </p:cNvPr>
              <p:cNvSpPr/>
              <p:nvPr/>
            </p:nvSpPr>
            <p:spPr>
              <a:xfrm>
                <a:off x="6267787" y="2275320"/>
                <a:ext cx="54338" cy="64168"/>
              </a:xfrm>
              <a:custGeom>
                <a:avLst/>
                <a:gdLst>
                  <a:gd name="connsiteX0" fmla="*/ 2503 w 54338"/>
                  <a:gd name="connsiteY0" fmla="*/ 12103 h 64168"/>
                  <a:gd name="connsiteX1" fmla="*/ 14037 w 54338"/>
                  <a:gd name="connsiteY1" fmla="*/ 17230 h 64168"/>
                  <a:gd name="connsiteX2" fmla="*/ 35823 w 54338"/>
                  <a:gd name="connsiteY2" fmla="*/ 47987 h 64168"/>
                  <a:gd name="connsiteX3" fmla="*/ 42231 w 54338"/>
                  <a:gd name="connsiteY3" fmla="*/ 63365 h 64168"/>
                  <a:gd name="connsiteX4" fmla="*/ 53765 w 54338"/>
                  <a:gd name="connsiteY4" fmla="*/ 55676 h 64168"/>
                  <a:gd name="connsiteX5" fmla="*/ 39668 w 54338"/>
                  <a:gd name="connsiteY5" fmla="*/ 46705 h 64168"/>
                  <a:gd name="connsiteX6" fmla="*/ 17882 w 54338"/>
                  <a:gd name="connsiteY6" fmla="*/ 15948 h 64168"/>
                  <a:gd name="connsiteX7" fmla="*/ 10192 w 54338"/>
                  <a:gd name="connsiteY7" fmla="*/ 570 h 64168"/>
                  <a:gd name="connsiteX8" fmla="*/ 3784 w 54338"/>
                  <a:gd name="connsiteY8" fmla="*/ 570 h 64168"/>
                  <a:gd name="connsiteX9" fmla="*/ 2503 w 54338"/>
                  <a:gd name="connsiteY9" fmla="*/ 12103 h 6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338" h="64168">
                    <a:moveTo>
                      <a:pt x="2503" y="12103"/>
                    </a:moveTo>
                    <a:cubicBezTo>
                      <a:pt x="5066" y="14667"/>
                      <a:pt x="7629" y="17230"/>
                      <a:pt x="14037" y="17230"/>
                    </a:cubicBezTo>
                    <a:cubicBezTo>
                      <a:pt x="21726" y="27482"/>
                      <a:pt x="28134" y="37734"/>
                      <a:pt x="35823" y="47987"/>
                    </a:cubicBezTo>
                    <a:cubicBezTo>
                      <a:pt x="28134" y="51831"/>
                      <a:pt x="34542" y="60802"/>
                      <a:pt x="42231" y="63365"/>
                    </a:cubicBezTo>
                    <a:cubicBezTo>
                      <a:pt x="49920" y="65928"/>
                      <a:pt x="56328" y="62084"/>
                      <a:pt x="53765" y="55676"/>
                    </a:cubicBezTo>
                    <a:cubicBezTo>
                      <a:pt x="53765" y="54395"/>
                      <a:pt x="49920" y="47987"/>
                      <a:pt x="39668" y="46705"/>
                    </a:cubicBezTo>
                    <a:cubicBezTo>
                      <a:pt x="31979" y="36453"/>
                      <a:pt x="25571" y="26200"/>
                      <a:pt x="17882" y="15948"/>
                    </a:cubicBezTo>
                    <a:cubicBezTo>
                      <a:pt x="25571" y="12103"/>
                      <a:pt x="17882" y="3133"/>
                      <a:pt x="10192" y="570"/>
                    </a:cubicBezTo>
                    <a:cubicBezTo>
                      <a:pt x="7629" y="-712"/>
                      <a:pt x="5066" y="570"/>
                      <a:pt x="3784" y="570"/>
                    </a:cubicBezTo>
                    <a:cubicBezTo>
                      <a:pt x="-3905" y="3133"/>
                      <a:pt x="2503" y="12103"/>
                      <a:pt x="2503" y="121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09" name="Freeform: Shape 379429">
                <a:extLst>
                  <a:ext uri="{FF2B5EF4-FFF2-40B4-BE49-F238E27FC236}">
                    <a16:creationId xmlns:a16="http://schemas.microsoft.com/office/drawing/2014/main" id="{42D04E43-A105-452D-958F-4C0051128F4E}"/>
                  </a:ext>
                </a:extLst>
              </p:cNvPr>
              <p:cNvSpPr/>
              <p:nvPr/>
            </p:nvSpPr>
            <p:spPr>
              <a:xfrm>
                <a:off x="6459944" y="2218077"/>
                <a:ext cx="55220" cy="87459"/>
              </a:xfrm>
              <a:custGeom>
                <a:avLst/>
                <a:gdLst>
                  <a:gd name="connsiteX0" fmla="*/ 37181 w 55220"/>
                  <a:gd name="connsiteY0" fmla="*/ 82162 h 87459"/>
                  <a:gd name="connsiteX1" fmla="*/ 55122 w 55220"/>
                  <a:gd name="connsiteY1" fmla="*/ 82162 h 87459"/>
                  <a:gd name="connsiteX2" fmla="*/ 39744 w 55220"/>
                  <a:gd name="connsiteY2" fmla="*/ 70628 h 87459"/>
                  <a:gd name="connsiteX3" fmla="*/ 7705 w 55220"/>
                  <a:gd name="connsiteY3" fmla="*/ 33463 h 87459"/>
                  <a:gd name="connsiteX4" fmla="*/ 11549 w 55220"/>
                  <a:gd name="connsiteY4" fmla="*/ 14240 h 87459"/>
                  <a:gd name="connsiteX5" fmla="*/ 20520 w 55220"/>
                  <a:gd name="connsiteY5" fmla="*/ 9114 h 87459"/>
                  <a:gd name="connsiteX6" fmla="*/ 3860 w 55220"/>
                  <a:gd name="connsiteY6" fmla="*/ 143 h 87459"/>
                  <a:gd name="connsiteX7" fmla="*/ 7705 w 55220"/>
                  <a:gd name="connsiteY7" fmla="*/ 12958 h 87459"/>
                  <a:gd name="connsiteX8" fmla="*/ 3860 w 55220"/>
                  <a:gd name="connsiteY8" fmla="*/ 33463 h 87459"/>
                  <a:gd name="connsiteX9" fmla="*/ 37181 w 55220"/>
                  <a:gd name="connsiteY9" fmla="*/ 71909 h 87459"/>
                  <a:gd name="connsiteX10" fmla="*/ 37181 w 55220"/>
                  <a:gd name="connsiteY10" fmla="*/ 82162 h 8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220" h="87459">
                    <a:moveTo>
                      <a:pt x="37181" y="82162"/>
                    </a:moveTo>
                    <a:cubicBezTo>
                      <a:pt x="44869" y="88570"/>
                      <a:pt x="56403" y="89851"/>
                      <a:pt x="55122" y="82162"/>
                    </a:cubicBezTo>
                    <a:cubicBezTo>
                      <a:pt x="55122" y="78317"/>
                      <a:pt x="48714" y="71909"/>
                      <a:pt x="39744" y="70628"/>
                    </a:cubicBezTo>
                    <a:cubicBezTo>
                      <a:pt x="29491" y="57813"/>
                      <a:pt x="19239" y="46279"/>
                      <a:pt x="7705" y="33463"/>
                    </a:cubicBezTo>
                    <a:cubicBezTo>
                      <a:pt x="8986" y="27055"/>
                      <a:pt x="10268" y="19366"/>
                      <a:pt x="11549" y="14240"/>
                    </a:cubicBezTo>
                    <a:cubicBezTo>
                      <a:pt x="19239" y="16803"/>
                      <a:pt x="21802" y="12958"/>
                      <a:pt x="20520" y="9114"/>
                    </a:cubicBezTo>
                    <a:cubicBezTo>
                      <a:pt x="19239" y="6551"/>
                      <a:pt x="12831" y="-1139"/>
                      <a:pt x="3860" y="143"/>
                    </a:cubicBezTo>
                    <a:cubicBezTo>
                      <a:pt x="-3829" y="2706"/>
                      <a:pt x="1297" y="9114"/>
                      <a:pt x="7705" y="12958"/>
                    </a:cubicBezTo>
                    <a:lnTo>
                      <a:pt x="3860" y="33463"/>
                    </a:lnTo>
                    <a:cubicBezTo>
                      <a:pt x="15394" y="46279"/>
                      <a:pt x="25647" y="59094"/>
                      <a:pt x="37181" y="71909"/>
                    </a:cubicBezTo>
                    <a:cubicBezTo>
                      <a:pt x="29491" y="75754"/>
                      <a:pt x="35899" y="82162"/>
                      <a:pt x="37181" y="8216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0" name="Freeform: Shape 379430">
                <a:extLst>
                  <a:ext uri="{FF2B5EF4-FFF2-40B4-BE49-F238E27FC236}">
                    <a16:creationId xmlns:a16="http://schemas.microsoft.com/office/drawing/2014/main" id="{8CE8CAA9-1F44-409D-8C12-BFC1E103C014}"/>
                  </a:ext>
                </a:extLst>
              </p:cNvPr>
              <p:cNvSpPr/>
              <p:nvPr/>
            </p:nvSpPr>
            <p:spPr>
              <a:xfrm>
                <a:off x="6528612" y="2233599"/>
                <a:ext cx="61765" cy="60481"/>
              </a:xfrm>
              <a:custGeom>
                <a:avLst/>
                <a:gdLst>
                  <a:gd name="connsiteX0" fmla="*/ 4396 w 61765"/>
                  <a:gd name="connsiteY0" fmla="*/ 10252 h 60481"/>
                  <a:gd name="connsiteX1" fmla="*/ 15930 w 61765"/>
                  <a:gd name="connsiteY1" fmla="*/ 15379 h 60481"/>
                  <a:gd name="connsiteX2" fmla="*/ 42842 w 61765"/>
                  <a:gd name="connsiteY2" fmla="*/ 44854 h 60481"/>
                  <a:gd name="connsiteX3" fmla="*/ 54376 w 61765"/>
                  <a:gd name="connsiteY3" fmla="*/ 60233 h 60481"/>
                  <a:gd name="connsiteX4" fmla="*/ 60784 w 61765"/>
                  <a:gd name="connsiteY4" fmla="*/ 52543 h 60481"/>
                  <a:gd name="connsiteX5" fmla="*/ 46687 w 61765"/>
                  <a:gd name="connsiteY5" fmla="*/ 43573 h 60481"/>
                  <a:gd name="connsiteX6" fmla="*/ 19774 w 61765"/>
                  <a:gd name="connsiteY6" fmla="*/ 14097 h 60481"/>
                  <a:gd name="connsiteX7" fmla="*/ 6959 w 61765"/>
                  <a:gd name="connsiteY7" fmla="*/ 0 h 60481"/>
                  <a:gd name="connsiteX8" fmla="*/ 3114 w 61765"/>
                  <a:gd name="connsiteY8" fmla="*/ 0 h 60481"/>
                  <a:gd name="connsiteX9" fmla="*/ 4396 w 61765"/>
                  <a:gd name="connsiteY9" fmla="*/ 10252 h 60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65" h="60481">
                    <a:moveTo>
                      <a:pt x="4396" y="10252"/>
                    </a:moveTo>
                    <a:cubicBezTo>
                      <a:pt x="6959" y="12815"/>
                      <a:pt x="10803" y="15379"/>
                      <a:pt x="15930" y="15379"/>
                    </a:cubicBezTo>
                    <a:cubicBezTo>
                      <a:pt x="24900" y="25631"/>
                      <a:pt x="33871" y="34602"/>
                      <a:pt x="42842" y="44854"/>
                    </a:cubicBezTo>
                    <a:cubicBezTo>
                      <a:pt x="36434" y="48699"/>
                      <a:pt x="46687" y="58951"/>
                      <a:pt x="54376" y="60233"/>
                    </a:cubicBezTo>
                    <a:cubicBezTo>
                      <a:pt x="60784" y="61514"/>
                      <a:pt x="63347" y="57670"/>
                      <a:pt x="60784" y="52543"/>
                    </a:cubicBezTo>
                    <a:cubicBezTo>
                      <a:pt x="60784" y="51262"/>
                      <a:pt x="55658" y="44854"/>
                      <a:pt x="46687" y="43573"/>
                    </a:cubicBezTo>
                    <a:cubicBezTo>
                      <a:pt x="37716" y="33320"/>
                      <a:pt x="28745" y="23068"/>
                      <a:pt x="19774" y="14097"/>
                    </a:cubicBezTo>
                    <a:cubicBezTo>
                      <a:pt x="26182" y="10252"/>
                      <a:pt x="15930" y="1282"/>
                      <a:pt x="6959" y="0"/>
                    </a:cubicBezTo>
                    <a:cubicBezTo>
                      <a:pt x="5677" y="0"/>
                      <a:pt x="4396" y="0"/>
                      <a:pt x="3114" y="0"/>
                    </a:cubicBezTo>
                    <a:cubicBezTo>
                      <a:pt x="-4575" y="2563"/>
                      <a:pt x="4396" y="10252"/>
                      <a:pt x="4396"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1" name="Freeform: Shape 379431">
                <a:extLst>
                  <a:ext uri="{FF2B5EF4-FFF2-40B4-BE49-F238E27FC236}">
                    <a16:creationId xmlns:a16="http://schemas.microsoft.com/office/drawing/2014/main" id="{463F23B9-F2CD-47C5-9992-38034382793F}"/>
                  </a:ext>
                </a:extLst>
              </p:cNvPr>
              <p:cNvSpPr/>
              <p:nvPr/>
            </p:nvSpPr>
            <p:spPr>
              <a:xfrm>
                <a:off x="6576837" y="2201560"/>
                <a:ext cx="87414" cy="82267"/>
              </a:xfrm>
              <a:custGeom>
                <a:avLst/>
                <a:gdLst>
                  <a:gd name="connsiteX0" fmla="*/ 4871 w 87414"/>
                  <a:gd name="connsiteY0" fmla="*/ 10252 h 82267"/>
                  <a:gd name="connsiteX1" fmla="*/ 16405 w 87414"/>
                  <a:gd name="connsiteY1" fmla="*/ 15379 h 82267"/>
                  <a:gd name="connsiteX2" fmla="*/ 67666 w 87414"/>
                  <a:gd name="connsiteY2" fmla="*/ 66640 h 82267"/>
                  <a:gd name="connsiteX3" fmla="*/ 80482 w 87414"/>
                  <a:gd name="connsiteY3" fmla="*/ 82019 h 82267"/>
                  <a:gd name="connsiteX4" fmla="*/ 85608 w 87414"/>
                  <a:gd name="connsiteY4" fmla="*/ 74330 h 82267"/>
                  <a:gd name="connsiteX5" fmla="*/ 71511 w 87414"/>
                  <a:gd name="connsiteY5" fmla="*/ 65359 h 82267"/>
                  <a:gd name="connsiteX6" fmla="*/ 20249 w 87414"/>
                  <a:gd name="connsiteY6" fmla="*/ 14097 h 82267"/>
                  <a:gd name="connsiteX7" fmla="*/ 6152 w 87414"/>
                  <a:gd name="connsiteY7" fmla="*/ 0 h 82267"/>
                  <a:gd name="connsiteX8" fmla="*/ 2307 w 87414"/>
                  <a:gd name="connsiteY8" fmla="*/ 0 h 82267"/>
                  <a:gd name="connsiteX9" fmla="*/ 4871 w 87414"/>
                  <a:gd name="connsiteY9" fmla="*/ 10252 h 82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414" h="82267">
                    <a:moveTo>
                      <a:pt x="4871" y="10252"/>
                    </a:moveTo>
                    <a:cubicBezTo>
                      <a:pt x="7434" y="12815"/>
                      <a:pt x="11278" y="14097"/>
                      <a:pt x="16405" y="15379"/>
                    </a:cubicBezTo>
                    <a:cubicBezTo>
                      <a:pt x="33064" y="32039"/>
                      <a:pt x="51006" y="48699"/>
                      <a:pt x="67666" y="66640"/>
                    </a:cubicBezTo>
                    <a:cubicBezTo>
                      <a:pt x="62540" y="70485"/>
                      <a:pt x="72793" y="80737"/>
                      <a:pt x="80482" y="82019"/>
                    </a:cubicBezTo>
                    <a:cubicBezTo>
                      <a:pt x="86890" y="83300"/>
                      <a:pt x="89453" y="79456"/>
                      <a:pt x="85608" y="74330"/>
                    </a:cubicBezTo>
                    <a:cubicBezTo>
                      <a:pt x="85608" y="73048"/>
                      <a:pt x="80482" y="66640"/>
                      <a:pt x="71511" y="65359"/>
                    </a:cubicBezTo>
                    <a:cubicBezTo>
                      <a:pt x="54851" y="47417"/>
                      <a:pt x="38191" y="30757"/>
                      <a:pt x="20249" y="14097"/>
                    </a:cubicBezTo>
                    <a:cubicBezTo>
                      <a:pt x="25375" y="10252"/>
                      <a:pt x="15123" y="1282"/>
                      <a:pt x="6152" y="0"/>
                    </a:cubicBezTo>
                    <a:cubicBezTo>
                      <a:pt x="4871" y="0"/>
                      <a:pt x="3589" y="0"/>
                      <a:pt x="2307" y="0"/>
                    </a:cubicBezTo>
                    <a:cubicBezTo>
                      <a:pt x="-4100" y="2563"/>
                      <a:pt x="4871" y="10252"/>
                      <a:pt x="4871"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2" name="Freeform: Shape 379432">
                <a:extLst>
                  <a:ext uri="{FF2B5EF4-FFF2-40B4-BE49-F238E27FC236}">
                    <a16:creationId xmlns:a16="http://schemas.microsoft.com/office/drawing/2014/main" id="{FE082535-4A46-4299-A0A4-EBB7742DD3CB}"/>
                  </a:ext>
                </a:extLst>
              </p:cNvPr>
              <p:cNvSpPr/>
              <p:nvPr/>
            </p:nvSpPr>
            <p:spPr>
              <a:xfrm>
                <a:off x="6834784" y="2243851"/>
                <a:ext cx="260889" cy="187767"/>
              </a:xfrm>
              <a:custGeom>
                <a:avLst/>
                <a:gdLst>
                  <a:gd name="connsiteX0" fmla="*/ 5796 w 260889"/>
                  <a:gd name="connsiteY0" fmla="*/ 12815 h 187767"/>
                  <a:gd name="connsiteX1" fmla="*/ 17330 w 260889"/>
                  <a:gd name="connsiteY1" fmla="*/ 19223 h 187767"/>
                  <a:gd name="connsiteX2" fmla="*/ 33990 w 260889"/>
                  <a:gd name="connsiteY2" fmla="*/ 35883 h 187767"/>
                  <a:gd name="connsiteX3" fmla="*/ 77563 w 260889"/>
                  <a:gd name="connsiteY3" fmla="*/ 57670 h 187767"/>
                  <a:gd name="connsiteX4" fmla="*/ 124980 w 260889"/>
                  <a:gd name="connsiteY4" fmla="*/ 106368 h 187767"/>
                  <a:gd name="connsiteX5" fmla="*/ 242883 w 260889"/>
                  <a:gd name="connsiteY5" fmla="*/ 175572 h 187767"/>
                  <a:gd name="connsiteX6" fmla="*/ 260824 w 260889"/>
                  <a:gd name="connsiteY6" fmla="*/ 187106 h 187767"/>
                  <a:gd name="connsiteX7" fmla="*/ 241601 w 260889"/>
                  <a:gd name="connsiteY7" fmla="*/ 169164 h 187767"/>
                  <a:gd name="connsiteX8" fmla="*/ 240320 w 260889"/>
                  <a:gd name="connsiteY8" fmla="*/ 170446 h 187767"/>
                  <a:gd name="connsiteX9" fmla="*/ 124980 w 260889"/>
                  <a:gd name="connsiteY9" fmla="*/ 102524 h 187767"/>
                  <a:gd name="connsiteX10" fmla="*/ 82689 w 260889"/>
                  <a:gd name="connsiteY10" fmla="*/ 58951 h 187767"/>
                  <a:gd name="connsiteX11" fmla="*/ 118572 w 260889"/>
                  <a:gd name="connsiteY11" fmla="*/ 78174 h 187767"/>
                  <a:gd name="connsiteX12" fmla="*/ 142922 w 260889"/>
                  <a:gd name="connsiteY12" fmla="*/ 102524 h 187767"/>
                  <a:gd name="connsiteX13" fmla="*/ 218533 w 260889"/>
                  <a:gd name="connsiteY13" fmla="*/ 147378 h 187767"/>
                  <a:gd name="connsiteX14" fmla="*/ 236475 w 260889"/>
                  <a:gd name="connsiteY14" fmla="*/ 158912 h 187767"/>
                  <a:gd name="connsiteX15" fmla="*/ 217252 w 260889"/>
                  <a:gd name="connsiteY15" fmla="*/ 142252 h 187767"/>
                  <a:gd name="connsiteX16" fmla="*/ 217252 w 260889"/>
                  <a:gd name="connsiteY16" fmla="*/ 143533 h 187767"/>
                  <a:gd name="connsiteX17" fmla="*/ 144203 w 260889"/>
                  <a:gd name="connsiteY17" fmla="*/ 101242 h 187767"/>
                  <a:gd name="connsiteX18" fmla="*/ 124980 w 260889"/>
                  <a:gd name="connsiteY18" fmla="*/ 82019 h 187767"/>
                  <a:gd name="connsiteX19" fmla="*/ 194184 w 260889"/>
                  <a:gd name="connsiteY19" fmla="*/ 121747 h 187767"/>
                  <a:gd name="connsiteX20" fmla="*/ 212125 w 260889"/>
                  <a:gd name="connsiteY20" fmla="*/ 133281 h 187767"/>
                  <a:gd name="connsiteX21" fmla="*/ 192902 w 260889"/>
                  <a:gd name="connsiteY21" fmla="*/ 116621 h 187767"/>
                  <a:gd name="connsiteX22" fmla="*/ 192902 w 260889"/>
                  <a:gd name="connsiteY22" fmla="*/ 117902 h 187767"/>
                  <a:gd name="connsiteX23" fmla="*/ 119854 w 260889"/>
                  <a:gd name="connsiteY23" fmla="*/ 76893 h 187767"/>
                  <a:gd name="connsiteX24" fmla="*/ 55777 w 260889"/>
                  <a:gd name="connsiteY24" fmla="*/ 15379 h 187767"/>
                  <a:gd name="connsiteX25" fmla="*/ 57058 w 260889"/>
                  <a:gd name="connsiteY25" fmla="*/ 14097 h 187767"/>
                  <a:gd name="connsiteX26" fmla="*/ 37835 w 260889"/>
                  <a:gd name="connsiteY26" fmla="*/ 0 h 187767"/>
                  <a:gd name="connsiteX27" fmla="*/ 36553 w 260889"/>
                  <a:gd name="connsiteY27" fmla="*/ 1282 h 187767"/>
                  <a:gd name="connsiteX28" fmla="*/ 54495 w 260889"/>
                  <a:gd name="connsiteY28" fmla="*/ 16660 h 187767"/>
                  <a:gd name="connsiteX29" fmla="*/ 116009 w 260889"/>
                  <a:gd name="connsiteY29" fmla="*/ 75611 h 187767"/>
                  <a:gd name="connsiteX30" fmla="*/ 80126 w 260889"/>
                  <a:gd name="connsiteY30" fmla="*/ 56388 h 187767"/>
                  <a:gd name="connsiteX31" fmla="*/ 40398 w 260889"/>
                  <a:gd name="connsiteY31" fmla="*/ 17942 h 187767"/>
                  <a:gd name="connsiteX32" fmla="*/ 41679 w 260889"/>
                  <a:gd name="connsiteY32" fmla="*/ 16660 h 187767"/>
                  <a:gd name="connsiteX33" fmla="*/ 21175 w 260889"/>
                  <a:gd name="connsiteY33" fmla="*/ 2563 h 187767"/>
                  <a:gd name="connsiteX34" fmla="*/ 39116 w 260889"/>
                  <a:gd name="connsiteY34" fmla="*/ 17942 h 187767"/>
                  <a:gd name="connsiteX35" fmla="*/ 74999 w 260889"/>
                  <a:gd name="connsiteY35" fmla="*/ 52543 h 187767"/>
                  <a:gd name="connsiteX36" fmla="*/ 37835 w 260889"/>
                  <a:gd name="connsiteY36" fmla="*/ 33320 h 187767"/>
                  <a:gd name="connsiteX37" fmla="*/ 19893 w 260889"/>
                  <a:gd name="connsiteY37" fmla="*/ 19223 h 187767"/>
                  <a:gd name="connsiteX38" fmla="*/ 21175 w 260889"/>
                  <a:gd name="connsiteY38" fmla="*/ 17942 h 187767"/>
                  <a:gd name="connsiteX39" fmla="*/ 670 w 260889"/>
                  <a:gd name="connsiteY39" fmla="*/ 3845 h 187767"/>
                  <a:gd name="connsiteX40" fmla="*/ 5796 w 260889"/>
                  <a:gd name="connsiteY40" fmla="*/ 12815 h 18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60889" h="187767">
                    <a:moveTo>
                      <a:pt x="5796" y="12815"/>
                    </a:moveTo>
                    <a:cubicBezTo>
                      <a:pt x="8359" y="15379"/>
                      <a:pt x="12204" y="17942"/>
                      <a:pt x="17330" y="19223"/>
                    </a:cubicBezTo>
                    <a:cubicBezTo>
                      <a:pt x="22456" y="24349"/>
                      <a:pt x="28864" y="29476"/>
                      <a:pt x="33990" y="35883"/>
                    </a:cubicBezTo>
                    <a:lnTo>
                      <a:pt x="77563" y="57670"/>
                    </a:lnTo>
                    <a:cubicBezTo>
                      <a:pt x="94223" y="73048"/>
                      <a:pt x="109601" y="89708"/>
                      <a:pt x="124980" y="106368"/>
                    </a:cubicBezTo>
                    <a:cubicBezTo>
                      <a:pt x="241601" y="174290"/>
                      <a:pt x="241601" y="174290"/>
                      <a:pt x="242883" y="175572"/>
                    </a:cubicBezTo>
                    <a:cubicBezTo>
                      <a:pt x="244164" y="176853"/>
                      <a:pt x="254417" y="190950"/>
                      <a:pt x="260824" y="187106"/>
                    </a:cubicBezTo>
                    <a:cubicBezTo>
                      <a:pt x="262106" y="176853"/>
                      <a:pt x="244164" y="167882"/>
                      <a:pt x="241601" y="169164"/>
                    </a:cubicBezTo>
                    <a:cubicBezTo>
                      <a:pt x="241601" y="169164"/>
                      <a:pt x="240320" y="170446"/>
                      <a:pt x="240320" y="170446"/>
                    </a:cubicBezTo>
                    <a:cubicBezTo>
                      <a:pt x="205718" y="149941"/>
                      <a:pt x="160864" y="123028"/>
                      <a:pt x="124980" y="102524"/>
                    </a:cubicBezTo>
                    <a:cubicBezTo>
                      <a:pt x="110883" y="87145"/>
                      <a:pt x="96786" y="73048"/>
                      <a:pt x="82689" y="58951"/>
                    </a:cubicBezTo>
                    <a:lnTo>
                      <a:pt x="118572" y="78174"/>
                    </a:lnTo>
                    <a:cubicBezTo>
                      <a:pt x="126262" y="85864"/>
                      <a:pt x="133951" y="94834"/>
                      <a:pt x="142922" y="102524"/>
                    </a:cubicBezTo>
                    <a:cubicBezTo>
                      <a:pt x="165990" y="115339"/>
                      <a:pt x="205718" y="124310"/>
                      <a:pt x="218533" y="147378"/>
                    </a:cubicBezTo>
                    <a:cubicBezTo>
                      <a:pt x="219815" y="148659"/>
                      <a:pt x="230067" y="161475"/>
                      <a:pt x="236475" y="158912"/>
                    </a:cubicBezTo>
                    <a:cubicBezTo>
                      <a:pt x="236475" y="151222"/>
                      <a:pt x="222378" y="139688"/>
                      <a:pt x="217252" y="142252"/>
                    </a:cubicBezTo>
                    <a:cubicBezTo>
                      <a:pt x="217252" y="142252"/>
                      <a:pt x="217252" y="143533"/>
                      <a:pt x="217252" y="143533"/>
                    </a:cubicBezTo>
                    <a:lnTo>
                      <a:pt x="144203" y="101242"/>
                    </a:lnTo>
                    <a:cubicBezTo>
                      <a:pt x="137796" y="94834"/>
                      <a:pt x="131388" y="88427"/>
                      <a:pt x="124980" y="82019"/>
                    </a:cubicBezTo>
                    <a:cubicBezTo>
                      <a:pt x="145485" y="93553"/>
                      <a:pt x="182650" y="101242"/>
                      <a:pt x="194184" y="121747"/>
                    </a:cubicBezTo>
                    <a:cubicBezTo>
                      <a:pt x="195466" y="123028"/>
                      <a:pt x="205718" y="135844"/>
                      <a:pt x="212125" y="133281"/>
                    </a:cubicBezTo>
                    <a:cubicBezTo>
                      <a:pt x="212125" y="125591"/>
                      <a:pt x="198029" y="115339"/>
                      <a:pt x="192902" y="116621"/>
                    </a:cubicBezTo>
                    <a:cubicBezTo>
                      <a:pt x="192902" y="116621"/>
                      <a:pt x="192902" y="117902"/>
                      <a:pt x="192902" y="117902"/>
                    </a:cubicBezTo>
                    <a:lnTo>
                      <a:pt x="119854" y="76893"/>
                    </a:lnTo>
                    <a:cubicBezTo>
                      <a:pt x="99349" y="55106"/>
                      <a:pt x="77563" y="34602"/>
                      <a:pt x="55777" y="15379"/>
                    </a:cubicBezTo>
                    <a:cubicBezTo>
                      <a:pt x="55777" y="15379"/>
                      <a:pt x="55777" y="14097"/>
                      <a:pt x="57058" y="14097"/>
                    </a:cubicBezTo>
                    <a:cubicBezTo>
                      <a:pt x="55777" y="7689"/>
                      <a:pt x="44243" y="0"/>
                      <a:pt x="37835" y="0"/>
                    </a:cubicBezTo>
                    <a:cubicBezTo>
                      <a:pt x="37835" y="0"/>
                      <a:pt x="36553" y="0"/>
                      <a:pt x="36553" y="1282"/>
                    </a:cubicBezTo>
                    <a:cubicBezTo>
                      <a:pt x="36553" y="7689"/>
                      <a:pt x="48087" y="14097"/>
                      <a:pt x="54495" y="16660"/>
                    </a:cubicBezTo>
                    <a:cubicBezTo>
                      <a:pt x="74999" y="35883"/>
                      <a:pt x="95504" y="55106"/>
                      <a:pt x="116009" y="75611"/>
                    </a:cubicBezTo>
                    <a:lnTo>
                      <a:pt x="80126" y="56388"/>
                    </a:lnTo>
                    <a:cubicBezTo>
                      <a:pt x="67311" y="43573"/>
                      <a:pt x="53213" y="30757"/>
                      <a:pt x="40398" y="17942"/>
                    </a:cubicBezTo>
                    <a:cubicBezTo>
                      <a:pt x="40398" y="17942"/>
                      <a:pt x="40398" y="16660"/>
                      <a:pt x="41679" y="16660"/>
                    </a:cubicBezTo>
                    <a:cubicBezTo>
                      <a:pt x="40398" y="10252"/>
                      <a:pt x="26301" y="0"/>
                      <a:pt x="21175" y="2563"/>
                    </a:cubicBezTo>
                    <a:cubicBezTo>
                      <a:pt x="21175" y="8971"/>
                      <a:pt x="32709" y="15379"/>
                      <a:pt x="39116" y="17942"/>
                    </a:cubicBezTo>
                    <a:cubicBezTo>
                      <a:pt x="51932" y="29476"/>
                      <a:pt x="63466" y="41009"/>
                      <a:pt x="74999" y="52543"/>
                    </a:cubicBezTo>
                    <a:lnTo>
                      <a:pt x="37835" y="33320"/>
                    </a:lnTo>
                    <a:cubicBezTo>
                      <a:pt x="30145" y="28194"/>
                      <a:pt x="25019" y="23068"/>
                      <a:pt x="19893" y="19223"/>
                    </a:cubicBezTo>
                    <a:cubicBezTo>
                      <a:pt x="19893" y="19223"/>
                      <a:pt x="19893" y="17942"/>
                      <a:pt x="21175" y="17942"/>
                    </a:cubicBezTo>
                    <a:cubicBezTo>
                      <a:pt x="19893" y="11534"/>
                      <a:pt x="5796" y="1282"/>
                      <a:pt x="670" y="3845"/>
                    </a:cubicBezTo>
                    <a:cubicBezTo>
                      <a:pt x="-612" y="5126"/>
                      <a:pt x="-612" y="7689"/>
                      <a:pt x="5796"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3" name="Freeform: Shape 379433">
                <a:extLst>
                  <a:ext uri="{FF2B5EF4-FFF2-40B4-BE49-F238E27FC236}">
                    <a16:creationId xmlns:a16="http://schemas.microsoft.com/office/drawing/2014/main" id="{95C9E786-186B-48F3-B53B-70105A9128B1}"/>
                  </a:ext>
                </a:extLst>
              </p:cNvPr>
              <p:cNvSpPr/>
              <p:nvPr/>
            </p:nvSpPr>
            <p:spPr>
              <a:xfrm>
                <a:off x="6920036" y="2242570"/>
                <a:ext cx="248986" cy="215299"/>
              </a:xfrm>
              <a:custGeom>
                <a:avLst/>
                <a:gdLst>
                  <a:gd name="connsiteX0" fmla="*/ 7689 w 248986"/>
                  <a:gd name="connsiteY0" fmla="*/ 8971 h 215299"/>
                  <a:gd name="connsiteX1" fmla="*/ 19223 w 248986"/>
                  <a:gd name="connsiteY1" fmla="*/ 15379 h 215299"/>
                  <a:gd name="connsiteX2" fmla="*/ 87145 w 248986"/>
                  <a:gd name="connsiteY2" fmla="*/ 79456 h 215299"/>
                  <a:gd name="connsiteX3" fmla="*/ 167883 w 248986"/>
                  <a:gd name="connsiteY3" fmla="*/ 128155 h 215299"/>
                  <a:gd name="connsiteX4" fmla="*/ 230679 w 248986"/>
                  <a:gd name="connsiteY4" fmla="*/ 197358 h 215299"/>
                  <a:gd name="connsiteX5" fmla="*/ 248621 w 248986"/>
                  <a:gd name="connsiteY5" fmla="*/ 215300 h 215299"/>
                  <a:gd name="connsiteX6" fmla="*/ 233242 w 248986"/>
                  <a:gd name="connsiteY6" fmla="*/ 197358 h 215299"/>
                  <a:gd name="connsiteX7" fmla="*/ 169165 w 248986"/>
                  <a:gd name="connsiteY7" fmla="*/ 126873 h 215299"/>
                  <a:gd name="connsiteX8" fmla="*/ 87145 w 248986"/>
                  <a:gd name="connsiteY8" fmla="*/ 76893 h 215299"/>
                  <a:gd name="connsiteX9" fmla="*/ 20505 w 248986"/>
                  <a:gd name="connsiteY9" fmla="*/ 15379 h 215299"/>
                  <a:gd name="connsiteX10" fmla="*/ 1281 w 248986"/>
                  <a:gd name="connsiteY10" fmla="*/ 0 h 215299"/>
                  <a:gd name="connsiteX11" fmla="*/ 0 w 248986"/>
                  <a:gd name="connsiteY11" fmla="*/ 1282 h 215299"/>
                  <a:gd name="connsiteX12" fmla="*/ 7689 w 248986"/>
                  <a:gd name="connsiteY12" fmla="*/ 8971 h 21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986" h="215299">
                    <a:moveTo>
                      <a:pt x="7689" y="8971"/>
                    </a:moveTo>
                    <a:cubicBezTo>
                      <a:pt x="10252" y="11534"/>
                      <a:pt x="14097" y="14097"/>
                      <a:pt x="19223" y="15379"/>
                    </a:cubicBezTo>
                    <a:cubicBezTo>
                      <a:pt x="42291" y="35883"/>
                      <a:pt x="65359" y="57670"/>
                      <a:pt x="87145" y="79456"/>
                    </a:cubicBezTo>
                    <a:lnTo>
                      <a:pt x="167883" y="128155"/>
                    </a:lnTo>
                    <a:cubicBezTo>
                      <a:pt x="189669" y="149941"/>
                      <a:pt x="210174" y="173009"/>
                      <a:pt x="230679" y="197358"/>
                    </a:cubicBezTo>
                    <a:cubicBezTo>
                      <a:pt x="228116" y="201203"/>
                      <a:pt x="240932" y="215300"/>
                      <a:pt x="248621" y="215300"/>
                    </a:cubicBezTo>
                    <a:cubicBezTo>
                      <a:pt x="251184" y="210173"/>
                      <a:pt x="239650" y="198640"/>
                      <a:pt x="233242" y="197358"/>
                    </a:cubicBezTo>
                    <a:cubicBezTo>
                      <a:pt x="212737" y="173009"/>
                      <a:pt x="190951" y="149941"/>
                      <a:pt x="169165" y="126873"/>
                    </a:cubicBezTo>
                    <a:lnTo>
                      <a:pt x="87145" y="76893"/>
                    </a:lnTo>
                    <a:cubicBezTo>
                      <a:pt x="65359" y="55106"/>
                      <a:pt x="43573" y="34602"/>
                      <a:pt x="20505" y="15379"/>
                    </a:cubicBezTo>
                    <a:cubicBezTo>
                      <a:pt x="21786" y="8971"/>
                      <a:pt x="6408" y="0"/>
                      <a:pt x="1281" y="0"/>
                    </a:cubicBezTo>
                    <a:cubicBezTo>
                      <a:pt x="1281" y="0"/>
                      <a:pt x="0" y="0"/>
                      <a:pt x="0" y="1282"/>
                    </a:cubicBezTo>
                    <a:cubicBezTo>
                      <a:pt x="1281" y="1282"/>
                      <a:pt x="1281" y="3845"/>
                      <a:pt x="7689"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4" name="Freeform: Shape 379434">
                <a:extLst>
                  <a:ext uri="{FF2B5EF4-FFF2-40B4-BE49-F238E27FC236}">
                    <a16:creationId xmlns:a16="http://schemas.microsoft.com/office/drawing/2014/main" id="{9B82F7CE-0175-4F71-BAFC-A96EB6F20384}"/>
                  </a:ext>
                </a:extLst>
              </p:cNvPr>
              <p:cNvSpPr/>
              <p:nvPr/>
            </p:nvSpPr>
            <p:spPr>
              <a:xfrm>
                <a:off x="6951907" y="2218220"/>
                <a:ext cx="47683" cy="38528"/>
              </a:xfrm>
              <a:custGeom>
                <a:avLst/>
                <a:gdLst>
                  <a:gd name="connsiteX0" fmla="*/ 7857 w 47683"/>
                  <a:gd name="connsiteY0" fmla="*/ 8971 h 38528"/>
                  <a:gd name="connsiteX1" fmla="*/ 18109 w 47683"/>
                  <a:gd name="connsiteY1" fmla="*/ 15379 h 38528"/>
                  <a:gd name="connsiteX2" fmla="*/ 27080 w 47683"/>
                  <a:gd name="connsiteY2" fmla="*/ 23068 h 38528"/>
                  <a:gd name="connsiteX3" fmla="*/ 47585 w 47683"/>
                  <a:gd name="connsiteY3" fmla="*/ 38446 h 38528"/>
                  <a:gd name="connsiteX4" fmla="*/ 29643 w 47683"/>
                  <a:gd name="connsiteY4" fmla="*/ 23068 h 38528"/>
                  <a:gd name="connsiteX5" fmla="*/ 20672 w 47683"/>
                  <a:gd name="connsiteY5" fmla="*/ 15379 h 38528"/>
                  <a:gd name="connsiteX6" fmla="*/ 1449 w 47683"/>
                  <a:gd name="connsiteY6" fmla="*/ 0 h 38528"/>
                  <a:gd name="connsiteX7" fmla="*/ 168 w 47683"/>
                  <a:gd name="connsiteY7" fmla="*/ 0 h 38528"/>
                  <a:gd name="connsiteX8" fmla="*/ 7857 w 47683"/>
                  <a:gd name="connsiteY8" fmla="*/ 8971 h 3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83" h="38528">
                    <a:moveTo>
                      <a:pt x="7857" y="8971"/>
                    </a:moveTo>
                    <a:cubicBezTo>
                      <a:pt x="10420" y="11534"/>
                      <a:pt x="14265" y="14097"/>
                      <a:pt x="18109" y="15379"/>
                    </a:cubicBezTo>
                    <a:cubicBezTo>
                      <a:pt x="20672" y="17942"/>
                      <a:pt x="24517" y="20505"/>
                      <a:pt x="27080" y="23068"/>
                    </a:cubicBezTo>
                    <a:cubicBezTo>
                      <a:pt x="25799" y="25631"/>
                      <a:pt x="42459" y="39728"/>
                      <a:pt x="47585" y="38446"/>
                    </a:cubicBezTo>
                    <a:cubicBezTo>
                      <a:pt x="48867" y="35883"/>
                      <a:pt x="37333" y="25631"/>
                      <a:pt x="29643" y="23068"/>
                    </a:cubicBezTo>
                    <a:cubicBezTo>
                      <a:pt x="27080" y="20505"/>
                      <a:pt x="23236" y="17942"/>
                      <a:pt x="20672" y="15379"/>
                    </a:cubicBezTo>
                    <a:cubicBezTo>
                      <a:pt x="21954" y="12816"/>
                      <a:pt x="7857" y="1282"/>
                      <a:pt x="1449" y="0"/>
                    </a:cubicBezTo>
                    <a:cubicBezTo>
                      <a:pt x="1449" y="0"/>
                      <a:pt x="1449" y="0"/>
                      <a:pt x="168" y="0"/>
                    </a:cubicBezTo>
                    <a:cubicBezTo>
                      <a:pt x="-1114" y="2563"/>
                      <a:pt x="5294" y="7689"/>
                      <a:pt x="7857"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5" name="Freeform: Shape 379435">
                <a:extLst>
                  <a:ext uri="{FF2B5EF4-FFF2-40B4-BE49-F238E27FC236}">
                    <a16:creationId xmlns:a16="http://schemas.microsoft.com/office/drawing/2014/main" id="{1C6D6D25-FDE8-4451-8F01-39AA4150A4C1}"/>
                  </a:ext>
                </a:extLst>
              </p:cNvPr>
              <p:cNvSpPr/>
              <p:nvPr/>
            </p:nvSpPr>
            <p:spPr>
              <a:xfrm>
                <a:off x="6948231" y="2163114"/>
                <a:ext cx="153785" cy="111494"/>
              </a:xfrm>
              <a:custGeom>
                <a:avLst/>
                <a:gdLst>
                  <a:gd name="connsiteX0" fmla="*/ 140970 w 153785"/>
                  <a:gd name="connsiteY0" fmla="*/ 101242 h 111494"/>
                  <a:gd name="connsiteX1" fmla="*/ 149941 w 153785"/>
                  <a:gd name="connsiteY1" fmla="*/ 108931 h 111494"/>
                  <a:gd name="connsiteX2" fmla="*/ 130718 w 153785"/>
                  <a:gd name="connsiteY2" fmla="*/ 93553 h 111494"/>
                  <a:gd name="connsiteX3" fmla="*/ 53825 w 153785"/>
                  <a:gd name="connsiteY3" fmla="*/ 35883 h 111494"/>
                  <a:gd name="connsiteX4" fmla="*/ 32039 w 153785"/>
                  <a:gd name="connsiteY4" fmla="*/ 20505 h 111494"/>
                  <a:gd name="connsiteX5" fmla="*/ 134563 w 153785"/>
                  <a:gd name="connsiteY5" fmla="*/ 96116 h 111494"/>
                  <a:gd name="connsiteX6" fmla="*/ 153786 w 153785"/>
                  <a:gd name="connsiteY6" fmla="*/ 111494 h 111494"/>
                  <a:gd name="connsiteX7" fmla="*/ 134563 w 153785"/>
                  <a:gd name="connsiteY7" fmla="*/ 96116 h 111494"/>
                  <a:gd name="connsiteX8" fmla="*/ 30757 w 153785"/>
                  <a:gd name="connsiteY8" fmla="*/ 20505 h 111494"/>
                  <a:gd name="connsiteX9" fmla="*/ 0 w 153785"/>
                  <a:gd name="connsiteY9" fmla="*/ 0 h 111494"/>
                  <a:gd name="connsiteX10" fmla="*/ 24349 w 153785"/>
                  <a:gd name="connsiteY10" fmla="*/ 16660 h 111494"/>
                  <a:gd name="connsiteX11" fmla="*/ 49980 w 153785"/>
                  <a:gd name="connsiteY11" fmla="*/ 34602 h 111494"/>
                  <a:gd name="connsiteX12" fmla="*/ 128155 w 153785"/>
                  <a:gd name="connsiteY12" fmla="*/ 93553 h 111494"/>
                  <a:gd name="connsiteX13" fmla="*/ 140970 w 153785"/>
                  <a:gd name="connsiteY13" fmla="*/ 101242 h 1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785" h="111494">
                    <a:moveTo>
                      <a:pt x="140970" y="101242"/>
                    </a:moveTo>
                    <a:cubicBezTo>
                      <a:pt x="148660" y="107650"/>
                      <a:pt x="149941" y="107650"/>
                      <a:pt x="149941" y="108931"/>
                    </a:cubicBezTo>
                    <a:cubicBezTo>
                      <a:pt x="146097" y="105087"/>
                      <a:pt x="134563" y="96116"/>
                      <a:pt x="130718" y="93553"/>
                    </a:cubicBezTo>
                    <a:cubicBezTo>
                      <a:pt x="105087" y="74330"/>
                      <a:pt x="80737" y="55106"/>
                      <a:pt x="53825" y="35883"/>
                    </a:cubicBezTo>
                    <a:lnTo>
                      <a:pt x="32039" y="20505"/>
                    </a:lnTo>
                    <a:cubicBezTo>
                      <a:pt x="66640" y="44854"/>
                      <a:pt x="101242" y="69203"/>
                      <a:pt x="134563" y="96116"/>
                    </a:cubicBezTo>
                    <a:cubicBezTo>
                      <a:pt x="138407" y="98679"/>
                      <a:pt x="149941" y="108931"/>
                      <a:pt x="153786" y="111494"/>
                    </a:cubicBezTo>
                    <a:cubicBezTo>
                      <a:pt x="152504" y="110213"/>
                      <a:pt x="135844" y="97397"/>
                      <a:pt x="134563" y="96116"/>
                    </a:cubicBezTo>
                    <a:cubicBezTo>
                      <a:pt x="101242" y="69203"/>
                      <a:pt x="66640" y="44854"/>
                      <a:pt x="30757" y="20505"/>
                    </a:cubicBezTo>
                    <a:lnTo>
                      <a:pt x="0" y="0"/>
                    </a:lnTo>
                    <a:cubicBezTo>
                      <a:pt x="7689" y="5126"/>
                      <a:pt x="16660" y="10252"/>
                      <a:pt x="24349" y="16660"/>
                    </a:cubicBezTo>
                    <a:lnTo>
                      <a:pt x="49980" y="34602"/>
                    </a:lnTo>
                    <a:cubicBezTo>
                      <a:pt x="76893" y="53825"/>
                      <a:pt x="102524" y="73048"/>
                      <a:pt x="128155" y="93553"/>
                    </a:cubicBezTo>
                    <a:cubicBezTo>
                      <a:pt x="132000" y="92271"/>
                      <a:pt x="133281" y="94834"/>
                      <a:pt x="140970" y="1012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6" name="Freeform: Shape 379436">
                <a:extLst>
                  <a:ext uri="{FF2B5EF4-FFF2-40B4-BE49-F238E27FC236}">
                    <a16:creationId xmlns:a16="http://schemas.microsoft.com/office/drawing/2014/main" id="{40A94ED2-A125-49D6-BC6A-4DA32629DFA9}"/>
                  </a:ext>
                </a:extLst>
              </p:cNvPr>
              <p:cNvSpPr/>
              <p:nvPr/>
            </p:nvSpPr>
            <p:spPr>
              <a:xfrm>
                <a:off x="4264664" y="2891032"/>
                <a:ext cx="35883" cy="78174"/>
              </a:xfrm>
              <a:custGeom>
                <a:avLst/>
                <a:gdLst>
                  <a:gd name="connsiteX0" fmla="*/ 1282 w 35883"/>
                  <a:gd name="connsiteY0" fmla="*/ 75611 h 78174"/>
                  <a:gd name="connsiteX1" fmla="*/ 0 w 35883"/>
                  <a:gd name="connsiteY1" fmla="*/ 78174 h 78174"/>
                  <a:gd name="connsiteX2" fmla="*/ 10253 w 35883"/>
                  <a:gd name="connsiteY2" fmla="*/ 55106 h 78174"/>
                  <a:gd name="connsiteX3" fmla="*/ 35883 w 35883"/>
                  <a:gd name="connsiteY3" fmla="*/ 0 h 78174"/>
                  <a:gd name="connsiteX4" fmla="*/ 20505 w 35883"/>
                  <a:gd name="connsiteY4" fmla="*/ 32039 h 78174"/>
                  <a:gd name="connsiteX5" fmla="*/ 8971 w 35883"/>
                  <a:gd name="connsiteY5" fmla="*/ 57670 h 78174"/>
                  <a:gd name="connsiteX6" fmla="*/ 1282 w 35883"/>
                  <a:gd name="connsiteY6" fmla="*/ 75611 h 78174"/>
                  <a:gd name="connsiteX7" fmla="*/ 1282 w 35883"/>
                  <a:gd name="connsiteY7" fmla="*/ 75611 h 7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83" h="78174">
                    <a:moveTo>
                      <a:pt x="1282" y="75611"/>
                    </a:moveTo>
                    <a:cubicBezTo>
                      <a:pt x="1282" y="76893"/>
                      <a:pt x="0" y="76893"/>
                      <a:pt x="0" y="78174"/>
                    </a:cubicBezTo>
                    <a:cubicBezTo>
                      <a:pt x="1282" y="75611"/>
                      <a:pt x="10253" y="56388"/>
                      <a:pt x="10253" y="55106"/>
                    </a:cubicBezTo>
                    <a:cubicBezTo>
                      <a:pt x="19223" y="35883"/>
                      <a:pt x="26913" y="17942"/>
                      <a:pt x="35883" y="0"/>
                    </a:cubicBezTo>
                    <a:lnTo>
                      <a:pt x="20505" y="32039"/>
                    </a:lnTo>
                    <a:cubicBezTo>
                      <a:pt x="16660" y="41009"/>
                      <a:pt x="12816" y="49980"/>
                      <a:pt x="8971" y="57670"/>
                    </a:cubicBezTo>
                    <a:lnTo>
                      <a:pt x="1282" y="75611"/>
                    </a:lnTo>
                    <a:cubicBezTo>
                      <a:pt x="1282" y="74330"/>
                      <a:pt x="1282" y="75611"/>
                      <a:pt x="1282" y="7561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7" name="Freeform: Shape 379437">
                <a:extLst>
                  <a:ext uri="{FF2B5EF4-FFF2-40B4-BE49-F238E27FC236}">
                    <a16:creationId xmlns:a16="http://schemas.microsoft.com/office/drawing/2014/main" id="{97B0492C-F9A5-488C-8157-F236A98FF7E4}"/>
                  </a:ext>
                </a:extLst>
              </p:cNvPr>
              <p:cNvSpPr/>
              <p:nvPr/>
            </p:nvSpPr>
            <p:spPr>
              <a:xfrm>
                <a:off x="4267227" y="2778256"/>
                <a:ext cx="92271" cy="185824"/>
              </a:xfrm>
              <a:custGeom>
                <a:avLst/>
                <a:gdLst>
                  <a:gd name="connsiteX0" fmla="*/ 84582 w 92271"/>
                  <a:gd name="connsiteY0" fmla="*/ 15379 h 185824"/>
                  <a:gd name="connsiteX1" fmla="*/ 80738 w 92271"/>
                  <a:gd name="connsiteY1" fmla="*/ 23068 h 185824"/>
                  <a:gd name="connsiteX2" fmla="*/ 10252 w 92271"/>
                  <a:gd name="connsiteY2" fmla="*/ 164038 h 185824"/>
                  <a:gd name="connsiteX3" fmla="*/ 0 w 92271"/>
                  <a:gd name="connsiteY3" fmla="*/ 185824 h 185824"/>
                  <a:gd name="connsiteX4" fmla="*/ 10252 w 92271"/>
                  <a:gd name="connsiteY4" fmla="*/ 162756 h 185824"/>
                  <a:gd name="connsiteX5" fmla="*/ 80738 w 92271"/>
                  <a:gd name="connsiteY5" fmla="*/ 21786 h 185824"/>
                  <a:gd name="connsiteX6" fmla="*/ 92272 w 92271"/>
                  <a:gd name="connsiteY6" fmla="*/ 0 h 185824"/>
                  <a:gd name="connsiteX7" fmla="*/ 84582 w 92271"/>
                  <a:gd name="connsiteY7" fmla="*/ 15379 h 185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271" h="185824">
                    <a:moveTo>
                      <a:pt x="84582" y="15379"/>
                    </a:moveTo>
                    <a:cubicBezTo>
                      <a:pt x="82019" y="20505"/>
                      <a:pt x="80738" y="21786"/>
                      <a:pt x="80738" y="23068"/>
                    </a:cubicBezTo>
                    <a:cubicBezTo>
                      <a:pt x="55107" y="69203"/>
                      <a:pt x="32039" y="115339"/>
                      <a:pt x="10252" y="164038"/>
                    </a:cubicBezTo>
                    <a:cubicBezTo>
                      <a:pt x="7689" y="169164"/>
                      <a:pt x="2563" y="181979"/>
                      <a:pt x="0" y="185824"/>
                    </a:cubicBezTo>
                    <a:cubicBezTo>
                      <a:pt x="2563" y="183261"/>
                      <a:pt x="10252" y="164038"/>
                      <a:pt x="10252" y="162756"/>
                    </a:cubicBezTo>
                    <a:cubicBezTo>
                      <a:pt x="32039" y="115339"/>
                      <a:pt x="55107" y="67922"/>
                      <a:pt x="80738" y="21786"/>
                    </a:cubicBezTo>
                    <a:cubicBezTo>
                      <a:pt x="82019" y="19223"/>
                      <a:pt x="92272" y="1282"/>
                      <a:pt x="92272" y="0"/>
                    </a:cubicBezTo>
                    <a:cubicBezTo>
                      <a:pt x="89709" y="5126"/>
                      <a:pt x="85864" y="11534"/>
                      <a:pt x="8458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8" name="Freeform: Shape 379438">
                <a:extLst>
                  <a:ext uri="{FF2B5EF4-FFF2-40B4-BE49-F238E27FC236}">
                    <a16:creationId xmlns:a16="http://schemas.microsoft.com/office/drawing/2014/main" id="{7816AA4A-A1D2-46F3-AE6E-09FBC27BE8AC}"/>
                  </a:ext>
                </a:extLst>
              </p:cNvPr>
              <p:cNvSpPr/>
              <p:nvPr/>
            </p:nvSpPr>
            <p:spPr>
              <a:xfrm>
                <a:off x="4268509" y="2905129"/>
                <a:ext cx="25631" cy="55106"/>
              </a:xfrm>
              <a:custGeom>
                <a:avLst/>
                <a:gdLst>
                  <a:gd name="connsiteX0" fmla="*/ 19223 w 25631"/>
                  <a:gd name="connsiteY0" fmla="*/ 14097 h 55106"/>
                  <a:gd name="connsiteX1" fmla="*/ 15379 w 25631"/>
                  <a:gd name="connsiteY1" fmla="*/ 21786 h 55106"/>
                  <a:gd name="connsiteX2" fmla="*/ 10252 w 25631"/>
                  <a:gd name="connsiteY2" fmla="*/ 32039 h 55106"/>
                  <a:gd name="connsiteX3" fmla="*/ 0 w 25631"/>
                  <a:gd name="connsiteY3" fmla="*/ 55106 h 55106"/>
                  <a:gd name="connsiteX4" fmla="*/ 10252 w 25631"/>
                  <a:gd name="connsiteY4" fmla="*/ 32039 h 55106"/>
                  <a:gd name="connsiteX5" fmla="*/ 15379 w 25631"/>
                  <a:gd name="connsiteY5" fmla="*/ 21786 h 55106"/>
                  <a:gd name="connsiteX6" fmla="*/ 25631 w 25631"/>
                  <a:gd name="connsiteY6" fmla="*/ 0 h 55106"/>
                  <a:gd name="connsiteX7" fmla="*/ 25631 w 25631"/>
                  <a:gd name="connsiteY7" fmla="*/ 0 h 55106"/>
                  <a:gd name="connsiteX8" fmla="*/ 19223 w 25631"/>
                  <a:gd name="connsiteY8" fmla="*/ 14097 h 5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31" h="55106">
                    <a:moveTo>
                      <a:pt x="19223" y="14097"/>
                    </a:moveTo>
                    <a:cubicBezTo>
                      <a:pt x="17942" y="16660"/>
                      <a:pt x="16660" y="20505"/>
                      <a:pt x="15379" y="21786"/>
                    </a:cubicBezTo>
                    <a:cubicBezTo>
                      <a:pt x="14097" y="25631"/>
                      <a:pt x="11534" y="29475"/>
                      <a:pt x="10252" y="32039"/>
                    </a:cubicBezTo>
                    <a:cubicBezTo>
                      <a:pt x="7689" y="37165"/>
                      <a:pt x="1282" y="52543"/>
                      <a:pt x="0" y="55106"/>
                    </a:cubicBezTo>
                    <a:cubicBezTo>
                      <a:pt x="1282" y="52543"/>
                      <a:pt x="10252" y="33320"/>
                      <a:pt x="10252" y="32039"/>
                    </a:cubicBezTo>
                    <a:cubicBezTo>
                      <a:pt x="11534" y="28194"/>
                      <a:pt x="14097" y="24349"/>
                      <a:pt x="15379" y="21786"/>
                    </a:cubicBezTo>
                    <a:cubicBezTo>
                      <a:pt x="17942" y="16660"/>
                      <a:pt x="25631" y="1281"/>
                      <a:pt x="25631" y="0"/>
                    </a:cubicBezTo>
                    <a:cubicBezTo>
                      <a:pt x="25631" y="0"/>
                      <a:pt x="25631" y="0"/>
                      <a:pt x="25631" y="0"/>
                    </a:cubicBezTo>
                    <a:cubicBezTo>
                      <a:pt x="24350" y="1281"/>
                      <a:pt x="20505" y="11534"/>
                      <a:pt x="1922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19" name="Freeform: Shape 379439">
                <a:extLst>
                  <a:ext uri="{FF2B5EF4-FFF2-40B4-BE49-F238E27FC236}">
                    <a16:creationId xmlns:a16="http://schemas.microsoft.com/office/drawing/2014/main" id="{66634613-4686-479C-BF7B-399608E27A64}"/>
                  </a:ext>
                </a:extLst>
              </p:cNvPr>
              <p:cNvSpPr/>
              <p:nvPr/>
            </p:nvSpPr>
            <p:spPr>
              <a:xfrm>
                <a:off x="4289014" y="2791071"/>
                <a:ext cx="74329" cy="151222"/>
              </a:xfrm>
              <a:custGeom>
                <a:avLst/>
                <a:gdLst>
                  <a:gd name="connsiteX0" fmla="*/ 65359 w 74329"/>
                  <a:gd name="connsiteY0" fmla="*/ 14097 h 151222"/>
                  <a:gd name="connsiteX1" fmla="*/ 62796 w 74329"/>
                  <a:gd name="connsiteY1" fmla="*/ 21786 h 151222"/>
                  <a:gd name="connsiteX2" fmla="*/ 10252 w 74329"/>
                  <a:gd name="connsiteY2" fmla="*/ 129436 h 151222"/>
                  <a:gd name="connsiteX3" fmla="*/ 0 w 74329"/>
                  <a:gd name="connsiteY3" fmla="*/ 151222 h 151222"/>
                  <a:gd name="connsiteX4" fmla="*/ 10252 w 74329"/>
                  <a:gd name="connsiteY4" fmla="*/ 128155 h 151222"/>
                  <a:gd name="connsiteX5" fmla="*/ 62796 w 74329"/>
                  <a:gd name="connsiteY5" fmla="*/ 20505 h 151222"/>
                  <a:gd name="connsiteX6" fmla="*/ 74330 w 74329"/>
                  <a:gd name="connsiteY6" fmla="*/ 0 h 151222"/>
                  <a:gd name="connsiteX7" fmla="*/ 74330 w 74329"/>
                  <a:gd name="connsiteY7" fmla="*/ 0 h 151222"/>
                  <a:gd name="connsiteX8" fmla="*/ 65359 w 74329"/>
                  <a:gd name="connsiteY8" fmla="*/ 14097 h 151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329" h="151222">
                    <a:moveTo>
                      <a:pt x="65359" y="14097"/>
                    </a:moveTo>
                    <a:cubicBezTo>
                      <a:pt x="62796" y="19223"/>
                      <a:pt x="62796" y="20505"/>
                      <a:pt x="62796" y="21786"/>
                    </a:cubicBezTo>
                    <a:cubicBezTo>
                      <a:pt x="44854" y="56388"/>
                      <a:pt x="26913" y="93553"/>
                      <a:pt x="10252" y="129436"/>
                    </a:cubicBezTo>
                    <a:cubicBezTo>
                      <a:pt x="6408" y="134562"/>
                      <a:pt x="1282" y="147378"/>
                      <a:pt x="0" y="151222"/>
                    </a:cubicBezTo>
                    <a:cubicBezTo>
                      <a:pt x="3845" y="149941"/>
                      <a:pt x="10252" y="130718"/>
                      <a:pt x="10252" y="128155"/>
                    </a:cubicBezTo>
                    <a:cubicBezTo>
                      <a:pt x="26913" y="92271"/>
                      <a:pt x="43573" y="56388"/>
                      <a:pt x="62796" y="20505"/>
                    </a:cubicBezTo>
                    <a:cubicBezTo>
                      <a:pt x="66641" y="15379"/>
                      <a:pt x="73048" y="3845"/>
                      <a:pt x="74330" y="0"/>
                    </a:cubicBezTo>
                    <a:cubicBezTo>
                      <a:pt x="74330" y="0"/>
                      <a:pt x="74330" y="0"/>
                      <a:pt x="74330" y="0"/>
                    </a:cubicBezTo>
                    <a:cubicBezTo>
                      <a:pt x="71767" y="1282"/>
                      <a:pt x="66641" y="10252"/>
                      <a:pt x="65359"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0" name="Freeform: Shape 379440">
                <a:extLst>
                  <a:ext uri="{FF2B5EF4-FFF2-40B4-BE49-F238E27FC236}">
                    <a16:creationId xmlns:a16="http://schemas.microsoft.com/office/drawing/2014/main" id="{BD99B81A-EEE6-4E9B-999F-DFDC63B9823B}"/>
                  </a:ext>
                </a:extLst>
              </p:cNvPr>
              <p:cNvSpPr/>
              <p:nvPr/>
            </p:nvSpPr>
            <p:spPr>
              <a:xfrm>
                <a:off x="4462896" y="2648820"/>
                <a:ext cx="94893" cy="205047"/>
              </a:xfrm>
              <a:custGeom>
                <a:avLst/>
                <a:gdLst>
                  <a:gd name="connsiteX0" fmla="*/ 82428 w 94893"/>
                  <a:gd name="connsiteY0" fmla="*/ 14097 h 205047"/>
                  <a:gd name="connsiteX1" fmla="*/ 81147 w 94893"/>
                  <a:gd name="connsiteY1" fmla="*/ 20505 h 205047"/>
                  <a:gd name="connsiteX2" fmla="*/ 81147 w 94893"/>
                  <a:gd name="connsiteY2" fmla="*/ 20505 h 205047"/>
                  <a:gd name="connsiteX3" fmla="*/ 9380 w 94893"/>
                  <a:gd name="connsiteY3" fmla="*/ 183261 h 205047"/>
                  <a:gd name="connsiteX4" fmla="*/ 1691 w 94893"/>
                  <a:gd name="connsiteY4" fmla="*/ 205047 h 205047"/>
                  <a:gd name="connsiteX5" fmla="*/ 13225 w 94893"/>
                  <a:gd name="connsiteY5" fmla="*/ 183261 h 205047"/>
                  <a:gd name="connsiteX6" fmla="*/ 11943 w 94893"/>
                  <a:gd name="connsiteY6" fmla="*/ 183261 h 205047"/>
                  <a:gd name="connsiteX7" fmla="*/ 83710 w 94893"/>
                  <a:gd name="connsiteY7" fmla="*/ 20505 h 205047"/>
                  <a:gd name="connsiteX8" fmla="*/ 93962 w 94893"/>
                  <a:gd name="connsiteY8" fmla="*/ 0 h 205047"/>
                  <a:gd name="connsiteX9" fmla="*/ 92681 w 94893"/>
                  <a:gd name="connsiteY9" fmla="*/ 0 h 205047"/>
                  <a:gd name="connsiteX10" fmla="*/ 82428 w 94893"/>
                  <a:gd name="connsiteY10" fmla="*/ 14097 h 20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893" h="205047">
                    <a:moveTo>
                      <a:pt x="82428" y="14097"/>
                    </a:moveTo>
                    <a:cubicBezTo>
                      <a:pt x="81147" y="17942"/>
                      <a:pt x="81147" y="19223"/>
                      <a:pt x="81147" y="20505"/>
                    </a:cubicBezTo>
                    <a:cubicBezTo>
                      <a:pt x="81147" y="20505"/>
                      <a:pt x="81147" y="20505"/>
                      <a:pt x="81147" y="20505"/>
                    </a:cubicBezTo>
                    <a:cubicBezTo>
                      <a:pt x="54234" y="73048"/>
                      <a:pt x="29885" y="126873"/>
                      <a:pt x="9380" y="183261"/>
                    </a:cubicBezTo>
                    <a:cubicBezTo>
                      <a:pt x="4254" y="188387"/>
                      <a:pt x="-3436" y="201203"/>
                      <a:pt x="1691" y="205047"/>
                    </a:cubicBezTo>
                    <a:cubicBezTo>
                      <a:pt x="8098" y="203766"/>
                      <a:pt x="15787" y="185824"/>
                      <a:pt x="13225" y="183261"/>
                    </a:cubicBezTo>
                    <a:cubicBezTo>
                      <a:pt x="13225" y="183261"/>
                      <a:pt x="13225" y="183261"/>
                      <a:pt x="11943" y="183261"/>
                    </a:cubicBezTo>
                    <a:cubicBezTo>
                      <a:pt x="33729" y="126873"/>
                      <a:pt x="56797" y="73048"/>
                      <a:pt x="83710" y="20505"/>
                    </a:cubicBezTo>
                    <a:cubicBezTo>
                      <a:pt x="88836" y="16660"/>
                      <a:pt x="97807" y="3845"/>
                      <a:pt x="93962" y="0"/>
                    </a:cubicBezTo>
                    <a:cubicBezTo>
                      <a:pt x="93962" y="0"/>
                      <a:pt x="93962" y="0"/>
                      <a:pt x="92681" y="0"/>
                    </a:cubicBezTo>
                    <a:cubicBezTo>
                      <a:pt x="87554" y="2563"/>
                      <a:pt x="82428" y="11534"/>
                      <a:pt x="8242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1" name="Freeform: Shape 379441">
                <a:extLst>
                  <a:ext uri="{FF2B5EF4-FFF2-40B4-BE49-F238E27FC236}">
                    <a16:creationId xmlns:a16="http://schemas.microsoft.com/office/drawing/2014/main" id="{EDAC12DB-6EE4-48C1-A78F-33AA11634BEF}"/>
                  </a:ext>
                </a:extLst>
              </p:cNvPr>
              <p:cNvSpPr/>
              <p:nvPr/>
            </p:nvSpPr>
            <p:spPr>
              <a:xfrm>
                <a:off x="4479738" y="2732120"/>
                <a:ext cx="50410" cy="115339"/>
              </a:xfrm>
              <a:custGeom>
                <a:avLst/>
                <a:gdLst>
                  <a:gd name="connsiteX0" fmla="*/ 37392 w 50410"/>
                  <a:gd name="connsiteY0" fmla="*/ 14097 h 115339"/>
                  <a:gd name="connsiteX1" fmla="*/ 37392 w 50410"/>
                  <a:gd name="connsiteY1" fmla="*/ 20505 h 115339"/>
                  <a:gd name="connsiteX2" fmla="*/ 9197 w 50410"/>
                  <a:gd name="connsiteY2" fmla="*/ 92271 h 115339"/>
                  <a:gd name="connsiteX3" fmla="*/ 1508 w 50410"/>
                  <a:gd name="connsiteY3" fmla="*/ 115339 h 115339"/>
                  <a:gd name="connsiteX4" fmla="*/ 13042 w 50410"/>
                  <a:gd name="connsiteY4" fmla="*/ 93553 h 115339"/>
                  <a:gd name="connsiteX5" fmla="*/ 11761 w 50410"/>
                  <a:gd name="connsiteY5" fmla="*/ 92271 h 115339"/>
                  <a:gd name="connsiteX6" fmla="*/ 39955 w 50410"/>
                  <a:gd name="connsiteY6" fmla="*/ 20505 h 115339"/>
                  <a:gd name="connsiteX7" fmla="*/ 48926 w 50410"/>
                  <a:gd name="connsiteY7" fmla="*/ 0 h 115339"/>
                  <a:gd name="connsiteX8" fmla="*/ 47644 w 50410"/>
                  <a:gd name="connsiteY8" fmla="*/ 0 h 115339"/>
                  <a:gd name="connsiteX9" fmla="*/ 37392 w 50410"/>
                  <a:gd name="connsiteY9" fmla="*/ 14097 h 11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410" h="115339">
                    <a:moveTo>
                      <a:pt x="37392" y="14097"/>
                    </a:moveTo>
                    <a:cubicBezTo>
                      <a:pt x="36110" y="16660"/>
                      <a:pt x="36110" y="20505"/>
                      <a:pt x="37392" y="20505"/>
                    </a:cubicBezTo>
                    <a:cubicBezTo>
                      <a:pt x="27139" y="44854"/>
                      <a:pt x="18168" y="67922"/>
                      <a:pt x="9197" y="92271"/>
                    </a:cubicBezTo>
                    <a:cubicBezTo>
                      <a:pt x="1508" y="99961"/>
                      <a:pt x="-2336" y="114058"/>
                      <a:pt x="1508" y="115339"/>
                    </a:cubicBezTo>
                    <a:cubicBezTo>
                      <a:pt x="6635" y="115339"/>
                      <a:pt x="15605" y="97397"/>
                      <a:pt x="13042" y="93553"/>
                    </a:cubicBezTo>
                    <a:cubicBezTo>
                      <a:pt x="13042" y="93553"/>
                      <a:pt x="11761" y="93553"/>
                      <a:pt x="11761" y="92271"/>
                    </a:cubicBezTo>
                    <a:cubicBezTo>
                      <a:pt x="20731" y="67922"/>
                      <a:pt x="30984" y="43573"/>
                      <a:pt x="39955" y="20505"/>
                    </a:cubicBezTo>
                    <a:cubicBezTo>
                      <a:pt x="48926" y="14097"/>
                      <a:pt x="52770" y="0"/>
                      <a:pt x="48926" y="0"/>
                    </a:cubicBezTo>
                    <a:cubicBezTo>
                      <a:pt x="48926" y="0"/>
                      <a:pt x="47644" y="0"/>
                      <a:pt x="47644" y="0"/>
                    </a:cubicBezTo>
                    <a:cubicBezTo>
                      <a:pt x="42518" y="2563"/>
                      <a:pt x="38673" y="11534"/>
                      <a:pt x="3739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2" name="Freeform: Shape 379442">
                <a:extLst>
                  <a:ext uri="{FF2B5EF4-FFF2-40B4-BE49-F238E27FC236}">
                    <a16:creationId xmlns:a16="http://schemas.microsoft.com/office/drawing/2014/main" id="{F70D8B39-98DA-41C9-A88D-2FDB9121C847}"/>
                  </a:ext>
                </a:extLst>
              </p:cNvPr>
              <p:cNvSpPr/>
              <p:nvPr/>
            </p:nvSpPr>
            <p:spPr>
              <a:xfrm>
                <a:off x="4970799" y="2633318"/>
                <a:ext cx="44440" cy="41706"/>
              </a:xfrm>
              <a:custGeom>
                <a:avLst/>
                <a:gdLst>
                  <a:gd name="connsiteX0" fmla="*/ 0 w 44440"/>
                  <a:gd name="connsiteY0" fmla="*/ 15502 h 41706"/>
                  <a:gd name="connsiteX1" fmla="*/ 12815 w 44440"/>
                  <a:gd name="connsiteY1" fmla="*/ 18065 h 41706"/>
                  <a:gd name="connsiteX2" fmla="*/ 26912 w 44440"/>
                  <a:gd name="connsiteY2" fmla="*/ 29599 h 41706"/>
                  <a:gd name="connsiteX3" fmla="*/ 33320 w 44440"/>
                  <a:gd name="connsiteY3" fmla="*/ 41133 h 41706"/>
                  <a:gd name="connsiteX4" fmla="*/ 41010 w 44440"/>
                  <a:gd name="connsiteY4" fmla="*/ 20628 h 41706"/>
                  <a:gd name="connsiteX5" fmla="*/ 29476 w 44440"/>
                  <a:gd name="connsiteY5" fmla="*/ 24473 h 41706"/>
                  <a:gd name="connsiteX6" fmla="*/ 16660 w 44440"/>
                  <a:gd name="connsiteY6" fmla="*/ 14221 h 41706"/>
                  <a:gd name="connsiteX7" fmla="*/ 11534 w 44440"/>
                  <a:gd name="connsiteY7" fmla="*/ 123 h 41706"/>
                  <a:gd name="connsiteX8" fmla="*/ 0 w 44440"/>
                  <a:gd name="connsiteY8" fmla="*/ 15502 h 4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40" h="41706">
                    <a:moveTo>
                      <a:pt x="0" y="15502"/>
                    </a:moveTo>
                    <a:cubicBezTo>
                      <a:pt x="0" y="20628"/>
                      <a:pt x="5126" y="24473"/>
                      <a:pt x="12815" y="18065"/>
                    </a:cubicBezTo>
                    <a:cubicBezTo>
                      <a:pt x="16660" y="21910"/>
                      <a:pt x="21786" y="25754"/>
                      <a:pt x="26912" y="29599"/>
                    </a:cubicBezTo>
                    <a:cubicBezTo>
                      <a:pt x="23068" y="37288"/>
                      <a:pt x="26912" y="43696"/>
                      <a:pt x="33320" y="41133"/>
                    </a:cubicBezTo>
                    <a:cubicBezTo>
                      <a:pt x="42291" y="38570"/>
                      <a:pt x="48699" y="24473"/>
                      <a:pt x="41010" y="20628"/>
                    </a:cubicBezTo>
                    <a:cubicBezTo>
                      <a:pt x="39728" y="20628"/>
                      <a:pt x="35883" y="18065"/>
                      <a:pt x="29476" y="24473"/>
                    </a:cubicBezTo>
                    <a:cubicBezTo>
                      <a:pt x="25631" y="20628"/>
                      <a:pt x="20505" y="16784"/>
                      <a:pt x="16660" y="14221"/>
                    </a:cubicBezTo>
                    <a:cubicBezTo>
                      <a:pt x="20505" y="7813"/>
                      <a:pt x="20505" y="-1158"/>
                      <a:pt x="11534" y="123"/>
                    </a:cubicBezTo>
                    <a:cubicBezTo>
                      <a:pt x="1281" y="3968"/>
                      <a:pt x="0" y="12939"/>
                      <a:pt x="0" y="1550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3" name="Freeform: Shape 379443">
                <a:extLst>
                  <a:ext uri="{FF2B5EF4-FFF2-40B4-BE49-F238E27FC236}">
                    <a16:creationId xmlns:a16="http://schemas.microsoft.com/office/drawing/2014/main" id="{EBBA08E8-4537-437C-9511-46D407683E3F}"/>
                  </a:ext>
                </a:extLst>
              </p:cNvPr>
              <p:cNvSpPr/>
              <p:nvPr/>
            </p:nvSpPr>
            <p:spPr>
              <a:xfrm>
                <a:off x="4974643" y="2604798"/>
                <a:ext cx="68789" cy="61255"/>
              </a:xfrm>
              <a:custGeom>
                <a:avLst/>
                <a:gdLst>
                  <a:gd name="connsiteX0" fmla="*/ 0 w 68789"/>
                  <a:gd name="connsiteY0" fmla="*/ 14546 h 61255"/>
                  <a:gd name="connsiteX1" fmla="*/ 11534 w 68789"/>
                  <a:gd name="connsiteY1" fmla="*/ 17109 h 61255"/>
                  <a:gd name="connsiteX2" fmla="*/ 49980 w 68789"/>
                  <a:gd name="connsiteY2" fmla="*/ 49148 h 61255"/>
                  <a:gd name="connsiteX3" fmla="*/ 57670 w 68789"/>
                  <a:gd name="connsiteY3" fmla="*/ 60681 h 61255"/>
                  <a:gd name="connsiteX4" fmla="*/ 65359 w 68789"/>
                  <a:gd name="connsiteY4" fmla="*/ 40177 h 61255"/>
                  <a:gd name="connsiteX5" fmla="*/ 53825 w 68789"/>
                  <a:gd name="connsiteY5" fmla="*/ 44021 h 61255"/>
                  <a:gd name="connsiteX6" fmla="*/ 16660 w 68789"/>
                  <a:gd name="connsiteY6" fmla="*/ 13264 h 61255"/>
                  <a:gd name="connsiteX7" fmla="*/ 11534 w 68789"/>
                  <a:gd name="connsiteY7" fmla="*/ 449 h 61255"/>
                  <a:gd name="connsiteX8" fmla="*/ 0 w 68789"/>
                  <a:gd name="connsiteY8" fmla="*/ 14546 h 6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789" h="61255">
                    <a:moveTo>
                      <a:pt x="0" y="14546"/>
                    </a:moveTo>
                    <a:cubicBezTo>
                      <a:pt x="0" y="19672"/>
                      <a:pt x="5126" y="22235"/>
                      <a:pt x="11534" y="17109"/>
                    </a:cubicBezTo>
                    <a:cubicBezTo>
                      <a:pt x="23068" y="26080"/>
                      <a:pt x="38446" y="38895"/>
                      <a:pt x="49980" y="49148"/>
                    </a:cubicBezTo>
                    <a:cubicBezTo>
                      <a:pt x="46136" y="56837"/>
                      <a:pt x="49980" y="63245"/>
                      <a:pt x="57670" y="60681"/>
                    </a:cubicBezTo>
                    <a:cubicBezTo>
                      <a:pt x="66641" y="58118"/>
                      <a:pt x="73048" y="44021"/>
                      <a:pt x="65359" y="40177"/>
                    </a:cubicBezTo>
                    <a:cubicBezTo>
                      <a:pt x="64078" y="40177"/>
                      <a:pt x="60233" y="38895"/>
                      <a:pt x="53825" y="44021"/>
                    </a:cubicBezTo>
                    <a:cubicBezTo>
                      <a:pt x="42291" y="35051"/>
                      <a:pt x="26912" y="22235"/>
                      <a:pt x="16660" y="13264"/>
                    </a:cubicBezTo>
                    <a:cubicBezTo>
                      <a:pt x="20505" y="6857"/>
                      <a:pt x="20505" y="-2114"/>
                      <a:pt x="11534" y="449"/>
                    </a:cubicBezTo>
                    <a:cubicBezTo>
                      <a:pt x="1281" y="4293"/>
                      <a:pt x="0" y="14546"/>
                      <a:pt x="0" y="1454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4" name="Freeform: Shape 379444">
                <a:extLst>
                  <a:ext uri="{FF2B5EF4-FFF2-40B4-BE49-F238E27FC236}">
                    <a16:creationId xmlns:a16="http://schemas.microsoft.com/office/drawing/2014/main" id="{8D7DDC71-06C8-4FEC-B906-FE2BC9E65302}"/>
                  </a:ext>
                </a:extLst>
              </p:cNvPr>
              <p:cNvSpPr/>
              <p:nvPr/>
            </p:nvSpPr>
            <p:spPr>
              <a:xfrm>
                <a:off x="5813866" y="2448702"/>
                <a:ext cx="291454" cy="365546"/>
              </a:xfrm>
              <a:custGeom>
                <a:avLst/>
                <a:gdLst>
                  <a:gd name="connsiteX0" fmla="*/ 1475 w 291454"/>
                  <a:gd name="connsiteY0" fmla="*/ 11730 h 365546"/>
                  <a:gd name="connsiteX1" fmla="*/ 19416 w 291454"/>
                  <a:gd name="connsiteY1" fmla="*/ 14293 h 365546"/>
                  <a:gd name="connsiteX2" fmla="*/ 182173 w 291454"/>
                  <a:gd name="connsiteY2" fmla="*/ 87341 h 365546"/>
                  <a:gd name="connsiteX3" fmla="*/ 271881 w 291454"/>
                  <a:gd name="connsiteY3" fmla="*/ 343651 h 365546"/>
                  <a:gd name="connsiteX4" fmla="*/ 277008 w 291454"/>
                  <a:gd name="connsiteY4" fmla="*/ 365437 h 365546"/>
                  <a:gd name="connsiteX5" fmla="*/ 289823 w 291454"/>
                  <a:gd name="connsiteY5" fmla="*/ 350058 h 365546"/>
                  <a:gd name="connsiteX6" fmla="*/ 277008 w 291454"/>
                  <a:gd name="connsiteY6" fmla="*/ 343651 h 365546"/>
                  <a:gd name="connsiteX7" fmla="*/ 186018 w 291454"/>
                  <a:gd name="connsiteY7" fmla="*/ 86060 h 365546"/>
                  <a:gd name="connsiteX8" fmla="*/ 21979 w 291454"/>
                  <a:gd name="connsiteY8" fmla="*/ 11730 h 365546"/>
                  <a:gd name="connsiteX9" fmla="*/ 7882 w 291454"/>
                  <a:gd name="connsiteY9" fmla="*/ 196 h 365546"/>
                  <a:gd name="connsiteX10" fmla="*/ 1475 w 291454"/>
                  <a:gd name="connsiteY10" fmla="*/ 11730 h 365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1454" h="365546">
                    <a:moveTo>
                      <a:pt x="1475" y="11730"/>
                    </a:moveTo>
                    <a:cubicBezTo>
                      <a:pt x="4038" y="15575"/>
                      <a:pt x="11727" y="20701"/>
                      <a:pt x="19416" y="14293"/>
                    </a:cubicBezTo>
                    <a:cubicBezTo>
                      <a:pt x="68115" y="36080"/>
                      <a:pt x="133474" y="65555"/>
                      <a:pt x="182173" y="87341"/>
                    </a:cubicBezTo>
                    <a:cubicBezTo>
                      <a:pt x="212930" y="166797"/>
                      <a:pt x="242406" y="252661"/>
                      <a:pt x="271881" y="343651"/>
                    </a:cubicBezTo>
                    <a:cubicBezTo>
                      <a:pt x="257785" y="352621"/>
                      <a:pt x="269319" y="364155"/>
                      <a:pt x="277008" y="365437"/>
                    </a:cubicBezTo>
                    <a:cubicBezTo>
                      <a:pt x="287260" y="366718"/>
                      <a:pt x="294949" y="356466"/>
                      <a:pt x="289823" y="350058"/>
                    </a:cubicBezTo>
                    <a:cubicBezTo>
                      <a:pt x="285979" y="343651"/>
                      <a:pt x="279571" y="343651"/>
                      <a:pt x="277008" y="343651"/>
                    </a:cubicBezTo>
                    <a:cubicBezTo>
                      <a:pt x="247532" y="252661"/>
                      <a:pt x="216775" y="165516"/>
                      <a:pt x="186018" y="86060"/>
                    </a:cubicBezTo>
                    <a:cubicBezTo>
                      <a:pt x="137319" y="64274"/>
                      <a:pt x="70678" y="34798"/>
                      <a:pt x="21979" y="11730"/>
                    </a:cubicBezTo>
                    <a:cubicBezTo>
                      <a:pt x="23261" y="4041"/>
                      <a:pt x="16853" y="-1085"/>
                      <a:pt x="7882" y="196"/>
                    </a:cubicBezTo>
                    <a:cubicBezTo>
                      <a:pt x="-1088" y="1478"/>
                      <a:pt x="-1088" y="7886"/>
                      <a:pt x="1475" y="1173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5" name="Freeform: Shape 379445">
                <a:extLst>
                  <a:ext uri="{FF2B5EF4-FFF2-40B4-BE49-F238E27FC236}">
                    <a16:creationId xmlns:a16="http://schemas.microsoft.com/office/drawing/2014/main" id="{6DF3CF89-850F-494E-AF59-51FD6266C201}"/>
                  </a:ext>
                </a:extLst>
              </p:cNvPr>
              <p:cNvSpPr/>
              <p:nvPr/>
            </p:nvSpPr>
            <p:spPr>
              <a:xfrm>
                <a:off x="5838677" y="2413727"/>
                <a:ext cx="31402" cy="43363"/>
              </a:xfrm>
              <a:custGeom>
                <a:avLst/>
                <a:gdLst>
                  <a:gd name="connsiteX0" fmla="*/ 1013 w 31402"/>
                  <a:gd name="connsiteY0" fmla="*/ 13385 h 43363"/>
                  <a:gd name="connsiteX1" fmla="*/ 11265 w 31402"/>
                  <a:gd name="connsiteY1" fmla="*/ 18511 h 43363"/>
                  <a:gd name="connsiteX2" fmla="*/ 13828 w 31402"/>
                  <a:gd name="connsiteY2" fmla="*/ 26200 h 43363"/>
                  <a:gd name="connsiteX3" fmla="*/ 16391 w 31402"/>
                  <a:gd name="connsiteY3" fmla="*/ 42861 h 43363"/>
                  <a:gd name="connsiteX4" fmla="*/ 30488 w 31402"/>
                  <a:gd name="connsiteY4" fmla="*/ 30045 h 43363"/>
                  <a:gd name="connsiteX5" fmla="*/ 20236 w 31402"/>
                  <a:gd name="connsiteY5" fmla="*/ 24919 h 43363"/>
                  <a:gd name="connsiteX6" fmla="*/ 17673 w 31402"/>
                  <a:gd name="connsiteY6" fmla="*/ 17230 h 43363"/>
                  <a:gd name="connsiteX7" fmla="*/ 15110 w 31402"/>
                  <a:gd name="connsiteY7" fmla="*/ 570 h 43363"/>
                  <a:gd name="connsiteX8" fmla="*/ 8702 w 31402"/>
                  <a:gd name="connsiteY8" fmla="*/ 570 h 43363"/>
                  <a:gd name="connsiteX9" fmla="*/ 1013 w 31402"/>
                  <a:gd name="connsiteY9" fmla="*/ 13385 h 4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02" h="43363">
                    <a:moveTo>
                      <a:pt x="1013" y="13385"/>
                    </a:moveTo>
                    <a:cubicBezTo>
                      <a:pt x="2294" y="15948"/>
                      <a:pt x="4857" y="18511"/>
                      <a:pt x="11265" y="18511"/>
                    </a:cubicBezTo>
                    <a:cubicBezTo>
                      <a:pt x="12547" y="21074"/>
                      <a:pt x="13828" y="23637"/>
                      <a:pt x="13828" y="26200"/>
                    </a:cubicBezTo>
                    <a:cubicBezTo>
                      <a:pt x="3576" y="31327"/>
                      <a:pt x="7420" y="41579"/>
                      <a:pt x="16391" y="42861"/>
                    </a:cubicBezTo>
                    <a:cubicBezTo>
                      <a:pt x="25362" y="45424"/>
                      <a:pt x="34333" y="37734"/>
                      <a:pt x="30488" y="30045"/>
                    </a:cubicBezTo>
                    <a:cubicBezTo>
                      <a:pt x="29207" y="27482"/>
                      <a:pt x="26644" y="24919"/>
                      <a:pt x="20236" y="24919"/>
                    </a:cubicBezTo>
                    <a:cubicBezTo>
                      <a:pt x="18954" y="22356"/>
                      <a:pt x="17673" y="19793"/>
                      <a:pt x="17673" y="17230"/>
                    </a:cubicBezTo>
                    <a:cubicBezTo>
                      <a:pt x="27925" y="12104"/>
                      <a:pt x="22799" y="3133"/>
                      <a:pt x="15110" y="570"/>
                    </a:cubicBezTo>
                    <a:cubicBezTo>
                      <a:pt x="12547" y="-712"/>
                      <a:pt x="9983" y="570"/>
                      <a:pt x="8702" y="570"/>
                    </a:cubicBezTo>
                    <a:cubicBezTo>
                      <a:pt x="-4114" y="4414"/>
                      <a:pt x="1013" y="13385"/>
                      <a:pt x="1013" y="133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6" name="Freeform: Shape 379446">
                <a:extLst>
                  <a:ext uri="{FF2B5EF4-FFF2-40B4-BE49-F238E27FC236}">
                    <a16:creationId xmlns:a16="http://schemas.microsoft.com/office/drawing/2014/main" id="{59C48C6B-E9D6-4A1D-85D2-80160DDBF32E}"/>
                  </a:ext>
                </a:extLst>
              </p:cNvPr>
              <p:cNvSpPr/>
              <p:nvPr/>
            </p:nvSpPr>
            <p:spPr>
              <a:xfrm>
                <a:off x="5870593" y="2406038"/>
                <a:ext cx="30826" cy="43363"/>
              </a:xfrm>
              <a:custGeom>
                <a:avLst/>
                <a:gdLst>
                  <a:gd name="connsiteX0" fmla="*/ 1135 w 30826"/>
                  <a:gd name="connsiteY0" fmla="*/ 13385 h 43363"/>
                  <a:gd name="connsiteX1" fmla="*/ 11388 w 30826"/>
                  <a:gd name="connsiteY1" fmla="*/ 18511 h 43363"/>
                  <a:gd name="connsiteX2" fmla="*/ 13951 w 30826"/>
                  <a:gd name="connsiteY2" fmla="*/ 26200 h 43363"/>
                  <a:gd name="connsiteX3" fmla="*/ 16514 w 30826"/>
                  <a:gd name="connsiteY3" fmla="*/ 42861 h 43363"/>
                  <a:gd name="connsiteX4" fmla="*/ 29330 w 30826"/>
                  <a:gd name="connsiteY4" fmla="*/ 30045 h 43363"/>
                  <a:gd name="connsiteX5" fmla="*/ 19077 w 30826"/>
                  <a:gd name="connsiteY5" fmla="*/ 24919 h 43363"/>
                  <a:gd name="connsiteX6" fmla="*/ 16514 w 30826"/>
                  <a:gd name="connsiteY6" fmla="*/ 17230 h 43363"/>
                  <a:gd name="connsiteX7" fmla="*/ 13951 w 30826"/>
                  <a:gd name="connsiteY7" fmla="*/ 570 h 43363"/>
                  <a:gd name="connsiteX8" fmla="*/ 7543 w 30826"/>
                  <a:gd name="connsiteY8" fmla="*/ 570 h 43363"/>
                  <a:gd name="connsiteX9" fmla="*/ 1135 w 30826"/>
                  <a:gd name="connsiteY9" fmla="*/ 13385 h 4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26" h="43363">
                    <a:moveTo>
                      <a:pt x="1135" y="13385"/>
                    </a:moveTo>
                    <a:cubicBezTo>
                      <a:pt x="2417" y="15948"/>
                      <a:pt x="4980" y="18511"/>
                      <a:pt x="11388" y="18511"/>
                    </a:cubicBezTo>
                    <a:cubicBezTo>
                      <a:pt x="12669" y="21074"/>
                      <a:pt x="13951" y="23637"/>
                      <a:pt x="13951" y="26200"/>
                    </a:cubicBezTo>
                    <a:cubicBezTo>
                      <a:pt x="3698" y="31327"/>
                      <a:pt x="8825" y="40297"/>
                      <a:pt x="16514" y="42861"/>
                    </a:cubicBezTo>
                    <a:cubicBezTo>
                      <a:pt x="25485" y="45424"/>
                      <a:pt x="34455" y="37734"/>
                      <a:pt x="29330" y="30045"/>
                    </a:cubicBezTo>
                    <a:cubicBezTo>
                      <a:pt x="28048" y="27482"/>
                      <a:pt x="25485" y="24919"/>
                      <a:pt x="19077" y="24919"/>
                    </a:cubicBezTo>
                    <a:cubicBezTo>
                      <a:pt x="17796" y="22356"/>
                      <a:pt x="16514" y="19793"/>
                      <a:pt x="16514" y="17230"/>
                    </a:cubicBezTo>
                    <a:cubicBezTo>
                      <a:pt x="25485" y="12103"/>
                      <a:pt x="21640" y="3133"/>
                      <a:pt x="13951" y="570"/>
                    </a:cubicBezTo>
                    <a:cubicBezTo>
                      <a:pt x="11388" y="-712"/>
                      <a:pt x="8825" y="570"/>
                      <a:pt x="7543" y="570"/>
                    </a:cubicBezTo>
                    <a:cubicBezTo>
                      <a:pt x="-3991" y="4414"/>
                      <a:pt x="1135" y="13385"/>
                      <a:pt x="1135" y="133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7" name="Freeform: Shape 379447">
                <a:extLst>
                  <a:ext uri="{FF2B5EF4-FFF2-40B4-BE49-F238E27FC236}">
                    <a16:creationId xmlns:a16="http://schemas.microsoft.com/office/drawing/2014/main" id="{C9E68A93-6AEE-47B7-829B-5E901E955916}"/>
                  </a:ext>
                </a:extLst>
              </p:cNvPr>
              <p:cNvSpPr/>
              <p:nvPr/>
            </p:nvSpPr>
            <p:spPr>
              <a:xfrm>
                <a:off x="6068391" y="2266349"/>
                <a:ext cx="90261" cy="133147"/>
              </a:xfrm>
              <a:custGeom>
                <a:avLst/>
                <a:gdLst>
                  <a:gd name="connsiteX0" fmla="*/ 1978 w 90261"/>
                  <a:gd name="connsiteY0" fmla="*/ 8259 h 133147"/>
                  <a:gd name="connsiteX1" fmla="*/ 13512 w 90261"/>
                  <a:gd name="connsiteY1" fmla="*/ 13385 h 133147"/>
                  <a:gd name="connsiteX2" fmla="*/ 72463 w 90261"/>
                  <a:gd name="connsiteY2" fmla="*/ 115909 h 133147"/>
                  <a:gd name="connsiteX3" fmla="*/ 77589 w 90261"/>
                  <a:gd name="connsiteY3" fmla="*/ 132569 h 133147"/>
                  <a:gd name="connsiteX4" fmla="*/ 89123 w 90261"/>
                  <a:gd name="connsiteY4" fmla="*/ 122316 h 133147"/>
                  <a:gd name="connsiteX5" fmla="*/ 76308 w 90261"/>
                  <a:gd name="connsiteY5" fmla="*/ 115909 h 133147"/>
                  <a:gd name="connsiteX6" fmla="*/ 17356 w 90261"/>
                  <a:gd name="connsiteY6" fmla="*/ 14667 h 133147"/>
                  <a:gd name="connsiteX7" fmla="*/ 12230 w 90261"/>
                  <a:gd name="connsiteY7" fmla="*/ 570 h 133147"/>
                  <a:gd name="connsiteX8" fmla="*/ 5823 w 90261"/>
                  <a:gd name="connsiteY8" fmla="*/ 570 h 133147"/>
                  <a:gd name="connsiteX9" fmla="*/ 1978 w 90261"/>
                  <a:gd name="connsiteY9" fmla="*/ 8259 h 13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61" h="133147">
                    <a:moveTo>
                      <a:pt x="1978" y="8259"/>
                    </a:moveTo>
                    <a:cubicBezTo>
                      <a:pt x="3259" y="10822"/>
                      <a:pt x="7104" y="12103"/>
                      <a:pt x="13512" y="13385"/>
                    </a:cubicBezTo>
                    <a:cubicBezTo>
                      <a:pt x="32735" y="45424"/>
                      <a:pt x="53240" y="80025"/>
                      <a:pt x="72463" y="115909"/>
                    </a:cubicBezTo>
                    <a:cubicBezTo>
                      <a:pt x="63492" y="121035"/>
                      <a:pt x="69900" y="130006"/>
                      <a:pt x="77589" y="132569"/>
                    </a:cubicBezTo>
                    <a:cubicBezTo>
                      <a:pt x="86560" y="135132"/>
                      <a:pt x="92968" y="128724"/>
                      <a:pt x="89123" y="122316"/>
                    </a:cubicBezTo>
                    <a:cubicBezTo>
                      <a:pt x="87842" y="121035"/>
                      <a:pt x="85279" y="115909"/>
                      <a:pt x="76308" y="115909"/>
                    </a:cubicBezTo>
                    <a:cubicBezTo>
                      <a:pt x="57084" y="80025"/>
                      <a:pt x="37861" y="46705"/>
                      <a:pt x="17356" y="14667"/>
                    </a:cubicBezTo>
                    <a:cubicBezTo>
                      <a:pt x="25046" y="10822"/>
                      <a:pt x="19919" y="1851"/>
                      <a:pt x="12230" y="570"/>
                    </a:cubicBezTo>
                    <a:cubicBezTo>
                      <a:pt x="9667" y="-712"/>
                      <a:pt x="8385" y="570"/>
                      <a:pt x="5823" y="570"/>
                    </a:cubicBezTo>
                    <a:cubicBezTo>
                      <a:pt x="-4430" y="-712"/>
                      <a:pt x="1978" y="8259"/>
                      <a:pt x="1978" y="825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8" name="Freeform: Shape 379448">
                <a:extLst>
                  <a:ext uri="{FF2B5EF4-FFF2-40B4-BE49-F238E27FC236}">
                    <a16:creationId xmlns:a16="http://schemas.microsoft.com/office/drawing/2014/main" id="{65021927-7630-4D53-808C-3F519BFDD058}"/>
                  </a:ext>
                </a:extLst>
              </p:cNvPr>
              <p:cNvSpPr/>
              <p:nvPr/>
            </p:nvSpPr>
            <p:spPr>
              <a:xfrm>
                <a:off x="6563766" y="2111852"/>
                <a:ext cx="190181" cy="185933"/>
              </a:xfrm>
              <a:custGeom>
                <a:avLst/>
                <a:gdLst>
                  <a:gd name="connsiteX0" fmla="*/ 129436 w 190181"/>
                  <a:gd name="connsiteY0" fmla="*/ 134562 h 185933"/>
                  <a:gd name="connsiteX1" fmla="*/ 140970 w 190181"/>
                  <a:gd name="connsiteY1" fmla="*/ 139688 h 185933"/>
                  <a:gd name="connsiteX2" fmla="*/ 170446 w 190181"/>
                  <a:gd name="connsiteY2" fmla="*/ 170446 h 185933"/>
                  <a:gd name="connsiteX3" fmla="*/ 187106 w 190181"/>
                  <a:gd name="connsiteY3" fmla="*/ 185824 h 185933"/>
                  <a:gd name="connsiteX4" fmla="*/ 183262 w 190181"/>
                  <a:gd name="connsiteY4" fmla="*/ 174290 h 185933"/>
                  <a:gd name="connsiteX5" fmla="*/ 173009 w 190181"/>
                  <a:gd name="connsiteY5" fmla="*/ 169164 h 185933"/>
                  <a:gd name="connsiteX6" fmla="*/ 143533 w 190181"/>
                  <a:gd name="connsiteY6" fmla="*/ 138407 h 185933"/>
                  <a:gd name="connsiteX7" fmla="*/ 135844 w 190181"/>
                  <a:gd name="connsiteY7" fmla="*/ 126873 h 185933"/>
                  <a:gd name="connsiteX8" fmla="*/ 134563 w 190181"/>
                  <a:gd name="connsiteY8" fmla="*/ 107650 h 185933"/>
                  <a:gd name="connsiteX9" fmla="*/ 20505 w 190181"/>
                  <a:gd name="connsiteY9" fmla="*/ 12815 h 185933"/>
                  <a:gd name="connsiteX10" fmla="*/ 21786 w 190181"/>
                  <a:gd name="connsiteY10" fmla="*/ 11534 h 185933"/>
                  <a:gd name="connsiteX11" fmla="*/ 2563 w 190181"/>
                  <a:gd name="connsiteY11" fmla="*/ 0 h 185933"/>
                  <a:gd name="connsiteX12" fmla="*/ 0 w 190181"/>
                  <a:gd name="connsiteY12" fmla="*/ 1282 h 185933"/>
                  <a:gd name="connsiteX13" fmla="*/ 17942 w 190181"/>
                  <a:gd name="connsiteY13" fmla="*/ 12815 h 185933"/>
                  <a:gd name="connsiteX14" fmla="*/ 130718 w 190181"/>
                  <a:gd name="connsiteY14" fmla="*/ 106368 h 185933"/>
                  <a:gd name="connsiteX15" fmla="*/ 132000 w 190181"/>
                  <a:gd name="connsiteY15" fmla="*/ 124310 h 185933"/>
                  <a:gd name="connsiteX16" fmla="*/ 124310 w 190181"/>
                  <a:gd name="connsiteY16" fmla="*/ 125591 h 185933"/>
                  <a:gd name="connsiteX17" fmla="*/ 129436 w 190181"/>
                  <a:gd name="connsiteY17" fmla="*/ 134562 h 18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181" h="185933">
                    <a:moveTo>
                      <a:pt x="129436" y="134562"/>
                    </a:moveTo>
                    <a:cubicBezTo>
                      <a:pt x="132000" y="137125"/>
                      <a:pt x="135844" y="139688"/>
                      <a:pt x="140970" y="139688"/>
                    </a:cubicBezTo>
                    <a:cubicBezTo>
                      <a:pt x="151223" y="149941"/>
                      <a:pt x="161475" y="160193"/>
                      <a:pt x="170446" y="170446"/>
                    </a:cubicBezTo>
                    <a:cubicBezTo>
                      <a:pt x="164038" y="176853"/>
                      <a:pt x="181980" y="187106"/>
                      <a:pt x="187106" y="185824"/>
                    </a:cubicBezTo>
                    <a:cubicBezTo>
                      <a:pt x="192233" y="185824"/>
                      <a:pt x="190951" y="179416"/>
                      <a:pt x="183262" y="174290"/>
                    </a:cubicBezTo>
                    <a:cubicBezTo>
                      <a:pt x="178135" y="170446"/>
                      <a:pt x="174290" y="170446"/>
                      <a:pt x="173009" y="169164"/>
                    </a:cubicBezTo>
                    <a:cubicBezTo>
                      <a:pt x="162756" y="158912"/>
                      <a:pt x="152504" y="148659"/>
                      <a:pt x="143533" y="138407"/>
                    </a:cubicBezTo>
                    <a:cubicBezTo>
                      <a:pt x="147378" y="134562"/>
                      <a:pt x="138407" y="128155"/>
                      <a:pt x="135844" y="126873"/>
                    </a:cubicBezTo>
                    <a:lnTo>
                      <a:pt x="134563" y="107650"/>
                    </a:lnTo>
                    <a:cubicBezTo>
                      <a:pt x="97398" y="74330"/>
                      <a:pt x="58951" y="42291"/>
                      <a:pt x="20505" y="12815"/>
                    </a:cubicBezTo>
                    <a:cubicBezTo>
                      <a:pt x="20505" y="12815"/>
                      <a:pt x="20505" y="11534"/>
                      <a:pt x="21786" y="11534"/>
                    </a:cubicBezTo>
                    <a:cubicBezTo>
                      <a:pt x="20505" y="5126"/>
                      <a:pt x="8971" y="0"/>
                      <a:pt x="2563" y="0"/>
                    </a:cubicBezTo>
                    <a:cubicBezTo>
                      <a:pt x="1281" y="0"/>
                      <a:pt x="1281" y="1282"/>
                      <a:pt x="0" y="1282"/>
                    </a:cubicBezTo>
                    <a:cubicBezTo>
                      <a:pt x="2563" y="7689"/>
                      <a:pt x="12815" y="11534"/>
                      <a:pt x="17942" y="12815"/>
                    </a:cubicBezTo>
                    <a:cubicBezTo>
                      <a:pt x="56388" y="42291"/>
                      <a:pt x="93553" y="73048"/>
                      <a:pt x="130718" y="106368"/>
                    </a:cubicBezTo>
                    <a:cubicBezTo>
                      <a:pt x="130718" y="111494"/>
                      <a:pt x="132000" y="119184"/>
                      <a:pt x="132000" y="124310"/>
                    </a:cubicBezTo>
                    <a:cubicBezTo>
                      <a:pt x="126873" y="123028"/>
                      <a:pt x="125592" y="123028"/>
                      <a:pt x="124310" y="125591"/>
                    </a:cubicBezTo>
                    <a:cubicBezTo>
                      <a:pt x="124310" y="129436"/>
                      <a:pt x="125592" y="131999"/>
                      <a:pt x="129436" y="13456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29" name="Freeform: Shape 379449">
                <a:extLst>
                  <a:ext uri="{FF2B5EF4-FFF2-40B4-BE49-F238E27FC236}">
                    <a16:creationId xmlns:a16="http://schemas.microsoft.com/office/drawing/2014/main" id="{D8CBF0F9-8746-4BBF-A26A-5E1A0DABB88F}"/>
                  </a:ext>
                </a:extLst>
              </p:cNvPr>
              <p:cNvSpPr/>
              <p:nvPr/>
            </p:nvSpPr>
            <p:spPr>
              <a:xfrm>
                <a:off x="6962410" y="2264356"/>
                <a:ext cx="70358" cy="64077"/>
              </a:xfrm>
              <a:custGeom>
                <a:avLst/>
                <a:gdLst>
                  <a:gd name="connsiteX0" fmla="*/ 6325 w 70358"/>
                  <a:gd name="connsiteY0" fmla="*/ 8971 h 64077"/>
                  <a:gd name="connsiteX1" fmla="*/ 17859 w 70358"/>
                  <a:gd name="connsiteY1" fmla="*/ 15379 h 64077"/>
                  <a:gd name="connsiteX2" fmla="*/ 51179 w 70358"/>
                  <a:gd name="connsiteY2" fmla="*/ 47417 h 64077"/>
                  <a:gd name="connsiteX3" fmla="*/ 69121 w 70358"/>
                  <a:gd name="connsiteY3" fmla="*/ 64077 h 64077"/>
                  <a:gd name="connsiteX4" fmla="*/ 63995 w 70358"/>
                  <a:gd name="connsiteY4" fmla="*/ 53825 h 64077"/>
                  <a:gd name="connsiteX5" fmla="*/ 52461 w 70358"/>
                  <a:gd name="connsiteY5" fmla="*/ 47417 h 64077"/>
                  <a:gd name="connsiteX6" fmla="*/ 20422 w 70358"/>
                  <a:gd name="connsiteY6" fmla="*/ 15379 h 64077"/>
                  <a:gd name="connsiteX7" fmla="*/ 1199 w 70358"/>
                  <a:gd name="connsiteY7" fmla="*/ 0 h 64077"/>
                  <a:gd name="connsiteX8" fmla="*/ 6325 w 70358"/>
                  <a:gd name="connsiteY8" fmla="*/ 8971 h 6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58" h="64077">
                    <a:moveTo>
                      <a:pt x="6325" y="8971"/>
                    </a:moveTo>
                    <a:cubicBezTo>
                      <a:pt x="8888" y="11534"/>
                      <a:pt x="12733" y="14097"/>
                      <a:pt x="17859" y="15379"/>
                    </a:cubicBezTo>
                    <a:cubicBezTo>
                      <a:pt x="29393" y="25631"/>
                      <a:pt x="40927" y="35883"/>
                      <a:pt x="51179" y="47417"/>
                    </a:cubicBezTo>
                    <a:cubicBezTo>
                      <a:pt x="48616" y="51262"/>
                      <a:pt x="63995" y="64077"/>
                      <a:pt x="69121" y="64077"/>
                    </a:cubicBezTo>
                    <a:cubicBezTo>
                      <a:pt x="71684" y="64077"/>
                      <a:pt x="70403" y="58951"/>
                      <a:pt x="63995" y="53825"/>
                    </a:cubicBezTo>
                    <a:cubicBezTo>
                      <a:pt x="61432" y="51262"/>
                      <a:pt x="57587" y="48699"/>
                      <a:pt x="52461" y="47417"/>
                    </a:cubicBezTo>
                    <a:cubicBezTo>
                      <a:pt x="42208" y="35883"/>
                      <a:pt x="30674" y="25631"/>
                      <a:pt x="20422" y="15379"/>
                    </a:cubicBezTo>
                    <a:cubicBezTo>
                      <a:pt x="22985" y="12815"/>
                      <a:pt x="8888" y="0"/>
                      <a:pt x="1199" y="0"/>
                    </a:cubicBezTo>
                    <a:cubicBezTo>
                      <a:pt x="-2646" y="0"/>
                      <a:pt x="3762" y="6408"/>
                      <a:pt x="6325"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0" name="Freeform: Shape 379450">
                <a:extLst>
                  <a:ext uri="{FF2B5EF4-FFF2-40B4-BE49-F238E27FC236}">
                    <a16:creationId xmlns:a16="http://schemas.microsoft.com/office/drawing/2014/main" id="{34766515-E79B-4411-B5FB-387230E5CC7F}"/>
                  </a:ext>
                </a:extLst>
              </p:cNvPr>
              <p:cNvSpPr/>
              <p:nvPr/>
            </p:nvSpPr>
            <p:spPr>
              <a:xfrm>
                <a:off x="6804264" y="2099037"/>
                <a:ext cx="247772" cy="180697"/>
              </a:xfrm>
              <a:custGeom>
                <a:avLst/>
                <a:gdLst>
                  <a:gd name="connsiteX0" fmla="*/ 8122 w 247772"/>
                  <a:gd name="connsiteY0" fmla="*/ 7689 h 180697"/>
                  <a:gd name="connsiteX1" fmla="*/ 19656 w 247772"/>
                  <a:gd name="connsiteY1" fmla="*/ 12815 h 180697"/>
                  <a:gd name="connsiteX2" fmla="*/ 227267 w 247772"/>
                  <a:gd name="connsiteY2" fmla="*/ 165319 h 180697"/>
                  <a:gd name="connsiteX3" fmla="*/ 247772 w 247772"/>
                  <a:gd name="connsiteY3" fmla="*/ 180698 h 180697"/>
                  <a:gd name="connsiteX4" fmla="*/ 229830 w 247772"/>
                  <a:gd name="connsiteY4" fmla="*/ 165319 h 180697"/>
                  <a:gd name="connsiteX5" fmla="*/ 22219 w 247772"/>
                  <a:gd name="connsiteY5" fmla="*/ 12815 h 180697"/>
                  <a:gd name="connsiteX6" fmla="*/ 433 w 247772"/>
                  <a:gd name="connsiteY6" fmla="*/ 0 h 180697"/>
                  <a:gd name="connsiteX7" fmla="*/ 8122 w 247772"/>
                  <a:gd name="connsiteY7" fmla="*/ 7689 h 180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772" h="180697">
                    <a:moveTo>
                      <a:pt x="8122" y="7689"/>
                    </a:moveTo>
                    <a:cubicBezTo>
                      <a:pt x="10686" y="8971"/>
                      <a:pt x="15812" y="11534"/>
                      <a:pt x="19656" y="12815"/>
                    </a:cubicBezTo>
                    <a:cubicBezTo>
                      <a:pt x="92705" y="57670"/>
                      <a:pt x="161908" y="108931"/>
                      <a:pt x="227267" y="165319"/>
                    </a:cubicBezTo>
                    <a:cubicBezTo>
                      <a:pt x="228549" y="170446"/>
                      <a:pt x="242646" y="180698"/>
                      <a:pt x="247772" y="180698"/>
                    </a:cubicBezTo>
                    <a:cubicBezTo>
                      <a:pt x="247772" y="176853"/>
                      <a:pt x="234957" y="166601"/>
                      <a:pt x="229830" y="165319"/>
                    </a:cubicBezTo>
                    <a:cubicBezTo>
                      <a:pt x="164472" y="108931"/>
                      <a:pt x="93986" y="58951"/>
                      <a:pt x="22219" y="12815"/>
                    </a:cubicBezTo>
                    <a:cubicBezTo>
                      <a:pt x="19656" y="7689"/>
                      <a:pt x="4278" y="1282"/>
                      <a:pt x="433" y="0"/>
                    </a:cubicBezTo>
                    <a:cubicBezTo>
                      <a:pt x="-848" y="2563"/>
                      <a:pt x="433" y="3845"/>
                      <a:pt x="8122"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331" name="Graphic 379285">
                <a:extLst>
                  <a:ext uri="{FF2B5EF4-FFF2-40B4-BE49-F238E27FC236}">
                    <a16:creationId xmlns:a16="http://schemas.microsoft.com/office/drawing/2014/main" id="{D973D960-FBCD-4D6F-9AA8-88935B4C1FE3}"/>
                  </a:ext>
                </a:extLst>
              </p:cNvPr>
              <p:cNvGrpSpPr/>
              <p:nvPr/>
            </p:nvGrpSpPr>
            <p:grpSpPr>
              <a:xfrm>
                <a:off x="7118677" y="2286142"/>
                <a:ext cx="126873" cy="116620"/>
                <a:chOff x="7118677" y="2286142"/>
                <a:chExt cx="126873" cy="116620"/>
              </a:xfrm>
              <a:grpFill/>
            </p:grpSpPr>
            <p:sp>
              <p:nvSpPr>
                <p:cNvPr id="995" name="Freeform: Shape 379452">
                  <a:extLst>
                    <a:ext uri="{FF2B5EF4-FFF2-40B4-BE49-F238E27FC236}">
                      <a16:creationId xmlns:a16="http://schemas.microsoft.com/office/drawing/2014/main" id="{A39E6A8C-198E-49F1-852B-D80C67CB38E8}"/>
                    </a:ext>
                  </a:extLst>
                </p:cNvPr>
                <p:cNvSpPr/>
                <p:nvPr/>
              </p:nvSpPr>
              <p:spPr>
                <a:xfrm>
                  <a:off x="7155842" y="2318181"/>
                  <a:ext cx="89708" cy="84581"/>
                </a:xfrm>
                <a:custGeom>
                  <a:avLst/>
                  <a:gdLst>
                    <a:gd name="connsiteX0" fmla="*/ 78175 w 89708"/>
                    <a:gd name="connsiteY0" fmla="*/ 73048 h 84581"/>
                    <a:gd name="connsiteX1" fmla="*/ 89709 w 89708"/>
                    <a:gd name="connsiteY1" fmla="*/ 84582 h 84581"/>
                    <a:gd name="connsiteX2" fmla="*/ 83300 w 89708"/>
                    <a:gd name="connsiteY2" fmla="*/ 78174 h 84581"/>
                    <a:gd name="connsiteX3" fmla="*/ 76893 w 89708"/>
                    <a:gd name="connsiteY3" fmla="*/ 71767 h 84581"/>
                    <a:gd name="connsiteX4" fmla="*/ 33320 w 89708"/>
                    <a:gd name="connsiteY4" fmla="*/ 30757 h 84581"/>
                    <a:gd name="connsiteX5" fmla="*/ 0 w 89708"/>
                    <a:gd name="connsiteY5" fmla="*/ 0 h 84581"/>
                    <a:gd name="connsiteX6" fmla="*/ 78175 w 89708"/>
                    <a:gd name="connsiteY6" fmla="*/ 73048 h 8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708" h="84581">
                      <a:moveTo>
                        <a:pt x="78175" y="73048"/>
                      </a:moveTo>
                      <a:lnTo>
                        <a:pt x="89709" y="84582"/>
                      </a:lnTo>
                      <a:lnTo>
                        <a:pt x="83300" y="78174"/>
                      </a:lnTo>
                      <a:lnTo>
                        <a:pt x="76893" y="71767"/>
                      </a:lnTo>
                      <a:cubicBezTo>
                        <a:pt x="62796" y="57670"/>
                        <a:pt x="47417" y="43573"/>
                        <a:pt x="33320" y="30757"/>
                      </a:cubicBezTo>
                      <a:lnTo>
                        <a:pt x="0" y="0"/>
                      </a:lnTo>
                      <a:cubicBezTo>
                        <a:pt x="26912" y="23068"/>
                        <a:pt x="52544" y="47417"/>
                        <a:pt x="78175" y="7304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96" name="Freeform: Shape 379453">
                  <a:extLst>
                    <a:ext uri="{FF2B5EF4-FFF2-40B4-BE49-F238E27FC236}">
                      <a16:creationId xmlns:a16="http://schemas.microsoft.com/office/drawing/2014/main" id="{63233BDA-5165-4100-B00E-A03385FDFF7E}"/>
                    </a:ext>
                  </a:extLst>
                </p:cNvPr>
                <p:cNvSpPr/>
                <p:nvPr/>
              </p:nvSpPr>
              <p:spPr>
                <a:xfrm>
                  <a:off x="7118677" y="2286142"/>
                  <a:ext cx="15378" cy="12815"/>
                </a:xfrm>
                <a:custGeom>
                  <a:avLst/>
                  <a:gdLst>
                    <a:gd name="connsiteX0" fmla="*/ 7689 w 15378"/>
                    <a:gd name="connsiteY0" fmla="*/ 6408 h 12815"/>
                    <a:gd name="connsiteX1" fmla="*/ 15378 w 15378"/>
                    <a:gd name="connsiteY1" fmla="*/ 12815 h 12815"/>
                    <a:gd name="connsiteX2" fmla="*/ 0 w 15378"/>
                    <a:gd name="connsiteY2" fmla="*/ 0 h 12815"/>
                    <a:gd name="connsiteX3" fmla="*/ 7689 w 15378"/>
                    <a:gd name="connsiteY3" fmla="*/ 6408 h 12815"/>
                  </a:gdLst>
                  <a:ahLst/>
                  <a:cxnLst>
                    <a:cxn ang="0">
                      <a:pos x="connsiteX0" y="connsiteY0"/>
                    </a:cxn>
                    <a:cxn ang="0">
                      <a:pos x="connsiteX1" y="connsiteY1"/>
                    </a:cxn>
                    <a:cxn ang="0">
                      <a:pos x="connsiteX2" y="connsiteY2"/>
                    </a:cxn>
                    <a:cxn ang="0">
                      <a:pos x="connsiteX3" y="connsiteY3"/>
                    </a:cxn>
                  </a:cxnLst>
                  <a:rect l="l" t="t" r="r" b="b"/>
                  <a:pathLst>
                    <a:path w="15378" h="12815">
                      <a:moveTo>
                        <a:pt x="7689" y="6408"/>
                      </a:moveTo>
                      <a:cubicBezTo>
                        <a:pt x="10253" y="8971"/>
                        <a:pt x="12816" y="10252"/>
                        <a:pt x="15378" y="12815"/>
                      </a:cubicBezTo>
                      <a:lnTo>
                        <a:pt x="0" y="0"/>
                      </a:lnTo>
                      <a:cubicBezTo>
                        <a:pt x="2563" y="1282"/>
                        <a:pt x="5126" y="3845"/>
                        <a:pt x="7689" y="640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332" name="Freeform: Shape 379454">
                <a:extLst>
                  <a:ext uri="{FF2B5EF4-FFF2-40B4-BE49-F238E27FC236}">
                    <a16:creationId xmlns:a16="http://schemas.microsoft.com/office/drawing/2014/main" id="{64E6529F-475B-4612-86AF-FB6EBDA468DA}"/>
                  </a:ext>
                </a:extLst>
              </p:cNvPr>
              <p:cNvSpPr/>
              <p:nvPr/>
            </p:nvSpPr>
            <p:spPr>
              <a:xfrm>
                <a:off x="4183927" y="2971769"/>
                <a:ext cx="78174" cy="256309"/>
              </a:xfrm>
              <a:custGeom>
                <a:avLst/>
                <a:gdLst>
                  <a:gd name="connsiteX0" fmla="*/ 69204 w 78174"/>
                  <a:gd name="connsiteY0" fmla="*/ 21786 h 256309"/>
                  <a:gd name="connsiteX1" fmla="*/ 65359 w 78174"/>
                  <a:gd name="connsiteY1" fmla="*/ 30757 h 256309"/>
                  <a:gd name="connsiteX2" fmla="*/ 55107 w 78174"/>
                  <a:gd name="connsiteY2" fmla="*/ 56388 h 256309"/>
                  <a:gd name="connsiteX3" fmla="*/ 44854 w 78174"/>
                  <a:gd name="connsiteY3" fmla="*/ 85864 h 256309"/>
                  <a:gd name="connsiteX4" fmla="*/ 20505 w 78174"/>
                  <a:gd name="connsiteY4" fmla="*/ 155067 h 256309"/>
                  <a:gd name="connsiteX5" fmla="*/ 0 w 78174"/>
                  <a:gd name="connsiteY5" fmla="*/ 256309 h 256309"/>
                  <a:gd name="connsiteX6" fmla="*/ 6408 w 78174"/>
                  <a:gd name="connsiteY6" fmla="*/ 231960 h 256309"/>
                  <a:gd name="connsiteX7" fmla="*/ 3845 w 78174"/>
                  <a:gd name="connsiteY7" fmla="*/ 235804 h 256309"/>
                  <a:gd name="connsiteX8" fmla="*/ 20505 w 78174"/>
                  <a:gd name="connsiteY8" fmla="*/ 152504 h 256309"/>
                  <a:gd name="connsiteX9" fmla="*/ 42291 w 78174"/>
                  <a:gd name="connsiteY9" fmla="*/ 90990 h 256309"/>
                  <a:gd name="connsiteX10" fmla="*/ 34602 w 78174"/>
                  <a:gd name="connsiteY10" fmla="*/ 116621 h 256309"/>
                  <a:gd name="connsiteX11" fmla="*/ 23068 w 78174"/>
                  <a:gd name="connsiteY11" fmla="*/ 151222 h 256309"/>
                  <a:gd name="connsiteX12" fmla="*/ 11534 w 78174"/>
                  <a:gd name="connsiteY12" fmla="*/ 206329 h 256309"/>
                  <a:gd name="connsiteX13" fmla="*/ 8971 w 78174"/>
                  <a:gd name="connsiteY13" fmla="*/ 221707 h 256309"/>
                  <a:gd name="connsiteX14" fmla="*/ 16660 w 78174"/>
                  <a:gd name="connsiteY14" fmla="*/ 197358 h 256309"/>
                  <a:gd name="connsiteX15" fmla="*/ 14097 w 78174"/>
                  <a:gd name="connsiteY15" fmla="*/ 201203 h 256309"/>
                  <a:gd name="connsiteX16" fmla="*/ 24350 w 78174"/>
                  <a:gd name="connsiteY16" fmla="*/ 148659 h 256309"/>
                  <a:gd name="connsiteX17" fmla="*/ 33320 w 78174"/>
                  <a:gd name="connsiteY17" fmla="*/ 121747 h 256309"/>
                  <a:gd name="connsiteX18" fmla="*/ 21786 w 78174"/>
                  <a:gd name="connsiteY18" fmla="*/ 171727 h 256309"/>
                  <a:gd name="connsiteX19" fmla="*/ 17942 w 78174"/>
                  <a:gd name="connsiteY19" fmla="*/ 185824 h 256309"/>
                  <a:gd name="connsiteX20" fmla="*/ 25631 w 78174"/>
                  <a:gd name="connsiteY20" fmla="*/ 161475 h 256309"/>
                  <a:gd name="connsiteX21" fmla="*/ 23068 w 78174"/>
                  <a:gd name="connsiteY21" fmla="*/ 165319 h 256309"/>
                  <a:gd name="connsiteX22" fmla="*/ 34602 w 78174"/>
                  <a:gd name="connsiteY22" fmla="*/ 114058 h 256309"/>
                  <a:gd name="connsiteX23" fmla="*/ 69204 w 78174"/>
                  <a:gd name="connsiteY23" fmla="*/ 23068 h 256309"/>
                  <a:gd name="connsiteX24" fmla="*/ 78175 w 78174"/>
                  <a:gd name="connsiteY24" fmla="*/ 0 h 256309"/>
                  <a:gd name="connsiteX25" fmla="*/ 78175 w 78174"/>
                  <a:gd name="connsiteY25" fmla="*/ 0 h 256309"/>
                  <a:gd name="connsiteX26" fmla="*/ 67922 w 78174"/>
                  <a:gd name="connsiteY26" fmla="*/ 23068 h 256309"/>
                  <a:gd name="connsiteX27" fmla="*/ 35883 w 78174"/>
                  <a:gd name="connsiteY27" fmla="*/ 108931 h 256309"/>
                  <a:gd name="connsiteX28" fmla="*/ 43573 w 78174"/>
                  <a:gd name="connsiteY28" fmla="*/ 83300 h 256309"/>
                  <a:gd name="connsiteX29" fmla="*/ 65359 w 78174"/>
                  <a:gd name="connsiteY29" fmla="*/ 26912 h 256309"/>
                  <a:gd name="connsiteX30" fmla="*/ 74330 w 78174"/>
                  <a:gd name="connsiteY30" fmla="*/ 3845 h 256309"/>
                  <a:gd name="connsiteX31" fmla="*/ 64078 w 78174"/>
                  <a:gd name="connsiteY31" fmla="*/ 26912 h 256309"/>
                  <a:gd name="connsiteX32" fmla="*/ 43573 w 78174"/>
                  <a:gd name="connsiteY32" fmla="*/ 79456 h 256309"/>
                  <a:gd name="connsiteX33" fmla="*/ 52544 w 78174"/>
                  <a:gd name="connsiteY33" fmla="*/ 53825 h 256309"/>
                  <a:gd name="connsiteX34" fmla="*/ 61514 w 78174"/>
                  <a:gd name="connsiteY34" fmla="*/ 30757 h 256309"/>
                  <a:gd name="connsiteX35" fmla="*/ 70485 w 78174"/>
                  <a:gd name="connsiteY35" fmla="*/ 7689 h 256309"/>
                  <a:gd name="connsiteX36" fmla="*/ 69204 w 78174"/>
                  <a:gd name="connsiteY36" fmla="*/ 21786 h 25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8174" h="256309">
                    <a:moveTo>
                      <a:pt x="69204" y="21786"/>
                    </a:moveTo>
                    <a:cubicBezTo>
                      <a:pt x="69204" y="23068"/>
                      <a:pt x="66641" y="28194"/>
                      <a:pt x="65359" y="30757"/>
                    </a:cubicBezTo>
                    <a:cubicBezTo>
                      <a:pt x="61514" y="39728"/>
                      <a:pt x="58951" y="47417"/>
                      <a:pt x="55107" y="56388"/>
                    </a:cubicBezTo>
                    <a:lnTo>
                      <a:pt x="44854" y="85864"/>
                    </a:lnTo>
                    <a:cubicBezTo>
                      <a:pt x="35883" y="108931"/>
                      <a:pt x="28194" y="131999"/>
                      <a:pt x="20505" y="155067"/>
                    </a:cubicBezTo>
                    <a:cubicBezTo>
                      <a:pt x="0" y="253746"/>
                      <a:pt x="0" y="253746"/>
                      <a:pt x="0" y="256309"/>
                    </a:cubicBezTo>
                    <a:cubicBezTo>
                      <a:pt x="3845" y="251183"/>
                      <a:pt x="7689" y="234523"/>
                      <a:pt x="6408" y="231960"/>
                    </a:cubicBezTo>
                    <a:cubicBezTo>
                      <a:pt x="5126" y="233241"/>
                      <a:pt x="5126" y="233241"/>
                      <a:pt x="3845" y="235804"/>
                    </a:cubicBezTo>
                    <a:cubicBezTo>
                      <a:pt x="8971" y="211455"/>
                      <a:pt x="14097" y="176853"/>
                      <a:pt x="20505" y="152504"/>
                    </a:cubicBezTo>
                    <a:cubicBezTo>
                      <a:pt x="26913" y="131999"/>
                      <a:pt x="34602" y="111494"/>
                      <a:pt x="42291" y="90990"/>
                    </a:cubicBezTo>
                    <a:lnTo>
                      <a:pt x="34602" y="116621"/>
                    </a:lnTo>
                    <a:cubicBezTo>
                      <a:pt x="30757" y="128155"/>
                      <a:pt x="26913" y="139688"/>
                      <a:pt x="23068" y="151222"/>
                    </a:cubicBezTo>
                    <a:cubicBezTo>
                      <a:pt x="19223" y="167883"/>
                      <a:pt x="16660" y="189669"/>
                      <a:pt x="11534" y="206329"/>
                    </a:cubicBezTo>
                    <a:cubicBezTo>
                      <a:pt x="10252" y="208892"/>
                      <a:pt x="7689" y="217863"/>
                      <a:pt x="8971" y="221707"/>
                    </a:cubicBezTo>
                    <a:cubicBezTo>
                      <a:pt x="12816" y="216581"/>
                      <a:pt x="16660" y="199921"/>
                      <a:pt x="16660" y="197358"/>
                    </a:cubicBezTo>
                    <a:cubicBezTo>
                      <a:pt x="15379" y="198640"/>
                      <a:pt x="15379" y="198640"/>
                      <a:pt x="14097" y="201203"/>
                    </a:cubicBezTo>
                    <a:lnTo>
                      <a:pt x="24350" y="148659"/>
                    </a:lnTo>
                    <a:cubicBezTo>
                      <a:pt x="26913" y="139688"/>
                      <a:pt x="30757" y="130718"/>
                      <a:pt x="33320" y="121747"/>
                    </a:cubicBezTo>
                    <a:cubicBezTo>
                      <a:pt x="29476" y="137125"/>
                      <a:pt x="26913" y="157630"/>
                      <a:pt x="21786" y="171727"/>
                    </a:cubicBezTo>
                    <a:cubicBezTo>
                      <a:pt x="20505" y="174290"/>
                      <a:pt x="17942" y="183261"/>
                      <a:pt x="17942" y="185824"/>
                    </a:cubicBezTo>
                    <a:cubicBezTo>
                      <a:pt x="21786" y="180698"/>
                      <a:pt x="25631" y="164038"/>
                      <a:pt x="25631" y="161475"/>
                    </a:cubicBezTo>
                    <a:cubicBezTo>
                      <a:pt x="24350" y="162756"/>
                      <a:pt x="24350" y="162756"/>
                      <a:pt x="23068" y="165319"/>
                    </a:cubicBezTo>
                    <a:lnTo>
                      <a:pt x="34602" y="114058"/>
                    </a:lnTo>
                    <a:cubicBezTo>
                      <a:pt x="44854" y="83300"/>
                      <a:pt x="56388" y="52543"/>
                      <a:pt x="69204" y="23068"/>
                    </a:cubicBezTo>
                    <a:cubicBezTo>
                      <a:pt x="71767" y="16660"/>
                      <a:pt x="78175" y="3845"/>
                      <a:pt x="78175" y="0"/>
                    </a:cubicBezTo>
                    <a:cubicBezTo>
                      <a:pt x="78175" y="0"/>
                      <a:pt x="78175" y="0"/>
                      <a:pt x="78175" y="0"/>
                    </a:cubicBezTo>
                    <a:cubicBezTo>
                      <a:pt x="75611" y="5126"/>
                      <a:pt x="69204" y="21786"/>
                      <a:pt x="67922" y="23068"/>
                    </a:cubicBezTo>
                    <a:cubicBezTo>
                      <a:pt x="56388" y="51262"/>
                      <a:pt x="44854" y="80737"/>
                      <a:pt x="35883" y="108931"/>
                    </a:cubicBezTo>
                    <a:lnTo>
                      <a:pt x="43573" y="83300"/>
                    </a:lnTo>
                    <a:cubicBezTo>
                      <a:pt x="51262" y="64077"/>
                      <a:pt x="57670" y="44854"/>
                      <a:pt x="65359" y="26912"/>
                    </a:cubicBezTo>
                    <a:cubicBezTo>
                      <a:pt x="67922" y="20505"/>
                      <a:pt x="73048" y="7689"/>
                      <a:pt x="74330" y="3845"/>
                    </a:cubicBezTo>
                    <a:cubicBezTo>
                      <a:pt x="71767" y="8971"/>
                      <a:pt x="65359" y="25631"/>
                      <a:pt x="64078" y="26912"/>
                    </a:cubicBezTo>
                    <a:cubicBezTo>
                      <a:pt x="56388" y="43573"/>
                      <a:pt x="49980" y="61514"/>
                      <a:pt x="43573" y="79456"/>
                    </a:cubicBezTo>
                    <a:lnTo>
                      <a:pt x="52544" y="53825"/>
                    </a:lnTo>
                    <a:cubicBezTo>
                      <a:pt x="55107" y="46136"/>
                      <a:pt x="58951" y="38446"/>
                      <a:pt x="61514" y="30757"/>
                    </a:cubicBezTo>
                    <a:cubicBezTo>
                      <a:pt x="64078" y="25631"/>
                      <a:pt x="69204" y="11534"/>
                      <a:pt x="70485" y="7689"/>
                    </a:cubicBezTo>
                    <a:cubicBezTo>
                      <a:pt x="74330" y="10252"/>
                      <a:pt x="71767" y="17942"/>
                      <a:pt x="69204" y="2178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3" name="Freeform: Shape 379455">
                <a:extLst>
                  <a:ext uri="{FF2B5EF4-FFF2-40B4-BE49-F238E27FC236}">
                    <a16:creationId xmlns:a16="http://schemas.microsoft.com/office/drawing/2014/main" id="{18EADB37-4D2E-4AAC-A6A4-94E9D147ED6A}"/>
                  </a:ext>
                </a:extLst>
              </p:cNvPr>
              <p:cNvSpPr/>
              <p:nvPr/>
            </p:nvSpPr>
            <p:spPr>
              <a:xfrm>
                <a:off x="4274917" y="2746217"/>
                <a:ext cx="125716" cy="252464"/>
              </a:xfrm>
              <a:custGeom>
                <a:avLst/>
                <a:gdLst>
                  <a:gd name="connsiteX0" fmla="*/ 2563 w 125716"/>
                  <a:gd name="connsiteY0" fmla="*/ 221707 h 252464"/>
                  <a:gd name="connsiteX1" fmla="*/ 0 w 125716"/>
                  <a:gd name="connsiteY1" fmla="*/ 229397 h 252464"/>
                  <a:gd name="connsiteX2" fmla="*/ 8971 w 125716"/>
                  <a:gd name="connsiteY2" fmla="*/ 211455 h 252464"/>
                  <a:gd name="connsiteX3" fmla="*/ 43572 w 125716"/>
                  <a:gd name="connsiteY3" fmla="*/ 149941 h 252464"/>
                  <a:gd name="connsiteX4" fmla="*/ 32039 w 125716"/>
                  <a:gd name="connsiteY4" fmla="*/ 175572 h 252464"/>
                  <a:gd name="connsiteX5" fmla="*/ 16660 w 125716"/>
                  <a:gd name="connsiteY5" fmla="*/ 202484 h 252464"/>
                  <a:gd name="connsiteX6" fmla="*/ 16660 w 125716"/>
                  <a:gd name="connsiteY6" fmla="*/ 201203 h 252464"/>
                  <a:gd name="connsiteX7" fmla="*/ 6408 w 125716"/>
                  <a:gd name="connsiteY7" fmla="*/ 224270 h 252464"/>
                  <a:gd name="connsiteX8" fmla="*/ 15378 w 125716"/>
                  <a:gd name="connsiteY8" fmla="*/ 206329 h 252464"/>
                  <a:gd name="connsiteX9" fmla="*/ 29476 w 125716"/>
                  <a:gd name="connsiteY9" fmla="*/ 181979 h 252464"/>
                  <a:gd name="connsiteX10" fmla="*/ 10252 w 125716"/>
                  <a:gd name="connsiteY10" fmla="*/ 229397 h 252464"/>
                  <a:gd name="connsiteX11" fmla="*/ 1281 w 125716"/>
                  <a:gd name="connsiteY11" fmla="*/ 252464 h 252464"/>
                  <a:gd name="connsiteX12" fmla="*/ 11534 w 125716"/>
                  <a:gd name="connsiteY12" fmla="*/ 229397 h 252464"/>
                  <a:gd name="connsiteX13" fmla="*/ 33320 w 125716"/>
                  <a:gd name="connsiteY13" fmla="*/ 176853 h 252464"/>
                  <a:gd name="connsiteX14" fmla="*/ 51262 w 125716"/>
                  <a:gd name="connsiteY14" fmla="*/ 147378 h 252464"/>
                  <a:gd name="connsiteX15" fmla="*/ 52544 w 125716"/>
                  <a:gd name="connsiteY15" fmla="*/ 147378 h 252464"/>
                  <a:gd name="connsiteX16" fmla="*/ 62796 w 125716"/>
                  <a:gd name="connsiteY16" fmla="*/ 126873 h 252464"/>
                  <a:gd name="connsiteX17" fmla="*/ 61514 w 125716"/>
                  <a:gd name="connsiteY17" fmla="*/ 125592 h 252464"/>
                  <a:gd name="connsiteX18" fmla="*/ 51262 w 125716"/>
                  <a:gd name="connsiteY18" fmla="*/ 144815 h 252464"/>
                  <a:gd name="connsiteX19" fmla="*/ 35883 w 125716"/>
                  <a:gd name="connsiteY19" fmla="*/ 170446 h 252464"/>
                  <a:gd name="connsiteX20" fmla="*/ 47417 w 125716"/>
                  <a:gd name="connsiteY20" fmla="*/ 144815 h 252464"/>
                  <a:gd name="connsiteX21" fmla="*/ 70485 w 125716"/>
                  <a:gd name="connsiteY21" fmla="*/ 107650 h 252464"/>
                  <a:gd name="connsiteX22" fmla="*/ 114058 w 125716"/>
                  <a:gd name="connsiteY22" fmla="*/ 20505 h 252464"/>
                  <a:gd name="connsiteX23" fmla="*/ 125592 w 125716"/>
                  <a:gd name="connsiteY23" fmla="*/ 0 h 252464"/>
                  <a:gd name="connsiteX24" fmla="*/ 112776 w 125716"/>
                  <a:gd name="connsiteY24" fmla="*/ 21786 h 252464"/>
                  <a:gd name="connsiteX25" fmla="*/ 69204 w 125716"/>
                  <a:gd name="connsiteY25" fmla="*/ 106368 h 252464"/>
                  <a:gd name="connsiteX26" fmla="*/ 49980 w 125716"/>
                  <a:gd name="connsiteY26" fmla="*/ 138407 h 252464"/>
                  <a:gd name="connsiteX27" fmla="*/ 89708 w 125716"/>
                  <a:gd name="connsiteY27" fmla="*/ 57670 h 252464"/>
                  <a:gd name="connsiteX28" fmla="*/ 101242 w 125716"/>
                  <a:gd name="connsiteY28" fmla="*/ 37165 h 252464"/>
                  <a:gd name="connsiteX29" fmla="*/ 88427 w 125716"/>
                  <a:gd name="connsiteY29" fmla="*/ 57670 h 252464"/>
                  <a:gd name="connsiteX30" fmla="*/ 46136 w 125716"/>
                  <a:gd name="connsiteY30" fmla="*/ 143533 h 252464"/>
                  <a:gd name="connsiteX31" fmla="*/ 8971 w 125716"/>
                  <a:gd name="connsiteY31" fmla="*/ 208892 h 252464"/>
                  <a:gd name="connsiteX32" fmla="*/ 8971 w 125716"/>
                  <a:gd name="connsiteY32" fmla="*/ 207610 h 252464"/>
                  <a:gd name="connsiteX33" fmla="*/ 2563 w 125716"/>
                  <a:gd name="connsiteY33" fmla="*/ 221707 h 25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5716" h="252464">
                    <a:moveTo>
                      <a:pt x="2563" y="221707"/>
                    </a:moveTo>
                    <a:cubicBezTo>
                      <a:pt x="0" y="226834"/>
                      <a:pt x="0" y="228115"/>
                      <a:pt x="0" y="229397"/>
                    </a:cubicBezTo>
                    <a:cubicBezTo>
                      <a:pt x="3844" y="225552"/>
                      <a:pt x="7689" y="214018"/>
                      <a:pt x="8971" y="211455"/>
                    </a:cubicBezTo>
                    <a:lnTo>
                      <a:pt x="43572" y="149941"/>
                    </a:lnTo>
                    <a:cubicBezTo>
                      <a:pt x="39728" y="158912"/>
                      <a:pt x="35883" y="166601"/>
                      <a:pt x="32039" y="175572"/>
                    </a:cubicBezTo>
                    <a:cubicBezTo>
                      <a:pt x="26912" y="183261"/>
                      <a:pt x="20505" y="194795"/>
                      <a:pt x="16660" y="202484"/>
                    </a:cubicBezTo>
                    <a:cubicBezTo>
                      <a:pt x="16660" y="202484"/>
                      <a:pt x="16660" y="201203"/>
                      <a:pt x="16660" y="201203"/>
                    </a:cubicBezTo>
                    <a:cubicBezTo>
                      <a:pt x="12815" y="201203"/>
                      <a:pt x="6408" y="221707"/>
                      <a:pt x="6408" y="224270"/>
                    </a:cubicBezTo>
                    <a:cubicBezTo>
                      <a:pt x="10252" y="221707"/>
                      <a:pt x="15378" y="206329"/>
                      <a:pt x="15378" y="206329"/>
                    </a:cubicBezTo>
                    <a:lnTo>
                      <a:pt x="29476" y="181979"/>
                    </a:lnTo>
                    <a:cubicBezTo>
                      <a:pt x="23068" y="197358"/>
                      <a:pt x="16660" y="214018"/>
                      <a:pt x="10252" y="229397"/>
                    </a:cubicBezTo>
                    <a:cubicBezTo>
                      <a:pt x="6408" y="235804"/>
                      <a:pt x="1281" y="248620"/>
                      <a:pt x="1281" y="252464"/>
                    </a:cubicBezTo>
                    <a:cubicBezTo>
                      <a:pt x="5126" y="249901"/>
                      <a:pt x="12815" y="230678"/>
                      <a:pt x="11534" y="229397"/>
                    </a:cubicBezTo>
                    <a:cubicBezTo>
                      <a:pt x="17942" y="211455"/>
                      <a:pt x="25631" y="194795"/>
                      <a:pt x="33320" y="176853"/>
                    </a:cubicBezTo>
                    <a:cubicBezTo>
                      <a:pt x="38446" y="167883"/>
                      <a:pt x="44854" y="156349"/>
                      <a:pt x="51262" y="147378"/>
                    </a:cubicBezTo>
                    <a:cubicBezTo>
                      <a:pt x="51262" y="147378"/>
                      <a:pt x="52544" y="147378"/>
                      <a:pt x="52544" y="147378"/>
                    </a:cubicBezTo>
                    <a:cubicBezTo>
                      <a:pt x="56388" y="142252"/>
                      <a:pt x="61514" y="131999"/>
                      <a:pt x="62796" y="126873"/>
                    </a:cubicBezTo>
                    <a:cubicBezTo>
                      <a:pt x="62796" y="126873"/>
                      <a:pt x="62796" y="125592"/>
                      <a:pt x="61514" y="125592"/>
                    </a:cubicBezTo>
                    <a:cubicBezTo>
                      <a:pt x="55106" y="131999"/>
                      <a:pt x="51262" y="144815"/>
                      <a:pt x="51262" y="144815"/>
                    </a:cubicBezTo>
                    <a:lnTo>
                      <a:pt x="35883" y="170446"/>
                    </a:lnTo>
                    <a:cubicBezTo>
                      <a:pt x="39728" y="161475"/>
                      <a:pt x="43572" y="153785"/>
                      <a:pt x="47417" y="144815"/>
                    </a:cubicBezTo>
                    <a:lnTo>
                      <a:pt x="70485" y="107650"/>
                    </a:lnTo>
                    <a:cubicBezTo>
                      <a:pt x="84582" y="78174"/>
                      <a:pt x="98679" y="48699"/>
                      <a:pt x="114058" y="20505"/>
                    </a:cubicBezTo>
                    <a:cubicBezTo>
                      <a:pt x="117902" y="16660"/>
                      <a:pt x="126873" y="2563"/>
                      <a:pt x="125592" y="0"/>
                    </a:cubicBezTo>
                    <a:cubicBezTo>
                      <a:pt x="120466" y="5126"/>
                      <a:pt x="112776" y="20505"/>
                      <a:pt x="112776" y="21786"/>
                    </a:cubicBezTo>
                    <a:cubicBezTo>
                      <a:pt x="97398" y="49980"/>
                      <a:pt x="83301" y="78174"/>
                      <a:pt x="69204" y="106368"/>
                    </a:cubicBezTo>
                    <a:lnTo>
                      <a:pt x="49980" y="138407"/>
                    </a:lnTo>
                    <a:cubicBezTo>
                      <a:pt x="62796" y="111494"/>
                      <a:pt x="75611" y="83301"/>
                      <a:pt x="89708" y="57670"/>
                    </a:cubicBezTo>
                    <a:cubicBezTo>
                      <a:pt x="94835" y="51262"/>
                      <a:pt x="99961" y="41010"/>
                      <a:pt x="101242" y="37165"/>
                    </a:cubicBezTo>
                    <a:cubicBezTo>
                      <a:pt x="96116" y="38446"/>
                      <a:pt x="88427" y="57670"/>
                      <a:pt x="88427" y="57670"/>
                    </a:cubicBezTo>
                    <a:cubicBezTo>
                      <a:pt x="74330" y="85864"/>
                      <a:pt x="60233" y="114058"/>
                      <a:pt x="46136" y="143533"/>
                    </a:cubicBezTo>
                    <a:cubicBezTo>
                      <a:pt x="34602" y="162756"/>
                      <a:pt x="20505" y="189669"/>
                      <a:pt x="8971" y="208892"/>
                    </a:cubicBezTo>
                    <a:cubicBezTo>
                      <a:pt x="8971" y="208892"/>
                      <a:pt x="8971" y="207610"/>
                      <a:pt x="8971" y="207610"/>
                    </a:cubicBezTo>
                    <a:cubicBezTo>
                      <a:pt x="10252" y="207610"/>
                      <a:pt x="7689" y="208892"/>
                      <a:pt x="2563" y="22170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4" name="Freeform: Shape 379456">
                <a:extLst>
                  <a:ext uri="{FF2B5EF4-FFF2-40B4-BE49-F238E27FC236}">
                    <a16:creationId xmlns:a16="http://schemas.microsoft.com/office/drawing/2014/main" id="{6CD4AA99-8013-4C85-9889-E4993A5F3F7D}"/>
                  </a:ext>
                </a:extLst>
              </p:cNvPr>
              <p:cNvSpPr/>
              <p:nvPr/>
            </p:nvSpPr>
            <p:spPr>
              <a:xfrm>
                <a:off x="4299067" y="2905129"/>
                <a:ext cx="23466" cy="55106"/>
              </a:xfrm>
              <a:custGeom>
                <a:avLst/>
                <a:gdLst>
                  <a:gd name="connsiteX0" fmla="*/ 14296 w 23466"/>
                  <a:gd name="connsiteY0" fmla="*/ 14097 h 55106"/>
                  <a:gd name="connsiteX1" fmla="*/ 13015 w 23466"/>
                  <a:gd name="connsiteY1" fmla="*/ 21786 h 55106"/>
                  <a:gd name="connsiteX2" fmla="*/ 9170 w 23466"/>
                  <a:gd name="connsiteY2" fmla="*/ 32039 h 55106"/>
                  <a:gd name="connsiteX3" fmla="*/ 199 w 23466"/>
                  <a:gd name="connsiteY3" fmla="*/ 55106 h 55106"/>
                  <a:gd name="connsiteX4" fmla="*/ 10452 w 23466"/>
                  <a:gd name="connsiteY4" fmla="*/ 32039 h 55106"/>
                  <a:gd name="connsiteX5" fmla="*/ 14296 w 23466"/>
                  <a:gd name="connsiteY5" fmla="*/ 21786 h 55106"/>
                  <a:gd name="connsiteX6" fmla="*/ 23267 w 23466"/>
                  <a:gd name="connsiteY6" fmla="*/ 0 h 55106"/>
                  <a:gd name="connsiteX7" fmla="*/ 23267 w 23466"/>
                  <a:gd name="connsiteY7" fmla="*/ 0 h 55106"/>
                  <a:gd name="connsiteX8" fmla="*/ 14296 w 23466"/>
                  <a:gd name="connsiteY8" fmla="*/ 14097 h 5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66" h="55106">
                    <a:moveTo>
                      <a:pt x="14296" y="14097"/>
                    </a:moveTo>
                    <a:cubicBezTo>
                      <a:pt x="13015" y="16660"/>
                      <a:pt x="11733" y="20505"/>
                      <a:pt x="13015" y="21786"/>
                    </a:cubicBezTo>
                    <a:cubicBezTo>
                      <a:pt x="11733" y="25631"/>
                      <a:pt x="10452" y="29475"/>
                      <a:pt x="9170" y="32039"/>
                    </a:cubicBezTo>
                    <a:cubicBezTo>
                      <a:pt x="4044" y="38446"/>
                      <a:pt x="-1082" y="52543"/>
                      <a:pt x="199" y="55106"/>
                    </a:cubicBezTo>
                    <a:cubicBezTo>
                      <a:pt x="2762" y="53825"/>
                      <a:pt x="11733" y="34602"/>
                      <a:pt x="10452" y="32039"/>
                    </a:cubicBezTo>
                    <a:cubicBezTo>
                      <a:pt x="11733" y="28194"/>
                      <a:pt x="13015" y="24349"/>
                      <a:pt x="14296" y="21786"/>
                    </a:cubicBezTo>
                    <a:cubicBezTo>
                      <a:pt x="19422" y="16660"/>
                      <a:pt x="24549" y="1281"/>
                      <a:pt x="23267" y="0"/>
                    </a:cubicBezTo>
                    <a:cubicBezTo>
                      <a:pt x="23267" y="0"/>
                      <a:pt x="23267" y="0"/>
                      <a:pt x="23267" y="0"/>
                    </a:cubicBezTo>
                    <a:cubicBezTo>
                      <a:pt x="19422" y="1281"/>
                      <a:pt x="15578" y="11534"/>
                      <a:pt x="1429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5" name="Freeform: Shape 379457">
                <a:extLst>
                  <a:ext uri="{FF2B5EF4-FFF2-40B4-BE49-F238E27FC236}">
                    <a16:creationId xmlns:a16="http://schemas.microsoft.com/office/drawing/2014/main" id="{5EB29CF9-F995-4018-B25C-EA8BE5F8EDE3}"/>
                  </a:ext>
                </a:extLst>
              </p:cNvPr>
              <p:cNvSpPr/>
              <p:nvPr/>
            </p:nvSpPr>
            <p:spPr>
              <a:xfrm>
                <a:off x="4434884" y="2775693"/>
                <a:ext cx="48951" cy="116620"/>
              </a:xfrm>
              <a:custGeom>
                <a:avLst/>
                <a:gdLst>
                  <a:gd name="connsiteX0" fmla="*/ 37392 w 48951"/>
                  <a:gd name="connsiteY0" fmla="*/ 14097 h 116620"/>
                  <a:gd name="connsiteX1" fmla="*/ 37392 w 48951"/>
                  <a:gd name="connsiteY1" fmla="*/ 21786 h 116620"/>
                  <a:gd name="connsiteX2" fmla="*/ 9198 w 48951"/>
                  <a:gd name="connsiteY2" fmla="*/ 94834 h 116620"/>
                  <a:gd name="connsiteX3" fmla="*/ 1508 w 48951"/>
                  <a:gd name="connsiteY3" fmla="*/ 116621 h 116620"/>
                  <a:gd name="connsiteX4" fmla="*/ 11761 w 48951"/>
                  <a:gd name="connsiteY4" fmla="*/ 93553 h 116620"/>
                  <a:gd name="connsiteX5" fmla="*/ 10479 w 48951"/>
                  <a:gd name="connsiteY5" fmla="*/ 93553 h 116620"/>
                  <a:gd name="connsiteX6" fmla="*/ 38673 w 48951"/>
                  <a:gd name="connsiteY6" fmla="*/ 20505 h 116620"/>
                  <a:gd name="connsiteX7" fmla="*/ 47644 w 48951"/>
                  <a:gd name="connsiteY7" fmla="*/ 0 h 116620"/>
                  <a:gd name="connsiteX8" fmla="*/ 46363 w 48951"/>
                  <a:gd name="connsiteY8" fmla="*/ 0 h 116620"/>
                  <a:gd name="connsiteX9" fmla="*/ 37392 w 48951"/>
                  <a:gd name="connsiteY9" fmla="*/ 14097 h 11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951" h="116620">
                    <a:moveTo>
                      <a:pt x="37392" y="14097"/>
                    </a:moveTo>
                    <a:cubicBezTo>
                      <a:pt x="36110" y="16660"/>
                      <a:pt x="36110" y="20505"/>
                      <a:pt x="37392" y="21786"/>
                    </a:cubicBezTo>
                    <a:cubicBezTo>
                      <a:pt x="27139" y="46136"/>
                      <a:pt x="18168" y="70485"/>
                      <a:pt x="9198" y="94834"/>
                    </a:cubicBezTo>
                    <a:cubicBezTo>
                      <a:pt x="1508" y="102524"/>
                      <a:pt x="-2336" y="116621"/>
                      <a:pt x="1508" y="116621"/>
                    </a:cubicBezTo>
                    <a:cubicBezTo>
                      <a:pt x="6635" y="116621"/>
                      <a:pt x="16887" y="97397"/>
                      <a:pt x="11761" y="93553"/>
                    </a:cubicBezTo>
                    <a:cubicBezTo>
                      <a:pt x="11761" y="93553"/>
                      <a:pt x="11761" y="93553"/>
                      <a:pt x="10479" y="93553"/>
                    </a:cubicBezTo>
                    <a:cubicBezTo>
                      <a:pt x="19450" y="69203"/>
                      <a:pt x="28421" y="43573"/>
                      <a:pt x="38673" y="20505"/>
                    </a:cubicBezTo>
                    <a:cubicBezTo>
                      <a:pt x="46363" y="14097"/>
                      <a:pt x="51489" y="0"/>
                      <a:pt x="47644" y="0"/>
                    </a:cubicBezTo>
                    <a:cubicBezTo>
                      <a:pt x="47644" y="0"/>
                      <a:pt x="46363" y="0"/>
                      <a:pt x="46363" y="0"/>
                    </a:cubicBezTo>
                    <a:cubicBezTo>
                      <a:pt x="42518" y="2563"/>
                      <a:pt x="38673" y="11534"/>
                      <a:pt x="3739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6" name="Freeform: Shape 379458">
                <a:extLst>
                  <a:ext uri="{FF2B5EF4-FFF2-40B4-BE49-F238E27FC236}">
                    <a16:creationId xmlns:a16="http://schemas.microsoft.com/office/drawing/2014/main" id="{253D0E3C-B14C-44D9-B2B1-1CC85560810A}"/>
                  </a:ext>
                </a:extLst>
              </p:cNvPr>
              <p:cNvSpPr/>
              <p:nvPr/>
            </p:nvSpPr>
            <p:spPr>
              <a:xfrm>
                <a:off x="4605108" y="2774411"/>
                <a:ext cx="23964" cy="52809"/>
              </a:xfrm>
              <a:custGeom>
                <a:avLst/>
                <a:gdLst>
                  <a:gd name="connsiteX0" fmla="*/ 9419 w 23964"/>
                  <a:gd name="connsiteY0" fmla="*/ 15379 h 52809"/>
                  <a:gd name="connsiteX1" fmla="*/ 11982 w 23964"/>
                  <a:gd name="connsiteY1" fmla="*/ 21786 h 52809"/>
                  <a:gd name="connsiteX2" fmla="*/ 9419 w 23964"/>
                  <a:gd name="connsiteY2" fmla="*/ 32039 h 52809"/>
                  <a:gd name="connsiteX3" fmla="*/ 1730 w 23964"/>
                  <a:gd name="connsiteY3" fmla="*/ 52543 h 52809"/>
                  <a:gd name="connsiteX4" fmla="*/ 14546 w 23964"/>
                  <a:gd name="connsiteY4" fmla="*/ 32039 h 52809"/>
                  <a:gd name="connsiteX5" fmla="*/ 11982 w 23964"/>
                  <a:gd name="connsiteY5" fmla="*/ 30757 h 52809"/>
                  <a:gd name="connsiteX6" fmla="*/ 14546 w 23964"/>
                  <a:gd name="connsiteY6" fmla="*/ 20505 h 52809"/>
                  <a:gd name="connsiteX7" fmla="*/ 22235 w 23964"/>
                  <a:gd name="connsiteY7" fmla="*/ 0 h 52809"/>
                  <a:gd name="connsiteX8" fmla="*/ 19672 w 23964"/>
                  <a:gd name="connsiteY8" fmla="*/ 0 h 52809"/>
                  <a:gd name="connsiteX9" fmla="*/ 9419 w 23964"/>
                  <a:gd name="connsiteY9" fmla="*/ 15379 h 5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64" h="52809">
                    <a:moveTo>
                      <a:pt x="9419" y="15379"/>
                    </a:moveTo>
                    <a:cubicBezTo>
                      <a:pt x="9419" y="17942"/>
                      <a:pt x="9419" y="21786"/>
                      <a:pt x="11982" y="21786"/>
                    </a:cubicBezTo>
                    <a:cubicBezTo>
                      <a:pt x="10701" y="25631"/>
                      <a:pt x="9419" y="28194"/>
                      <a:pt x="9419" y="32039"/>
                    </a:cubicBezTo>
                    <a:cubicBezTo>
                      <a:pt x="449" y="38446"/>
                      <a:pt x="-2115" y="51262"/>
                      <a:pt x="1730" y="52543"/>
                    </a:cubicBezTo>
                    <a:cubicBezTo>
                      <a:pt x="8138" y="55106"/>
                      <a:pt x="18390" y="38446"/>
                      <a:pt x="14546" y="32039"/>
                    </a:cubicBezTo>
                    <a:cubicBezTo>
                      <a:pt x="13264" y="30757"/>
                      <a:pt x="13264" y="30757"/>
                      <a:pt x="11982" y="30757"/>
                    </a:cubicBezTo>
                    <a:cubicBezTo>
                      <a:pt x="13264" y="26912"/>
                      <a:pt x="14546" y="24349"/>
                      <a:pt x="14546" y="20505"/>
                    </a:cubicBezTo>
                    <a:cubicBezTo>
                      <a:pt x="23516" y="14097"/>
                      <a:pt x="26080" y="1282"/>
                      <a:pt x="22235" y="0"/>
                    </a:cubicBezTo>
                    <a:cubicBezTo>
                      <a:pt x="20953" y="0"/>
                      <a:pt x="20953" y="0"/>
                      <a:pt x="19672" y="0"/>
                    </a:cubicBezTo>
                    <a:cubicBezTo>
                      <a:pt x="13264" y="3845"/>
                      <a:pt x="10701" y="11534"/>
                      <a:pt x="9419"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7" name="Freeform: Shape 379459">
                <a:extLst>
                  <a:ext uri="{FF2B5EF4-FFF2-40B4-BE49-F238E27FC236}">
                    <a16:creationId xmlns:a16="http://schemas.microsoft.com/office/drawing/2014/main" id="{71ED3394-2D8A-4459-AEC0-AAEEE36A3B21}"/>
                  </a:ext>
                </a:extLst>
              </p:cNvPr>
              <p:cNvSpPr/>
              <p:nvPr/>
            </p:nvSpPr>
            <p:spPr>
              <a:xfrm>
                <a:off x="4712841" y="2764159"/>
                <a:ext cx="23799" cy="53906"/>
              </a:xfrm>
              <a:custGeom>
                <a:avLst/>
                <a:gdLst>
                  <a:gd name="connsiteX0" fmla="*/ 8055 w 23799"/>
                  <a:gd name="connsiteY0" fmla="*/ 16660 h 53906"/>
                  <a:gd name="connsiteX1" fmla="*/ 11900 w 23799"/>
                  <a:gd name="connsiteY1" fmla="*/ 23068 h 53906"/>
                  <a:gd name="connsiteX2" fmla="*/ 9336 w 23799"/>
                  <a:gd name="connsiteY2" fmla="*/ 33320 h 53906"/>
                  <a:gd name="connsiteX3" fmla="*/ 2929 w 23799"/>
                  <a:gd name="connsiteY3" fmla="*/ 53825 h 53906"/>
                  <a:gd name="connsiteX4" fmla="*/ 15745 w 23799"/>
                  <a:gd name="connsiteY4" fmla="*/ 33320 h 53906"/>
                  <a:gd name="connsiteX5" fmla="*/ 11900 w 23799"/>
                  <a:gd name="connsiteY5" fmla="*/ 30757 h 53906"/>
                  <a:gd name="connsiteX6" fmla="*/ 14463 w 23799"/>
                  <a:gd name="connsiteY6" fmla="*/ 20505 h 53906"/>
                  <a:gd name="connsiteX7" fmla="*/ 20870 w 23799"/>
                  <a:gd name="connsiteY7" fmla="*/ 0 h 53906"/>
                  <a:gd name="connsiteX8" fmla="*/ 18307 w 23799"/>
                  <a:gd name="connsiteY8" fmla="*/ 0 h 53906"/>
                  <a:gd name="connsiteX9" fmla="*/ 8055 w 23799"/>
                  <a:gd name="connsiteY9" fmla="*/ 16660 h 5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99" h="53906">
                    <a:moveTo>
                      <a:pt x="8055" y="16660"/>
                    </a:moveTo>
                    <a:cubicBezTo>
                      <a:pt x="8055" y="19223"/>
                      <a:pt x="8055" y="23068"/>
                      <a:pt x="11900" y="23068"/>
                    </a:cubicBezTo>
                    <a:cubicBezTo>
                      <a:pt x="10618" y="26912"/>
                      <a:pt x="10618" y="29475"/>
                      <a:pt x="9336" y="33320"/>
                    </a:cubicBezTo>
                    <a:cubicBezTo>
                      <a:pt x="-916" y="39728"/>
                      <a:pt x="-2198" y="52543"/>
                      <a:pt x="2929" y="53825"/>
                    </a:cubicBezTo>
                    <a:cubicBezTo>
                      <a:pt x="9336" y="55106"/>
                      <a:pt x="19589" y="41009"/>
                      <a:pt x="15745" y="33320"/>
                    </a:cubicBezTo>
                    <a:cubicBezTo>
                      <a:pt x="14463" y="30757"/>
                      <a:pt x="13181" y="30757"/>
                      <a:pt x="11900" y="30757"/>
                    </a:cubicBezTo>
                    <a:cubicBezTo>
                      <a:pt x="13181" y="26912"/>
                      <a:pt x="13181" y="24349"/>
                      <a:pt x="14463" y="20505"/>
                    </a:cubicBezTo>
                    <a:cubicBezTo>
                      <a:pt x="24715" y="14097"/>
                      <a:pt x="25997" y="1282"/>
                      <a:pt x="20870" y="0"/>
                    </a:cubicBezTo>
                    <a:cubicBezTo>
                      <a:pt x="19589" y="0"/>
                      <a:pt x="18307" y="0"/>
                      <a:pt x="18307" y="0"/>
                    </a:cubicBezTo>
                    <a:cubicBezTo>
                      <a:pt x="10618" y="5126"/>
                      <a:pt x="8055" y="14097"/>
                      <a:pt x="805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8" name="Freeform: Shape 379460">
                <a:extLst>
                  <a:ext uri="{FF2B5EF4-FFF2-40B4-BE49-F238E27FC236}">
                    <a16:creationId xmlns:a16="http://schemas.microsoft.com/office/drawing/2014/main" id="{899D3E0D-3EEE-4EA3-84D2-09714A63CC41}"/>
                  </a:ext>
                </a:extLst>
              </p:cNvPr>
              <p:cNvSpPr/>
              <p:nvPr/>
            </p:nvSpPr>
            <p:spPr>
              <a:xfrm>
                <a:off x="5889700" y="2459041"/>
                <a:ext cx="274197" cy="410313"/>
              </a:xfrm>
              <a:custGeom>
                <a:avLst/>
                <a:gdLst>
                  <a:gd name="connsiteX0" fmla="*/ 1251 w 274197"/>
                  <a:gd name="connsiteY0" fmla="*/ 12926 h 410313"/>
                  <a:gd name="connsiteX1" fmla="*/ 20474 w 274197"/>
                  <a:gd name="connsiteY1" fmla="*/ 15489 h 410313"/>
                  <a:gd name="connsiteX2" fmla="*/ 140940 w 274197"/>
                  <a:gd name="connsiteY2" fmla="*/ 69314 h 410313"/>
                  <a:gd name="connsiteX3" fmla="*/ 254998 w 274197"/>
                  <a:gd name="connsiteY3" fmla="*/ 388419 h 410313"/>
                  <a:gd name="connsiteX4" fmla="*/ 260124 w 274197"/>
                  <a:gd name="connsiteY4" fmla="*/ 410205 h 410313"/>
                  <a:gd name="connsiteX5" fmla="*/ 271658 w 274197"/>
                  <a:gd name="connsiteY5" fmla="*/ 392263 h 410313"/>
                  <a:gd name="connsiteX6" fmla="*/ 260124 w 274197"/>
                  <a:gd name="connsiteY6" fmla="*/ 387137 h 410313"/>
                  <a:gd name="connsiteX7" fmla="*/ 144785 w 274197"/>
                  <a:gd name="connsiteY7" fmla="*/ 66751 h 410313"/>
                  <a:gd name="connsiteX8" fmla="*/ 21756 w 274197"/>
                  <a:gd name="connsiteY8" fmla="*/ 11644 h 410313"/>
                  <a:gd name="connsiteX9" fmla="*/ 7659 w 274197"/>
                  <a:gd name="connsiteY9" fmla="*/ 110 h 410313"/>
                  <a:gd name="connsiteX10" fmla="*/ 1251 w 274197"/>
                  <a:gd name="connsiteY10" fmla="*/ 12926 h 41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4197" h="410313">
                    <a:moveTo>
                      <a:pt x="1251" y="12926"/>
                    </a:moveTo>
                    <a:cubicBezTo>
                      <a:pt x="3814" y="16770"/>
                      <a:pt x="12785" y="20615"/>
                      <a:pt x="20474" y="15489"/>
                    </a:cubicBezTo>
                    <a:cubicBezTo>
                      <a:pt x="56358" y="32149"/>
                      <a:pt x="105057" y="53935"/>
                      <a:pt x="140940" y="69314"/>
                    </a:cubicBezTo>
                    <a:cubicBezTo>
                      <a:pt x="179387" y="166711"/>
                      <a:pt x="217833" y="273080"/>
                      <a:pt x="254998" y="388419"/>
                    </a:cubicBezTo>
                    <a:cubicBezTo>
                      <a:pt x="240901" y="397389"/>
                      <a:pt x="252435" y="408923"/>
                      <a:pt x="260124" y="410205"/>
                    </a:cubicBezTo>
                    <a:cubicBezTo>
                      <a:pt x="271658" y="411486"/>
                      <a:pt x="278066" y="401234"/>
                      <a:pt x="271658" y="392263"/>
                    </a:cubicBezTo>
                    <a:cubicBezTo>
                      <a:pt x="269095" y="388419"/>
                      <a:pt x="262687" y="387137"/>
                      <a:pt x="260124" y="387137"/>
                    </a:cubicBezTo>
                    <a:cubicBezTo>
                      <a:pt x="222960" y="271798"/>
                      <a:pt x="184513" y="164148"/>
                      <a:pt x="144785" y="66751"/>
                    </a:cubicBezTo>
                    <a:cubicBezTo>
                      <a:pt x="107620" y="50091"/>
                      <a:pt x="58921" y="28304"/>
                      <a:pt x="21756" y="11644"/>
                    </a:cubicBezTo>
                    <a:cubicBezTo>
                      <a:pt x="21756" y="9081"/>
                      <a:pt x="21756" y="-1171"/>
                      <a:pt x="7659" y="110"/>
                    </a:cubicBezTo>
                    <a:cubicBezTo>
                      <a:pt x="-2594" y="3955"/>
                      <a:pt x="-30" y="10363"/>
                      <a:pt x="1251" y="1292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39" name="Freeform: Shape 379461">
                <a:extLst>
                  <a:ext uri="{FF2B5EF4-FFF2-40B4-BE49-F238E27FC236}">
                    <a16:creationId xmlns:a16="http://schemas.microsoft.com/office/drawing/2014/main" id="{A1F257BB-F169-4DD6-B92E-DC937C4F4461}"/>
                  </a:ext>
                </a:extLst>
              </p:cNvPr>
              <p:cNvSpPr/>
              <p:nvPr/>
            </p:nvSpPr>
            <p:spPr>
              <a:xfrm>
                <a:off x="5911456" y="2281016"/>
                <a:ext cx="91758" cy="188843"/>
              </a:xfrm>
              <a:custGeom>
                <a:avLst/>
                <a:gdLst>
                  <a:gd name="connsiteX0" fmla="*/ 12815 w 91758"/>
                  <a:gd name="connsiteY0" fmla="*/ 183261 h 188843"/>
                  <a:gd name="connsiteX1" fmla="*/ 34602 w 91758"/>
                  <a:gd name="connsiteY1" fmla="*/ 180698 h 188843"/>
                  <a:gd name="connsiteX2" fmla="*/ 21786 w 91758"/>
                  <a:gd name="connsiteY2" fmla="*/ 170446 h 188843"/>
                  <a:gd name="connsiteX3" fmla="*/ 5126 w 91758"/>
                  <a:gd name="connsiteY3" fmla="*/ 129436 h 188843"/>
                  <a:gd name="connsiteX4" fmla="*/ 79456 w 91758"/>
                  <a:gd name="connsiteY4" fmla="*/ 15379 h 188843"/>
                  <a:gd name="connsiteX5" fmla="*/ 90990 w 91758"/>
                  <a:gd name="connsiteY5" fmla="*/ 6408 h 188843"/>
                  <a:gd name="connsiteX6" fmla="*/ 76893 w 91758"/>
                  <a:gd name="connsiteY6" fmla="*/ 0 h 188843"/>
                  <a:gd name="connsiteX7" fmla="*/ 75611 w 91758"/>
                  <a:gd name="connsiteY7" fmla="*/ 12815 h 188843"/>
                  <a:gd name="connsiteX8" fmla="*/ 0 w 91758"/>
                  <a:gd name="connsiteY8" fmla="*/ 128155 h 188843"/>
                  <a:gd name="connsiteX9" fmla="*/ 16660 w 91758"/>
                  <a:gd name="connsiteY9" fmla="*/ 171727 h 188843"/>
                  <a:gd name="connsiteX10" fmla="*/ 12815 w 91758"/>
                  <a:gd name="connsiteY10" fmla="*/ 183261 h 18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58" h="188843">
                    <a:moveTo>
                      <a:pt x="12815" y="183261"/>
                    </a:moveTo>
                    <a:cubicBezTo>
                      <a:pt x="17942" y="192232"/>
                      <a:pt x="33320" y="189669"/>
                      <a:pt x="34602" y="180698"/>
                    </a:cubicBezTo>
                    <a:cubicBezTo>
                      <a:pt x="34602" y="178135"/>
                      <a:pt x="33320" y="170446"/>
                      <a:pt x="21786" y="170446"/>
                    </a:cubicBezTo>
                    <a:cubicBezTo>
                      <a:pt x="16660" y="156349"/>
                      <a:pt x="10252" y="142252"/>
                      <a:pt x="5126" y="129436"/>
                    </a:cubicBezTo>
                    <a:cubicBezTo>
                      <a:pt x="28194" y="96116"/>
                      <a:pt x="57669" y="49980"/>
                      <a:pt x="79456" y="15379"/>
                    </a:cubicBezTo>
                    <a:cubicBezTo>
                      <a:pt x="89708" y="17942"/>
                      <a:pt x="93553" y="11534"/>
                      <a:pt x="90990" y="6408"/>
                    </a:cubicBezTo>
                    <a:cubicBezTo>
                      <a:pt x="90990" y="5126"/>
                      <a:pt x="87145" y="0"/>
                      <a:pt x="76893" y="0"/>
                    </a:cubicBezTo>
                    <a:cubicBezTo>
                      <a:pt x="69203" y="2563"/>
                      <a:pt x="69203" y="8971"/>
                      <a:pt x="75611" y="12815"/>
                    </a:cubicBezTo>
                    <a:cubicBezTo>
                      <a:pt x="53825" y="47417"/>
                      <a:pt x="24349" y="93553"/>
                      <a:pt x="0" y="128155"/>
                    </a:cubicBezTo>
                    <a:cubicBezTo>
                      <a:pt x="5126" y="142252"/>
                      <a:pt x="11534" y="156349"/>
                      <a:pt x="16660" y="171727"/>
                    </a:cubicBezTo>
                    <a:cubicBezTo>
                      <a:pt x="7689" y="175572"/>
                      <a:pt x="11534" y="183261"/>
                      <a:pt x="12815" y="18326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0" name="Freeform: Shape 379462">
                <a:extLst>
                  <a:ext uri="{FF2B5EF4-FFF2-40B4-BE49-F238E27FC236}">
                    <a16:creationId xmlns:a16="http://schemas.microsoft.com/office/drawing/2014/main" id="{001EFED1-308D-43AD-A7BE-FF74780140E2}"/>
                  </a:ext>
                </a:extLst>
              </p:cNvPr>
              <p:cNvSpPr/>
              <p:nvPr/>
            </p:nvSpPr>
            <p:spPr>
              <a:xfrm>
                <a:off x="5934793" y="2393222"/>
                <a:ext cx="44935" cy="68994"/>
              </a:xfrm>
              <a:custGeom>
                <a:avLst/>
                <a:gdLst>
                  <a:gd name="connsiteX0" fmla="*/ 1013 w 44935"/>
                  <a:gd name="connsiteY0" fmla="*/ 13385 h 68994"/>
                  <a:gd name="connsiteX1" fmla="*/ 12547 w 44935"/>
                  <a:gd name="connsiteY1" fmla="*/ 18511 h 68994"/>
                  <a:gd name="connsiteX2" fmla="*/ 16391 w 44935"/>
                  <a:gd name="connsiteY2" fmla="*/ 26200 h 68994"/>
                  <a:gd name="connsiteX3" fmla="*/ 20236 w 44935"/>
                  <a:gd name="connsiteY3" fmla="*/ 42861 h 68994"/>
                  <a:gd name="connsiteX4" fmla="*/ 24081 w 44935"/>
                  <a:gd name="connsiteY4" fmla="*/ 42861 h 68994"/>
                  <a:gd name="connsiteX5" fmla="*/ 27925 w 44935"/>
                  <a:gd name="connsiteY5" fmla="*/ 51831 h 68994"/>
                  <a:gd name="connsiteX6" fmla="*/ 30488 w 44935"/>
                  <a:gd name="connsiteY6" fmla="*/ 68491 h 68994"/>
                  <a:gd name="connsiteX7" fmla="*/ 43304 w 44935"/>
                  <a:gd name="connsiteY7" fmla="*/ 55676 h 68994"/>
                  <a:gd name="connsiteX8" fmla="*/ 31770 w 44935"/>
                  <a:gd name="connsiteY8" fmla="*/ 50550 h 68994"/>
                  <a:gd name="connsiteX9" fmla="*/ 27925 w 44935"/>
                  <a:gd name="connsiteY9" fmla="*/ 40297 h 68994"/>
                  <a:gd name="connsiteX10" fmla="*/ 33051 w 44935"/>
                  <a:gd name="connsiteY10" fmla="*/ 31327 h 68994"/>
                  <a:gd name="connsiteX11" fmla="*/ 21517 w 44935"/>
                  <a:gd name="connsiteY11" fmla="*/ 24919 h 68994"/>
                  <a:gd name="connsiteX12" fmla="*/ 17673 w 44935"/>
                  <a:gd name="connsiteY12" fmla="*/ 17230 h 68994"/>
                  <a:gd name="connsiteX13" fmla="*/ 15110 w 44935"/>
                  <a:gd name="connsiteY13" fmla="*/ 570 h 68994"/>
                  <a:gd name="connsiteX14" fmla="*/ 8702 w 44935"/>
                  <a:gd name="connsiteY14" fmla="*/ 570 h 68994"/>
                  <a:gd name="connsiteX15" fmla="*/ 1013 w 44935"/>
                  <a:gd name="connsiteY15" fmla="*/ 13385 h 68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935" h="68994">
                    <a:moveTo>
                      <a:pt x="1013" y="13385"/>
                    </a:moveTo>
                    <a:cubicBezTo>
                      <a:pt x="2294" y="15948"/>
                      <a:pt x="6139" y="18511"/>
                      <a:pt x="12547" y="18511"/>
                    </a:cubicBezTo>
                    <a:cubicBezTo>
                      <a:pt x="13828" y="21074"/>
                      <a:pt x="15110" y="23637"/>
                      <a:pt x="16391" y="26200"/>
                    </a:cubicBezTo>
                    <a:cubicBezTo>
                      <a:pt x="7420" y="31327"/>
                      <a:pt x="11265" y="41579"/>
                      <a:pt x="20236" y="42861"/>
                    </a:cubicBezTo>
                    <a:cubicBezTo>
                      <a:pt x="21517" y="42861"/>
                      <a:pt x="22799" y="42861"/>
                      <a:pt x="24081" y="42861"/>
                    </a:cubicBezTo>
                    <a:cubicBezTo>
                      <a:pt x="25362" y="45424"/>
                      <a:pt x="26644" y="47987"/>
                      <a:pt x="27925" y="51831"/>
                    </a:cubicBezTo>
                    <a:cubicBezTo>
                      <a:pt x="17673" y="56958"/>
                      <a:pt x="22799" y="67210"/>
                      <a:pt x="30488" y="68491"/>
                    </a:cubicBezTo>
                    <a:cubicBezTo>
                      <a:pt x="40741" y="71055"/>
                      <a:pt x="48430" y="63365"/>
                      <a:pt x="43304" y="55676"/>
                    </a:cubicBezTo>
                    <a:cubicBezTo>
                      <a:pt x="42022" y="53113"/>
                      <a:pt x="38178" y="50550"/>
                      <a:pt x="31770" y="50550"/>
                    </a:cubicBezTo>
                    <a:cubicBezTo>
                      <a:pt x="30488" y="46705"/>
                      <a:pt x="29207" y="44142"/>
                      <a:pt x="27925" y="40297"/>
                    </a:cubicBezTo>
                    <a:cubicBezTo>
                      <a:pt x="29207" y="37734"/>
                      <a:pt x="31770" y="33890"/>
                      <a:pt x="33051" y="31327"/>
                    </a:cubicBezTo>
                    <a:cubicBezTo>
                      <a:pt x="30488" y="26200"/>
                      <a:pt x="26644" y="24919"/>
                      <a:pt x="21517" y="24919"/>
                    </a:cubicBezTo>
                    <a:cubicBezTo>
                      <a:pt x="20236" y="22356"/>
                      <a:pt x="18954" y="19793"/>
                      <a:pt x="17673" y="17230"/>
                    </a:cubicBezTo>
                    <a:cubicBezTo>
                      <a:pt x="26644" y="12103"/>
                      <a:pt x="22799" y="3133"/>
                      <a:pt x="15110" y="570"/>
                    </a:cubicBezTo>
                    <a:cubicBezTo>
                      <a:pt x="12547" y="-712"/>
                      <a:pt x="9983" y="570"/>
                      <a:pt x="8702" y="570"/>
                    </a:cubicBezTo>
                    <a:cubicBezTo>
                      <a:pt x="-4114" y="4414"/>
                      <a:pt x="1013" y="12103"/>
                      <a:pt x="1013" y="133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1" name="Freeform: Shape 379463">
                <a:extLst>
                  <a:ext uri="{FF2B5EF4-FFF2-40B4-BE49-F238E27FC236}">
                    <a16:creationId xmlns:a16="http://schemas.microsoft.com/office/drawing/2014/main" id="{1274E7A4-870A-4413-85DE-837CDF4546C7}"/>
                  </a:ext>
                </a:extLst>
              </p:cNvPr>
              <p:cNvSpPr/>
              <p:nvPr/>
            </p:nvSpPr>
            <p:spPr>
              <a:xfrm>
                <a:off x="6096345" y="2258660"/>
                <a:ext cx="105879" cy="158778"/>
              </a:xfrm>
              <a:custGeom>
                <a:avLst/>
                <a:gdLst>
                  <a:gd name="connsiteX0" fmla="*/ 2217 w 105879"/>
                  <a:gd name="connsiteY0" fmla="*/ 9540 h 158778"/>
                  <a:gd name="connsiteX1" fmla="*/ 13751 w 105879"/>
                  <a:gd name="connsiteY1" fmla="*/ 14667 h 158778"/>
                  <a:gd name="connsiteX2" fmla="*/ 88081 w 105879"/>
                  <a:gd name="connsiteY2" fmla="*/ 141540 h 158778"/>
                  <a:gd name="connsiteX3" fmla="*/ 93207 w 105879"/>
                  <a:gd name="connsiteY3" fmla="*/ 158200 h 158778"/>
                  <a:gd name="connsiteX4" fmla="*/ 104741 w 105879"/>
                  <a:gd name="connsiteY4" fmla="*/ 147947 h 158778"/>
                  <a:gd name="connsiteX5" fmla="*/ 91926 w 105879"/>
                  <a:gd name="connsiteY5" fmla="*/ 141540 h 158778"/>
                  <a:gd name="connsiteX6" fmla="*/ 17596 w 105879"/>
                  <a:gd name="connsiteY6" fmla="*/ 14667 h 158778"/>
                  <a:gd name="connsiteX7" fmla="*/ 11188 w 105879"/>
                  <a:gd name="connsiteY7" fmla="*/ 570 h 158778"/>
                  <a:gd name="connsiteX8" fmla="*/ 4780 w 105879"/>
                  <a:gd name="connsiteY8" fmla="*/ 570 h 158778"/>
                  <a:gd name="connsiteX9" fmla="*/ 2217 w 105879"/>
                  <a:gd name="connsiteY9" fmla="*/ 9540 h 158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79" h="158778">
                    <a:moveTo>
                      <a:pt x="2217" y="9540"/>
                    </a:moveTo>
                    <a:cubicBezTo>
                      <a:pt x="3498" y="12104"/>
                      <a:pt x="7343" y="13385"/>
                      <a:pt x="13751" y="14667"/>
                    </a:cubicBezTo>
                    <a:cubicBezTo>
                      <a:pt x="39382" y="54395"/>
                      <a:pt x="63732" y="96686"/>
                      <a:pt x="88081" y="141540"/>
                    </a:cubicBezTo>
                    <a:cubicBezTo>
                      <a:pt x="79110" y="146666"/>
                      <a:pt x="85518" y="155637"/>
                      <a:pt x="93207" y="158200"/>
                    </a:cubicBezTo>
                    <a:cubicBezTo>
                      <a:pt x="102178" y="160763"/>
                      <a:pt x="108586" y="154355"/>
                      <a:pt x="104741" y="147947"/>
                    </a:cubicBezTo>
                    <a:cubicBezTo>
                      <a:pt x="103460" y="146666"/>
                      <a:pt x="100897" y="141540"/>
                      <a:pt x="91926" y="141540"/>
                    </a:cubicBezTo>
                    <a:cubicBezTo>
                      <a:pt x="67576" y="96686"/>
                      <a:pt x="41945" y="54395"/>
                      <a:pt x="17596" y="14667"/>
                    </a:cubicBezTo>
                    <a:cubicBezTo>
                      <a:pt x="25285" y="10822"/>
                      <a:pt x="18877" y="1851"/>
                      <a:pt x="11188" y="570"/>
                    </a:cubicBezTo>
                    <a:cubicBezTo>
                      <a:pt x="8625" y="-712"/>
                      <a:pt x="7343" y="570"/>
                      <a:pt x="4780" y="570"/>
                    </a:cubicBezTo>
                    <a:cubicBezTo>
                      <a:pt x="-4190" y="1851"/>
                      <a:pt x="2217" y="9540"/>
                      <a:pt x="2217" y="95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2" name="Freeform: Shape 379464">
                <a:extLst>
                  <a:ext uri="{FF2B5EF4-FFF2-40B4-BE49-F238E27FC236}">
                    <a16:creationId xmlns:a16="http://schemas.microsoft.com/office/drawing/2014/main" id="{4E8CEADA-8591-4B51-828F-28A49AF9406C}"/>
                  </a:ext>
                </a:extLst>
              </p:cNvPr>
              <p:cNvSpPr/>
              <p:nvPr/>
            </p:nvSpPr>
            <p:spPr>
              <a:xfrm>
                <a:off x="6124539" y="2253534"/>
                <a:ext cx="108442" cy="157496"/>
              </a:xfrm>
              <a:custGeom>
                <a:avLst/>
                <a:gdLst>
                  <a:gd name="connsiteX0" fmla="*/ 2217 w 108442"/>
                  <a:gd name="connsiteY0" fmla="*/ 9540 h 157496"/>
                  <a:gd name="connsiteX1" fmla="*/ 13751 w 108442"/>
                  <a:gd name="connsiteY1" fmla="*/ 14667 h 157496"/>
                  <a:gd name="connsiteX2" fmla="*/ 90644 w 108442"/>
                  <a:gd name="connsiteY2" fmla="*/ 140258 h 157496"/>
                  <a:gd name="connsiteX3" fmla="*/ 95771 w 108442"/>
                  <a:gd name="connsiteY3" fmla="*/ 156918 h 157496"/>
                  <a:gd name="connsiteX4" fmla="*/ 107305 w 108442"/>
                  <a:gd name="connsiteY4" fmla="*/ 146666 h 157496"/>
                  <a:gd name="connsiteX5" fmla="*/ 94489 w 108442"/>
                  <a:gd name="connsiteY5" fmla="*/ 140258 h 157496"/>
                  <a:gd name="connsiteX6" fmla="*/ 17596 w 108442"/>
                  <a:gd name="connsiteY6" fmla="*/ 14667 h 157496"/>
                  <a:gd name="connsiteX7" fmla="*/ 11188 w 108442"/>
                  <a:gd name="connsiteY7" fmla="*/ 570 h 157496"/>
                  <a:gd name="connsiteX8" fmla="*/ 4780 w 108442"/>
                  <a:gd name="connsiteY8" fmla="*/ 570 h 157496"/>
                  <a:gd name="connsiteX9" fmla="*/ 2217 w 108442"/>
                  <a:gd name="connsiteY9" fmla="*/ 9540 h 15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442" h="157496">
                    <a:moveTo>
                      <a:pt x="2217" y="9540"/>
                    </a:moveTo>
                    <a:cubicBezTo>
                      <a:pt x="3499" y="12104"/>
                      <a:pt x="7343" y="13385"/>
                      <a:pt x="13751" y="14667"/>
                    </a:cubicBezTo>
                    <a:cubicBezTo>
                      <a:pt x="39382" y="54395"/>
                      <a:pt x="65013" y="95404"/>
                      <a:pt x="90644" y="140258"/>
                    </a:cubicBezTo>
                    <a:cubicBezTo>
                      <a:pt x="81673" y="145384"/>
                      <a:pt x="88081" y="154355"/>
                      <a:pt x="95771" y="156918"/>
                    </a:cubicBezTo>
                    <a:cubicBezTo>
                      <a:pt x="104741" y="159481"/>
                      <a:pt x="111149" y="153074"/>
                      <a:pt x="107305" y="146666"/>
                    </a:cubicBezTo>
                    <a:cubicBezTo>
                      <a:pt x="106023" y="145384"/>
                      <a:pt x="103460" y="140258"/>
                      <a:pt x="94489" y="140258"/>
                    </a:cubicBezTo>
                    <a:cubicBezTo>
                      <a:pt x="68858" y="95404"/>
                      <a:pt x="43227" y="53113"/>
                      <a:pt x="17596" y="14667"/>
                    </a:cubicBezTo>
                    <a:cubicBezTo>
                      <a:pt x="25285" y="10822"/>
                      <a:pt x="18877" y="1851"/>
                      <a:pt x="11188" y="570"/>
                    </a:cubicBezTo>
                    <a:cubicBezTo>
                      <a:pt x="8625" y="-712"/>
                      <a:pt x="7343" y="570"/>
                      <a:pt x="4780" y="570"/>
                    </a:cubicBezTo>
                    <a:cubicBezTo>
                      <a:pt x="-4191" y="1851"/>
                      <a:pt x="2217" y="9540"/>
                      <a:pt x="2217" y="95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3" name="Freeform: Shape 379465">
                <a:extLst>
                  <a:ext uri="{FF2B5EF4-FFF2-40B4-BE49-F238E27FC236}">
                    <a16:creationId xmlns:a16="http://schemas.microsoft.com/office/drawing/2014/main" id="{30F4B956-CAC8-4A07-A9A9-E46C7361B7A0}"/>
                  </a:ext>
                </a:extLst>
              </p:cNvPr>
              <p:cNvSpPr/>
              <p:nvPr/>
            </p:nvSpPr>
            <p:spPr>
              <a:xfrm>
                <a:off x="6532144" y="2160551"/>
                <a:ext cx="175679" cy="171975"/>
              </a:xfrm>
              <a:custGeom>
                <a:avLst/>
                <a:gdLst>
                  <a:gd name="connsiteX0" fmla="*/ 4708 w 175679"/>
                  <a:gd name="connsiteY0" fmla="*/ 10252 h 171975"/>
                  <a:gd name="connsiteX1" fmla="*/ 16242 w 175679"/>
                  <a:gd name="connsiteY1" fmla="*/ 15379 h 171975"/>
                  <a:gd name="connsiteX2" fmla="*/ 31621 w 175679"/>
                  <a:gd name="connsiteY2" fmla="*/ 29476 h 171975"/>
                  <a:gd name="connsiteX3" fmla="*/ 76475 w 175679"/>
                  <a:gd name="connsiteY3" fmla="*/ 47417 h 171975"/>
                  <a:gd name="connsiteX4" fmla="*/ 141834 w 175679"/>
                  <a:gd name="connsiteY4" fmla="*/ 112776 h 171975"/>
                  <a:gd name="connsiteX5" fmla="*/ 140553 w 175679"/>
                  <a:gd name="connsiteY5" fmla="*/ 138407 h 171975"/>
                  <a:gd name="connsiteX6" fmla="*/ 155931 w 175679"/>
                  <a:gd name="connsiteY6" fmla="*/ 155067 h 171975"/>
                  <a:gd name="connsiteX7" fmla="*/ 168747 w 175679"/>
                  <a:gd name="connsiteY7" fmla="*/ 171727 h 171975"/>
                  <a:gd name="connsiteX8" fmla="*/ 173873 w 175679"/>
                  <a:gd name="connsiteY8" fmla="*/ 164038 h 171975"/>
                  <a:gd name="connsiteX9" fmla="*/ 159776 w 175679"/>
                  <a:gd name="connsiteY9" fmla="*/ 155067 h 171975"/>
                  <a:gd name="connsiteX10" fmla="*/ 146961 w 175679"/>
                  <a:gd name="connsiteY10" fmla="*/ 139688 h 171975"/>
                  <a:gd name="connsiteX11" fmla="*/ 148242 w 175679"/>
                  <a:gd name="connsiteY11" fmla="*/ 112776 h 171975"/>
                  <a:gd name="connsiteX12" fmla="*/ 79039 w 175679"/>
                  <a:gd name="connsiteY12" fmla="*/ 44854 h 171975"/>
                  <a:gd name="connsiteX13" fmla="*/ 34184 w 175679"/>
                  <a:gd name="connsiteY13" fmla="*/ 26912 h 171975"/>
                  <a:gd name="connsiteX14" fmla="*/ 20087 w 175679"/>
                  <a:gd name="connsiteY14" fmla="*/ 14097 h 171975"/>
                  <a:gd name="connsiteX15" fmla="*/ 4708 w 175679"/>
                  <a:gd name="connsiteY15" fmla="*/ 0 h 171975"/>
                  <a:gd name="connsiteX16" fmla="*/ 3427 w 175679"/>
                  <a:gd name="connsiteY16" fmla="*/ 0 h 171975"/>
                  <a:gd name="connsiteX17" fmla="*/ 4708 w 175679"/>
                  <a:gd name="connsiteY17" fmla="*/ 10252 h 17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5679" h="171975">
                    <a:moveTo>
                      <a:pt x="4708" y="10252"/>
                    </a:moveTo>
                    <a:cubicBezTo>
                      <a:pt x="7272" y="11534"/>
                      <a:pt x="11117" y="14097"/>
                      <a:pt x="16242" y="15379"/>
                    </a:cubicBezTo>
                    <a:cubicBezTo>
                      <a:pt x="21369" y="20505"/>
                      <a:pt x="26495" y="24349"/>
                      <a:pt x="31621" y="29476"/>
                    </a:cubicBezTo>
                    <a:lnTo>
                      <a:pt x="76475" y="47417"/>
                    </a:lnTo>
                    <a:cubicBezTo>
                      <a:pt x="98262" y="67922"/>
                      <a:pt x="120048" y="89708"/>
                      <a:pt x="141834" y="112776"/>
                    </a:cubicBezTo>
                    <a:lnTo>
                      <a:pt x="140553" y="138407"/>
                    </a:lnTo>
                    <a:cubicBezTo>
                      <a:pt x="145679" y="143533"/>
                      <a:pt x="150806" y="149941"/>
                      <a:pt x="155931" y="155067"/>
                    </a:cubicBezTo>
                    <a:cubicBezTo>
                      <a:pt x="149524" y="158912"/>
                      <a:pt x="159776" y="169164"/>
                      <a:pt x="168747" y="171727"/>
                    </a:cubicBezTo>
                    <a:cubicBezTo>
                      <a:pt x="175155" y="173009"/>
                      <a:pt x="177718" y="169164"/>
                      <a:pt x="173873" y="164038"/>
                    </a:cubicBezTo>
                    <a:cubicBezTo>
                      <a:pt x="173873" y="162756"/>
                      <a:pt x="168747" y="156349"/>
                      <a:pt x="159776" y="155067"/>
                    </a:cubicBezTo>
                    <a:cubicBezTo>
                      <a:pt x="155931" y="149941"/>
                      <a:pt x="150806" y="144815"/>
                      <a:pt x="146961" y="139688"/>
                    </a:cubicBezTo>
                    <a:lnTo>
                      <a:pt x="148242" y="112776"/>
                    </a:lnTo>
                    <a:cubicBezTo>
                      <a:pt x="125175" y="89708"/>
                      <a:pt x="103388" y="66640"/>
                      <a:pt x="79039" y="44854"/>
                    </a:cubicBezTo>
                    <a:lnTo>
                      <a:pt x="34184" y="26912"/>
                    </a:lnTo>
                    <a:cubicBezTo>
                      <a:pt x="29058" y="23068"/>
                      <a:pt x="25213" y="17942"/>
                      <a:pt x="20087" y="14097"/>
                    </a:cubicBezTo>
                    <a:cubicBezTo>
                      <a:pt x="25213" y="8971"/>
                      <a:pt x="9835" y="1282"/>
                      <a:pt x="4708" y="0"/>
                    </a:cubicBezTo>
                    <a:cubicBezTo>
                      <a:pt x="4708" y="0"/>
                      <a:pt x="3427" y="0"/>
                      <a:pt x="3427" y="0"/>
                    </a:cubicBezTo>
                    <a:cubicBezTo>
                      <a:pt x="-2981" y="2563"/>
                      <a:pt x="864" y="7689"/>
                      <a:pt x="4708"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4" name="Freeform: Shape 379466">
                <a:extLst>
                  <a:ext uri="{FF2B5EF4-FFF2-40B4-BE49-F238E27FC236}">
                    <a16:creationId xmlns:a16="http://schemas.microsoft.com/office/drawing/2014/main" id="{50A46653-9D4E-4DB2-AB33-E842C5139D4D}"/>
                  </a:ext>
                </a:extLst>
              </p:cNvPr>
              <p:cNvSpPr/>
              <p:nvPr/>
            </p:nvSpPr>
            <p:spPr>
              <a:xfrm>
                <a:off x="6747347" y="2206686"/>
                <a:ext cx="30436" cy="115939"/>
              </a:xfrm>
              <a:custGeom>
                <a:avLst/>
                <a:gdLst>
                  <a:gd name="connsiteX0" fmla="*/ 13777 w 30436"/>
                  <a:gd name="connsiteY0" fmla="*/ 110213 h 115939"/>
                  <a:gd name="connsiteX1" fmla="*/ 30437 w 30436"/>
                  <a:gd name="connsiteY1" fmla="*/ 112776 h 115939"/>
                  <a:gd name="connsiteX2" fmla="*/ 22747 w 30436"/>
                  <a:gd name="connsiteY2" fmla="*/ 102524 h 115939"/>
                  <a:gd name="connsiteX3" fmla="*/ 15058 w 30436"/>
                  <a:gd name="connsiteY3" fmla="*/ 14097 h 115939"/>
                  <a:gd name="connsiteX4" fmla="*/ 21466 w 30436"/>
                  <a:gd name="connsiteY4" fmla="*/ 11534 h 115939"/>
                  <a:gd name="connsiteX5" fmla="*/ 2243 w 30436"/>
                  <a:gd name="connsiteY5" fmla="*/ 0 h 115939"/>
                  <a:gd name="connsiteX6" fmla="*/ 8651 w 30436"/>
                  <a:gd name="connsiteY6" fmla="*/ 11534 h 115939"/>
                  <a:gd name="connsiteX7" fmla="*/ 9932 w 30436"/>
                  <a:gd name="connsiteY7" fmla="*/ 11534 h 115939"/>
                  <a:gd name="connsiteX8" fmla="*/ 17622 w 30436"/>
                  <a:gd name="connsiteY8" fmla="*/ 99961 h 115939"/>
                  <a:gd name="connsiteX9" fmla="*/ 9932 w 30436"/>
                  <a:gd name="connsiteY9" fmla="*/ 105087 h 115939"/>
                  <a:gd name="connsiteX10" fmla="*/ 13777 w 30436"/>
                  <a:gd name="connsiteY10" fmla="*/ 110213 h 11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436" h="115939">
                    <a:moveTo>
                      <a:pt x="13777" y="110213"/>
                    </a:moveTo>
                    <a:cubicBezTo>
                      <a:pt x="20185" y="116621"/>
                      <a:pt x="30437" y="117902"/>
                      <a:pt x="30437" y="112776"/>
                    </a:cubicBezTo>
                    <a:cubicBezTo>
                      <a:pt x="30437" y="111494"/>
                      <a:pt x="29156" y="106368"/>
                      <a:pt x="22747" y="102524"/>
                    </a:cubicBezTo>
                    <a:cubicBezTo>
                      <a:pt x="21466" y="75611"/>
                      <a:pt x="18903" y="39728"/>
                      <a:pt x="15058" y="14097"/>
                    </a:cubicBezTo>
                    <a:cubicBezTo>
                      <a:pt x="22747" y="16660"/>
                      <a:pt x="22747" y="14097"/>
                      <a:pt x="21466" y="11534"/>
                    </a:cubicBezTo>
                    <a:cubicBezTo>
                      <a:pt x="18903" y="7689"/>
                      <a:pt x="9932" y="0"/>
                      <a:pt x="2243" y="0"/>
                    </a:cubicBezTo>
                    <a:cubicBezTo>
                      <a:pt x="-4165" y="1282"/>
                      <a:pt x="4806" y="8971"/>
                      <a:pt x="8651" y="11534"/>
                    </a:cubicBezTo>
                    <a:cubicBezTo>
                      <a:pt x="8651" y="11534"/>
                      <a:pt x="8651" y="11534"/>
                      <a:pt x="9932" y="11534"/>
                    </a:cubicBezTo>
                    <a:cubicBezTo>
                      <a:pt x="13777" y="38446"/>
                      <a:pt x="17622" y="73048"/>
                      <a:pt x="17622" y="99961"/>
                    </a:cubicBezTo>
                    <a:cubicBezTo>
                      <a:pt x="9932" y="97397"/>
                      <a:pt x="7369" y="99961"/>
                      <a:pt x="9932" y="105087"/>
                    </a:cubicBezTo>
                    <a:cubicBezTo>
                      <a:pt x="9932" y="106368"/>
                      <a:pt x="11213" y="108931"/>
                      <a:pt x="13777" y="11021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5" name="Freeform: Shape 379467">
                <a:extLst>
                  <a:ext uri="{FF2B5EF4-FFF2-40B4-BE49-F238E27FC236}">
                    <a16:creationId xmlns:a16="http://schemas.microsoft.com/office/drawing/2014/main" id="{48C305FA-0E00-4C36-AB51-CF2F1FBF1C7A}"/>
                  </a:ext>
                </a:extLst>
              </p:cNvPr>
              <p:cNvSpPr/>
              <p:nvPr/>
            </p:nvSpPr>
            <p:spPr>
              <a:xfrm>
                <a:off x="7031950" y="2286142"/>
                <a:ext cx="109876" cy="91215"/>
              </a:xfrm>
              <a:custGeom>
                <a:avLst/>
                <a:gdLst>
                  <a:gd name="connsiteX0" fmla="*/ 7270 w 109876"/>
                  <a:gd name="connsiteY0" fmla="*/ 10252 h 91215"/>
                  <a:gd name="connsiteX1" fmla="*/ 17523 w 109876"/>
                  <a:gd name="connsiteY1" fmla="*/ 16660 h 91215"/>
                  <a:gd name="connsiteX2" fmla="*/ 61095 w 109876"/>
                  <a:gd name="connsiteY2" fmla="*/ 57670 h 91215"/>
                  <a:gd name="connsiteX3" fmla="*/ 91853 w 109876"/>
                  <a:gd name="connsiteY3" fmla="*/ 78174 h 91215"/>
                  <a:gd name="connsiteX4" fmla="*/ 109794 w 109876"/>
                  <a:gd name="connsiteY4" fmla="*/ 89708 h 91215"/>
                  <a:gd name="connsiteX5" fmla="*/ 90571 w 109876"/>
                  <a:gd name="connsiteY5" fmla="*/ 74330 h 91215"/>
                  <a:gd name="connsiteX6" fmla="*/ 90571 w 109876"/>
                  <a:gd name="connsiteY6" fmla="*/ 75611 h 91215"/>
                  <a:gd name="connsiteX7" fmla="*/ 61095 w 109876"/>
                  <a:gd name="connsiteY7" fmla="*/ 56388 h 91215"/>
                  <a:gd name="connsiteX8" fmla="*/ 20086 w 109876"/>
                  <a:gd name="connsiteY8" fmla="*/ 16660 h 91215"/>
                  <a:gd name="connsiteX9" fmla="*/ 863 w 109876"/>
                  <a:gd name="connsiteY9" fmla="*/ 0 h 91215"/>
                  <a:gd name="connsiteX10" fmla="*/ 7270 w 109876"/>
                  <a:gd name="connsiteY10" fmla="*/ 10252 h 9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876" h="91215">
                    <a:moveTo>
                      <a:pt x="7270" y="10252"/>
                    </a:moveTo>
                    <a:cubicBezTo>
                      <a:pt x="9834" y="12815"/>
                      <a:pt x="13678" y="15379"/>
                      <a:pt x="17523" y="16660"/>
                    </a:cubicBezTo>
                    <a:cubicBezTo>
                      <a:pt x="31620" y="30757"/>
                      <a:pt x="46998" y="43573"/>
                      <a:pt x="61095" y="57670"/>
                    </a:cubicBezTo>
                    <a:cubicBezTo>
                      <a:pt x="70066" y="64077"/>
                      <a:pt x="85445" y="69203"/>
                      <a:pt x="91853" y="78174"/>
                    </a:cubicBezTo>
                    <a:cubicBezTo>
                      <a:pt x="96979" y="85864"/>
                      <a:pt x="111076" y="94834"/>
                      <a:pt x="109794" y="89708"/>
                    </a:cubicBezTo>
                    <a:cubicBezTo>
                      <a:pt x="108513" y="85864"/>
                      <a:pt x="93134" y="71767"/>
                      <a:pt x="90571" y="74330"/>
                    </a:cubicBezTo>
                    <a:cubicBezTo>
                      <a:pt x="90571" y="74330"/>
                      <a:pt x="90571" y="74330"/>
                      <a:pt x="90571" y="75611"/>
                    </a:cubicBezTo>
                    <a:lnTo>
                      <a:pt x="61095" y="56388"/>
                    </a:lnTo>
                    <a:cubicBezTo>
                      <a:pt x="46998" y="42291"/>
                      <a:pt x="34183" y="29476"/>
                      <a:pt x="20086" y="16660"/>
                    </a:cubicBezTo>
                    <a:cubicBezTo>
                      <a:pt x="21368" y="12815"/>
                      <a:pt x="5989" y="1282"/>
                      <a:pt x="863" y="0"/>
                    </a:cubicBezTo>
                    <a:cubicBezTo>
                      <a:pt x="-2982" y="1282"/>
                      <a:pt x="7270" y="10252"/>
                      <a:pt x="7270"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6" name="Freeform: Shape 379468">
                <a:extLst>
                  <a:ext uri="{FF2B5EF4-FFF2-40B4-BE49-F238E27FC236}">
                    <a16:creationId xmlns:a16="http://schemas.microsoft.com/office/drawing/2014/main" id="{A1257F68-CA3A-46AE-B56E-4180FF840CEF}"/>
                  </a:ext>
                </a:extLst>
              </p:cNvPr>
              <p:cNvSpPr/>
              <p:nvPr/>
            </p:nvSpPr>
            <p:spPr>
              <a:xfrm>
                <a:off x="7063570" y="2266919"/>
                <a:ext cx="46135" cy="39727"/>
              </a:xfrm>
              <a:custGeom>
                <a:avLst/>
                <a:gdLst>
                  <a:gd name="connsiteX0" fmla="*/ 7689 w 46135"/>
                  <a:gd name="connsiteY0" fmla="*/ 8971 h 39727"/>
                  <a:gd name="connsiteX1" fmla="*/ 17942 w 46135"/>
                  <a:gd name="connsiteY1" fmla="*/ 15379 h 39727"/>
                  <a:gd name="connsiteX2" fmla="*/ 26912 w 46135"/>
                  <a:gd name="connsiteY2" fmla="*/ 23068 h 39727"/>
                  <a:gd name="connsiteX3" fmla="*/ 46136 w 46135"/>
                  <a:gd name="connsiteY3" fmla="*/ 39728 h 39727"/>
                  <a:gd name="connsiteX4" fmla="*/ 28194 w 46135"/>
                  <a:gd name="connsiteY4" fmla="*/ 23068 h 39727"/>
                  <a:gd name="connsiteX5" fmla="*/ 19223 w 46135"/>
                  <a:gd name="connsiteY5" fmla="*/ 15379 h 39727"/>
                  <a:gd name="connsiteX6" fmla="*/ 0 w 46135"/>
                  <a:gd name="connsiteY6" fmla="*/ 0 h 39727"/>
                  <a:gd name="connsiteX7" fmla="*/ 0 w 46135"/>
                  <a:gd name="connsiteY7" fmla="*/ 0 h 39727"/>
                  <a:gd name="connsiteX8" fmla="*/ 7689 w 46135"/>
                  <a:gd name="connsiteY8" fmla="*/ 8971 h 39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35" h="39727">
                    <a:moveTo>
                      <a:pt x="7689" y="8971"/>
                    </a:moveTo>
                    <a:cubicBezTo>
                      <a:pt x="10253" y="11534"/>
                      <a:pt x="14097" y="14097"/>
                      <a:pt x="17942" y="15379"/>
                    </a:cubicBezTo>
                    <a:cubicBezTo>
                      <a:pt x="20505" y="17942"/>
                      <a:pt x="24350" y="20505"/>
                      <a:pt x="26912" y="23068"/>
                    </a:cubicBezTo>
                    <a:cubicBezTo>
                      <a:pt x="26912" y="25631"/>
                      <a:pt x="43573" y="39728"/>
                      <a:pt x="46136" y="39728"/>
                    </a:cubicBezTo>
                    <a:cubicBezTo>
                      <a:pt x="46136" y="37165"/>
                      <a:pt x="34602" y="26912"/>
                      <a:pt x="28194" y="23068"/>
                    </a:cubicBezTo>
                    <a:cubicBezTo>
                      <a:pt x="25631" y="20505"/>
                      <a:pt x="21787" y="17942"/>
                      <a:pt x="19223" y="15379"/>
                    </a:cubicBezTo>
                    <a:cubicBezTo>
                      <a:pt x="19223" y="12815"/>
                      <a:pt x="5126" y="1282"/>
                      <a:pt x="0" y="0"/>
                    </a:cubicBezTo>
                    <a:cubicBezTo>
                      <a:pt x="0" y="0"/>
                      <a:pt x="0" y="0"/>
                      <a:pt x="0" y="0"/>
                    </a:cubicBezTo>
                    <a:cubicBezTo>
                      <a:pt x="0" y="2563"/>
                      <a:pt x="6408" y="7689"/>
                      <a:pt x="7689"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7" name="Freeform: Shape 379469">
                <a:extLst>
                  <a:ext uri="{FF2B5EF4-FFF2-40B4-BE49-F238E27FC236}">
                    <a16:creationId xmlns:a16="http://schemas.microsoft.com/office/drawing/2014/main" id="{ABFB020F-993F-413B-977C-8310F576EF4F}"/>
                  </a:ext>
                </a:extLst>
              </p:cNvPr>
              <p:cNvSpPr/>
              <p:nvPr/>
            </p:nvSpPr>
            <p:spPr>
              <a:xfrm>
                <a:off x="4302944" y="2735965"/>
                <a:ext cx="115506" cy="247338"/>
              </a:xfrm>
              <a:custGeom>
                <a:avLst/>
                <a:gdLst>
                  <a:gd name="connsiteX0" fmla="*/ 105254 w 115506"/>
                  <a:gd name="connsiteY0" fmla="*/ 12816 h 247338"/>
                  <a:gd name="connsiteX1" fmla="*/ 102691 w 115506"/>
                  <a:gd name="connsiteY1" fmla="*/ 20505 h 247338"/>
                  <a:gd name="connsiteX2" fmla="*/ 9138 w 115506"/>
                  <a:gd name="connsiteY2" fmla="*/ 224270 h 247338"/>
                  <a:gd name="connsiteX3" fmla="*/ 167 w 115506"/>
                  <a:gd name="connsiteY3" fmla="*/ 247338 h 247338"/>
                  <a:gd name="connsiteX4" fmla="*/ 10419 w 115506"/>
                  <a:gd name="connsiteY4" fmla="*/ 224270 h 247338"/>
                  <a:gd name="connsiteX5" fmla="*/ 103972 w 115506"/>
                  <a:gd name="connsiteY5" fmla="*/ 20505 h 247338"/>
                  <a:gd name="connsiteX6" fmla="*/ 115506 w 115506"/>
                  <a:gd name="connsiteY6" fmla="*/ 0 h 247338"/>
                  <a:gd name="connsiteX7" fmla="*/ 114225 w 115506"/>
                  <a:gd name="connsiteY7" fmla="*/ 0 h 247338"/>
                  <a:gd name="connsiteX8" fmla="*/ 105254 w 115506"/>
                  <a:gd name="connsiteY8" fmla="*/ 12816 h 247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506" h="247338">
                    <a:moveTo>
                      <a:pt x="105254" y="12816"/>
                    </a:moveTo>
                    <a:cubicBezTo>
                      <a:pt x="103972" y="15379"/>
                      <a:pt x="102691" y="19223"/>
                      <a:pt x="102691" y="20505"/>
                    </a:cubicBezTo>
                    <a:cubicBezTo>
                      <a:pt x="68089" y="85864"/>
                      <a:pt x="36050" y="153785"/>
                      <a:pt x="9138" y="224270"/>
                    </a:cubicBezTo>
                    <a:cubicBezTo>
                      <a:pt x="5293" y="229397"/>
                      <a:pt x="-1115" y="243494"/>
                      <a:pt x="167" y="247338"/>
                    </a:cubicBezTo>
                    <a:cubicBezTo>
                      <a:pt x="5293" y="244775"/>
                      <a:pt x="11701" y="225552"/>
                      <a:pt x="10419" y="224270"/>
                    </a:cubicBezTo>
                    <a:cubicBezTo>
                      <a:pt x="37332" y="153785"/>
                      <a:pt x="68089" y="85864"/>
                      <a:pt x="103972" y="20505"/>
                    </a:cubicBezTo>
                    <a:cubicBezTo>
                      <a:pt x="107817" y="16660"/>
                      <a:pt x="114225" y="6408"/>
                      <a:pt x="115506" y="0"/>
                    </a:cubicBezTo>
                    <a:cubicBezTo>
                      <a:pt x="115506" y="0"/>
                      <a:pt x="115506" y="0"/>
                      <a:pt x="114225" y="0"/>
                    </a:cubicBezTo>
                    <a:cubicBezTo>
                      <a:pt x="111661" y="2563"/>
                      <a:pt x="107817" y="8971"/>
                      <a:pt x="105254"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8" name="Freeform: Shape 379470">
                <a:extLst>
                  <a:ext uri="{FF2B5EF4-FFF2-40B4-BE49-F238E27FC236}">
                    <a16:creationId xmlns:a16="http://schemas.microsoft.com/office/drawing/2014/main" id="{3C5B0284-2676-414C-91E1-A6D015F14875}"/>
                  </a:ext>
                </a:extLst>
              </p:cNvPr>
              <p:cNvSpPr/>
              <p:nvPr/>
            </p:nvSpPr>
            <p:spPr>
              <a:xfrm>
                <a:off x="4640109" y="2726994"/>
                <a:ext cx="40226" cy="115623"/>
              </a:xfrm>
              <a:custGeom>
                <a:avLst/>
                <a:gdLst>
                  <a:gd name="connsiteX0" fmla="*/ 26962 w 40226"/>
                  <a:gd name="connsiteY0" fmla="*/ 16660 h 115623"/>
                  <a:gd name="connsiteX1" fmla="*/ 29525 w 40226"/>
                  <a:gd name="connsiteY1" fmla="*/ 23068 h 115623"/>
                  <a:gd name="connsiteX2" fmla="*/ 9020 w 40226"/>
                  <a:gd name="connsiteY2" fmla="*/ 94834 h 115623"/>
                  <a:gd name="connsiteX3" fmla="*/ 2613 w 40226"/>
                  <a:gd name="connsiteY3" fmla="*/ 115339 h 115623"/>
                  <a:gd name="connsiteX4" fmla="*/ 15428 w 40226"/>
                  <a:gd name="connsiteY4" fmla="*/ 94834 h 115623"/>
                  <a:gd name="connsiteX5" fmla="*/ 11583 w 40226"/>
                  <a:gd name="connsiteY5" fmla="*/ 92271 h 115623"/>
                  <a:gd name="connsiteX6" fmla="*/ 30807 w 40226"/>
                  <a:gd name="connsiteY6" fmla="*/ 20505 h 115623"/>
                  <a:gd name="connsiteX7" fmla="*/ 38496 w 40226"/>
                  <a:gd name="connsiteY7" fmla="*/ 0 h 115623"/>
                  <a:gd name="connsiteX8" fmla="*/ 35933 w 40226"/>
                  <a:gd name="connsiteY8" fmla="*/ 0 h 115623"/>
                  <a:gd name="connsiteX9" fmla="*/ 26962 w 40226"/>
                  <a:gd name="connsiteY9" fmla="*/ 16660 h 11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226" h="115623">
                    <a:moveTo>
                      <a:pt x="26962" y="16660"/>
                    </a:moveTo>
                    <a:cubicBezTo>
                      <a:pt x="26962" y="19223"/>
                      <a:pt x="26962" y="23068"/>
                      <a:pt x="29525" y="23068"/>
                    </a:cubicBezTo>
                    <a:cubicBezTo>
                      <a:pt x="21836" y="46136"/>
                      <a:pt x="15428" y="70485"/>
                      <a:pt x="9020" y="94834"/>
                    </a:cubicBezTo>
                    <a:cubicBezTo>
                      <a:pt x="49" y="101242"/>
                      <a:pt x="-2513" y="114058"/>
                      <a:pt x="2613" y="115339"/>
                    </a:cubicBezTo>
                    <a:cubicBezTo>
                      <a:pt x="9020" y="117902"/>
                      <a:pt x="17991" y="102524"/>
                      <a:pt x="15428" y="94834"/>
                    </a:cubicBezTo>
                    <a:cubicBezTo>
                      <a:pt x="14147" y="92271"/>
                      <a:pt x="12865" y="92271"/>
                      <a:pt x="11583" y="92271"/>
                    </a:cubicBezTo>
                    <a:cubicBezTo>
                      <a:pt x="17991" y="67922"/>
                      <a:pt x="24399" y="43573"/>
                      <a:pt x="30807" y="20505"/>
                    </a:cubicBezTo>
                    <a:cubicBezTo>
                      <a:pt x="39778" y="14097"/>
                      <a:pt x="42341" y="1282"/>
                      <a:pt x="38496" y="0"/>
                    </a:cubicBezTo>
                    <a:cubicBezTo>
                      <a:pt x="37215" y="0"/>
                      <a:pt x="37215" y="0"/>
                      <a:pt x="35933" y="0"/>
                    </a:cubicBezTo>
                    <a:cubicBezTo>
                      <a:pt x="30807" y="5126"/>
                      <a:pt x="28244" y="14097"/>
                      <a:pt x="2696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49" name="Freeform: Shape 379471">
                <a:extLst>
                  <a:ext uri="{FF2B5EF4-FFF2-40B4-BE49-F238E27FC236}">
                    <a16:creationId xmlns:a16="http://schemas.microsoft.com/office/drawing/2014/main" id="{51CE52CB-32E0-4308-8801-30DCE9A97040}"/>
                  </a:ext>
                </a:extLst>
              </p:cNvPr>
              <p:cNvSpPr/>
              <p:nvPr/>
            </p:nvSpPr>
            <p:spPr>
              <a:xfrm>
                <a:off x="4664458" y="2780819"/>
                <a:ext cx="23166" cy="53906"/>
              </a:xfrm>
              <a:custGeom>
                <a:avLst/>
                <a:gdLst>
                  <a:gd name="connsiteX0" fmla="*/ 7739 w 23166"/>
                  <a:gd name="connsiteY0" fmla="*/ 16660 h 53906"/>
                  <a:gd name="connsiteX1" fmla="*/ 11584 w 23166"/>
                  <a:gd name="connsiteY1" fmla="*/ 23068 h 53906"/>
                  <a:gd name="connsiteX2" fmla="*/ 9020 w 23166"/>
                  <a:gd name="connsiteY2" fmla="*/ 33320 h 53906"/>
                  <a:gd name="connsiteX3" fmla="*/ 2613 w 23166"/>
                  <a:gd name="connsiteY3" fmla="*/ 53825 h 53906"/>
                  <a:gd name="connsiteX4" fmla="*/ 15428 w 23166"/>
                  <a:gd name="connsiteY4" fmla="*/ 33320 h 53906"/>
                  <a:gd name="connsiteX5" fmla="*/ 11584 w 23166"/>
                  <a:gd name="connsiteY5" fmla="*/ 30757 h 53906"/>
                  <a:gd name="connsiteX6" fmla="*/ 14147 w 23166"/>
                  <a:gd name="connsiteY6" fmla="*/ 20505 h 53906"/>
                  <a:gd name="connsiteX7" fmla="*/ 20554 w 23166"/>
                  <a:gd name="connsiteY7" fmla="*/ 0 h 53906"/>
                  <a:gd name="connsiteX8" fmla="*/ 17991 w 23166"/>
                  <a:gd name="connsiteY8" fmla="*/ 0 h 53906"/>
                  <a:gd name="connsiteX9" fmla="*/ 7739 w 23166"/>
                  <a:gd name="connsiteY9" fmla="*/ 16660 h 5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166" h="53906">
                    <a:moveTo>
                      <a:pt x="7739" y="16660"/>
                    </a:moveTo>
                    <a:cubicBezTo>
                      <a:pt x="7739" y="19223"/>
                      <a:pt x="7739" y="23068"/>
                      <a:pt x="11584" y="23068"/>
                    </a:cubicBezTo>
                    <a:cubicBezTo>
                      <a:pt x="10302" y="26912"/>
                      <a:pt x="10302" y="29475"/>
                      <a:pt x="9020" y="33320"/>
                    </a:cubicBezTo>
                    <a:cubicBezTo>
                      <a:pt x="50" y="39728"/>
                      <a:pt x="-2514" y="52543"/>
                      <a:pt x="2613" y="53825"/>
                    </a:cubicBezTo>
                    <a:cubicBezTo>
                      <a:pt x="9020" y="55106"/>
                      <a:pt x="19273" y="41009"/>
                      <a:pt x="15428" y="33320"/>
                    </a:cubicBezTo>
                    <a:cubicBezTo>
                      <a:pt x="14147" y="30757"/>
                      <a:pt x="12865" y="30757"/>
                      <a:pt x="11584" y="30757"/>
                    </a:cubicBezTo>
                    <a:cubicBezTo>
                      <a:pt x="12865" y="26912"/>
                      <a:pt x="12865" y="24349"/>
                      <a:pt x="14147" y="20505"/>
                    </a:cubicBezTo>
                    <a:cubicBezTo>
                      <a:pt x="23117" y="14097"/>
                      <a:pt x="25680" y="1282"/>
                      <a:pt x="20554" y="0"/>
                    </a:cubicBezTo>
                    <a:cubicBezTo>
                      <a:pt x="19273" y="0"/>
                      <a:pt x="17991" y="0"/>
                      <a:pt x="17991" y="0"/>
                    </a:cubicBezTo>
                    <a:cubicBezTo>
                      <a:pt x="11584" y="5126"/>
                      <a:pt x="9020" y="14097"/>
                      <a:pt x="7739"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0" name="Freeform: Shape 379472">
                <a:extLst>
                  <a:ext uri="{FF2B5EF4-FFF2-40B4-BE49-F238E27FC236}">
                    <a16:creationId xmlns:a16="http://schemas.microsoft.com/office/drawing/2014/main" id="{B659F238-6674-4605-AD23-96B2208BF4FE}"/>
                  </a:ext>
                </a:extLst>
              </p:cNvPr>
              <p:cNvSpPr/>
              <p:nvPr/>
            </p:nvSpPr>
            <p:spPr>
              <a:xfrm>
                <a:off x="4737484" y="2757751"/>
                <a:ext cx="24786" cy="52625"/>
              </a:xfrm>
              <a:custGeom>
                <a:avLst/>
                <a:gdLst>
                  <a:gd name="connsiteX0" fmla="*/ 7761 w 24786"/>
                  <a:gd name="connsiteY0" fmla="*/ 15379 h 52625"/>
                  <a:gd name="connsiteX1" fmla="*/ 11606 w 24786"/>
                  <a:gd name="connsiteY1" fmla="*/ 21786 h 52625"/>
                  <a:gd name="connsiteX2" fmla="*/ 9043 w 24786"/>
                  <a:gd name="connsiteY2" fmla="*/ 32039 h 52625"/>
                  <a:gd name="connsiteX3" fmla="*/ 3917 w 24786"/>
                  <a:gd name="connsiteY3" fmla="*/ 52543 h 52625"/>
                  <a:gd name="connsiteX4" fmla="*/ 16732 w 24786"/>
                  <a:gd name="connsiteY4" fmla="*/ 33320 h 52625"/>
                  <a:gd name="connsiteX5" fmla="*/ 12887 w 24786"/>
                  <a:gd name="connsiteY5" fmla="*/ 30757 h 52625"/>
                  <a:gd name="connsiteX6" fmla="*/ 15451 w 24786"/>
                  <a:gd name="connsiteY6" fmla="*/ 20505 h 52625"/>
                  <a:gd name="connsiteX7" fmla="*/ 21858 w 24786"/>
                  <a:gd name="connsiteY7" fmla="*/ 0 h 52625"/>
                  <a:gd name="connsiteX8" fmla="*/ 19295 w 24786"/>
                  <a:gd name="connsiteY8" fmla="*/ 0 h 52625"/>
                  <a:gd name="connsiteX9" fmla="*/ 7761 w 24786"/>
                  <a:gd name="connsiteY9" fmla="*/ 15379 h 5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86" h="52625">
                    <a:moveTo>
                      <a:pt x="7761" y="15379"/>
                    </a:moveTo>
                    <a:cubicBezTo>
                      <a:pt x="7761" y="17942"/>
                      <a:pt x="7761" y="21786"/>
                      <a:pt x="11606" y="21786"/>
                    </a:cubicBezTo>
                    <a:cubicBezTo>
                      <a:pt x="10324" y="25631"/>
                      <a:pt x="10324" y="28194"/>
                      <a:pt x="9043" y="32039"/>
                    </a:cubicBezTo>
                    <a:cubicBezTo>
                      <a:pt x="-1210" y="38446"/>
                      <a:pt x="-2491" y="51262"/>
                      <a:pt x="3917" y="52543"/>
                    </a:cubicBezTo>
                    <a:cubicBezTo>
                      <a:pt x="10324" y="53825"/>
                      <a:pt x="20577" y="39728"/>
                      <a:pt x="16732" y="33320"/>
                    </a:cubicBezTo>
                    <a:cubicBezTo>
                      <a:pt x="15451" y="30757"/>
                      <a:pt x="14169" y="30757"/>
                      <a:pt x="12887" y="30757"/>
                    </a:cubicBezTo>
                    <a:cubicBezTo>
                      <a:pt x="14169" y="26912"/>
                      <a:pt x="14169" y="24349"/>
                      <a:pt x="15451" y="20505"/>
                    </a:cubicBezTo>
                    <a:cubicBezTo>
                      <a:pt x="25703" y="14097"/>
                      <a:pt x="26985" y="1282"/>
                      <a:pt x="21858" y="0"/>
                    </a:cubicBezTo>
                    <a:cubicBezTo>
                      <a:pt x="20577" y="0"/>
                      <a:pt x="19295" y="0"/>
                      <a:pt x="19295" y="0"/>
                    </a:cubicBezTo>
                    <a:cubicBezTo>
                      <a:pt x="10324" y="3845"/>
                      <a:pt x="7761" y="12816"/>
                      <a:pt x="776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351" name="Graphic 379285">
                <a:extLst>
                  <a:ext uri="{FF2B5EF4-FFF2-40B4-BE49-F238E27FC236}">
                    <a16:creationId xmlns:a16="http://schemas.microsoft.com/office/drawing/2014/main" id="{D973D960-FBCD-4D6F-9AA8-88935B4C1FE3}"/>
                  </a:ext>
                </a:extLst>
              </p:cNvPr>
              <p:cNvGrpSpPr/>
              <p:nvPr/>
            </p:nvGrpSpPr>
            <p:grpSpPr>
              <a:xfrm>
                <a:off x="6706699" y="2287424"/>
                <a:ext cx="113376" cy="330597"/>
                <a:chOff x="6706699" y="2287424"/>
                <a:chExt cx="113376" cy="330597"/>
              </a:xfrm>
              <a:grpFill/>
            </p:grpSpPr>
            <p:sp>
              <p:nvSpPr>
                <p:cNvPr id="993" name="Freeform: Shape 379474">
                  <a:extLst>
                    <a:ext uri="{FF2B5EF4-FFF2-40B4-BE49-F238E27FC236}">
                      <a16:creationId xmlns:a16="http://schemas.microsoft.com/office/drawing/2014/main" id="{09B5A7D7-3A8F-46EF-917D-20E88B81DB21}"/>
                    </a:ext>
                  </a:extLst>
                </p:cNvPr>
                <p:cNvSpPr/>
                <p:nvPr/>
              </p:nvSpPr>
              <p:spPr>
                <a:xfrm>
                  <a:off x="6780347" y="2400200"/>
                  <a:ext cx="19223" cy="46135"/>
                </a:xfrm>
                <a:custGeom>
                  <a:avLst/>
                  <a:gdLst>
                    <a:gd name="connsiteX0" fmla="*/ 15378 w 19223"/>
                    <a:gd name="connsiteY0" fmla="*/ 46136 h 46135"/>
                    <a:gd name="connsiteX1" fmla="*/ 0 w 19223"/>
                    <a:gd name="connsiteY1" fmla="*/ 25631 h 46135"/>
                    <a:gd name="connsiteX2" fmla="*/ 3844 w 19223"/>
                    <a:gd name="connsiteY2" fmla="*/ 0 h 46135"/>
                    <a:gd name="connsiteX3" fmla="*/ 19223 w 19223"/>
                    <a:gd name="connsiteY3" fmla="*/ 20505 h 46135"/>
                    <a:gd name="connsiteX4" fmla="*/ 15378 w 19223"/>
                    <a:gd name="connsiteY4" fmla="*/ 46136 h 46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23" h="46135">
                      <a:moveTo>
                        <a:pt x="15378" y="46136"/>
                      </a:moveTo>
                      <a:cubicBezTo>
                        <a:pt x="10252" y="39728"/>
                        <a:pt x="5126" y="32039"/>
                        <a:pt x="0" y="25631"/>
                      </a:cubicBezTo>
                      <a:lnTo>
                        <a:pt x="3844" y="0"/>
                      </a:lnTo>
                      <a:cubicBezTo>
                        <a:pt x="8971" y="6408"/>
                        <a:pt x="14097" y="14097"/>
                        <a:pt x="19223" y="20505"/>
                      </a:cubicBezTo>
                      <a:lnTo>
                        <a:pt x="15378" y="46136"/>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94" name="Freeform: Shape 379475">
                  <a:extLst>
                    <a:ext uri="{FF2B5EF4-FFF2-40B4-BE49-F238E27FC236}">
                      <a16:creationId xmlns:a16="http://schemas.microsoft.com/office/drawing/2014/main" id="{CAE77D2E-5387-43D8-9F9A-58D1507D5A0C}"/>
                    </a:ext>
                  </a:extLst>
                </p:cNvPr>
                <p:cNvSpPr/>
                <p:nvPr/>
              </p:nvSpPr>
              <p:spPr>
                <a:xfrm>
                  <a:off x="6706699" y="2287424"/>
                  <a:ext cx="113376" cy="330597"/>
                </a:xfrm>
                <a:custGeom>
                  <a:avLst/>
                  <a:gdLst>
                    <a:gd name="connsiteX0" fmla="*/ 28794 w 113376"/>
                    <a:gd name="connsiteY0" fmla="*/ 266562 h 330597"/>
                    <a:gd name="connsiteX1" fmla="*/ 48017 w 113376"/>
                    <a:gd name="connsiteY1" fmla="*/ 267843 h 330597"/>
                    <a:gd name="connsiteX2" fmla="*/ 41610 w 113376"/>
                    <a:gd name="connsiteY2" fmla="*/ 257591 h 330597"/>
                    <a:gd name="connsiteX3" fmla="*/ 72367 w 113376"/>
                    <a:gd name="connsiteY3" fmla="*/ 143533 h 330597"/>
                    <a:gd name="connsiteX4" fmla="*/ 87746 w 113376"/>
                    <a:gd name="connsiteY4" fmla="*/ 164038 h 330597"/>
                    <a:gd name="connsiteX5" fmla="*/ 54425 w 113376"/>
                    <a:gd name="connsiteY5" fmla="*/ 281940 h 330597"/>
                    <a:gd name="connsiteX6" fmla="*/ 44173 w 113376"/>
                    <a:gd name="connsiteY6" fmla="*/ 292192 h 330597"/>
                    <a:gd name="connsiteX7" fmla="*/ 64678 w 113376"/>
                    <a:gd name="connsiteY7" fmla="*/ 294755 h 330597"/>
                    <a:gd name="connsiteX8" fmla="*/ 58270 w 113376"/>
                    <a:gd name="connsiteY8" fmla="*/ 284503 h 330597"/>
                    <a:gd name="connsiteX9" fmla="*/ 91590 w 113376"/>
                    <a:gd name="connsiteY9" fmla="*/ 167883 h 330597"/>
                    <a:gd name="connsiteX10" fmla="*/ 106969 w 113376"/>
                    <a:gd name="connsiteY10" fmla="*/ 189669 h 330597"/>
                    <a:gd name="connsiteX11" fmla="*/ 71085 w 113376"/>
                    <a:gd name="connsiteY11" fmla="*/ 311416 h 330597"/>
                    <a:gd name="connsiteX12" fmla="*/ 60833 w 113376"/>
                    <a:gd name="connsiteY12" fmla="*/ 321668 h 330597"/>
                    <a:gd name="connsiteX13" fmla="*/ 81338 w 113376"/>
                    <a:gd name="connsiteY13" fmla="*/ 326794 h 330597"/>
                    <a:gd name="connsiteX14" fmla="*/ 76212 w 113376"/>
                    <a:gd name="connsiteY14" fmla="*/ 313979 h 330597"/>
                    <a:gd name="connsiteX15" fmla="*/ 113377 w 113376"/>
                    <a:gd name="connsiteY15" fmla="*/ 190950 h 330597"/>
                    <a:gd name="connsiteX16" fmla="*/ 94153 w 113376"/>
                    <a:gd name="connsiteY16" fmla="*/ 164038 h 330597"/>
                    <a:gd name="connsiteX17" fmla="*/ 99280 w 113376"/>
                    <a:gd name="connsiteY17" fmla="*/ 134562 h 330597"/>
                    <a:gd name="connsiteX18" fmla="*/ 78775 w 113376"/>
                    <a:gd name="connsiteY18" fmla="*/ 108931 h 330597"/>
                    <a:gd name="connsiteX19" fmla="*/ 82619 w 113376"/>
                    <a:gd name="connsiteY19" fmla="*/ 80737 h 330597"/>
                    <a:gd name="connsiteX20" fmla="*/ 24949 w 113376"/>
                    <a:gd name="connsiteY20" fmla="*/ 15379 h 330597"/>
                    <a:gd name="connsiteX21" fmla="*/ 9571 w 113376"/>
                    <a:gd name="connsiteY21" fmla="*/ 0 h 330597"/>
                    <a:gd name="connsiteX22" fmla="*/ 8290 w 113376"/>
                    <a:gd name="connsiteY22" fmla="*/ 0 h 330597"/>
                    <a:gd name="connsiteX23" fmla="*/ 5726 w 113376"/>
                    <a:gd name="connsiteY23" fmla="*/ 1282 h 330597"/>
                    <a:gd name="connsiteX24" fmla="*/ 21105 w 113376"/>
                    <a:gd name="connsiteY24" fmla="*/ 16660 h 330597"/>
                    <a:gd name="connsiteX25" fmla="*/ 77493 w 113376"/>
                    <a:gd name="connsiteY25" fmla="*/ 80737 h 330597"/>
                    <a:gd name="connsiteX26" fmla="*/ 74930 w 113376"/>
                    <a:gd name="connsiteY26" fmla="*/ 105087 h 330597"/>
                    <a:gd name="connsiteX27" fmla="*/ 22386 w 113376"/>
                    <a:gd name="connsiteY27" fmla="*/ 43573 h 330597"/>
                    <a:gd name="connsiteX28" fmla="*/ 8290 w 113376"/>
                    <a:gd name="connsiteY28" fmla="*/ 26912 h 330597"/>
                    <a:gd name="connsiteX29" fmla="*/ 5726 w 113376"/>
                    <a:gd name="connsiteY29" fmla="*/ 35883 h 330597"/>
                    <a:gd name="connsiteX30" fmla="*/ 18542 w 113376"/>
                    <a:gd name="connsiteY30" fmla="*/ 43573 h 330597"/>
                    <a:gd name="connsiteX31" fmla="*/ 73648 w 113376"/>
                    <a:gd name="connsiteY31" fmla="*/ 108931 h 330597"/>
                    <a:gd name="connsiteX32" fmla="*/ 69804 w 113376"/>
                    <a:gd name="connsiteY32" fmla="*/ 134562 h 330597"/>
                    <a:gd name="connsiteX33" fmla="*/ 19823 w 113376"/>
                    <a:gd name="connsiteY33" fmla="*/ 70485 h 330597"/>
                    <a:gd name="connsiteX34" fmla="*/ 5726 w 113376"/>
                    <a:gd name="connsiteY34" fmla="*/ 53825 h 330597"/>
                    <a:gd name="connsiteX35" fmla="*/ 3163 w 113376"/>
                    <a:gd name="connsiteY35" fmla="*/ 64077 h 330597"/>
                    <a:gd name="connsiteX36" fmla="*/ 15979 w 113376"/>
                    <a:gd name="connsiteY36" fmla="*/ 71767 h 330597"/>
                    <a:gd name="connsiteX37" fmla="*/ 68522 w 113376"/>
                    <a:gd name="connsiteY37" fmla="*/ 139688 h 330597"/>
                    <a:gd name="connsiteX38" fmla="*/ 36483 w 113376"/>
                    <a:gd name="connsiteY38" fmla="*/ 256309 h 330597"/>
                    <a:gd name="connsiteX39" fmla="*/ 26231 w 113376"/>
                    <a:gd name="connsiteY39" fmla="*/ 266562 h 330597"/>
                    <a:gd name="connsiteX40" fmla="*/ 28794 w 113376"/>
                    <a:gd name="connsiteY40" fmla="*/ 266562 h 33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13376" h="330597">
                      <a:moveTo>
                        <a:pt x="28794" y="266562"/>
                      </a:moveTo>
                      <a:cubicBezTo>
                        <a:pt x="35202" y="274251"/>
                        <a:pt x="46736" y="276814"/>
                        <a:pt x="48017" y="267843"/>
                      </a:cubicBezTo>
                      <a:cubicBezTo>
                        <a:pt x="48017" y="266562"/>
                        <a:pt x="48017" y="262717"/>
                        <a:pt x="41610" y="257591"/>
                      </a:cubicBezTo>
                      <a:cubicBezTo>
                        <a:pt x="51862" y="222989"/>
                        <a:pt x="64678" y="178135"/>
                        <a:pt x="72367" y="143533"/>
                      </a:cubicBezTo>
                      <a:cubicBezTo>
                        <a:pt x="77493" y="149941"/>
                        <a:pt x="82619" y="157630"/>
                        <a:pt x="87746" y="164038"/>
                      </a:cubicBezTo>
                      <a:cubicBezTo>
                        <a:pt x="78775" y="198640"/>
                        <a:pt x="65959" y="247338"/>
                        <a:pt x="54425" y="281940"/>
                      </a:cubicBezTo>
                      <a:cubicBezTo>
                        <a:pt x="44173" y="278095"/>
                        <a:pt x="40328" y="285785"/>
                        <a:pt x="44173" y="292192"/>
                      </a:cubicBezTo>
                      <a:cubicBezTo>
                        <a:pt x="49299" y="301163"/>
                        <a:pt x="63396" y="305008"/>
                        <a:pt x="64678" y="294755"/>
                      </a:cubicBezTo>
                      <a:cubicBezTo>
                        <a:pt x="64678" y="293474"/>
                        <a:pt x="64678" y="289629"/>
                        <a:pt x="58270" y="284503"/>
                      </a:cubicBezTo>
                      <a:cubicBezTo>
                        <a:pt x="68522" y="249901"/>
                        <a:pt x="82619" y="203766"/>
                        <a:pt x="91590" y="167883"/>
                      </a:cubicBezTo>
                      <a:cubicBezTo>
                        <a:pt x="96716" y="175572"/>
                        <a:pt x="101843" y="181979"/>
                        <a:pt x="106969" y="189669"/>
                      </a:cubicBezTo>
                      <a:cubicBezTo>
                        <a:pt x="96716" y="226834"/>
                        <a:pt x="82619" y="275532"/>
                        <a:pt x="71085" y="311416"/>
                      </a:cubicBezTo>
                      <a:cubicBezTo>
                        <a:pt x="60833" y="307571"/>
                        <a:pt x="56988" y="315260"/>
                        <a:pt x="60833" y="321668"/>
                      </a:cubicBezTo>
                      <a:cubicBezTo>
                        <a:pt x="64678" y="329357"/>
                        <a:pt x="77493" y="334483"/>
                        <a:pt x="81338" y="326794"/>
                      </a:cubicBezTo>
                      <a:cubicBezTo>
                        <a:pt x="81338" y="326794"/>
                        <a:pt x="83901" y="321668"/>
                        <a:pt x="76212" y="313979"/>
                      </a:cubicBezTo>
                      <a:cubicBezTo>
                        <a:pt x="87746" y="276814"/>
                        <a:pt x="103124" y="228115"/>
                        <a:pt x="113377" y="190950"/>
                      </a:cubicBezTo>
                      <a:cubicBezTo>
                        <a:pt x="106969" y="181979"/>
                        <a:pt x="100561" y="173009"/>
                        <a:pt x="94153" y="164038"/>
                      </a:cubicBezTo>
                      <a:lnTo>
                        <a:pt x="99280" y="134562"/>
                      </a:lnTo>
                      <a:cubicBezTo>
                        <a:pt x="92872" y="125591"/>
                        <a:pt x="85182" y="116621"/>
                        <a:pt x="78775" y="108931"/>
                      </a:cubicBezTo>
                      <a:lnTo>
                        <a:pt x="82619" y="80737"/>
                      </a:lnTo>
                      <a:cubicBezTo>
                        <a:pt x="63396" y="57670"/>
                        <a:pt x="44173" y="35883"/>
                        <a:pt x="24949" y="15379"/>
                      </a:cubicBezTo>
                      <a:cubicBezTo>
                        <a:pt x="31357" y="8971"/>
                        <a:pt x="15979" y="0"/>
                        <a:pt x="9571" y="0"/>
                      </a:cubicBezTo>
                      <a:cubicBezTo>
                        <a:pt x="9571" y="0"/>
                        <a:pt x="8290" y="0"/>
                        <a:pt x="8290" y="0"/>
                      </a:cubicBezTo>
                      <a:cubicBezTo>
                        <a:pt x="7008" y="0"/>
                        <a:pt x="7008" y="1282"/>
                        <a:pt x="5726" y="1282"/>
                      </a:cubicBezTo>
                      <a:cubicBezTo>
                        <a:pt x="3163" y="7689"/>
                        <a:pt x="14697" y="15379"/>
                        <a:pt x="21105" y="16660"/>
                      </a:cubicBezTo>
                      <a:cubicBezTo>
                        <a:pt x="40328" y="37165"/>
                        <a:pt x="59551" y="58951"/>
                        <a:pt x="77493" y="80737"/>
                      </a:cubicBezTo>
                      <a:lnTo>
                        <a:pt x="74930" y="105087"/>
                      </a:lnTo>
                      <a:cubicBezTo>
                        <a:pt x="58270" y="83300"/>
                        <a:pt x="40328" y="62796"/>
                        <a:pt x="22386" y="43573"/>
                      </a:cubicBezTo>
                      <a:cubicBezTo>
                        <a:pt x="28794" y="37165"/>
                        <a:pt x="13415" y="28194"/>
                        <a:pt x="8290" y="26912"/>
                      </a:cubicBezTo>
                      <a:cubicBezTo>
                        <a:pt x="3163" y="26912"/>
                        <a:pt x="1881" y="30757"/>
                        <a:pt x="5726" y="35883"/>
                      </a:cubicBezTo>
                      <a:cubicBezTo>
                        <a:pt x="7008" y="37165"/>
                        <a:pt x="12134" y="42291"/>
                        <a:pt x="18542" y="43573"/>
                      </a:cubicBezTo>
                      <a:cubicBezTo>
                        <a:pt x="37765" y="65359"/>
                        <a:pt x="55707" y="87145"/>
                        <a:pt x="73648" y="108931"/>
                      </a:cubicBezTo>
                      <a:lnTo>
                        <a:pt x="69804" y="134562"/>
                      </a:lnTo>
                      <a:cubicBezTo>
                        <a:pt x="53144" y="112776"/>
                        <a:pt x="36483" y="90990"/>
                        <a:pt x="19823" y="70485"/>
                      </a:cubicBezTo>
                      <a:cubicBezTo>
                        <a:pt x="26231" y="64077"/>
                        <a:pt x="12134" y="53825"/>
                        <a:pt x="5726" y="53825"/>
                      </a:cubicBezTo>
                      <a:cubicBezTo>
                        <a:pt x="-682" y="53825"/>
                        <a:pt x="-1963" y="57670"/>
                        <a:pt x="3163" y="64077"/>
                      </a:cubicBezTo>
                      <a:cubicBezTo>
                        <a:pt x="4445" y="65359"/>
                        <a:pt x="9571" y="70485"/>
                        <a:pt x="15979" y="71767"/>
                      </a:cubicBezTo>
                      <a:cubicBezTo>
                        <a:pt x="33920" y="93553"/>
                        <a:pt x="51862" y="116621"/>
                        <a:pt x="68522" y="139688"/>
                      </a:cubicBezTo>
                      <a:cubicBezTo>
                        <a:pt x="59551" y="175572"/>
                        <a:pt x="48017" y="221707"/>
                        <a:pt x="36483" y="256309"/>
                      </a:cubicBezTo>
                      <a:cubicBezTo>
                        <a:pt x="24949" y="252464"/>
                        <a:pt x="22386" y="260154"/>
                        <a:pt x="26231" y="266562"/>
                      </a:cubicBezTo>
                      <a:cubicBezTo>
                        <a:pt x="27513" y="265280"/>
                        <a:pt x="28794" y="265280"/>
                        <a:pt x="28794" y="26656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352" name="Freeform: Shape 379476">
                <a:extLst>
                  <a:ext uri="{FF2B5EF4-FFF2-40B4-BE49-F238E27FC236}">
                    <a16:creationId xmlns:a16="http://schemas.microsoft.com/office/drawing/2014/main" id="{FE09726C-4C26-4F91-BC54-B27DEA2F24D9}"/>
                  </a:ext>
                </a:extLst>
              </p:cNvPr>
              <p:cNvSpPr/>
              <p:nvPr/>
            </p:nvSpPr>
            <p:spPr>
              <a:xfrm>
                <a:off x="6976843" y="2264356"/>
                <a:ext cx="69790" cy="64077"/>
              </a:xfrm>
              <a:custGeom>
                <a:avLst/>
                <a:gdLst>
                  <a:gd name="connsiteX0" fmla="*/ 7270 w 69790"/>
                  <a:gd name="connsiteY0" fmla="*/ 8971 h 64077"/>
                  <a:gd name="connsiteX1" fmla="*/ 17523 w 69790"/>
                  <a:gd name="connsiteY1" fmla="*/ 15379 h 64077"/>
                  <a:gd name="connsiteX2" fmla="*/ 50843 w 69790"/>
                  <a:gd name="connsiteY2" fmla="*/ 47417 h 64077"/>
                  <a:gd name="connsiteX3" fmla="*/ 68785 w 69790"/>
                  <a:gd name="connsiteY3" fmla="*/ 64077 h 64077"/>
                  <a:gd name="connsiteX4" fmla="*/ 63658 w 69790"/>
                  <a:gd name="connsiteY4" fmla="*/ 53825 h 64077"/>
                  <a:gd name="connsiteX5" fmla="*/ 53406 w 69790"/>
                  <a:gd name="connsiteY5" fmla="*/ 47417 h 64077"/>
                  <a:gd name="connsiteX6" fmla="*/ 20086 w 69790"/>
                  <a:gd name="connsiteY6" fmla="*/ 15379 h 64077"/>
                  <a:gd name="connsiteX7" fmla="*/ 863 w 69790"/>
                  <a:gd name="connsiteY7" fmla="*/ 0 h 64077"/>
                  <a:gd name="connsiteX8" fmla="*/ 7270 w 69790"/>
                  <a:gd name="connsiteY8" fmla="*/ 8971 h 6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790" h="64077">
                    <a:moveTo>
                      <a:pt x="7270" y="8971"/>
                    </a:moveTo>
                    <a:cubicBezTo>
                      <a:pt x="9834" y="11534"/>
                      <a:pt x="13678" y="14097"/>
                      <a:pt x="17523" y="15379"/>
                    </a:cubicBezTo>
                    <a:cubicBezTo>
                      <a:pt x="29057" y="25631"/>
                      <a:pt x="40591" y="35883"/>
                      <a:pt x="50843" y="47417"/>
                    </a:cubicBezTo>
                    <a:cubicBezTo>
                      <a:pt x="48280" y="51262"/>
                      <a:pt x="64940" y="64077"/>
                      <a:pt x="68785" y="64077"/>
                    </a:cubicBezTo>
                    <a:cubicBezTo>
                      <a:pt x="71348" y="64077"/>
                      <a:pt x="68785" y="58951"/>
                      <a:pt x="63658" y="53825"/>
                    </a:cubicBezTo>
                    <a:cubicBezTo>
                      <a:pt x="61095" y="51262"/>
                      <a:pt x="57251" y="48699"/>
                      <a:pt x="53406" y="47417"/>
                    </a:cubicBezTo>
                    <a:cubicBezTo>
                      <a:pt x="41872" y="37165"/>
                      <a:pt x="30338" y="26912"/>
                      <a:pt x="20086" y="15379"/>
                    </a:cubicBezTo>
                    <a:cubicBezTo>
                      <a:pt x="22649" y="12815"/>
                      <a:pt x="8552" y="0"/>
                      <a:pt x="863" y="0"/>
                    </a:cubicBezTo>
                    <a:cubicBezTo>
                      <a:pt x="-2982" y="0"/>
                      <a:pt x="7270" y="8971"/>
                      <a:pt x="7270"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3" name="Freeform: Shape 379477">
                <a:extLst>
                  <a:ext uri="{FF2B5EF4-FFF2-40B4-BE49-F238E27FC236}">
                    <a16:creationId xmlns:a16="http://schemas.microsoft.com/office/drawing/2014/main" id="{38C56594-180B-44E4-9591-5557D53D6158}"/>
                  </a:ext>
                </a:extLst>
              </p:cNvPr>
              <p:cNvSpPr/>
              <p:nvPr/>
            </p:nvSpPr>
            <p:spPr>
              <a:xfrm>
                <a:off x="7057162" y="2287424"/>
                <a:ext cx="46234" cy="41085"/>
              </a:xfrm>
              <a:custGeom>
                <a:avLst/>
                <a:gdLst>
                  <a:gd name="connsiteX0" fmla="*/ 7689 w 46234"/>
                  <a:gd name="connsiteY0" fmla="*/ 10252 h 41085"/>
                  <a:gd name="connsiteX1" fmla="*/ 17942 w 46234"/>
                  <a:gd name="connsiteY1" fmla="*/ 16660 h 41085"/>
                  <a:gd name="connsiteX2" fmla="*/ 26912 w 46234"/>
                  <a:gd name="connsiteY2" fmla="*/ 24349 h 41085"/>
                  <a:gd name="connsiteX3" fmla="*/ 46136 w 46234"/>
                  <a:gd name="connsiteY3" fmla="*/ 41009 h 41085"/>
                  <a:gd name="connsiteX4" fmla="*/ 28194 w 46234"/>
                  <a:gd name="connsiteY4" fmla="*/ 24349 h 41085"/>
                  <a:gd name="connsiteX5" fmla="*/ 19223 w 46234"/>
                  <a:gd name="connsiteY5" fmla="*/ 16660 h 41085"/>
                  <a:gd name="connsiteX6" fmla="*/ 0 w 46234"/>
                  <a:gd name="connsiteY6" fmla="*/ 0 h 41085"/>
                  <a:gd name="connsiteX7" fmla="*/ 0 w 46234"/>
                  <a:gd name="connsiteY7" fmla="*/ 0 h 41085"/>
                  <a:gd name="connsiteX8" fmla="*/ 7689 w 46234"/>
                  <a:gd name="connsiteY8" fmla="*/ 10252 h 41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234" h="41085">
                    <a:moveTo>
                      <a:pt x="7689" y="10252"/>
                    </a:moveTo>
                    <a:cubicBezTo>
                      <a:pt x="10253" y="12816"/>
                      <a:pt x="14097" y="15379"/>
                      <a:pt x="17942" y="16660"/>
                    </a:cubicBezTo>
                    <a:cubicBezTo>
                      <a:pt x="20505" y="19223"/>
                      <a:pt x="23068" y="21786"/>
                      <a:pt x="26912" y="24349"/>
                    </a:cubicBezTo>
                    <a:cubicBezTo>
                      <a:pt x="25631" y="26912"/>
                      <a:pt x="42291" y="42291"/>
                      <a:pt x="46136" y="41009"/>
                    </a:cubicBezTo>
                    <a:cubicBezTo>
                      <a:pt x="47417" y="38446"/>
                      <a:pt x="35883" y="26912"/>
                      <a:pt x="28194" y="24349"/>
                    </a:cubicBezTo>
                    <a:cubicBezTo>
                      <a:pt x="25631" y="21786"/>
                      <a:pt x="23068" y="19223"/>
                      <a:pt x="19223" y="16660"/>
                    </a:cubicBezTo>
                    <a:cubicBezTo>
                      <a:pt x="20505" y="14097"/>
                      <a:pt x="6408" y="1282"/>
                      <a:pt x="0" y="0"/>
                    </a:cubicBezTo>
                    <a:cubicBezTo>
                      <a:pt x="0" y="0"/>
                      <a:pt x="0" y="0"/>
                      <a:pt x="0" y="0"/>
                    </a:cubicBezTo>
                    <a:cubicBezTo>
                      <a:pt x="0" y="2563"/>
                      <a:pt x="6408" y="8971"/>
                      <a:pt x="7689"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4" name="Freeform: Shape 379478">
                <a:extLst>
                  <a:ext uri="{FF2B5EF4-FFF2-40B4-BE49-F238E27FC236}">
                    <a16:creationId xmlns:a16="http://schemas.microsoft.com/office/drawing/2014/main" id="{5263E7E8-A57D-44F7-96E8-A3D99C12D0C0}"/>
                  </a:ext>
                </a:extLst>
              </p:cNvPr>
              <p:cNvSpPr/>
              <p:nvPr/>
            </p:nvSpPr>
            <p:spPr>
              <a:xfrm>
                <a:off x="6813667" y="2100318"/>
                <a:ext cx="301164" cy="229396"/>
              </a:xfrm>
              <a:custGeom>
                <a:avLst/>
                <a:gdLst>
                  <a:gd name="connsiteX0" fmla="*/ 8971 w 301164"/>
                  <a:gd name="connsiteY0" fmla="*/ 7689 h 229396"/>
                  <a:gd name="connsiteX1" fmla="*/ 19223 w 301164"/>
                  <a:gd name="connsiteY1" fmla="*/ 12815 h 229396"/>
                  <a:gd name="connsiteX2" fmla="*/ 281941 w 301164"/>
                  <a:gd name="connsiteY2" fmla="*/ 212737 h 229396"/>
                  <a:gd name="connsiteX3" fmla="*/ 301165 w 301164"/>
                  <a:gd name="connsiteY3" fmla="*/ 229397 h 229396"/>
                  <a:gd name="connsiteX4" fmla="*/ 301165 w 301164"/>
                  <a:gd name="connsiteY4" fmla="*/ 228115 h 229396"/>
                  <a:gd name="connsiteX5" fmla="*/ 283223 w 301164"/>
                  <a:gd name="connsiteY5" fmla="*/ 212737 h 229396"/>
                  <a:gd name="connsiteX6" fmla="*/ 20505 w 301164"/>
                  <a:gd name="connsiteY6" fmla="*/ 12815 h 229396"/>
                  <a:gd name="connsiteX7" fmla="*/ 0 w 301164"/>
                  <a:gd name="connsiteY7" fmla="*/ 0 h 229396"/>
                  <a:gd name="connsiteX8" fmla="*/ 8971 w 301164"/>
                  <a:gd name="connsiteY8" fmla="*/ 7689 h 22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164" h="229396">
                    <a:moveTo>
                      <a:pt x="8971" y="7689"/>
                    </a:moveTo>
                    <a:cubicBezTo>
                      <a:pt x="14097" y="11534"/>
                      <a:pt x="17942" y="11534"/>
                      <a:pt x="19223" y="12815"/>
                    </a:cubicBezTo>
                    <a:cubicBezTo>
                      <a:pt x="112777" y="70485"/>
                      <a:pt x="199922" y="137125"/>
                      <a:pt x="281941" y="212737"/>
                    </a:cubicBezTo>
                    <a:cubicBezTo>
                      <a:pt x="283223" y="217863"/>
                      <a:pt x="294757" y="226834"/>
                      <a:pt x="301165" y="229397"/>
                    </a:cubicBezTo>
                    <a:cubicBezTo>
                      <a:pt x="301165" y="229397"/>
                      <a:pt x="301165" y="228115"/>
                      <a:pt x="301165" y="228115"/>
                    </a:cubicBezTo>
                    <a:cubicBezTo>
                      <a:pt x="296038" y="220426"/>
                      <a:pt x="287067" y="214018"/>
                      <a:pt x="283223" y="212737"/>
                    </a:cubicBezTo>
                    <a:cubicBezTo>
                      <a:pt x="201203" y="137125"/>
                      <a:pt x="114058" y="70485"/>
                      <a:pt x="20505" y="12815"/>
                    </a:cubicBezTo>
                    <a:cubicBezTo>
                      <a:pt x="17942" y="8971"/>
                      <a:pt x="5126" y="1282"/>
                      <a:pt x="0" y="0"/>
                    </a:cubicBezTo>
                    <a:cubicBezTo>
                      <a:pt x="0" y="1282"/>
                      <a:pt x="1282" y="2563"/>
                      <a:pt x="8971"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5" name="Freeform: Shape 379479">
                <a:extLst>
                  <a:ext uri="{FF2B5EF4-FFF2-40B4-BE49-F238E27FC236}">
                    <a16:creationId xmlns:a16="http://schemas.microsoft.com/office/drawing/2014/main" id="{098A4821-9971-4347-9292-C4FFA5D137C2}"/>
                  </a:ext>
                </a:extLst>
              </p:cNvPr>
              <p:cNvSpPr/>
              <p:nvPr/>
            </p:nvSpPr>
            <p:spPr>
              <a:xfrm>
                <a:off x="6822638" y="2100318"/>
                <a:ext cx="302445" cy="229396"/>
              </a:xfrm>
              <a:custGeom>
                <a:avLst/>
                <a:gdLst>
                  <a:gd name="connsiteX0" fmla="*/ 8971 w 302445"/>
                  <a:gd name="connsiteY0" fmla="*/ 7689 h 229396"/>
                  <a:gd name="connsiteX1" fmla="*/ 19223 w 302445"/>
                  <a:gd name="connsiteY1" fmla="*/ 12815 h 229396"/>
                  <a:gd name="connsiteX2" fmla="*/ 283223 w 302445"/>
                  <a:gd name="connsiteY2" fmla="*/ 212737 h 229396"/>
                  <a:gd name="connsiteX3" fmla="*/ 302446 w 302445"/>
                  <a:gd name="connsiteY3" fmla="*/ 229397 h 229396"/>
                  <a:gd name="connsiteX4" fmla="*/ 285786 w 302445"/>
                  <a:gd name="connsiteY4" fmla="*/ 212737 h 229396"/>
                  <a:gd name="connsiteX5" fmla="*/ 21787 w 302445"/>
                  <a:gd name="connsiteY5" fmla="*/ 12815 h 229396"/>
                  <a:gd name="connsiteX6" fmla="*/ 0 w 302445"/>
                  <a:gd name="connsiteY6" fmla="*/ 0 h 229396"/>
                  <a:gd name="connsiteX7" fmla="*/ 8971 w 302445"/>
                  <a:gd name="connsiteY7" fmla="*/ 7689 h 229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445" h="229396">
                    <a:moveTo>
                      <a:pt x="8971" y="7689"/>
                    </a:moveTo>
                    <a:cubicBezTo>
                      <a:pt x="15379" y="11534"/>
                      <a:pt x="17942" y="12815"/>
                      <a:pt x="19223" y="12815"/>
                    </a:cubicBezTo>
                    <a:cubicBezTo>
                      <a:pt x="112777" y="70485"/>
                      <a:pt x="201204" y="137125"/>
                      <a:pt x="283223" y="212737"/>
                    </a:cubicBezTo>
                    <a:cubicBezTo>
                      <a:pt x="284504" y="217863"/>
                      <a:pt x="296038" y="226834"/>
                      <a:pt x="302446" y="229397"/>
                    </a:cubicBezTo>
                    <a:cubicBezTo>
                      <a:pt x="302446" y="222989"/>
                      <a:pt x="285786" y="212737"/>
                      <a:pt x="285786" y="212737"/>
                    </a:cubicBezTo>
                    <a:cubicBezTo>
                      <a:pt x="203767" y="137125"/>
                      <a:pt x="115340" y="70485"/>
                      <a:pt x="21787" y="12815"/>
                    </a:cubicBezTo>
                    <a:cubicBezTo>
                      <a:pt x="19223" y="8971"/>
                      <a:pt x="5126" y="1282"/>
                      <a:pt x="0" y="0"/>
                    </a:cubicBezTo>
                    <a:cubicBezTo>
                      <a:pt x="1282" y="2563"/>
                      <a:pt x="1282" y="3845"/>
                      <a:pt x="8971" y="76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6" name="Freeform: Shape 379480">
                <a:extLst>
                  <a:ext uri="{FF2B5EF4-FFF2-40B4-BE49-F238E27FC236}">
                    <a16:creationId xmlns:a16="http://schemas.microsoft.com/office/drawing/2014/main" id="{82DFCD72-3397-4D25-B524-B777EAD6011A}"/>
                  </a:ext>
                </a:extLst>
              </p:cNvPr>
              <p:cNvSpPr/>
              <p:nvPr/>
            </p:nvSpPr>
            <p:spPr>
              <a:xfrm>
                <a:off x="4250306" y="3001245"/>
                <a:ext cx="33581" cy="121746"/>
              </a:xfrm>
              <a:custGeom>
                <a:avLst/>
                <a:gdLst>
                  <a:gd name="connsiteX0" fmla="*/ 24611 w 33581"/>
                  <a:gd name="connsiteY0" fmla="*/ 17942 h 121746"/>
                  <a:gd name="connsiteX1" fmla="*/ 23329 w 33581"/>
                  <a:gd name="connsiteY1" fmla="*/ 25631 h 121746"/>
                  <a:gd name="connsiteX2" fmla="*/ 4106 w 33581"/>
                  <a:gd name="connsiteY2" fmla="*/ 84582 h 121746"/>
                  <a:gd name="connsiteX3" fmla="*/ 2825 w 33581"/>
                  <a:gd name="connsiteY3" fmla="*/ 107650 h 121746"/>
                  <a:gd name="connsiteX4" fmla="*/ 262 w 33581"/>
                  <a:gd name="connsiteY4" fmla="*/ 121747 h 121746"/>
                  <a:gd name="connsiteX5" fmla="*/ 1543 w 33581"/>
                  <a:gd name="connsiteY5" fmla="*/ 121747 h 121746"/>
                  <a:gd name="connsiteX6" fmla="*/ 9232 w 33581"/>
                  <a:gd name="connsiteY6" fmla="*/ 97397 h 121746"/>
                  <a:gd name="connsiteX7" fmla="*/ 7951 w 33581"/>
                  <a:gd name="connsiteY7" fmla="*/ 97397 h 121746"/>
                  <a:gd name="connsiteX8" fmla="*/ 5388 w 33581"/>
                  <a:gd name="connsiteY8" fmla="*/ 101242 h 121746"/>
                  <a:gd name="connsiteX9" fmla="*/ 5388 w 33581"/>
                  <a:gd name="connsiteY9" fmla="*/ 80737 h 121746"/>
                  <a:gd name="connsiteX10" fmla="*/ 24611 w 33581"/>
                  <a:gd name="connsiteY10" fmla="*/ 23068 h 121746"/>
                  <a:gd name="connsiteX11" fmla="*/ 33582 w 33581"/>
                  <a:gd name="connsiteY11" fmla="*/ 0 h 121746"/>
                  <a:gd name="connsiteX12" fmla="*/ 32300 w 33581"/>
                  <a:gd name="connsiteY12" fmla="*/ 0 h 121746"/>
                  <a:gd name="connsiteX13" fmla="*/ 24611 w 33581"/>
                  <a:gd name="connsiteY13" fmla="*/ 17942 h 12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581" h="121746">
                    <a:moveTo>
                      <a:pt x="24611" y="17942"/>
                    </a:moveTo>
                    <a:cubicBezTo>
                      <a:pt x="23329" y="20505"/>
                      <a:pt x="22048" y="24349"/>
                      <a:pt x="23329" y="25631"/>
                    </a:cubicBezTo>
                    <a:cubicBezTo>
                      <a:pt x="16922" y="44854"/>
                      <a:pt x="10514" y="65359"/>
                      <a:pt x="4106" y="84582"/>
                    </a:cubicBezTo>
                    <a:cubicBezTo>
                      <a:pt x="4106" y="90990"/>
                      <a:pt x="5388" y="101242"/>
                      <a:pt x="2825" y="107650"/>
                    </a:cubicBezTo>
                    <a:cubicBezTo>
                      <a:pt x="2825" y="107650"/>
                      <a:pt x="-1020" y="117902"/>
                      <a:pt x="262" y="121747"/>
                    </a:cubicBezTo>
                    <a:cubicBezTo>
                      <a:pt x="262" y="121747"/>
                      <a:pt x="1543" y="121747"/>
                      <a:pt x="1543" y="121747"/>
                    </a:cubicBezTo>
                    <a:cubicBezTo>
                      <a:pt x="5388" y="117902"/>
                      <a:pt x="10514" y="102524"/>
                      <a:pt x="9232" y="97397"/>
                    </a:cubicBezTo>
                    <a:cubicBezTo>
                      <a:pt x="9232" y="97397"/>
                      <a:pt x="7951" y="97397"/>
                      <a:pt x="7951" y="97397"/>
                    </a:cubicBezTo>
                    <a:cubicBezTo>
                      <a:pt x="6669" y="98679"/>
                      <a:pt x="6669" y="98679"/>
                      <a:pt x="5388" y="101242"/>
                    </a:cubicBezTo>
                    <a:lnTo>
                      <a:pt x="5388" y="80737"/>
                    </a:lnTo>
                    <a:cubicBezTo>
                      <a:pt x="11796" y="61514"/>
                      <a:pt x="18203" y="42291"/>
                      <a:pt x="24611" y="23068"/>
                    </a:cubicBezTo>
                    <a:cubicBezTo>
                      <a:pt x="28456" y="17942"/>
                      <a:pt x="33582" y="5126"/>
                      <a:pt x="33582" y="0"/>
                    </a:cubicBezTo>
                    <a:cubicBezTo>
                      <a:pt x="33582" y="0"/>
                      <a:pt x="33582" y="0"/>
                      <a:pt x="32300" y="0"/>
                    </a:cubicBezTo>
                    <a:cubicBezTo>
                      <a:pt x="28456" y="5126"/>
                      <a:pt x="24611" y="15379"/>
                      <a:pt x="24611"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7" name="Freeform: Shape 379481">
                <a:extLst>
                  <a:ext uri="{FF2B5EF4-FFF2-40B4-BE49-F238E27FC236}">
                    <a16:creationId xmlns:a16="http://schemas.microsoft.com/office/drawing/2014/main" id="{97B50DC8-A56D-4771-A0C3-A1B2FD44A1FF}"/>
                  </a:ext>
                </a:extLst>
              </p:cNvPr>
              <p:cNvSpPr/>
              <p:nvPr/>
            </p:nvSpPr>
            <p:spPr>
              <a:xfrm>
                <a:off x="4326657" y="2942294"/>
                <a:ext cx="23392" cy="55106"/>
              </a:xfrm>
              <a:custGeom>
                <a:avLst/>
                <a:gdLst>
                  <a:gd name="connsiteX0" fmla="*/ 12337 w 23392"/>
                  <a:gd name="connsiteY0" fmla="*/ 14097 h 55106"/>
                  <a:gd name="connsiteX1" fmla="*/ 12337 w 23392"/>
                  <a:gd name="connsiteY1" fmla="*/ 21786 h 55106"/>
                  <a:gd name="connsiteX2" fmla="*/ 8492 w 23392"/>
                  <a:gd name="connsiteY2" fmla="*/ 32039 h 55106"/>
                  <a:gd name="connsiteX3" fmla="*/ 803 w 23392"/>
                  <a:gd name="connsiteY3" fmla="*/ 55106 h 55106"/>
                  <a:gd name="connsiteX4" fmla="*/ 11055 w 23392"/>
                  <a:gd name="connsiteY4" fmla="*/ 32039 h 55106"/>
                  <a:gd name="connsiteX5" fmla="*/ 11055 w 23392"/>
                  <a:gd name="connsiteY5" fmla="*/ 32039 h 55106"/>
                  <a:gd name="connsiteX6" fmla="*/ 14900 w 23392"/>
                  <a:gd name="connsiteY6" fmla="*/ 21786 h 55106"/>
                  <a:gd name="connsiteX7" fmla="*/ 22589 w 23392"/>
                  <a:gd name="connsiteY7" fmla="*/ 0 h 55106"/>
                  <a:gd name="connsiteX8" fmla="*/ 21308 w 23392"/>
                  <a:gd name="connsiteY8" fmla="*/ 0 h 55106"/>
                  <a:gd name="connsiteX9" fmla="*/ 12337 w 23392"/>
                  <a:gd name="connsiteY9" fmla="*/ 14097 h 5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392" h="55106">
                    <a:moveTo>
                      <a:pt x="12337" y="14097"/>
                    </a:moveTo>
                    <a:cubicBezTo>
                      <a:pt x="11055" y="16660"/>
                      <a:pt x="11055" y="20505"/>
                      <a:pt x="12337" y="21786"/>
                    </a:cubicBezTo>
                    <a:cubicBezTo>
                      <a:pt x="11055" y="25631"/>
                      <a:pt x="9774" y="29475"/>
                      <a:pt x="8492" y="32039"/>
                    </a:cubicBezTo>
                    <a:cubicBezTo>
                      <a:pt x="2084" y="39728"/>
                      <a:pt x="-1760" y="53825"/>
                      <a:pt x="803" y="55106"/>
                    </a:cubicBezTo>
                    <a:cubicBezTo>
                      <a:pt x="4647" y="55106"/>
                      <a:pt x="13618" y="34602"/>
                      <a:pt x="11055" y="32039"/>
                    </a:cubicBezTo>
                    <a:cubicBezTo>
                      <a:pt x="11055" y="32039"/>
                      <a:pt x="11055" y="32039"/>
                      <a:pt x="11055" y="32039"/>
                    </a:cubicBezTo>
                    <a:cubicBezTo>
                      <a:pt x="12337" y="28194"/>
                      <a:pt x="13618" y="24349"/>
                      <a:pt x="14900" y="21786"/>
                    </a:cubicBezTo>
                    <a:cubicBezTo>
                      <a:pt x="21308" y="15379"/>
                      <a:pt x="25152" y="0"/>
                      <a:pt x="22589" y="0"/>
                    </a:cubicBezTo>
                    <a:cubicBezTo>
                      <a:pt x="22589" y="0"/>
                      <a:pt x="22589" y="0"/>
                      <a:pt x="21308" y="0"/>
                    </a:cubicBezTo>
                    <a:cubicBezTo>
                      <a:pt x="16181" y="2563"/>
                      <a:pt x="13618" y="11534"/>
                      <a:pt x="1233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8" name="Freeform: Shape 379482">
                <a:extLst>
                  <a:ext uri="{FF2B5EF4-FFF2-40B4-BE49-F238E27FC236}">
                    <a16:creationId xmlns:a16="http://schemas.microsoft.com/office/drawing/2014/main" id="{7C29955B-0B47-49F1-BEBA-D2507E4800B3}"/>
                  </a:ext>
                </a:extLst>
              </p:cNvPr>
              <p:cNvSpPr/>
              <p:nvPr/>
            </p:nvSpPr>
            <p:spPr>
              <a:xfrm>
                <a:off x="4424858" y="2919226"/>
                <a:ext cx="49038" cy="203049"/>
              </a:xfrm>
              <a:custGeom>
                <a:avLst/>
                <a:gdLst>
                  <a:gd name="connsiteX0" fmla="*/ 23068 w 49038"/>
                  <a:gd name="connsiteY0" fmla="*/ 16660 h 203049"/>
                  <a:gd name="connsiteX1" fmla="*/ 24350 w 49038"/>
                  <a:gd name="connsiteY1" fmla="*/ 24349 h 203049"/>
                  <a:gd name="connsiteX2" fmla="*/ 0 w 49038"/>
                  <a:gd name="connsiteY2" fmla="*/ 115339 h 203049"/>
                  <a:gd name="connsiteX3" fmla="*/ 35883 w 49038"/>
                  <a:gd name="connsiteY3" fmla="*/ 188387 h 203049"/>
                  <a:gd name="connsiteX4" fmla="*/ 39728 w 49038"/>
                  <a:gd name="connsiteY4" fmla="*/ 202484 h 203049"/>
                  <a:gd name="connsiteX5" fmla="*/ 46136 w 49038"/>
                  <a:gd name="connsiteY5" fmla="*/ 178135 h 203049"/>
                  <a:gd name="connsiteX6" fmla="*/ 38447 w 49038"/>
                  <a:gd name="connsiteY6" fmla="*/ 181979 h 203049"/>
                  <a:gd name="connsiteX7" fmla="*/ 2563 w 49038"/>
                  <a:gd name="connsiteY7" fmla="*/ 110213 h 203049"/>
                  <a:gd name="connsiteX8" fmla="*/ 25631 w 49038"/>
                  <a:gd name="connsiteY8" fmla="*/ 21786 h 203049"/>
                  <a:gd name="connsiteX9" fmla="*/ 32039 w 49038"/>
                  <a:gd name="connsiteY9" fmla="*/ 0 h 203049"/>
                  <a:gd name="connsiteX10" fmla="*/ 30757 w 49038"/>
                  <a:gd name="connsiteY10" fmla="*/ 0 h 203049"/>
                  <a:gd name="connsiteX11" fmla="*/ 23068 w 49038"/>
                  <a:gd name="connsiteY11" fmla="*/ 16660 h 203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38" h="203049">
                    <a:moveTo>
                      <a:pt x="23068" y="16660"/>
                    </a:moveTo>
                    <a:cubicBezTo>
                      <a:pt x="23068" y="19223"/>
                      <a:pt x="21786" y="23068"/>
                      <a:pt x="24350" y="24349"/>
                    </a:cubicBezTo>
                    <a:cubicBezTo>
                      <a:pt x="15379" y="53825"/>
                      <a:pt x="7689" y="84582"/>
                      <a:pt x="0" y="115339"/>
                    </a:cubicBezTo>
                    <a:cubicBezTo>
                      <a:pt x="10253" y="137125"/>
                      <a:pt x="24350" y="166601"/>
                      <a:pt x="35883" y="188387"/>
                    </a:cubicBezTo>
                    <a:cubicBezTo>
                      <a:pt x="32039" y="198640"/>
                      <a:pt x="34602" y="205047"/>
                      <a:pt x="39728" y="202484"/>
                    </a:cubicBezTo>
                    <a:cubicBezTo>
                      <a:pt x="47417" y="199921"/>
                      <a:pt x="52544" y="180698"/>
                      <a:pt x="46136" y="178135"/>
                    </a:cubicBezTo>
                    <a:cubicBezTo>
                      <a:pt x="43573" y="176853"/>
                      <a:pt x="39728" y="180698"/>
                      <a:pt x="38447" y="181979"/>
                    </a:cubicBezTo>
                    <a:cubicBezTo>
                      <a:pt x="28194" y="160193"/>
                      <a:pt x="11534" y="133281"/>
                      <a:pt x="2563" y="110213"/>
                    </a:cubicBezTo>
                    <a:cubicBezTo>
                      <a:pt x="8971" y="80737"/>
                      <a:pt x="17942" y="51262"/>
                      <a:pt x="25631" y="21786"/>
                    </a:cubicBezTo>
                    <a:cubicBezTo>
                      <a:pt x="33320" y="15379"/>
                      <a:pt x="37165" y="0"/>
                      <a:pt x="32039" y="0"/>
                    </a:cubicBezTo>
                    <a:cubicBezTo>
                      <a:pt x="32039" y="0"/>
                      <a:pt x="30757" y="0"/>
                      <a:pt x="30757" y="0"/>
                    </a:cubicBezTo>
                    <a:cubicBezTo>
                      <a:pt x="26913" y="5126"/>
                      <a:pt x="24350" y="14097"/>
                      <a:pt x="2306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59" name="Freeform: Shape 379483">
                <a:extLst>
                  <a:ext uri="{FF2B5EF4-FFF2-40B4-BE49-F238E27FC236}">
                    <a16:creationId xmlns:a16="http://schemas.microsoft.com/office/drawing/2014/main" id="{B8880FFE-6F5F-493A-AAD5-A45FF6A4F897}"/>
                  </a:ext>
                </a:extLst>
              </p:cNvPr>
              <p:cNvSpPr/>
              <p:nvPr/>
            </p:nvSpPr>
            <p:spPr>
              <a:xfrm>
                <a:off x="4445363" y="2914100"/>
                <a:ext cx="51601" cy="200486"/>
              </a:xfrm>
              <a:custGeom>
                <a:avLst/>
                <a:gdLst>
                  <a:gd name="connsiteX0" fmla="*/ 20505 w 51601"/>
                  <a:gd name="connsiteY0" fmla="*/ 15379 h 200486"/>
                  <a:gd name="connsiteX1" fmla="*/ 23068 w 51601"/>
                  <a:gd name="connsiteY1" fmla="*/ 23068 h 200486"/>
                  <a:gd name="connsiteX2" fmla="*/ 0 w 51601"/>
                  <a:gd name="connsiteY2" fmla="*/ 114057 h 200486"/>
                  <a:gd name="connsiteX3" fmla="*/ 38446 w 51601"/>
                  <a:gd name="connsiteY3" fmla="*/ 185824 h 200486"/>
                  <a:gd name="connsiteX4" fmla="*/ 42291 w 51601"/>
                  <a:gd name="connsiteY4" fmla="*/ 199921 h 200486"/>
                  <a:gd name="connsiteX5" fmla="*/ 48699 w 51601"/>
                  <a:gd name="connsiteY5" fmla="*/ 175572 h 200486"/>
                  <a:gd name="connsiteX6" fmla="*/ 41010 w 51601"/>
                  <a:gd name="connsiteY6" fmla="*/ 180698 h 200486"/>
                  <a:gd name="connsiteX7" fmla="*/ 2563 w 51601"/>
                  <a:gd name="connsiteY7" fmla="*/ 110213 h 200486"/>
                  <a:gd name="connsiteX8" fmla="*/ 25631 w 51601"/>
                  <a:gd name="connsiteY8" fmla="*/ 21786 h 200486"/>
                  <a:gd name="connsiteX9" fmla="*/ 32039 w 51601"/>
                  <a:gd name="connsiteY9" fmla="*/ 0 h 200486"/>
                  <a:gd name="connsiteX10" fmla="*/ 30757 w 51601"/>
                  <a:gd name="connsiteY10" fmla="*/ 0 h 200486"/>
                  <a:gd name="connsiteX11" fmla="*/ 20505 w 51601"/>
                  <a:gd name="connsiteY11" fmla="*/ 15379 h 200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01" h="200486">
                    <a:moveTo>
                      <a:pt x="20505" y="15379"/>
                    </a:moveTo>
                    <a:cubicBezTo>
                      <a:pt x="20505" y="17942"/>
                      <a:pt x="19223" y="21786"/>
                      <a:pt x="23068" y="23068"/>
                    </a:cubicBezTo>
                    <a:cubicBezTo>
                      <a:pt x="14097" y="52543"/>
                      <a:pt x="6408" y="83300"/>
                      <a:pt x="0" y="114057"/>
                    </a:cubicBezTo>
                    <a:cubicBezTo>
                      <a:pt x="11534" y="135844"/>
                      <a:pt x="25631" y="165319"/>
                      <a:pt x="38446" y="185824"/>
                    </a:cubicBezTo>
                    <a:cubicBezTo>
                      <a:pt x="34602" y="196076"/>
                      <a:pt x="37165" y="202484"/>
                      <a:pt x="42291" y="199921"/>
                    </a:cubicBezTo>
                    <a:cubicBezTo>
                      <a:pt x="49980" y="197358"/>
                      <a:pt x="55106" y="178135"/>
                      <a:pt x="48699" y="175572"/>
                    </a:cubicBezTo>
                    <a:cubicBezTo>
                      <a:pt x="44854" y="174290"/>
                      <a:pt x="42291" y="178135"/>
                      <a:pt x="41010" y="180698"/>
                    </a:cubicBezTo>
                    <a:cubicBezTo>
                      <a:pt x="29476" y="158912"/>
                      <a:pt x="12815" y="131999"/>
                      <a:pt x="2563" y="110213"/>
                    </a:cubicBezTo>
                    <a:cubicBezTo>
                      <a:pt x="8971" y="80737"/>
                      <a:pt x="16660" y="51262"/>
                      <a:pt x="25631" y="21786"/>
                    </a:cubicBezTo>
                    <a:cubicBezTo>
                      <a:pt x="33320" y="15379"/>
                      <a:pt x="37165" y="0"/>
                      <a:pt x="32039" y="0"/>
                    </a:cubicBezTo>
                    <a:cubicBezTo>
                      <a:pt x="32039" y="0"/>
                      <a:pt x="30757" y="0"/>
                      <a:pt x="30757" y="0"/>
                    </a:cubicBezTo>
                    <a:cubicBezTo>
                      <a:pt x="24349" y="2563"/>
                      <a:pt x="21786" y="11534"/>
                      <a:pt x="20505"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0" name="Freeform: Shape 379484">
                <a:extLst>
                  <a:ext uri="{FF2B5EF4-FFF2-40B4-BE49-F238E27FC236}">
                    <a16:creationId xmlns:a16="http://schemas.microsoft.com/office/drawing/2014/main" id="{02ECD8CC-4E3F-4CB1-957D-DC96702F35FD}"/>
                  </a:ext>
                </a:extLst>
              </p:cNvPr>
              <p:cNvSpPr/>
              <p:nvPr/>
            </p:nvSpPr>
            <p:spPr>
              <a:xfrm>
                <a:off x="4541479" y="2883342"/>
                <a:ext cx="24409" cy="80900"/>
              </a:xfrm>
              <a:custGeom>
                <a:avLst/>
                <a:gdLst>
                  <a:gd name="connsiteX0" fmla="*/ 3844 w 24409"/>
                  <a:gd name="connsiteY0" fmla="*/ 15379 h 80900"/>
                  <a:gd name="connsiteX1" fmla="*/ 6408 w 24409"/>
                  <a:gd name="connsiteY1" fmla="*/ 23068 h 80900"/>
                  <a:gd name="connsiteX2" fmla="*/ 0 w 24409"/>
                  <a:gd name="connsiteY2" fmla="*/ 47417 h 80900"/>
                  <a:gd name="connsiteX3" fmla="*/ 11534 w 24409"/>
                  <a:gd name="connsiteY3" fmla="*/ 66640 h 80900"/>
                  <a:gd name="connsiteX4" fmla="*/ 14097 w 24409"/>
                  <a:gd name="connsiteY4" fmla="*/ 80737 h 80900"/>
                  <a:gd name="connsiteX5" fmla="*/ 21786 w 24409"/>
                  <a:gd name="connsiteY5" fmla="*/ 57670 h 80900"/>
                  <a:gd name="connsiteX6" fmla="*/ 14097 w 24409"/>
                  <a:gd name="connsiteY6" fmla="*/ 61514 h 80900"/>
                  <a:gd name="connsiteX7" fmla="*/ 3844 w 24409"/>
                  <a:gd name="connsiteY7" fmla="*/ 43572 h 80900"/>
                  <a:gd name="connsiteX8" fmla="*/ 8971 w 24409"/>
                  <a:gd name="connsiteY8" fmla="*/ 21786 h 80900"/>
                  <a:gd name="connsiteX9" fmla="*/ 14097 w 24409"/>
                  <a:gd name="connsiteY9" fmla="*/ 0 h 80900"/>
                  <a:gd name="connsiteX10" fmla="*/ 12815 w 24409"/>
                  <a:gd name="connsiteY10" fmla="*/ 0 h 80900"/>
                  <a:gd name="connsiteX11" fmla="*/ 3844 w 24409"/>
                  <a:gd name="connsiteY11" fmla="*/ 15379 h 8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09" h="80900">
                    <a:moveTo>
                      <a:pt x="3844" y="15379"/>
                    </a:moveTo>
                    <a:cubicBezTo>
                      <a:pt x="3844" y="17942"/>
                      <a:pt x="3844" y="21786"/>
                      <a:pt x="6408" y="23068"/>
                    </a:cubicBezTo>
                    <a:cubicBezTo>
                      <a:pt x="3844" y="30757"/>
                      <a:pt x="2563" y="38446"/>
                      <a:pt x="0" y="47417"/>
                    </a:cubicBezTo>
                    <a:cubicBezTo>
                      <a:pt x="3844" y="53825"/>
                      <a:pt x="7689" y="61514"/>
                      <a:pt x="11534" y="66640"/>
                    </a:cubicBezTo>
                    <a:cubicBezTo>
                      <a:pt x="7689" y="75611"/>
                      <a:pt x="8971" y="82019"/>
                      <a:pt x="14097" y="80737"/>
                    </a:cubicBezTo>
                    <a:cubicBezTo>
                      <a:pt x="21786" y="78174"/>
                      <a:pt x="28194" y="60233"/>
                      <a:pt x="21786" y="57670"/>
                    </a:cubicBezTo>
                    <a:cubicBezTo>
                      <a:pt x="20505" y="57670"/>
                      <a:pt x="17942" y="57670"/>
                      <a:pt x="14097" y="61514"/>
                    </a:cubicBezTo>
                    <a:lnTo>
                      <a:pt x="3844" y="43572"/>
                    </a:lnTo>
                    <a:cubicBezTo>
                      <a:pt x="5126" y="35883"/>
                      <a:pt x="7689" y="29475"/>
                      <a:pt x="8971" y="21786"/>
                    </a:cubicBezTo>
                    <a:cubicBezTo>
                      <a:pt x="17942" y="14097"/>
                      <a:pt x="20505" y="0"/>
                      <a:pt x="14097" y="0"/>
                    </a:cubicBezTo>
                    <a:cubicBezTo>
                      <a:pt x="14097" y="0"/>
                      <a:pt x="12815" y="0"/>
                      <a:pt x="12815" y="0"/>
                    </a:cubicBezTo>
                    <a:cubicBezTo>
                      <a:pt x="7689" y="3845"/>
                      <a:pt x="3844" y="12815"/>
                      <a:pt x="3844"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1" name="Freeform: Shape 379485">
                <a:extLst>
                  <a:ext uri="{FF2B5EF4-FFF2-40B4-BE49-F238E27FC236}">
                    <a16:creationId xmlns:a16="http://schemas.microsoft.com/office/drawing/2014/main" id="{B4844970-65D1-408F-942B-C60A09B46E13}"/>
                  </a:ext>
                </a:extLst>
              </p:cNvPr>
              <p:cNvSpPr/>
              <p:nvPr/>
            </p:nvSpPr>
            <p:spPr>
              <a:xfrm>
                <a:off x="4587565" y="2835925"/>
                <a:ext cx="24448" cy="55391"/>
              </a:xfrm>
              <a:custGeom>
                <a:avLst/>
                <a:gdLst>
                  <a:gd name="connsiteX0" fmla="*/ 9020 w 24448"/>
                  <a:gd name="connsiteY0" fmla="*/ 16660 h 55391"/>
                  <a:gd name="connsiteX1" fmla="*/ 11584 w 24448"/>
                  <a:gd name="connsiteY1" fmla="*/ 23068 h 55391"/>
                  <a:gd name="connsiteX2" fmla="*/ 9020 w 24448"/>
                  <a:gd name="connsiteY2" fmla="*/ 33320 h 55391"/>
                  <a:gd name="connsiteX3" fmla="*/ 2613 w 24448"/>
                  <a:gd name="connsiteY3" fmla="*/ 55106 h 55391"/>
                  <a:gd name="connsiteX4" fmla="*/ 15428 w 24448"/>
                  <a:gd name="connsiteY4" fmla="*/ 34602 h 55391"/>
                  <a:gd name="connsiteX5" fmla="*/ 12865 w 24448"/>
                  <a:gd name="connsiteY5" fmla="*/ 32039 h 55391"/>
                  <a:gd name="connsiteX6" fmla="*/ 15428 w 24448"/>
                  <a:gd name="connsiteY6" fmla="*/ 21786 h 55391"/>
                  <a:gd name="connsiteX7" fmla="*/ 21836 w 24448"/>
                  <a:gd name="connsiteY7" fmla="*/ 0 h 55391"/>
                  <a:gd name="connsiteX8" fmla="*/ 19273 w 24448"/>
                  <a:gd name="connsiteY8" fmla="*/ 0 h 55391"/>
                  <a:gd name="connsiteX9" fmla="*/ 9020 w 24448"/>
                  <a:gd name="connsiteY9" fmla="*/ 16660 h 5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448" h="55391">
                    <a:moveTo>
                      <a:pt x="9020" y="16660"/>
                    </a:moveTo>
                    <a:cubicBezTo>
                      <a:pt x="9020" y="19223"/>
                      <a:pt x="9020" y="23068"/>
                      <a:pt x="11584" y="23068"/>
                    </a:cubicBezTo>
                    <a:cubicBezTo>
                      <a:pt x="10302" y="26912"/>
                      <a:pt x="10302" y="29476"/>
                      <a:pt x="9020" y="33320"/>
                    </a:cubicBezTo>
                    <a:cubicBezTo>
                      <a:pt x="50" y="39728"/>
                      <a:pt x="-2514" y="53825"/>
                      <a:pt x="2613" y="55106"/>
                    </a:cubicBezTo>
                    <a:cubicBezTo>
                      <a:pt x="9020" y="57670"/>
                      <a:pt x="17991" y="42291"/>
                      <a:pt x="15428" y="34602"/>
                    </a:cubicBezTo>
                    <a:cubicBezTo>
                      <a:pt x="14147" y="32039"/>
                      <a:pt x="14147" y="32039"/>
                      <a:pt x="12865" y="32039"/>
                    </a:cubicBezTo>
                    <a:cubicBezTo>
                      <a:pt x="14147" y="28194"/>
                      <a:pt x="14147" y="25631"/>
                      <a:pt x="15428" y="21786"/>
                    </a:cubicBezTo>
                    <a:cubicBezTo>
                      <a:pt x="24399" y="15379"/>
                      <a:pt x="26962" y="2563"/>
                      <a:pt x="21836" y="0"/>
                    </a:cubicBezTo>
                    <a:cubicBezTo>
                      <a:pt x="20554" y="0"/>
                      <a:pt x="20554" y="0"/>
                      <a:pt x="19273" y="0"/>
                    </a:cubicBezTo>
                    <a:cubicBezTo>
                      <a:pt x="12865" y="3845"/>
                      <a:pt x="9020" y="12816"/>
                      <a:pt x="9020"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2" name="Freeform: Shape 379486">
                <a:extLst>
                  <a:ext uri="{FF2B5EF4-FFF2-40B4-BE49-F238E27FC236}">
                    <a16:creationId xmlns:a16="http://schemas.microsoft.com/office/drawing/2014/main" id="{205D1E58-2487-4CE4-B714-2D4885D10BA5}"/>
                  </a:ext>
                </a:extLst>
              </p:cNvPr>
              <p:cNvSpPr/>
              <p:nvPr/>
            </p:nvSpPr>
            <p:spPr>
              <a:xfrm>
                <a:off x="4610633" y="2735965"/>
                <a:ext cx="49197" cy="147662"/>
              </a:xfrm>
              <a:custGeom>
                <a:avLst/>
                <a:gdLst>
                  <a:gd name="connsiteX0" fmla="*/ 34651 w 49197"/>
                  <a:gd name="connsiteY0" fmla="*/ 15379 h 147662"/>
                  <a:gd name="connsiteX1" fmla="*/ 37215 w 49197"/>
                  <a:gd name="connsiteY1" fmla="*/ 21786 h 147662"/>
                  <a:gd name="connsiteX2" fmla="*/ 9020 w 49197"/>
                  <a:gd name="connsiteY2" fmla="*/ 125592 h 147662"/>
                  <a:gd name="connsiteX3" fmla="*/ 2613 w 49197"/>
                  <a:gd name="connsiteY3" fmla="*/ 147378 h 147662"/>
                  <a:gd name="connsiteX4" fmla="*/ 15428 w 49197"/>
                  <a:gd name="connsiteY4" fmla="*/ 126873 h 147662"/>
                  <a:gd name="connsiteX5" fmla="*/ 11584 w 49197"/>
                  <a:gd name="connsiteY5" fmla="*/ 124310 h 147662"/>
                  <a:gd name="connsiteX6" fmla="*/ 39778 w 49197"/>
                  <a:gd name="connsiteY6" fmla="*/ 20505 h 147662"/>
                  <a:gd name="connsiteX7" fmla="*/ 47467 w 49197"/>
                  <a:gd name="connsiteY7" fmla="*/ 0 h 147662"/>
                  <a:gd name="connsiteX8" fmla="*/ 44904 w 49197"/>
                  <a:gd name="connsiteY8" fmla="*/ 0 h 147662"/>
                  <a:gd name="connsiteX9" fmla="*/ 34651 w 49197"/>
                  <a:gd name="connsiteY9" fmla="*/ 15379 h 147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197" h="147662">
                    <a:moveTo>
                      <a:pt x="34651" y="15379"/>
                    </a:moveTo>
                    <a:cubicBezTo>
                      <a:pt x="34651" y="17942"/>
                      <a:pt x="34651" y="21786"/>
                      <a:pt x="37215" y="21786"/>
                    </a:cubicBezTo>
                    <a:cubicBezTo>
                      <a:pt x="26962" y="55106"/>
                      <a:pt x="16710" y="89708"/>
                      <a:pt x="9020" y="125592"/>
                    </a:cubicBezTo>
                    <a:cubicBezTo>
                      <a:pt x="50" y="131999"/>
                      <a:pt x="-2514" y="146096"/>
                      <a:pt x="2613" y="147378"/>
                    </a:cubicBezTo>
                    <a:cubicBezTo>
                      <a:pt x="9020" y="149941"/>
                      <a:pt x="17991" y="134562"/>
                      <a:pt x="15428" y="126873"/>
                    </a:cubicBezTo>
                    <a:cubicBezTo>
                      <a:pt x="14147" y="124310"/>
                      <a:pt x="12865" y="124310"/>
                      <a:pt x="11584" y="124310"/>
                    </a:cubicBezTo>
                    <a:cubicBezTo>
                      <a:pt x="20554" y="89708"/>
                      <a:pt x="29525" y="55106"/>
                      <a:pt x="39778" y="20505"/>
                    </a:cubicBezTo>
                    <a:cubicBezTo>
                      <a:pt x="48749" y="14097"/>
                      <a:pt x="51312" y="1282"/>
                      <a:pt x="47467" y="0"/>
                    </a:cubicBezTo>
                    <a:cubicBezTo>
                      <a:pt x="46185" y="0"/>
                      <a:pt x="46185" y="0"/>
                      <a:pt x="44904" y="0"/>
                    </a:cubicBezTo>
                    <a:cubicBezTo>
                      <a:pt x="38496" y="3845"/>
                      <a:pt x="35933" y="12816"/>
                      <a:pt x="3465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3" name="Freeform: Shape 379487">
                <a:extLst>
                  <a:ext uri="{FF2B5EF4-FFF2-40B4-BE49-F238E27FC236}">
                    <a16:creationId xmlns:a16="http://schemas.microsoft.com/office/drawing/2014/main" id="{07E8B1E1-DF49-45DA-96BF-BAC1036BE18A}"/>
                  </a:ext>
                </a:extLst>
              </p:cNvPr>
              <p:cNvSpPr/>
              <p:nvPr/>
            </p:nvSpPr>
            <p:spPr>
              <a:xfrm>
                <a:off x="4626061" y="2851304"/>
                <a:ext cx="50280" cy="136408"/>
              </a:xfrm>
              <a:custGeom>
                <a:avLst/>
                <a:gdLst>
                  <a:gd name="connsiteX0" fmla="*/ 7689 w 50280"/>
                  <a:gd name="connsiteY0" fmla="*/ 16660 h 136408"/>
                  <a:gd name="connsiteX1" fmla="*/ 11534 w 50280"/>
                  <a:gd name="connsiteY1" fmla="*/ 23068 h 136408"/>
                  <a:gd name="connsiteX2" fmla="*/ 0 w 50280"/>
                  <a:gd name="connsiteY2" fmla="*/ 79456 h 136408"/>
                  <a:gd name="connsiteX3" fmla="*/ 34602 w 50280"/>
                  <a:gd name="connsiteY3" fmla="*/ 121747 h 136408"/>
                  <a:gd name="connsiteX4" fmla="*/ 39728 w 50280"/>
                  <a:gd name="connsiteY4" fmla="*/ 135844 h 136408"/>
                  <a:gd name="connsiteX5" fmla="*/ 47417 w 50280"/>
                  <a:gd name="connsiteY5" fmla="*/ 112776 h 136408"/>
                  <a:gd name="connsiteX6" fmla="*/ 38446 w 50280"/>
                  <a:gd name="connsiteY6" fmla="*/ 116621 h 136408"/>
                  <a:gd name="connsiteX7" fmla="*/ 3844 w 50280"/>
                  <a:gd name="connsiteY7" fmla="*/ 75611 h 136408"/>
                  <a:gd name="connsiteX8" fmla="*/ 15378 w 50280"/>
                  <a:gd name="connsiteY8" fmla="*/ 21786 h 136408"/>
                  <a:gd name="connsiteX9" fmla="*/ 21786 w 50280"/>
                  <a:gd name="connsiteY9" fmla="*/ 0 h 136408"/>
                  <a:gd name="connsiteX10" fmla="*/ 19223 w 50280"/>
                  <a:gd name="connsiteY10" fmla="*/ 0 h 136408"/>
                  <a:gd name="connsiteX11" fmla="*/ 7689 w 50280"/>
                  <a:gd name="connsiteY11" fmla="*/ 16660 h 13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80" h="136408">
                    <a:moveTo>
                      <a:pt x="7689" y="16660"/>
                    </a:moveTo>
                    <a:cubicBezTo>
                      <a:pt x="7689" y="19223"/>
                      <a:pt x="7689" y="23068"/>
                      <a:pt x="11534" y="23068"/>
                    </a:cubicBezTo>
                    <a:cubicBezTo>
                      <a:pt x="7689" y="41009"/>
                      <a:pt x="3844" y="60233"/>
                      <a:pt x="0" y="79456"/>
                    </a:cubicBezTo>
                    <a:cubicBezTo>
                      <a:pt x="10252" y="92271"/>
                      <a:pt x="24349" y="108931"/>
                      <a:pt x="34602" y="121747"/>
                    </a:cubicBezTo>
                    <a:cubicBezTo>
                      <a:pt x="29476" y="131999"/>
                      <a:pt x="33320" y="138407"/>
                      <a:pt x="39728" y="135844"/>
                    </a:cubicBezTo>
                    <a:cubicBezTo>
                      <a:pt x="48699" y="133281"/>
                      <a:pt x="53825" y="117902"/>
                      <a:pt x="47417" y="112776"/>
                    </a:cubicBezTo>
                    <a:cubicBezTo>
                      <a:pt x="46136" y="111494"/>
                      <a:pt x="42291" y="110213"/>
                      <a:pt x="38446" y="116621"/>
                    </a:cubicBezTo>
                    <a:lnTo>
                      <a:pt x="3844" y="75611"/>
                    </a:lnTo>
                    <a:cubicBezTo>
                      <a:pt x="7689" y="57670"/>
                      <a:pt x="11534" y="39728"/>
                      <a:pt x="15378" y="21786"/>
                    </a:cubicBezTo>
                    <a:cubicBezTo>
                      <a:pt x="24349" y="15379"/>
                      <a:pt x="26912" y="2563"/>
                      <a:pt x="21786" y="0"/>
                    </a:cubicBezTo>
                    <a:cubicBezTo>
                      <a:pt x="20505" y="0"/>
                      <a:pt x="19223" y="0"/>
                      <a:pt x="19223" y="0"/>
                    </a:cubicBezTo>
                    <a:cubicBezTo>
                      <a:pt x="11534" y="5126"/>
                      <a:pt x="8971" y="14097"/>
                      <a:pt x="7689"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4" name="Freeform: Shape 379488">
                <a:extLst>
                  <a:ext uri="{FF2B5EF4-FFF2-40B4-BE49-F238E27FC236}">
                    <a16:creationId xmlns:a16="http://schemas.microsoft.com/office/drawing/2014/main" id="{34120AE0-87B5-42EC-B8CB-2D18855C4397}"/>
                  </a:ext>
                </a:extLst>
              </p:cNvPr>
              <p:cNvSpPr/>
              <p:nvPr/>
            </p:nvSpPr>
            <p:spPr>
              <a:xfrm>
                <a:off x="4682735" y="2774411"/>
                <a:ext cx="30521" cy="84663"/>
              </a:xfrm>
              <a:custGeom>
                <a:avLst/>
                <a:gdLst>
                  <a:gd name="connsiteX0" fmla="*/ 13812 w 30521"/>
                  <a:gd name="connsiteY0" fmla="*/ 15379 h 84663"/>
                  <a:gd name="connsiteX1" fmla="*/ 17657 w 30521"/>
                  <a:gd name="connsiteY1" fmla="*/ 21786 h 84663"/>
                  <a:gd name="connsiteX2" fmla="*/ 8686 w 30521"/>
                  <a:gd name="connsiteY2" fmla="*/ 62796 h 84663"/>
                  <a:gd name="connsiteX3" fmla="*/ 3559 w 30521"/>
                  <a:gd name="connsiteY3" fmla="*/ 84582 h 84663"/>
                  <a:gd name="connsiteX4" fmla="*/ 16375 w 30521"/>
                  <a:gd name="connsiteY4" fmla="*/ 64077 h 84663"/>
                  <a:gd name="connsiteX5" fmla="*/ 12530 w 30521"/>
                  <a:gd name="connsiteY5" fmla="*/ 61514 h 84663"/>
                  <a:gd name="connsiteX6" fmla="*/ 21501 w 30521"/>
                  <a:gd name="connsiteY6" fmla="*/ 20505 h 84663"/>
                  <a:gd name="connsiteX7" fmla="*/ 27909 w 30521"/>
                  <a:gd name="connsiteY7" fmla="*/ 0 h 84663"/>
                  <a:gd name="connsiteX8" fmla="*/ 25346 w 30521"/>
                  <a:gd name="connsiteY8" fmla="*/ 0 h 84663"/>
                  <a:gd name="connsiteX9" fmla="*/ 13812 w 30521"/>
                  <a:gd name="connsiteY9" fmla="*/ 15379 h 84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521" h="84663">
                    <a:moveTo>
                      <a:pt x="13812" y="15379"/>
                    </a:moveTo>
                    <a:cubicBezTo>
                      <a:pt x="13812" y="17942"/>
                      <a:pt x="13812" y="21786"/>
                      <a:pt x="17657" y="21786"/>
                    </a:cubicBezTo>
                    <a:cubicBezTo>
                      <a:pt x="13812" y="35883"/>
                      <a:pt x="11249" y="48699"/>
                      <a:pt x="8686" y="62796"/>
                    </a:cubicBezTo>
                    <a:cubicBezTo>
                      <a:pt x="-285" y="69203"/>
                      <a:pt x="-2848" y="82019"/>
                      <a:pt x="3559" y="84582"/>
                    </a:cubicBezTo>
                    <a:cubicBezTo>
                      <a:pt x="9967" y="85864"/>
                      <a:pt x="20220" y="71767"/>
                      <a:pt x="16375" y="64077"/>
                    </a:cubicBezTo>
                    <a:cubicBezTo>
                      <a:pt x="15093" y="61514"/>
                      <a:pt x="13812" y="61514"/>
                      <a:pt x="12530" y="61514"/>
                    </a:cubicBezTo>
                    <a:cubicBezTo>
                      <a:pt x="15093" y="47417"/>
                      <a:pt x="18938" y="33320"/>
                      <a:pt x="21501" y="20505"/>
                    </a:cubicBezTo>
                    <a:cubicBezTo>
                      <a:pt x="30472" y="14097"/>
                      <a:pt x="33035" y="1282"/>
                      <a:pt x="27909" y="0"/>
                    </a:cubicBezTo>
                    <a:cubicBezTo>
                      <a:pt x="26627" y="0"/>
                      <a:pt x="25346" y="0"/>
                      <a:pt x="25346" y="0"/>
                    </a:cubicBezTo>
                    <a:cubicBezTo>
                      <a:pt x="16375" y="3845"/>
                      <a:pt x="13812" y="11534"/>
                      <a:pt x="1381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5" name="Freeform: Shape 379489">
                <a:extLst>
                  <a:ext uri="{FF2B5EF4-FFF2-40B4-BE49-F238E27FC236}">
                    <a16:creationId xmlns:a16="http://schemas.microsoft.com/office/drawing/2014/main" id="{DB228D71-4D17-494F-96A1-55B34C8D4C8D}"/>
                  </a:ext>
                </a:extLst>
              </p:cNvPr>
              <p:cNvSpPr/>
              <p:nvPr/>
            </p:nvSpPr>
            <p:spPr>
              <a:xfrm>
                <a:off x="4690616" y="2828236"/>
                <a:ext cx="34196" cy="117977"/>
              </a:xfrm>
              <a:custGeom>
                <a:avLst/>
                <a:gdLst>
                  <a:gd name="connsiteX0" fmla="*/ 16183 w 34196"/>
                  <a:gd name="connsiteY0" fmla="*/ 15379 h 117977"/>
                  <a:gd name="connsiteX1" fmla="*/ 21309 w 34196"/>
                  <a:gd name="connsiteY1" fmla="*/ 21786 h 117977"/>
                  <a:gd name="connsiteX2" fmla="*/ 8493 w 34196"/>
                  <a:gd name="connsiteY2" fmla="*/ 96116 h 117977"/>
                  <a:gd name="connsiteX3" fmla="*/ 3367 w 34196"/>
                  <a:gd name="connsiteY3" fmla="*/ 117902 h 117977"/>
                  <a:gd name="connsiteX4" fmla="*/ 16183 w 34196"/>
                  <a:gd name="connsiteY4" fmla="*/ 97397 h 117977"/>
                  <a:gd name="connsiteX5" fmla="*/ 12338 w 34196"/>
                  <a:gd name="connsiteY5" fmla="*/ 94834 h 117977"/>
                  <a:gd name="connsiteX6" fmla="*/ 25153 w 34196"/>
                  <a:gd name="connsiteY6" fmla="*/ 20505 h 117977"/>
                  <a:gd name="connsiteX7" fmla="*/ 30280 w 34196"/>
                  <a:gd name="connsiteY7" fmla="*/ 0 h 117977"/>
                  <a:gd name="connsiteX8" fmla="*/ 27717 w 34196"/>
                  <a:gd name="connsiteY8" fmla="*/ 0 h 117977"/>
                  <a:gd name="connsiteX9" fmla="*/ 16183 w 34196"/>
                  <a:gd name="connsiteY9" fmla="*/ 15379 h 117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196" h="117977">
                    <a:moveTo>
                      <a:pt x="16183" y="15379"/>
                    </a:moveTo>
                    <a:cubicBezTo>
                      <a:pt x="16183" y="17942"/>
                      <a:pt x="16183" y="21786"/>
                      <a:pt x="21309" y="21786"/>
                    </a:cubicBezTo>
                    <a:cubicBezTo>
                      <a:pt x="16183" y="46136"/>
                      <a:pt x="12338" y="70485"/>
                      <a:pt x="8493" y="96116"/>
                    </a:cubicBezTo>
                    <a:cubicBezTo>
                      <a:pt x="-1759" y="102524"/>
                      <a:pt x="-1759" y="116621"/>
                      <a:pt x="3367" y="117902"/>
                    </a:cubicBezTo>
                    <a:cubicBezTo>
                      <a:pt x="11056" y="119184"/>
                      <a:pt x="20027" y="103805"/>
                      <a:pt x="16183" y="97397"/>
                    </a:cubicBezTo>
                    <a:cubicBezTo>
                      <a:pt x="14901" y="94834"/>
                      <a:pt x="13619" y="94834"/>
                      <a:pt x="12338" y="94834"/>
                    </a:cubicBezTo>
                    <a:cubicBezTo>
                      <a:pt x="16183" y="69203"/>
                      <a:pt x="20027" y="44854"/>
                      <a:pt x="25153" y="20505"/>
                    </a:cubicBezTo>
                    <a:cubicBezTo>
                      <a:pt x="35406" y="14097"/>
                      <a:pt x="36687" y="1282"/>
                      <a:pt x="30280" y="0"/>
                    </a:cubicBezTo>
                    <a:cubicBezTo>
                      <a:pt x="28998" y="0"/>
                      <a:pt x="27717" y="0"/>
                      <a:pt x="27717" y="0"/>
                    </a:cubicBezTo>
                    <a:cubicBezTo>
                      <a:pt x="18746" y="3845"/>
                      <a:pt x="16183" y="12816"/>
                      <a:pt x="16183"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6" name="Freeform: Shape 379490">
                <a:extLst>
                  <a:ext uri="{FF2B5EF4-FFF2-40B4-BE49-F238E27FC236}">
                    <a16:creationId xmlns:a16="http://schemas.microsoft.com/office/drawing/2014/main" id="{16DF010D-2A91-4E43-B77B-D7D909E007A7}"/>
                  </a:ext>
                </a:extLst>
              </p:cNvPr>
              <p:cNvSpPr/>
              <p:nvPr/>
            </p:nvSpPr>
            <p:spPr>
              <a:xfrm>
                <a:off x="5630376" y="2574041"/>
                <a:ext cx="23335" cy="19992"/>
              </a:xfrm>
              <a:custGeom>
                <a:avLst/>
                <a:gdLst>
                  <a:gd name="connsiteX0" fmla="*/ 421 w 23335"/>
                  <a:gd name="connsiteY0" fmla="*/ 13264 h 19992"/>
                  <a:gd name="connsiteX1" fmla="*/ 22207 w 23335"/>
                  <a:gd name="connsiteY1" fmla="*/ 13264 h 19992"/>
                  <a:gd name="connsiteX2" fmla="*/ 9392 w 23335"/>
                  <a:gd name="connsiteY2" fmla="*/ 449 h 19992"/>
                  <a:gd name="connsiteX3" fmla="*/ 421 w 23335"/>
                  <a:gd name="connsiteY3" fmla="*/ 13264 h 19992"/>
                </a:gdLst>
                <a:ahLst/>
                <a:cxnLst>
                  <a:cxn ang="0">
                    <a:pos x="connsiteX0" y="connsiteY0"/>
                  </a:cxn>
                  <a:cxn ang="0">
                    <a:pos x="connsiteX1" y="connsiteY1"/>
                  </a:cxn>
                  <a:cxn ang="0">
                    <a:pos x="connsiteX2" y="connsiteY2"/>
                  </a:cxn>
                  <a:cxn ang="0">
                    <a:pos x="connsiteX3" y="connsiteY3"/>
                  </a:cxn>
                </a:cxnLst>
                <a:rect l="l" t="t" r="r" b="b"/>
                <a:pathLst>
                  <a:path w="23335" h="19992">
                    <a:moveTo>
                      <a:pt x="421" y="13264"/>
                    </a:moveTo>
                    <a:cubicBezTo>
                      <a:pt x="2984" y="22235"/>
                      <a:pt x="18362" y="22235"/>
                      <a:pt x="22207" y="13264"/>
                    </a:cubicBezTo>
                    <a:cubicBezTo>
                      <a:pt x="26052" y="6856"/>
                      <a:pt x="19644" y="-2114"/>
                      <a:pt x="9392" y="449"/>
                    </a:cubicBezTo>
                    <a:cubicBezTo>
                      <a:pt x="421" y="3012"/>
                      <a:pt x="-861" y="9420"/>
                      <a:pt x="421" y="1326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7" name="Freeform: Shape 379491">
                <a:extLst>
                  <a:ext uri="{FF2B5EF4-FFF2-40B4-BE49-F238E27FC236}">
                    <a16:creationId xmlns:a16="http://schemas.microsoft.com/office/drawing/2014/main" id="{C57483E9-D72E-4C8C-9129-D892F5016F09}"/>
                  </a:ext>
                </a:extLst>
              </p:cNvPr>
              <p:cNvSpPr/>
              <p:nvPr/>
            </p:nvSpPr>
            <p:spPr>
              <a:xfrm>
                <a:off x="6814649" y="2247696"/>
                <a:ext cx="114535" cy="112776"/>
              </a:xfrm>
              <a:custGeom>
                <a:avLst/>
                <a:gdLst>
                  <a:gd name="connsiteX0" fmla="*/ 5427 w 114535"/>
                  <a:gd name="connsiteY0" fmla="*/ 10252 h 112776"/>
                  <a:gd name="connsiteX1" fmla="*/ 16961 w 114535"/>
                  <a:gd name="connsiteY1" fmla="*/ 16660 h 112776"/>
                  <a:gd name="connsiteX2" fmla="*/ 95135 w 114535"/>
                  <a:gd name="connsiteY2" fmla="*/ 96116 h 112776"/>
                  <a:gd name="connsiteX3" fmla="*/ 110514 w 114535"/>
                  <a:gd name="connsiteY3" fmla="*/ 112776 h 112776"/>
                  <a:gd name="connsiteX4" fmla="*/ 111795 w 114535"/>
                  <a:gd name="connsiteY4" fmla="*/ 105087 h 112776"/>
                  <a:gd name="connsiteX5" fmla="*/ 97698 w 114535"/>
                  <a:gd name="connsiteY5" fmla="*/ 94834 h 112776"/>
                  <a:gd name="connsiteX6" fmla="*/ 19524 w 114535"/>
                  <a:gd name="connsiteY6" fmla="*/ 15379 h 112776"/>
                  <a:gd name="connsiteX7" fmla="*/ 2864 w 114535"/>
                  <a:gd name="connsiteY7" fmla="*/ 0 h 112776"/>
                  <a:gd name="connsiteX8" fmla="*/ 1582 w 114535"/>
                  <a:gd name="connsiteY8" fmla="*/ 0 h 112776"/>
                  <a:gd name="connsiteX9" fmla="*/ 5427 w 114535"/>
                  <a:gd name="connsiteY9" fmla="*/ 10252 h 11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535" h="112776">
                    <a:moveTo>
                      <a:pt x="5427" y="10252"/>
                    </a:moveTo>
                    <a:cubicBezTo>
                      <a:pt x="7990" y="12815"/>
                      <a:pt x="11835" y="15379"/>
                      <a:pt x="16961" y="16660"/>
                    </a:cubicBezTo>
                    <a:cubicBezTo>
                      <a:pt x="43873" y="42291"/>
                      <a:pt x="69504" y="67922"/>
                      <a:pt x="95135" y="96116"/>
                    </a:cubicBezTo>
                    <a:cubicBezTo>
                      <a:pt x="90009" y="99961"/>
                      <a:pt x="104106" y="112776"/>
                      <a:pt x="110514" y="112776"/>
                    </a:cubicBezTo>
                    <a:cubicBezTo>
                      <a:pt x="115640" y="112776"/>
                      <a:pt x="115640" y="110213"/>
                      <a:pt x="111795" y="105087"/>
                    </a:cubicBezTo>
                    <a:cubicBezTo>
                      <a:pt x="111795" y="103805"/>
                      <a:pt x="105388" y="97397"/>
                      <a:pt x="97698" y="94834"/>
                    </a:cubicBezTo>
                    <a:cubicBezTo>
                      <a:pt x="72067" y="67922"/>
                      <a:pt x="46437" y="41009"/>
                      <a:pt x="19524" y="15379"/>
                    </a:cubicBezTo>
                    <a:cubicBezTo>
                      <a:pt x="24650" y="11534"/>
                      <a:pt x="9271" y="1282"/>
                      <a:pt x="2864" y="0"/>
                    </a:cubicBezTo>
                    <a:cubicBezTo>
                      <a:pt x="2864" y="0"/>
                      <a:pt x="1582" y="0"/>
                      <a:pt x="1582" y="0"/>
                    </a:cubicBezTo>
                    <a:cubicBezTo>
                      <a:pt x="-3544" y="2563"/>
                      <a:pt x="5427" y="10252"/>
                      <a:pt x="5427"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8" name="Freeform: Shape 379492">
                <a:extLst>
                  <a:ext uri="{FF2B5EF4-FFF2-40B4-BE49-F238E27FC236}">
                    <a16:creationId xmlns:a16="http://schemas.microsoft.com/office/drawing/2014/main" id="{B6E6C0CC-F5A2-4177-8AAA-C5568C57FC45}"/>
                  </a:ext>
                </a:extLst>
              </p:cNvPr>
              <p:cNvSpPr/>
              <p:nvPr/>
            </p:nvSpPr>
            <p:spPr>
              <a:xfrm>
                <a:off x="7069020" y="2333559"/>
                <a:ext cx="133027" cy="96239"/>
              </a:xfrm>
              <a:custGeom>
                <a:avLst/>
                <a:gdLst>
                  <a:gd name="connsiteX0" fmla="*/ 6084 w 133027"/>
                  <a:gd name="connsiteY0" fmla="*/ 11534 h 96239"/>
                  <a:gd name="connsiteX1" fmla="*/ 18900 w 133027"/>
                  <a:gd name="connsiteY1" fmla="*/ 16660 h 96239"/>
                  <a:gd name="connsiteX2" fmla="*/ 116297 w 133027"/>
                  <a:gd name="connsiteY2" fmla="*/ 83300 h 96239"/>
                  <a:gd name="connsiteX3" fmla="*/ 132958 w 133027"/>
                  <a:gd name="connsiteY3" fmla="*/ 96116 h 96239"/>
                  <a:gd name="connsiteX4" fmla="*/ 115016 w 133027"/>
                  <a:gd name="connsiteY4" fmla="*/ 78174 h 96239"/>
                  <a:gd name="connsiteX5" fmla="*/ 115016 w 133027"/>
                  <a:gd name="connsiteY5" fmla="*/ 79456 h 96239"/>
                  <a:gd name="connsiteX6" fmla="*/ 17618 w 133027"/>
                  <a:gd name="connsiteY6" fmla="*/ 12815 h 96239"/>
                  <a:gd name="connsiteX7" fmla="*/ 958 w 133027"/>
                  <a:gd name="connsiteY7" fmla="*/ 0 h 96239"/>
                  <a:gd name="connsiteX8" fmla="*/ 6084 w 133027"/>
                  <a:gd name="connsiteY8" fmla="*/ 11534 h 96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027" h="96239">
                    <a:moveTo>
                      <a:pt x="6084" y="11534"/>
                    </a:moveTo>
                    <a:cubicBezTo>
                      <a:pt x="9929" y="15379"/>
                      <a:pt x="18900" y="20505"/>
                      <a:pt x="18900" y="16660"/>
                    </a:cubicBezTo>
                    <a:cubicBezTo>
                      <a:pt x="48375" y="37165"/>
                      <a:pt x="95793" y="53825"/>
                      <a:pt x="116297" y="83300"/>
                    </a:cubicBezTo>
                    <a:cubicBezTo>
                      <a:pt x="120142" y="88427"/>
                      <a:pt x="129113" y="97397"/>
                      <a:pt x="132958" y="96116"/>
                    </a:cubicBezTo>
                    <a:cubicBezTo>
                      <a:pt x="134239" y="89708"/>
                      <a:pt x="117579" y="76893"/>
                      <a:pt x="115016" y="78174"/>
                    </a:cubicBezTo>
                    <a:cubicBezTo>
                      <a:pt x="115016" y="78174"/>
                      <a:pt x="115016" y="79456"/>
                      <a:pt x="115016" y="79456"/>
                    </a:cubicBezTo>
                    <a:cubicBezTo>
                      <a:pt x="85540" y="58951"/>
                      <a:pt x="38123" y="41009"/>
                      <a:pt x="17618" y="12815"/>
                    </a:cubicBezTo>
                    <a:cubicBezTo>
                      <a:pt x="15055" y="8971"/>
                      <a:pt x="6084" y="1282"/>
                      <a:pt x="958" y="0"/>
                    </a:cubicBezTo>
                    <a:cubicBezTo>
                      <a:pt x="-2887" y="2563"/>
                      <a:pt x="6084" y="11534"/>
                      <a:pt x="6084"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69" name="Freeform: Shape 379493">
                <a:extLst>
                  <a:ext uri="{FF2B5EF4-FFF2-40B4-BE49-F238E27FC236}">
                    <a16:creationId xmlns:a16="http://schemas.microsoft.com/office/drawing/2014/main" id="{CC34FF6E-00E7-4F41-8BF9-8983913FBDF1}"/>
                  </a:ext>
                </a:extLst>
              </p:cNvPr>
              <p:cNvSpPr/>
              <p:nvPr/>
            </p:nvSpPr>
            <p:spPr>
              <a:xfrm>
                <a:off x="7018716" y="2264356"/>
                <a:ext cx="97496" cy="88516"/>
              </a:xfrm>
              <a:custGeom>
                <a:avLst/>
                <a:gdLst>
                  <a:gd name="connsiteX0" fmla="*/ 7689 w 97496"/>
                  <a:gd name="connsiteY0" fmla="*/ 8971 h 88516"/>
                  <a:gd name="connsiteX1" fmla="*/ 17942 w 97496"/>
                  <a:gd name="connsiteY1" fmla="*/ 15379 h 88516"/>
                  <a:gd name="connsiteX2" fmla="*/ 78175 w 97496"/>
                  <a:gd name="connsiteY2" fmla="*/ 71767 h 88516"/>
                  <a:gd name="connsiteX3" fmla="*/ 97398 w 97496"/>
                  <a:gd name="connsiteY3" fmla="*/ 88427 h 88516"/>
                  <a:gd name="connsiteX4" fmla="*/ 80738 w 97496"/>
                  <a:gd name="connsiteY4" fmla="*/ 71767 h 88516"/>
                  <a:gd name="connsiteX5" fmla="*/ 20505 w 97496"/>
                  <a:gd name="connsiteY5" fmla="*/ 15379 h 88516"/>
                  <a:gd name="connsiteX6" fmla="*/ 1281 w 97496"/>
                  <a:gd name="connsiteY6" fmla="*/ 0 h 88516"/>
                  <a:gd name="connsiteX7" fmla="*/ 0 w 97496"/>
                  <a:gd name="connsiteY7" fmla="*/ 0 h 88516"/>
                  <a:gd name="connsiteX8" fmla="*/ 7689 w 97496"/>
                  <a:gd name="connsiteY8" fmla="*/ 8971 h 88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496" h="88516">
                    <a:moveTo>
                      <a:pt x="7689" y="8971"/>
                    </a:moveTo>
                    <a:cubicBezTo>
                      <a:pt x="10252" y="11534"/>
                      <a:pt x="14097" y="14097"/>
                      <a:pt x="17942" y="15379"/>
                    </a:cubicBezTo>
                    <a:cubicBezTo>
                      <a:pt x="38446" y="33320"/>
                      <a:pt x="58951" y="52543"/>
                      <a:pt x="78175" y="71767"/>
                    </a:cubicBezTo>
                    <a:cubicBezTo>
                      <a:pt x="76893" y="76893"/>
                      <a:pt x="93553" y="89708"/>
                      <a:pt x="97398" y="88427"/>
                    </a:cubicBezTo>
                    <a:cubicBezTo>
                      <a:pt x="98679" y="85864"/>
                      <a:pt x="87145" y="74330"/>
                      <a:pt x="80738" y="71767"/>
                    </a:cubicBezTo>
                    <a:cubicBezTo>
                      <a:pt x="61514" y="52543"/>
                      <a:pt x="41010" y="34602"/>
                      <a:pt x="20505" y="15379"/>
                    </a:cubicBezTo>
                    <a:cubicBezTo>
                      <a:pt x="20505" y="11534"/>
                      <a:pt x="6408" y="0"/>
                      <a:pt x="1281" y="0"/>
                    </a:cubicBezTo>
                    <a:cubicBezTo>
                      <a:pt x="1281" y="0"/>
                      <a:pt x="1281" y="0"/>
                      <a:pt x="0" y="0"/>
                    </a:cubicBezTo>
                    <a:cubicBezTo>
                      <a:pt x="0" y="0"/>
                      <a:pt x="0" y="2563"/>
                      <a:pt x="7689"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0" name="Freeform: Shape 379494">
                <a:extLst>
                  <a:ext uri="{FF2B5EF4-FFF2-40B4-BE49-F238E27FC236}">
                    <a16:creationId xmlns:a16="http://schemas.microsoft.com/office/drawing/2014/main" id="{4B32850F-654F-4C52-8B97-290A5D377148}"/>
                  </a:ext>
                </a:extLst>
              </p:cNvPr>
              <p:cNvSpPr/>
              <p:nvPr/>
            </p:nvSpPr>
            <p:spPr>
              <a:xfrm>
                <a:off x="7154560" y="2341249"/>
                <a:ext cx="92271" cy="94834"/>
              </a:xfrm>
              <a:custGeom>
                <a:avLst/>
                <a:gdLst>
                  <a:gd name="connsiteX0" fmla="*/ 6408 w 92271"/>
                  <a:gd name="connsiteY0" fmla="*/ 8971 h 94834"/>
                  <a:gd name="connsiteX1" fmla="*/ 15379 w 92271"/>
                  <a:gd name="connsiteY1" fmla="*/ 16660 h 94834"/>
                  <a:gd name="connsiteX2" fmla="*/ 74330 w 92271"/>
                  <a:gd name="connsiteY2" fmla="*/ 76893 h 94834"/>
                  <a:gd name="connsiteX3" fmla="*/ 92272 w 92271"/>
                  <a:gd name="connsiteY3" fmla="*/ 94834 h 94834"/>
                  <a:gd name="connsiteX4" fmla="*/ 92272 w 92271"/>
                  <a:gd name="connsiteY4" fmla="*/ 94834 h 94834"/>
                  <a:gd name="connsiteX5" fmla="*/ 75611 w 92271"/>
                  <a:gd name="connsiteY5" fmla="*/ 76893 h 94834"/>
                  <a:gd name="connsiteX6" fmla="*/ 17942 w 92271"/>
                  <a:gd name="connsiteY6" fmla="*/ 16660 h 94834"/>
                  <a:gd name="connsiteX7" fmla="*/ 0 w 92271"/>
                  <a:gd name="connsiteY7" fmla="*/ 0 h 94834"/>
                  <a:gd name="connsiteX8" fmla="*/ 0 w 92271"/>
                  <a:gd name="connsiteY8" fmla="*/ 0 h 94834"/>
                  <a:gd name="connsiteX9" fmla="*/ 6408 w 92271"/>
                  <a:gd name="connsiteY9" fmla="*/ 8971 h 9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271" h="94834">
                    <a:moveTo>
                      <a:pt x="6408" y="8971"/>
                    </a:moveTo>
                    <a:cubicBezTo>
                      <a:pt x="8971" y="11534"/>
                      <a:pt x="12816" y="14097"/>
                      <a:pt x="15379" y="16660"/>
                    </a:cubicBezTo>
                    <a:cubicBezTo>
                      <a:pt x="35884" y="35883"/>
                      <a:pt x="55107" y="56388"/>
                      <a:pt x="74330" y="76893"/>
                    </a:cubicBezTo>
                    <a:cubicBezTo>
                      <a:pt x="74330" y="80737"/>
                      <a:pt x="88427" y="93553"/>
                      <a:pt x="92272" y="94834"/>
                    </a:cubicBezTo>
                    <a:cubicBezTo>
                      <a:pt x="92272" y="94834"/>
                      <a:pt x="92272" y="94834"/>
                      <a:pt x="92272" y="94834"/>
                    </a:cubicBezTo>
                    <a:cubicBezTo>
                      <a:pt x="90990" y="90990"/>
                      <a:pt x="80738" y="80737"/>
                      <a:pt x="75611" y="76893"/>
                    </a:cubicBezTo>
                    <a:cubicBezTo>
                      <a:pt x="57670" y="55106"/>
                      <a:pt x="38447" y="35883"/>
                      <a:pt x="17942" y="16660"/>
                    </a:cubicBezTo>
                    <a:cubicBezTo>
                      <a:pt x="16660" y="12815"/>
                      <a:pt x="3845" y="1282"/>
                      <a:pt x="0" y="0"/>
                    </a:cubicBezTo>
                    <a:cubicBezTo>
                      <a:pt x="0" y="0"/>
                      <a:pt x="0" y="0"/>
                      <a:pt x="0" y="0"/>
                    </a:cubicBezTo>
                    <a:cubicBezTo>
                      <a:pt x="0" y="2563"/>
                      <a:pt x="5126" y="6408"/>
                      <a:pt x="6408"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1" name="Freeform: Shape 379495">
                <a:extLst>
                  <a:ext uri="{FF2B5EF4-FFF2-40B4-BE49-F238E27FC236}">
                    <a16:creationId xmlns:a16="http://schemas.microsoft.com/office/drawing/2014/main" id="{0452C0A2-7591-4A78-B13E-790475A247CD}"/>
                  </a:ext>
                </a:extLst>
              </p:cNvPr>
              <p:cNvSpPr/>
              <p:nvPr/>
            </p:nvSpPr>
            <p:spPr>
              <a:xfrm>
                <a:off x="7112269" y="2281865"/>
                <a:ext cx="101242" cy="90141"/>
              </a:xfrm>
              <a:custGeom>
                <a:avLst/>
                <a:gdLst>
                  <a:gd name="connsiteX0" fmla="*/ 10252 w 101242"/>
                  <a:gd name="connsiteY0" fmla="*/ 8122 h 90141"/>
                  <a:gd name="connsiteX1" fmla="*/ 19223 w 101242"/>
                  <a:gd name="connsiteY1" fmla="*/ 15812 h 90141"/>
                  <a:gd name="connsiteX2" fmla="*/ 83301 w 101242"/>
                  <a:gd name="connsiteY2" fmla="*/ 72199 h 90141"/>
                  <a:gd name="connsiteX3" fmla="*/ 101243 w 101242"/>
                  <a:gd name="connsiteY3" fmla="*/ 90141 h 90141"/>
                  <a:gd name="connsiteX4" fmla="*/ 83301 w 101242"/>
                  <a:gd name="connsiteY4" fmla="*/ 73481 h 90141"/>
                  <a:gd name="connsiteX5" fmla="*/ 19223 w 101242"/>
                  <a:gd name="connsiteY5" fmla="*/ 17093 h 90141"/>
                  <a:gd name="connsiteX6" fmla="*/ 0 w 101242"/>
                  <a:gd name="connsiteY6" fmla="*/ 433 h 90141"/>
                  <a:gd name="connsiteX7" fmla="*/ 10252 w 101242"/>
                  <a:gd name="connsiteY7" fmla="*/ 8122 h 90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242" h="90141">
                    <a:moveTo>
                      <a:pt x="10252" y="8122"/>
                    </a:moveTo>
                    <a:cubicBezTo>
                      <a:pt x="12815" y="9404"/>
                      <a:pt x="16660" y="13248"/>
                      <a:pt x="19223" y="15812"/>
                    </a:cubicBezTo>
                    <a:cubicBezTo>
                      <a:pt x="41010" y="33753"/>
                      <a:pt x="61514" y="52976"/>
                      <a:pt x="83301" y="72199"/>
                    </a:cubicBezTo>
                    <a:cubicBezTo>
                      <a:pt x="87145" y="76044"/>
                      <a:pt x="99961" y="87578"/>
                      <a:pt x="101243" y="90141"/>
                    </a:cubicBezTo>
                    <a:cubicBezTo>
                      <a:pt x="98679" y="87578"/>
                      <a:pt x="85864" y="74763"/>
                      <a:pt x="83301" y="73481"/>
                    </a:cubicBezTo>
                    <a:cubicBezTo>
                      <a:pt x="62796" y="54258"/>
                      <a:pt x="41010" y="35035"/>
                      <a:pt x="19223" y="17093"/>
                    </a:cubicBezTo>
                    <a:cubicBezTo>
                      <a:pt x="15378" y="13248"/>
                      <a:pt x="2563" y="2996"/>
                      <a:pt x="0" y="433"/>
                    </a:cubicBezTo>
                    <a:cubicBezTo>
                      <a:pt x="0" y="-849"/>
                      <a:pt x="1281" y="433"/>
                      <a:pt x="10252" y="812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2" name="Freeform: Shape 379496">
                <a:extLst>
                  <a:ext uri="{FF2B5EF4-FFF2-40B4-BE49-F238E27FC236}">
                    <a16:creationId xmlns:a16="http://schemas.microsoft.com/office/drawing/2014/main" id="{0E80ACC1-BD46-469B-A2C7-281AD22F5866}"/>
                  </a:ext>
                </a:extLst>
              </p:cNvPr>
              <p:cNvSpPr/>
              <p:nvPr/>
            </p:nvSpPr>
            <p:spPr>
              <a:xfrm>
                <a:off x="4237551" y="2984585"/>
                <a:ext cx="34802" cy="92271"/>
              </a:xfrm>
              <a:custGeom>
                <a:avLst/>
                <a:gdLst>
                  <a:gd name="connsiteX0" fmla="*/ 27113 w 34802"/>
                  <a:gd name="connsiteY0" fmla="*/ 16660 h 92271"/>
                  <a:gd name="connsiteX1" fmla="*/ 24550 w 34802"/>
                  <a:gd name="connsiteY1" fmla="*/ 24349 h 92271"/>
                  <a:gd name="connsiteX2" fmla="*/ 7890 w 34802"/>
                  <a:gd name="connsiteY2" fmla="*/ 69203 h 92271"/>
                  <a:gd name="connsiteX3" fmla="*/ 201 w 34802"/>
                  <a:gd name="connsiteY3" fmla="*/ 92271 h 92271"/>
                  <a:gd name="connsiteX4" fmla="*/ 9172 w 34802"/>
                  <a:gd name="connsiteY4" fmla="*/ 67922 h 92271"/>
                  <a:gd name="connsiteX5" fmla="*/ 25832 w 34802"/>
                  <a:gd name="connsiteY5" fmla="*/ 23068 h 92271"/>
                  <a:gd name="connsiteX6" fmla="*/ 34803 w 34802"/>
                  <a:gd name="connsiteY6" fmla="*/ 0 h 92271"/>
                  <a:gd name="connsiteX7" fmla="*/ 34803 w 34802"/>
                  <a:gd name="connsiteY7" fmla="*/ 0 h 92271"/>
                  <a:gd name="connsiteX8" fmla="*/ 27113 w 34802"/>
                  <a:gd name="connsiteY8" fmla="*/ 16660 h 9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02" h="92271">
                    <a:moveTo>
                      <a:pt x="27113" y="16660"/>
                    </a:moveTo>
                    <a:cubicBezTo>
                      <a:pt x="25832" y="19223"/>
                      <a:pt x="24550" y="23068"/>
                      <a:pt x="24550" y="24349"/>
                    </a:cubicBezTo>
                    <a:cubicBezTo>
                      <a:pt x="19424" y="39728"/>
                      <a:pt x="13016" y="53825"/>
                      <a:pt x="7890" y="69203"/>
                    </a:cubicBezTo>
                    <a:cubicBezTo>
                      <a:pt x="4045" y="74330"/>
                      <a:pt x="-1081" y="90990"/>
                      <a:pt x="201" y="92271"/>
                    </a:cubicBezTo>
                    <a:cubicBezTo>
                      <a:pt x="4045" y="89708"/>
                      <a:pt x="10453" y="70485"/>
                      <a:pt x="9172" y="67922"/>
                    </a:cubicBezTo>
                    <a:cubicBezTo>
                      <a:pt x="14298" y="52543"/>
                      <a:pt x="19424" y="38446"/>
                      <a:pt x="25832" y="23068"/>
                    </a:cubicBezTo>
                    <a:cubicBezTo>
                      <a:pt x="28395" y="17942"/>
                      <a:pt x="34803" y="5126"/>
                      <a:pt x="34803" y="0"/>
                    </a:cubicBezTo>
                    <a:cubicBezTo>
                      <a:pt x="34803" y="0"/>
                      <a:pt x="34803" y="0"/>
                      <a:pt x="34803" y="0"/>
                    </a:cubicBezTo>
                    <a:cubicBezTo>
                      <a:pt x="30958" y="3845"/>
                      <a:pt x="28395" y="12815"/>
                      <a:pt x="2711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3" name="Freeform: Shape 379497">
                <a:extLst>
                  <a:ext uri="{FF2B5EF4-FFF2-40B4-BE49-F238E27FC236}">
                    <a16:creationId xmlns:a16="http://schemas.microsoft.com/office/drawing/2014/main" id="{11C5C65E-83F5-42ED-ADB9-1D7685BDE1E8}"/>
                  </a:ext>
                </a:extLst>
              </p:cNvPr>
              <p:cNvSpPr/>
              <p:nvPr/>
            </p:nvSpPr>
            <p:spPr>
              <a:xfrm>
                <a:off x="4245240" y="2980740"/>
                <a:ext cx="34802" cy="90989"/>
              </a:xfrm>
              <a:custGeom>
                <a:avLst/>
                <a:gdLst>
                  <a:gd name="connsiteX0" fmla="*/ 25832 w 34802"/>
                  <a:gd name="connsiteY0" fmla="*/ 15379 h 90989"/>
                  <a:gd name="connsiteX1" fmla="*/ 24550 w 34802"/>
                  <a:gd name="connsiteY1" fmla="*/ 23068 h 90989"/>
                  <a:gd name="connsiteX2" fmla="*/ 7890 w 34802"/>
                  <a:gd name="connsiteY2" fmla="*/ 67922 h 90989"/>
                  <a:gd name="connsiteX3" fmla="*/ 201 w 34802"/>
                  <a:gd name="connsiteY3" fmla="*/ 90990 h 90989"/>
                  <a:gd name="connsiteX4" fmla="*/ 9172 w 34802"/>
                  <a:gd name="connsiteY4" fmla="*/ 66640 h 90989"/>
                  <a:gd name="connsiteX5" fmla="*/ 25832 w 34802"/>
                  <a:gd name="connsiteY5" fmla="*/ 21786 h 90989"/>
                  <a:gd name="connsiteX6" fmla="*/ 34803 w 34802"/>
                  <a:gd name="connsiteY6" fmla="*/ 0 h 90989"/>
                  <a:gd name="connsiteX7" fmla="*/ 34803 w 34802"/>
                  <a:gd name="connsiteY7" fmla="*/ 0 h 90989"/>
                  <a:gd name="connsiteX8" fmla="*/ 25832 w 34802"/>
                  <a:gd name="connsiteY8" fmla="*/ 15379 h 90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802" h="90989">
                    <a:moveTo>
                      <a:pt x="25832" y="15379"/>
                    </a:moveTo>
                    <a:cubicBezTo>
                      <a:pt x="24550" y="17942"/>
                      <a:pt x="23269" y="21786"/>
                      <a:pt x="24550" y="23068"/>
                    </a:cubicBezTo>
                    <a:cubicBezTo>
                      <a:pt x="19424" y="38446"/>
                      <a:pt x="13016" y="52543"/>
                      <a:pt x="7890" y="67922"/>
                    </a:cubicBezTo>
                    <a:cubicBezTo>
                      <a:pt x="4045" y="73048"/>
                      <a:pt x="-1081" y="89708"/>
                      <a:pt x="201" y="90990"/>
                    </a:cubicBezTo>
                    <a:cubicBezTo>
                      <a:pt x="2764" y="89708"/>
                      <a:pt x="10453" y="69203"/>
                      <a:pt x="9172" y="66640"/>
                    </a:cubicBezTo>
                    <a:cubicBezTo>
                      <a:pt x="14298" y="51262"/>
                      <a:pt x="19424" y="37165"/>
                      <a:pt x="25832" y="21786"/>
                    </a:cubicBezTo>
                    <a:cubicBezTo>
                      <a:pt x="29677" y="16660"/>
                      <a:pt x="34803" y="3845"/>
                      <a:pt x="34803" y="0"/>
                    </a:cubicBezTo>
                    <a:cubicBezTo>
                      <a:pt x="34803" y="0"/>
                      <a:pt x="34803" y="0"/>
                      <a:pt x="34803" y="0"/>
                    </a:cubicBezTo>
                    <a:cubicBezTo>
                      <a:pt x="30958" y="2563"/>
                      <a:pt x="27113" y="12816"/>
                      <a:pt x="2583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4" name="Freeform: Shape 379498">
                <a:extLst>
                  <a:ext uri="{FF2B5EF4-FFF2-40B4-BE49-F238E27FC236}">
                    <a16:creationId xmlns:a16="http://schemas.microsoft.com/office/drawing/2014/main" id="{7C0095A5-4A0B-49F1-9063-0768EFA8BD87}"/>
                  </a:ext>
                </a:extLst>
              </p:cNvPr>
              <p:cNvSpPr/>
              <p:nvPr/>
            </p:nvSpPr>
            <p:spPr>
              <a:xfrm>
                <a:off x="4279361" y="2990992"/>
                <a:ext cx="21868" cy="58951"/>
              </a:xfrm>
              <a:custGeom>
                <a:avLst/>
                <a:gdLst>
                  <a:gd name="connsiteX0" fmla="*/ 13497 w 21868"/>
                  <a:gd name="connsiteY0" fmla="*/ 16660 h 58951"/>
                  <a:gd name="connsiteX1" fmla="*/ 12216 w 21868"/>
                  <a:gd name="connsiteY1" fmla="*/ 24349 h 58951"/>
                  <a:gd name="connsiteX2" fmla="*/ 8371 w 21868"/>
                  <a:gd name="connsiteY2" fmla="*/ 35883 h 58951"/>
                  <a:gd name="connsiteX3" fmla="*/ 682 w 21868"/>
                  <a:gd name="connsiteY3" fmla="*/ 58951 h 58951"/>
                  <a:gd name="connsiteX4" fmla="*/ 9653 w 21868"/>
                  <a:gd name="connsiteY4" fmla="*/ 34602 h 58951"/>
                  <a:gd name="connsiteX5" fmla="*/ 13497 w 21868"/>
                  <a:gd name="connsiteY5" fmla="*/ 23068 h 58951"/>
                  <a:gd name="connsiteX6" fmla="*/ 21187 w 21868"/>
                  <a:gd name="connsiteY6" fmla="*/ 0 h 58951"/>
                  <a:gd name="connsiteX7" fmla="*/ 21187 w 21868"/>
                  <a:gd name="connsiteY7" fmla="*/ 0 h 58951"/>
                  <a:gd name="connsiteX8" fmla="*/ 13497 w 21868"/>
                  <a:gd name="connsiteY8" fmla="*/ 16660 h 5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68" h="58951">
                    <a:moveTo>
                      <a:pt x="13497" y="16660"/>
                    </a:moveTo>
                    <a:cubicBezTo>
                      <a:pt x="12216" y="19223"/>
                      <a:pt x="12216" y="23068"/>
                      <a:pt x="12216" y="24349"/>
                    </a:cubicBezTo>
                    <a:cubicBezTo>
                      <a:pt x="10934" y="28194"/>
                      <a:pt x="9653" y="32039"/>
                      <a:pt x="8371" y="35883"/>
                    </a:cubicBezTo>
                    <a:cubicBezTo>
                      <a:pt x="3245" y="42291"/>
                      <a:pt x="-1881" y="57670"/>
                      <a:pt x="682" y="58951"/>
                    </a:cubicBezTo>
                    <a:cubicBezTo>
                      <a:pt x="4527" y="57670"/>
                      <a:pt x="12216" y="37165"/>
                      <a:pt x="9653" y="34602"/>
                    </a:cubicBezTo>
                    <a:cubicBezTo>
                      <a:pt x="10934" y="30757"/>
                      <a:pt x="12216" y="26912"/>
                      <a:pt x="13497" y="23068"/>
                    </a:cubicBezTo>
                    <a:cubicBezTo>
                      <a:pt x="18623" y="16660"/>
                      <a:pt x="23750" y="2563"/>
                      <a:pt x="21187" y="0"/>
                    </a:cubicBezTo>
                    <a:cubicBezTo>
                      <a:pt x="21187" y="0"/>
                      <a:pt x="21187" y="0"/>
                      <a:pt x="21187" y="0"/>
                    </a:cubicBezTo>
                    <a:cubicBezTo>
                      <a:pt x="18623" y="3845"/>
                      <a:pt x="14779" y="14097"/>
                      <a:pt x="1349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5" name="Freeform: Shape 379499">
                <a:extLst>
                  <a:ext uri="{FF2B5EF4-FFF2-40B4-BE49-F238E27FC236}">
                    <a16:creationId xmlns:a16="http://schemas.microsoft.com/office/drawing/2014/main" id="{3DD6BFE5-7970-4A8D-9186-316F3941B9D2}"/>
                  </a:ext>
                </a:extLst>
              </p:cNvPr>
              <p:cNvSpPr/>
              <p:nvPr/>
            </p:nvSpPr>
            <p:spPr>
              <a:xfrm>
                <a:off x="4291328" y="2730838"/>
                <a:ext cx="136092" cy="312697"/>
              </a:xfrm>
              <a:custGeom>
                <a:avLst/>
                <a:gdLst>
                  <a:gd name="connsiteX0" fmla="*/ 125840 w 136092"/>
                  <a:gd name="connsiteY0" fmla="*/ 12816 h 312697"/>
                  <a:gd name="connsiteX1" fmla="*/ 123277 w 136092"/>
                  <a:gd name="connsiteY1" fmla="*/ 20505 h 312697"/>
                  <a:gd name="connsiteX2" fmla="*/ 7938 w 136092"/>
                  <a:gd name="connsiteY2" fmla="*/ 289629 h 312697"/>
                  <a:gd name="connsiteX3" fmla="*/ 248 w 136092"/>
                  <a:gd name="connsiteY3" fmla="*/ 312697 h 312697"/>
                  <a:gd name="connsiteX4" fmla="*/ 9219 w 136092"/>
                  <a:gd name="connsiteY4" fmla="*/ 289629 h 312697"/>
                  <a:gd name="connsiteX5" fmla="*/ 124559 w 136092"/>
                  <a:gd name="connsiteY5" fmla="*/ 20505 h 312697"/>
                  <a:gd name="connsiteX6" fmla="*/ 136093 w 136092"/>
                  <a:gd name="connsiteY6" fmla="*/ 0 h 312697"/>
                  <a:gd name="connsiteX7" fmla="*/ 134811 w 136092"/>
                  <a:gd name="connsiteY7" fmla="*/ 0 h 312697"/>
                  <a:gd name="connsiteX8" fmla="*/ 125840 w 136092"/>
                  <a:gd name="connsiteY8" fmla="*/ 12816 h 31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092" h="312697">
                    <a:moveTo>
                      <a:pt x="125840" y="12816"/>
                    </a:moveTo>
                    <a:cubicBezTo>
                      <a:pt x="123277" y="17942"/>
                      <a:pt x="123277" y="17942"/>
                      <a:pt x="123277" y="20505"/>
                    </a:cubicBezTo>
                    <a:cubicBezTo>
                      <a:pt x="77141" y="106368"/>
                      <a:pt x="38695" y="196076"/>
                      <a:pt x="7938" y="289629"/>
                    </a:cubicBezTo>
                    <a:cubicBezTo>
                      <a:pt x="2812" y="296037"/>
                      <a:pt x="-1033" y="306289"/>
                      <a:pt x="248" y="312697"/>
                    </a:cubicBezTo>
                    <a:cubicBezTo>
                      <a:pt x="6656" y="311416"/>
                      <a:pt x="10501" y="290911"/>
                      <a:pt x="9219" y="289629"/>
                    </a:cubicBezTo>
                    <a:cubicBezTo>
                      <a:pt x="39976" y="196076"/>
                      <a:pt x="79705" y="106368"/>
                      <a:pt x="124559" y="20505"/>
                    </a:cubicBezTo>
                    <a:cubicBezTo>
                      <a:pt x="129685" y="15379"/>
                      <a:pt x="134811" y="5126"/>
                      <a:pt x="136093" y="0"/>
                    </a:cubicBezTo>
                    <a:cubicBezTo>
                      <a:pt x="136093" y="0"/>
                      <a:pt x="136093" y="0"/>
                      <a:pt x="134811" y="0"/>
                    </a:cubicBezTo>
                    <a:cubicBezTo>
                      <a:pt x="132248" y="2563"/>
                      <a:pt x="128403" y="10252"/>
                      <a:pt x="125840"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6" name="Freeform: Shape 379500">
                <a:extLst>
                  <a:ext uri="{FF2B5EF4-FFF2-40B4-BE49-F238E27FC236}">
                    <a16:creationId xmlns:a16="http://schemas.microsoft.com/office/drawing/2014/main" id="{3AAD4EE6-3391-4C02-BD3D-0F9A66FDE361}"/>
                  </a:ext>
                </a:extLst>
              </p:cNvPr>
              <p:cNvSpPr/>
              <p:nvPr/>
            </p:nvSpPr>
            <p:spPr>
              <a:xfrm>
                <a:off x="4303111" y="2694955"/>
                <a:ext cx="152504" cy="343454"/>
              </a:xfrm>
              <a:custGeom>
                <a:avLst/>
                <a:gdLst>
                  <a:gd name="connsiteX0" fmla="*/ 140971 w 152504"/>
                  <a:gd name="connsiteY0" fmla="*/ 12815 h 343454"/>
                  <a:gd name="connsiteX1" fmla="*/ 138407 w 152504"/>
                  <a:gd name="connsiteY1" fmla="*/ 20505 h 343454"/>
                  <a:gd name="connsiteX2" fmla="*/ 7689 w 152504"/>
                  <a:gd name="connsiteY2" fmla="*/ 320386 h 343454"/>
                  <a:gd name="connsiteX3" fmla="*/ 0 w 152504"/>
                  <a:gd name="connsiteY3" fmla="*/ 342173 h 343454"/>
                  <a:gd name="connsiteX4" fmla="*/ 1282 w 152504"/>
                  <a:gd name="connsiteY4" fmla="*/ 343454 h 343454"/>
                  <a:gd name="connsiteX5" fmla="*/ 10252 w 152504"/>
                  <a:gd name="connsiteY5" fmla="*/ 320386 h 343454"/>
                  <a:gd name="connsiteX6" fmla="*/ 140971 w 152504"/>
                  <a:gd name="connsiteY6" fmla="*/ 20505 h 343454"/>
                  <a:gd name="connsiteX7" fmla="*/ 152505 w 152504"/>
                  <a:gd name="connsiteY7" fmla="*/ 1282 h 343454"/>
                  <a:gd name="connsiteX8" fmla="*/ 151223 w 152504"/>
                  <a:gd name="connsiteY8" fmla="*/ 0 h 343454"/>
                  <a:gd name="connsiteX9" fmla="*/ 140971 w 152504"/>
                  <a:gd name="connsiteY9" fmla="*/ 12815 h 34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504" h="343454">
                    <a:moveTo>
                      <a:pt x="140971" y="12815"/>
                    </a:moveTo>
                    <a:cubicBezTo>
                      <a:pt x="138407" y="17942"/>
                      <a:pt x="138407" y="17942"/>
                      <a:pt x="138407" y="20505"/>
                    </a:cubicBezTo>
                    <a:cubicBezTo>
                      <a:pt x="85864" y="115339"/>
                      <a:pt x="42291" y="215300"/>
                      <a:pt x="7689" y="320386"/>
                    </a:cubicBezTo>
                    <a:cubicBezTo>
                      <a:pt x="3845" y="325513"/>
                      <a:pt x="0" y="334483"/>
                      <a:pt x="0" y="342173"/>
                    </a:cubicBezTo>
                    <a:cubicBezTo>
                      <a:pt x="0" y="342173"/>
                      <a:pt x="1282" y="342173"/>
                      <a:pt x="1282" y="343454"/>
                    </a:cubicBezTo>
                    <a:cubicBezTo>
                      <a:pt x="7689" y="337046"/>
                      <a:pt x="11534" y="321668"/>
                      <a:pt x="10252" y="320386"/>
                    </a:cubicBezTo>
                    <a:cubicBezTo>
                      <a:pt x="44854" y="215300"/>
                      <a:pt x="88427" y="115339"/>
                      <a:pt x="140971" y="20505"/>
                    </a:cubicBezTo>
                    <a:cubicBezTo>
                      <a:pt x="146097" y="15379"/>
                      <a:pt x="151223" y="7689"/>
                      <a:pt x="152505" y="1282"/>
                    </a:cubicBezTo>
                    <a:cubicBezTo>
                      <a:pt x="152505" y="1282"/>
                      <a:pt x="152505" y="1282"/>
                      <a:pt x="151223" y="0"/>
                    </a:cubicBezTo>
                    <a:cubicBezTo>
                      <a:pt x="147378" y="2563"/>
                      <a:pt x="143533" y="10252"/>
                      <a:pt x="140971"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7" name="Freeform: Shape 379501">
                <a:extLst>
                  <a:ext uri="{FF2B5EF4-FFF2-40B4-BE49-F238E27FC236}">
                    <a16:creationId xmlns:a16="http://schemas.microsoft.com/office/drawing/2014/main" id="{BAB27B60-FCF5-430A-987D-C4709C40AE6B}"/>
                  </a:ext>
                </a:extLst>
              </p:cNvPr>
              <p:cNvSpPr/>
              <p:nvPr/>
            </p:nvSpPr>
            <p:spPr>
              <a:xfrm>
                <a:off x="4509400" y="2922669"/>
                <a:ext cx="28234" cy="149060"/>
              </a:xfrm>
              <a:custGeom>
                <a:avLst/>
                <a:gdLst>
                  <a:gd name="connsiteX0" fmla="*/ 6448 w 28234"/>
                  <a:gd name="connsiteY0" fmla="*/ 17062 h 149060"/>
                  <a:gd name="connsiteX1" fmla="*/ 12856 w 28234"/>
                  <a:gd name="connsiteY1" fmla="*/ 22188 h 149060"/>
                  <a:gd name="connsiteX2" fmla="*/ 14138 w 28234"/>
                  <a:gd name="connsiteY2" fmla="*/ 20906 h 149060"/>
                  <a:gd name="connsiteX3" fmla="*/ 24390 w 28234"/>
                  <a:gd name="connsiteY3" fmla="*/ 40129 h 149060"/>
                  <a:gd name="connsiteX4" fmla="*/ 7730 w 28234"/>
                  <a:gd name="connsiteY4" fmla="*/ 125993 h 149060"/>
                  <a:gd name="connsiteX5" fmla="*/ 3885 w 28234"/>
                  <a:gd name="connsiteY5" fmla="*/ 149061 h 149060"/>
                  <a:gd name="connsiteX6" fmla="*/ 12856 w 28234"/>
                  <a:gd name="connsiteY6" fmla="*/ 125993 h 149060"/>
                  <a:gd name="connsiteX7" fmla="*/ 10293 w 28234"/>
                  <a:gd name="connsiteY7" fmla="*/ 124711 h 149060"/>
                  <a:gd name="connsiteX8" fmla="*/ 28235 w 28234"/>
                  <a:gd name="connsiteY8" fmla="*/ 36285 h 149060"/>
                  <a:gd name="connsiteX9" fmla="*/ 16701 w 28234"/>
                  <a:gd name="connsiteY9" fmla="*/ 15780 h 149060"/>
                  <a:gd name="connsiteX10" fmla="*/ 15419 w 28234"/>
                  <a:gd name="connsiteY10" fmla="*/ 401 h 149060"/>
                  <a:gd name="connsiteX11" fmla="*/ 6448 w 28234"/>
                  <a:gd name="connsiteY11" fmla="*/ 17062 h 14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234" h="149060">
                    <a:moveTo>
                      <a:pt x="6448" y="17062"/>
                    </a:moveTo>
                    <a:cubicBezTo>
                      <a:pt x="5167" y="22188"/>
                      <a:pt x="7730" y="26032"/>
                      <a:pt x="12856" y="22188"/>
                    </a:cubicBezTo>
                    <a:cubicBezTo>
                      <a:pt x="12856" y="22188"/>
                      <a:pt x="14138" y="20906"/>
                      <a:pt x="14138" y="20906"/>
                    </a:cubicBezTo>
                    <a:lnTo>
                      <a:pt x="24390" y="40129"/>
                    </a:lnTo>
                    <a:cubicBezTo>
                      <a:pt x="17982" y="68323"/>
                      <a:pt x="12856" y="97799"/>
                      <a:pt x="7730" y="125993"/>
                    </a:cubicBezTo>
                    <a:cubicBezTo>
                      <a:pt x="-2522" y="133682"/>
                      <a:pt x="-1241" y="149061"/>
                      <a:pt x="3885" y="149061"/>
                    </a:cubicBezTo>
                    <a:cubicBezTo>
                      <a:pt x="11574" y="149061"/>
                      <a:pt x="17982" y="129838"/>
                      <a:pt x="12856" y="125993"/>
                    </a:cubicBezTo>
                    <a:cubicBezTo>
                      <a:pt x="12856" y="125993"/>
                      <a:pt x="11574" y="125993"/>
                      <a:pt x="10293" y="124711"/>
                    </a:cubicBezTo>
                    <a:cubicBezTo>
                      <a:pt x="15419" y="95236"/>
                      <a:pt x="20545" y="65760"/>
                      <a:pt x="28235" y="36285"/>
                    </a:cubicBezTo>
                    <a:cubicBezTo>
                      <a:pt x="24390" y="29877"/>
                      <a:pt x="20545" y="22188"/>
                      <a:pt x="16701" y="15780"/>
                    </a:cubicBezTo>
                    <a:cubicBezTo>
                      <a:pt x="20545" y="8091"/>
                      <a:pt x="21827" y="-2162"/>
                      <a:pt x="15419" y="401"/>
                    </a:cubicBezTo>
                    <a:cubicBezTo>
                      <a:pt x="9011" y="5528"/>
                      <a:pt x="6448" y="17062"/>
                      <a:pt x="6448" y="1706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8" name="Freeform: Shape 379502">
                <a:extLst>
                  <a:ext uri="{FF2B5EF4-FFF2-40B4-BE49-F238E27FC236}">
                    <a16:creationId xmlns:a16="http://schemas.microsoft.com/office/drawing/2014/main" id="{D605A928-62D1-4F98-A9D9-7A543CE0ABC4}"/>
                  </a:ext>
                </a:extLst>
              </p:cNvPr>
              <p:cNvSpPr/>
              <p:nvPr/>
            </p:nvSpPr>
            <p:spPr>
              <a:xfrm>
                <a:off x="4558617" y="2842333"/>
                <a:ext cx="31276" cy="88426"/>
              </a:xfrm>
              <a:custGeom>
                <a:avLst/>
                <a:gdLst>
                  <a:gd name="connsiteX0" fmla="*/ 16183 w 31276"/>
                  <a:gd name="connsiteY0" fmla="*/ 17942 h 88426"/>
                  <a:gd name="connsiteX1" fmla="*/ 18746 w 31276"/>
                  <a:gd name="connsiteY1" fmla="*/ 24349 h 88426"/>
                  <a:gd name="connsiteX2" fmla="*/ 8493 w 31276"/>
                  <a:gd name="connsiteY2" fmla="*/ 66640 h 88426"/>
                  <a:gd name="connsiteX3" fmla="*/ 3367 w 31276"/>
                  <a:gd name="connsiteY3" fmla="*/ 88427 h 88426"/>
                  <a:gd name="connsiteX4" fmla="*/ 13620 w 31276"/>
                  <a:gd name="connsiteY4" fmla="*/ 65359 h 88426"/>
                  <a:gd name="connsiteX5" fmla="*/ 12338 w 31276"/>
                  <a:gd name="connsiteY5" fmla="*/ 64077 h 88426"/>
                  <a:gd name="connsiteX6" fmla="*/ 22590 w 31276"/>
                  <a:gd name="connsiteY6" fmla="*/ 21786 h 88426"/>
                  <a:gd name="connsiteX7" fmla="*/ 27717 w 31276"/>
                  <a:gd name="connsiteY7" fmla="*/ 0 h 88426"/>
                  <a:gd name="connsiteX8" fmla="*/ 26435 w 31276"/>
                  <a:gd name="connsiteY8" fmla="*/ 0 h 88426"/>
                  <a:gd name="connsiteX9" fmla="*/ 16183 w 31276"/>
                  <a:gd name="connsiteY9" fmla="*/ 17942 h 8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76" h="88426">
                    <a:moveTo>
                      <a:pt x="16183" y="17942"/>
                    </a:moveTo>
                    <a:cubicBezTo>
                      <a:pt x="16183" y="20505"/>
                      <a:pt x="16183" y="24349"/>
                      <a:pt x="18746" y="24349"/>
                    </a:cubicBezTo>
                    <a:cubicBezTo>
                      <a:pt x="14901" y="38446"/>
                      <a:pt x="11056" y="52543"/>
                      <a:pt x="8493" y="66640"/>
                    </a:cubicBezTo>
                    <a:cubicBezTo>
                      <a:pt x="-1759" y="74330"/>
                      <a:pt x="-1759" y="88427"/>
                      <a:pt x="3367" y="88427"/>
                    </a:cubicBezTo>
                    <a:cubicBezTo>
                      <a:pt x="11056" y="88427"/>
                      <a:pt x="18746" y="70485"/>
                      <a:pt x="13620" y="65359"/>
                    </a:cubicBezTo>
                    <a:cubicBezTo>
                      <a:pt x="13620" y="65359"/>
                      <a:pt x="12338" y="65359"/>
                      <a:pt x="12338" y="64077"/>
                    </a:cubicBezTo>
                    <a:cubicBezTo>
                      <a:pt x="16183" y="49980"/>
                      <a:pt x="18746" y="35883"/>
                      <a:pt x="22590" y="21786"/>
                    </a:cubicBezTo>
                    <a:cubicBezTo>
                      <a:pt x="31561" y="14097"/>
                      <a:pt x="34124" y="0"/>
                      <a:pt x="27717" y="0"/>
                    </a:cubicBezTo>
                    <a:cubicBezTo>
                      <a:pt x="27717" y="0"/>
                      <a:pt x="26435" y="0"/>
                      <a:pt x="26435" y="0"/>
                    </a:cubicBezTo>
                    <a:cubicBezTo>
                      <a:pt x="20027" y="5126"/>
                      <a:pt x="17464" y="14097"/>
                      <a:pt x="16183"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79" name="Freeform: Shape 379503">
                <a:extLst>
                  <a:ext uri="{FF2B5EF4-FFF2-40B4-BE49-F238E27FC236}">
                    <a16:creationId xmlns:a16="http://schemas.microsoft.com/office/drawing/2014/main" id="{6FB2DCEC-7C3B-486D-87FE-61D5DA5C1514}"/>
                  </a:ext>
                </a:extLst>
              </p:cNvPr>
              <p:cNvSpPr/>
              <p:nvPr/>
            </p:nvSpPr>
            <p:spPr>
              <a:xfrm>
                <a:off x="5564896" y="2620056"/>
                <a:ext cx="41096" cy="109945"/>
              </a:xfrm>
              <a:custGeom>
                <a:avLst/>
                <a:gdLst>
                  <a:gd name="connsiteX0" fmla="*/ 542 w 41096"/>
                  <a:gd name="connsiteY0" fmla="*/ 14667 h 109945"/>
                  <a:gd name="connsiteX1" fmla="*/ 10794 w 41096"/>
                  <a:gd name="connsiteY1" fmla="*/ 21074 h 109945"/>
                  <a:gd name="connsiteX2" fmla="*/ 23610 w 41096"/>
                  <a:gd name="connsiteY2" fmla="*/ 88996 h 109945"/>
                  <a:gd name="connsiteX3" fmla="*/ 23610 w 41096"/>
                  <a:gd name="connsiteY3" fmla="*/ 109501 h 109945"/>
                  <a:gd name="connsiteX4" fmla="*/ 40270 w 41096"/>
                  <a:gd name="connsiteY4" fmla="*/ 94122 h 109945"/>
                  <a:gd name="connsiteX5" fmla="*/ 30018 w 41096"/>
                  <a:gd name="connsiteY5" fmla="*/ 87715 h 109945"/>
                  <a:gd name="connsiteX6" fmla="*/ 17202 w 41096"/>
                  <a:gd name="connsiteY6" fmla="*/ 19793 h 109945"/>
                  <a:gd name="connsiteX7" fmla="*/ 18484 w 41096"/>
                  <a:gd name="connsiteY7" fmla="*/ 570 h 109945"/>
                  <a:gd name="connsiteX8" fmla="*/ 12076 w 41096"/>
                  <a:gd name="connsiteY8" fmla="*/ 570 h 109945"/>
                  <a:gd name="connsiteX9" fmla="*/ 542 w 41096"/>
                  <a:gd name="connsiteY9" fmla="*/ 14667 h 10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096" h="109945">
                    <a:moveTo>
                      <a:pt x="542" y="14667"/>
                    </a:moveTo>
                    <a:cubicBezTo>
                      <a:pt x="1823" y="17230"/>
                      <a:pt x="4386" y="19793"/>
                      <a:pt x="10794" y="21074"/>
                    </a:cubicBezTo>
                    <a:cubicBezTo>
                      <a:pt x="14639" y="42861"/>
                      <a:pt x="18484" y="65928"/>
                      <a:pt x="23610" y="88996"/>
                    </a:cubicBezTo>
                    <a:cubicBezTo>
                      <a:pt x="12076" y="95404"/>
                      <a:pt x="14639" y="106938"/>
                      <a:pt x="23610" y="109501"/>
                    </a:cubicBezTo>
                    <a:cubicBezTo>
                      <a:pt x="33862" y="112064"/>
                      <a:pt x="44115" y="103093"/>
                      <a:pt x="40270" y="94122"/>
                    </a:cubicBezTo>
                    <a:cubicBezTo>
                      <a:pt x="38988" y="91559"/>
                      <a:pt x="36425" y="87715"/>
                      <a:pt x="30018" y="87715"/>
                    </a:cubicBezTo>
                    <a:cubicBezTo>
                      <a:pt x="26173" y="64647"/>
                      <a:pt x="21047" y="41579"/>
                      <a:pt x="17202" y="19793"/>
                    </a:cubicBezTo>
                    <a:cubicBezTo>
                      <a:pt x="28736" y="13385"/>
                      <a:pt x="26173" y="3133"/>
                      <a:pt x="18484" y="570"/>
                    </a:cubicBezTo>
                    <a:cubicBezTo>
                      <a:pt x="15920" y="-712"/>
                      <a:pt x="13357" y="570"/>
                      <a:pt x="12076" y="570"/>
                    </a:cubicBezTo>
                    <a:cubicBezTo>
                      <a:pt x="-740" y="3133"/>
                      <a:pt x="-740" y="12104"/>
                      <a:pt x="542" y="1466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0" name="Freeform: Shape 379504">
                <a:extLst>
                  <a:ext uri="{FF2B5EF4-FFF2-40B4-BE49-F238E27FC236}">
                    <a16:creationId xmlns:a16="http://schemas.microsoft.com/office/drawing/2014/main" id="{6637EF8D-52F5-497F-9B95-EEE081A694F2}"/>
                  </a:ext>
                </a:extLst>
              </p:cNvPr>
              <p:cNvSpPr/>
              <p:nvPr/>
            </p:nvSpPr>
            <p:spPr>
              <a:xfrm>
                <a:off x="5600780" y="2610209"/>
                <a:ext cx="129521" cy="153112"/>
              </a:xfrm>
              <a:custGeom>
                <a:avLst/>
                <a:gdLst>
                  <a:gd name="connsiteX0" fmla="*/ 541 w 129521"/>
                  <a:gd name="connsiteY0" fmla="*/ 15543 h 153112"/>
                  <a:gd name="connsiteX1" fmla="*/ 19764 w 129521"/>
                  <a:gd name="connsiteY1" fmla="*/ 18106 h 153112"/>
                  <a:gd name="connsiteX2" fmla="*/ 94094 w 129521"/>
                  <a:gd name="connsiteY2" fmla="*/ 53989 h 153112"/>
                  <a:gd name="connsiteX3" fmla="*/ 112035 w 129521"/>
                  <a:gd name="connsiteY3" fmla="*/ 132163 h 153112"/>
                  <a:gd name="connsiteX4" fmla="*/ 112035 w 129521"/>
                  <a:gd name="connsiteY4" fmla="*/ 152668 h 153112"/>
                  <a:gd name="connsiteX5" fmla="*/ 128696 w 129521"/>
                  <a:gd name="connsiteY5" fmla="*/ 137289 h 153112"/>
                  <a:gd name="connsiteX6" fmla="*/ 117162 w 129521"/>
                  <a:gd name="connsiteY6" fmla="*/ 130882 h 153112"/>
                  <a:gd name="connsiteX7" fmla="*/ 97939 w 129521"/>
                  <a:gd name="connsiteY7" fmla="*/ 50144 h 153112"/>
                  <a:gd name="connsiteX8" fmla="*/ 22327 w 129521"/>
                  <a:gd name="connsiteY8" fmla="*/ 12980 h 153112"/>
                  <a:gd name="connsiteX9" fmla="*/ 9511 w 129521"/>
                  <a:gd name="connsiteY9" fmla="*/ 164 h 153112"/>
                  <a:gd name="connsiteX10" fmla="*/ 541 w 129521"/>
                  <a:gd name="connsiteY10" fmla="*/ 15543 h 15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521" h="153112">
                    <a:moveTo>
                      <a:pt x="541" y="15543"/>
                    </a:moveTo>
                    <a:cubicBezTo>
                      <a:pt x="3104" y="21950"/>
                      <a:pt x="13356" y="23232"/>
                      <a:pt x="19764" y="18106"/>
                    </a:cubicBezTo>
                    <a:lnTo>
                      <a:pt x="94094" y="53989"/>
                    </a:lnTo>
                    <a:cubicBezTo>
                      <a:pt x="100501" y="79620"/>
                      <a:pt x="105628" y="106532"/>
                      <a:pt x="112035" y="132163"/>
                    </a:cubicBezTo>
                    <a:cubicBezTo>
                      <a:pt x="100501" y="138571"/>
                      <a:pt x="104346" y="150105"/>
                      <a:pt x="112035" y="152668"/>
                    </a:cubicBezTo>
                    <a:cubicBezTo>
                      <a:pt x="122288" y="155231"/>
                      <a:pt x="132540" y="146260"/>
                      <a:pt x="128696" y="137289"/>
                    </a:cubicBezTo>
                    <a:cubicBezTo>
                      <a:pt x="127414" y="134726"/>
                      <a:pt x="124851" y="130882"/>
                      <a:pt x="117162" y="130882"/>
                    </a:cubicBezTo>
                    <a:cubicBezTo>
                      <a:pt x="110754" y="103969"/>
                      <a:pt x="104346" y="77057"/>
                      <a:pt x="97939" y="50144"/>
                    </a:cubicBezTo>
                    <a:cubicBezTo>
                      <a:pt x="74871" y="38611"/>
                      <a:pt x="44113" y="24513"/>
                      <a:pt x="22327" y="12980"/>
                    </a:cubicBezTo>
                    <a:cubicBezTo>
                      <a:pt x="24890" y="5290"/>
                      <a:pt x="19764" y="-1117"/>
                      <a:pt x="9511" y="164"/>
                    </a:cubicBezTo>
                    <a:cubicBezTo>
                      <a:pt x="-3304" y="5290"/>
                      <a:pt x="541" y="15543"/>
                      <a:pt x="541" y="1554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1" name="Freeform: Shape 379505">
                <a:extLst>
                  <a:ext uri="{FF2B5EF4-FFF2-40B4-BE49-F238E27FC236}">
                    <a16:creationId xmlns:a16="http://schemas.microsoft.com/office/drawing/2014/main" id="{38ABE06F-E165-4CEB-955D-2D25FFE60470}"/>
                  </a:ext>
                </a:extLst>
              </p:cNvPr>
              <p:cNvSpPr/>
              <p:nvPr/>
            </p:nvSpPr>
            <p:spPr>
              <a:xfrm>
                <a:off x="5636243" y="2530348"/>
                <a:ext cx="169670" cy="215032"/>
              </a:xfrm>
              <a:custGeom>
                <a:avLst/>
                <a:gdLst>
                  <a:gd name="connsiteX0" fmla="*/ 961 w 169670"/>
                  <a:gd name="connsiteY0" fmla="*/ 86433 h 215032"/>
                  <a:gd name="connsiteX1" fmla="*/ 20184 w 169670"/>
                  <a:gd name="connsiteY1" fmla="*/ 88996 h 215032"/>
                  <a:gd name="connsiteX2" fmla="*/ 94515 w 169670"/>
                  <a:gd name="connsiteY2" fmla="*/ 124879 h 215032"/>
                  <a:gd name="connsiteX3" fmla="*/ 99640 w 169670"/>
                  <a:gd name="connsiteY3" fmla="*/ 142821 h 215032"/>
                  <a:gd name="connsiteX4" fmla="*/ 99640 w 169670"/>
                  <a:gd name="connsiteY4" fmla="*/ 162044 h 215032"/>
                  <a:gd name="connsiteX5" fmla="*/ 116301 w 169670"/>
                  <a:gd name="connsiteY5" fmla="*/ 147947 h 215032"/>
                  <a:gd name="connsiteX6" fmla="*/ 104767 w 169670"/>
                  <a:gd name="connsiteY6" fmla="*/ 141540 h 215032"/>
                  <a:gd name="connsiteX7" fmla="*/ 100922 w 169670"/>
                  <a:gd name="connsiteY7" fmla="*/ 127443 h 215032"/>
                  <a:gd name="connsiteX8" fmla="*/ 138087 w 169670"/>
                  <a:gd name="connsiteY8" fmla="*/ 145384 h 215032"/>
                  <a:gd name="connsiteX9" fmla="*/ 150903 w 169670"/>
                  <a:gd name="connsiteY9" fmla="*/ 194083 h 215032"/>
                  <a:gd name="connsiteX10" fmla="*/ 152184 w 169670"/>
                  <a:gd name="connsiteY10" fmla="*/ 214588 h 215032"/>
                  <a:gd name="connsiteX11" fmla="*/ 168844 w 169670"/>
                  <a:gd name="connsiteY11" fmla="*/ 199209 h 215032"/>
                  <a:gd name="connsiteX12" fmla="*/ 157310 w 169670"/>
                  <a:gd name="connsiteY12" fmla="*/ 192801 h 215032"/>
                  <a:gd name="connsiteX13" fmla="*/ 144495 w 169670"/>
                  <a:gd name="connsiteY13" fmla="*/ 141540 h 215032"/>
                  <a:gd name="connsiteX14" fmla="*/ 100922 w 169670"/>
                  <a:gd name="connsiteY14" fmla="*/ 121035 h 215032"/>
                  <a:gd name="connsiteX15" fmla="*/ 75291 w 169670"/>
                  <a:gd name="connsiteY15" fmla="*/ 18511 h 215032"/>
                  <a:gd name="connsiteX16" fmla="*/ 75291 w 169670"/>
                  <a:gd name="connsiteY16" fmla="*/ 570 h 215032"/>
                  <a:gd name="connsiteX17" fmla="*/ 68883 w 169670"/>
                  <a:gd name="connsiteY17" fmla="*/ 570 h 215032"/>
                  <a:gd name="connsiteX18" fmla="*/ 65038 w 169670"/>
                  <a:gd name="connsiteY18" fmla="*/ 18511 h 215032"/>
                  <a:gd name="connsiteX19" fmla="*/ 70165 w 169670"/>
                  <a:gd name="connsiteY19" fmla="*/ 19793 h 215032"/>
                  <a:gd name="connsiteX20" fmla="*/ 94515 w 169670"/>
                  <a:gd name="connsiteY20" fmla="*/ 118472 h 215032"/>
                  <a:gd name="connsiteX21" fmla="*/ 24029 w 169670"/>
                  <a:gd name="connsiteY21" fmla="*/ 85152 h 215032"/>
                  <a:gd name="connsiteX22" fmla="*/ 8650 w 169670"/>
                  <a:gd name="connsiteY22" fmla="*/ 73618 h 215032"/>
                  <a:gd name="connsiteX23" fmla="*/ 961 w 169670"/>
                  <a:gd name="connsiteY23" fmla="*/ 86433 h 215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9670" h="215032">
                    <a:moveTo>
                      <a:pt x="961" y="86433"/>
                    </a:moveTo>
                    <a:cubicBezTo>
                      <a:pt x="3524" y="91559"/>
                      <a:pt x="12495" y="95404"/>
                      <a:pt x="20184" y="88996"/>
                    </a:cubicBezTo>
                    <a:lnTo>
                      <a:pt x="94515" y="124879"/>
                    </a:lnTo>
                    <a:cubicBezTo>
                      <a:pt x="95796" y="131287"/>
                      <a:pt x="97077" y="137695"/>
                      <a:pt x="99640" y="142821"/>
                    </a:cubicBezTo>
                    <a:cubicBezTo>
                      <a:pt x="88106" y="149229"/>
                      <a:pt x="91951" y="159481"/>
                      <a:pt x="99640" y="162044"/>
                    </a:cubicBezTo>
                    <a:cubicBezTo>
                      <a:pt x="109893" y="164607"/>
                      <a:pt x="120145" y="155637"/>
                      <a:pt x="116301" y="147947"/>
                    </a:cubicBezTo>
                    <a:cubicBezTo>
                      <a:pt x="115019" y="145384"/>
                      <a:pt x="112456" y="141540"/>
                      <a:pt x="104767" y="141540"/>
                    </a:cubicBezTo>
                    <a:cubicBezTo>
                      <a:pt x="103485" y="136413"/>
                      <a:pt x="102204" y="132569"/>
                      <a:pt x="100922" y="127443"/>
                    </a:cubicBezTo>
                    <a:lnTo>
                      <a:pt x="138087" y="145384"/>
                    </a:lnTo>
                    <a:cubicBezTo>
                      <a:pt x="141932" y="162044"/>
                      <a:pt x="147058" y="177423"/>
                      <a:pt x="150903" y="194083"/>
                    </a:cubicBezTo>
                    <a:cubicBezTo>
                      <a:pt x="139369" y="200491"/>
                      <a:pt x="143213" y="212025"/>
                      <a:pt x="152184" y="214588"/>
                    </a:cubicBezTo>
                    <a:cubicBezTo>
                      <a:pt x="162437" y="217151"/>
                      <a:pt x="172689" y="208180"/>
                      <a:pt x="168844" y="199209"/>
                    </a:cubicBezTo>
                    <a:cubicBezTo>
                      <a:pt x="167563" y="196646"/>
                      <a:pt x="165000" y="192801"/>
                      <a:pt x="157310" y="192801"/>
                    </a:cubicBezTo>
                    <a:cubicBezTo>
                      <a:pt x="153466" y="176141"/>
                      <a:pt x="148339" y="158200"/>
                      <a:pt x="144495" y="141540"/>
                    </a:cubicBezTo>
                    <a:lnTo>
                      <a:pt x="100922" y="121035"/>
                    </a:lnTo>
                    <a:cubicBezTo>
                      <a:pt x="91951" y="85152"/>
                      <a:pt x="84262" y="51831"/>
                      <a:pt x="75291" y="18511"/>
                    </a:cubicBezTo>
                    <a:cubicBezTo>
                      <a:pt x="85544" y="13385"/>
                      <a:pt x="82981" y="3133"/>
                      <a:pt x="75291" y="570"/>
                    </a:cubicBezTo>
                    <a:cubicBezTo>
                      <a:pt x="72728" y="-712"/>
                      <a:pt x="70165" y="570"/>
                      <a:pt x="68883" y="570"/>
                    </a:cubicBezTo>
                    <a:cubicBezTo>
                      <a:pt x="56068" y="4414"/>
                      <a:pt x="58631" y="15948"/>
                      <a:pt x="65038" y="18511"/>
                    </a:cubicBezTo>
                    <a:cubicBezTo>
                      <a:pt x="67602" y="19793"/>
                      <a:pt x="68883" y="19793"/>
                      <a:pt x="70165" y="19793"/>
                    </a:cubicBezTo>
                    <a:cubicBezTo>
                      <a:pt x="77854" y="51831"/>
                      <a:pt x="85544" y="85152"/>
                      <a:pt x="94515" y="118472"/>
                    </a:cubicBezTo>
                    <a:cubicBezTo>
                      <a:pt x="74010" y="108219"/>
                      <a:pt x="45816" y="95404"/>
                      <a:pt x="24029" y="85152"/>
                    </a:cubicBezTo>
                    <a:cubicBezTo>
                      <a:pt x="27874" y="74899"/>
                      <a:pt x="16340" y="69773"/>
                      <a:pt x="8650" y="73618"/>
                    </a:cubicBezTo>
                    <a:cubicBezTo>
                      <a:pt x="961" y="76181"/>
                      <a:pt x="-1602" y="81307"/>
                      <a:pt x="961" y="8643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2" name="Freeform: Shape 379506">
                <a:extLst>
                  <a:ext uri="{FF2B5EF4-FFF2-40B4-BE49-F238E27FC236}">
                    <a16:creationId xmlns:a16="http://schemas.microsoft.com/office/drawing/2014/main" id="{12F9FBA0-86B1-4BB2-A597-2E2E5A645633}"/>
                  </a:ext>
                </a:extLst>
              </p:cNvPr>
              <p:cNvSpPr/>
              <p:nvPr/>
            </p:nvSpPr>
            <p:spPr>
              <a:xfrm>
                <a:off x="5659462" y="2538037"/>
                <a:ext cx="36320" cy="76627"/>
              </a:xfrm>
              <a:custGeom>
                <a:avLst/>
                <a:gdLst>
                  <a:gd name="connsiteX0" fmla="*/ 810 w 36320"/>
                  <a:gd name="connsiteY0" fmla="*/ 14667 h 76627"/>
                  <a:gd name="connsiteX1" fmla="*/ 11063 w 36320"/>
                  <a:gd name="connsiteY1" fmla="*/ 19793 h 76627"/>
                  <a:gd name="connsiteX2" fmla="*/ 20034 w 36320"/>
                  <a:gd name="connsiteY2" fmla="*/ 56958 h 76627"/>
                  <a:gd name="connsiteX3" fmla="*/ 20034 w 36320"/>
                  <a:gd name="connsiteY3" fmla="*/ 76181 h 76627"/>
                  <a:gd name="connsiteX4" fmla="*/ 35412 w 36320"/>
                  <a:gd name="connsiteY4" fmla="*/ 62084 h 76627"/>
                  <a:gd name="connsiteX5" fmla="*/ 25160 w 36320"/>
                  <a:gd name="connsiteY5" fmla="*/ 55676 h 76627"/>
                  <a:gd name="connsiteX6" fmla="*/ 16189 w 36320"/>
                  <a:gd name="connsiteY6" fmla="*/ 18511 h 76627"/>
                  <a:gd name="connsiteX7" fmla="*/ 16189 w 36320"/>
                  <a:gd name="connsiteY7" fmla="*/ 570 h 76627"/>
                  <a:gd name="connsiteX8" fmla="*/ 9781 w 36320"/>
                  <a:gd name="connsiteY8" fmla="*/ 570 h 76627"/>
                  <a:gd name="connsiteX9" fmla="*/ 810 w 36320"/>
                  <a:gd name="connsiteY9" fmla="*/ 14667 h 76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20" h="76627">
                    <a:moveTo>
                      <a:pt x="810" y="14667"/>
                    </a:moveTo>
                    <a:cubicBezTo>
                      <a:pt x="2092" y="17230"/>
                      <a:pt x="4655" y="19793"/>
                      <a:pt x="11063" y="19793"/>
                    </a:cubicBezTo>
                    <a:cubicBezTo>
                      <a:pt x="13626" y="32608"/>
                      <a:pt x="16189" y="44142"/>
                      <a:pt x="20034" y="56958"/>
                    </a:cubicBezTo>
                    <a:cubicBezTo>
                      <a:pt x="8500" y="63365"/>
                      <a:pt x="12344" y="73618"/>
                      <a:pt x="20034" y="76181"/>
                    </a:cubicBezTo>
                    <a:cubicBezTo>
                      <a:pt x="30286" y="78744"/>
                      <a:pt x="39257" y="69773"/>
                      <a:pt x="35412" y="62084"/>
                    </a:cubicBezTo>
                    <a:cubicBezTo>
                      <a:pt x="34131" y="59521"/>
                      <a:pt x="31568" y="56958"/>
                      <a:pt x="25160" y="55676"/>
                    </a:cubicBezTo>
                    <a:cubicBezTo>
                      <a:pt x="22597" y="42861"/>
                      <a:pt x="20034" y="31327"/>
                      <a:pt x="16189" y="18511"/>
                    </a:cubicBezTo>
                    <a:cubicBezTo>
                      <a:pt x="26441" y="13385"/>
                      <a:pt x="23878" y="3133"/>
                      <a:pt x="16189" y="570"/>
                    </a:cubicBezTo>
                    <a:cubicBezTo>
                      <a:pt x="13626" y="-712"/>
                      <a:pt x="11063" y="570"/>
                      <a:pt x="9781" y="570"/>
                    </a:cubicBezTo>
                    <a:cubicBezTo>
                      <a:pt x="-1752" y="4414"/>
                      <a:pt x="-471" y="12103"/>
                      <a:pt x="810" y="1466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3" name="Freeform: Shape 379507">
                <a:extLst>
                  <a:ext uri="{FF2B5EF4-FFF2-40B4-BE49-F238E27FC236}">
                    <a16:creationId xmlns:a16="http://schemas.microsoft.com/office/drawing/2014/main" id="{141DBC66-EE3E-42FB-B536-6DA439C62B4C}"/>
                  </a:ext>
                </a:extLst>
              </p:cNvPr>
              <p:cNvSpPr/>
              <p:nvPr/>
            </p:nvSpPr>
            <p:spPr>
              <a:xfrm>
                <a:off x="6054926" y="2511694"/>
                <a:ext cx="146242" cy="350692"/>
              </a:xfrm>
              <a:custGeom>
                <a:avLst/>
                <a:gdLst>
                  <a:gd name="connsiteX0" fmla="*/ 1345 w 146242"/>
                  <a:gd name="connsiteY0" fmla="*/ 11534 h 350692"/>
                  <a:gd name="connsiteX1" fmla="*/ 12879 w 146242"/>
                  <a:gd name="connsiteY1" fmla="*/ 17942 h 350692"/>
                  <a:gd name="connsiteX2" fmla="*/ 126937 w 146242"/>
                  <a:gd name="connsiteY2" fmla="*/ 328076 h 350692"/>
                  <a:gd name="connsiteX3" fmla="*/ 129500 w 146242"/>
                  <a:gd name="connsiteY3" fmla="*/ 349862 h 350692"/>
                  <a:gd name="connsiteX4" fmla="*/ 144879 w 146242"/>
                  <a:gd name="connsiteY4" fmla="*/ 334483 h 350692"/>
                  <a:gd name="connsiteX5" fmla="*/ 132063 w 146242"/>
                  <a:gd name="connsiteY5" fmla="*/ 328076 h 350692"/>
                  <a:gd name="connsiteX6" fmla="*/ 16724 w 146242"/>
                  <a:gd name="connsiteY6" fmla="*/ 17942 h 350692"/>
                  <a:gd name="connsiteX7" fmla="*/ 11598 w 146242"/>
                  <a:gd name="connsiteY7" fmla="*/ 0 h 350692"/>
                  <a:gd name="connsiteX8" fmla="*/ 6471 w 146242"/>
                  <a:gd name="connsiteY8" fmla="*/ 0 h 350692"/>
                  <a:gd name="connsiteX9" fmla="*/ 1345 w 146242"/>
                  <a:gd name="connsiteY9" fmla="*/ 11534 h 350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242" h="350692">
                    <a:moveTo>
                      <a:pt x="1345" y="11534"/>
                    </a:moveTo>
                    <a:cubicBezTo>
                      <a:pt x="2627" y="14097"/>
                      <a:pt x="6471" y="16660"/>
                      <a:pt x="12879" y="17942"/>
                    </a:cubicBezTo>
                    <a:cubicBezTo>
                      <a:pt x="51326" y="112776"/>
                      <a:pt x="89772" y="216581"/>
                      <a:pt x="126937" y="328076"/>
                    </a:cubicBezTo>
                    <a:cubicBezTo>
                      <a:pt x="115403" y="334483"/>
                      <a:pt x="120529" y="346017"/>
                      <a:pt x="129500" y="349862"/>
                    </a:cubicBezTo>
                    <a:cubicBezTo>
                      <a:pt x="139753" y="353707"/>
                      <a:pt x="150005" y="343454"/>
                      <a:pt x="144879" y="334483"/>
                    </a:cubicBezTo>
                    <a:cubicBezTo>
                      <a:pt x="143597" y="331920"/>
                      <a:pt x="139753" y="328076"/>
                      <a:pt x="132063" y="328076"/>
                    </a:cubicBezTo>
                    <a:cubicBezTo>
                      <a:pt x="94898" y="216581"/>
                      <a:pt x="56452" y="112776"/>
                      <a:pt x="16724" y="17942"/>
                    </a:cubicBezTo>
                    <a:cubicBezTo>
                      <a:pt x="29539" y="10252"/>
                      <a:pt x="18005" y="0"/>
                      <a:pt x="11598" y="0"/>
                    </a:cubicBezTo>
                    <a:cubicBezTo>
                      <a:pt x="10316" y="0"/>
                      <a:pt x="7753" y="0"/>
                      <a:pt x="6471" y="0"/>
                    </a:cubicBezTo>
                    <a:cubicBezTo>
                      <a:pt x="-2499" y="1282"/>
                      <a:pt x="64" y="8971"/>
                      <a:pt x="1345"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4" name="Freeform: Shape 379508">
                <a:extLst>
                  <a:ext uri="{FF2B5EF4-FFF2-40B4-BE49-F238E27FC236}">
                    <a16:creationId xmlns:a16="http://schemas.microsoft.com/office/drawing/2014/main" id="{D1745319-63B2-494A-AEB4-CCF38E253740}"/>
                  </a:ext>
                </a:extLst>
              </p:cNvPr>
              <p:cNvSpPr/>
              <p:nvPr/>
            </p:nvSpPr>
            <p:spPr>
              <a:xfrm>
                <a:off x="6085427" y="2416290"/>
                <a:ext cx="59771" cy="98541"/>
              </a:xfrm>
              <a:custGeom>
                <a:avLst/>
                <a:gdLst>
                  <a:gd name="connsiteX0" fmla="*/ 1602 w 59771"/>
                  <a:gd name="connsiteY0" fmla="*/ 13385 h 98541"/>
                  <a:gd name="connsiteX1" fmla="*/ 13136 w 59771"/>
                  <a:gd name="connsiteY1" fmla="*/ 18511 h 98541"/>
                  <a:gd name="connsiteX2" fmla="*/ 41330 w 59771"/>
                  <a:gd name="connsiteY2" fmla="*/ 80025 h 98541"/>
                  <a:gd name="connsiteX3" fmla="*/ 45175 w 59771"/>
                  <a:gd name="connsiteY3" fmla="*/ 97967 h 98541"/>
                  <a:gd name="connsiteX4" fmla="*/ 59272 w 59771"/>
                  <a:gd name="connsiteY4" fmla="*/ 86433 h 98541"/>
                  <a:gd name="connsiteX5" fmla="*/ 46456 w 59771"/>
                  <a:gd name="connsiteY5" fmla="*/ 78744 h 98541"/>
                  <a:gd name="connsiteX6" fmla="*/ 18262 w 59771"/>
                  <a:gd name="connsiteY6" fmla="*/ 17230 h 98541"/>
                  <a:gd name="connsiteX7" fmla="*/ 14417 w 59771"/>
                  <a:gd name="connsiteY7" fmla="*/ 570 h 98541"/>
                  <a:gd name="connsiteX8" fmla="*/ 8010 w 59771"/>
                  <a:gd name="connsiteY8" fmla="*/ 570 h 98541"/>
                  <a:gd name="connsiteX9" fmla="*/ 1602 w 59771"/>
                  <a:gd name="connsiteY9" fmla="*/ 13385 h 9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771" h="98541">
                    <a:moveTo>
                      <a:pt x="1602" y="13385"/>
                    </a:moveTo>
                    <a:cubicBezTo>
                      <a:pt x="2883" y="15948"/>
                      <a:pt x="6728" y="18511"/>
                      <a:pt x="13136" y="18511"/>
                    </a:cubicBezTo>
                    <a:cubicBezTo>
                      <a:pt x="22107" y="39016"/>
                      <a:pt x="32359" y="59521"/>
                      <a:pt x="41330" y="80025"/>
                    </a:cubicBezTo>
                    <a:cubicBezTo>
                      <a:pt x="32359" y="85152"/>
                      <a:pt x="37485" y="95404"/>
                      <a:pt x="45175" y="97967"/>
                    </a:cubicBezTo>
                    <a:cubicBezTo>
                      <a:pt x="54145" y="100530"/>
                      <a:pt x="61835" y="94122"/>
                      <a:pt x="59272" y="86433"/>
                    </a:cubicBezTo>
                    <a:cubicBezTo>
                      <a:pt x="57990" y="83870"/>
                      <a:pt x="55427" y="80025"/>
                      <a:pt x="46456" y="78744"/>
                    </a:cubicBezTo>
                    <a:cubicBezTo>
                      <a:pt x="37485" y="58239"/>
                      <a:pt x="27233" y="37734"/>
                      <a:pt x="18262" y="17230"/>
                    </a:cubicBezTo>
                    <a:cubicBezTo>
                      <a:pt x="27233" y="12104"/>
                      <a:pt x="22107" y="3133"/>
                      <a:pt x="14417" y="570"/>
                    </a:cubicBezTo>
                    <a:cubicBezTo>
                      <a:pt x="11854" y="-712"/>
                      <a:pt x="9291" y="570"/>
                      <a:pt x="8010" y="570"/>
                    </a:cubicBezTo>
                    <a:cubicBezTo>
                      <a:pt x="-4806" y="4414"/>
                      <a:pt x="1602" y="13385"/>
                      <a:pt x="1602" y="133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5" name="Freeform: Shape 379509">
                <a:extLst>
                  <a:ext uri="{FF2B5EF4-FFF2-40B4-BE49-F238E27FC236}">
                    <a16:creationId xmlns:a16="http://schemas.microsoft.com/office/drawing/2014/main" id="{55344686-1A41-4F92-A8B3-A0105609CE83}"/>
                  </a:ext>
                </a:extLst>
              </p:cNvPr>
              <p:cNvSpPr/>
              <p:nvPr/>
            </p:nvSpPr>
            <p:spPr>
              <a:xfrm>
                <a:off x="6130108" y="2436795"/>
                <a:ext cx="47644" cy="71628"/>
              </a:xfrm>
              <a:custGeom>
                <a:avLst/>
                <a:gdLst>
                  <a:gd name="connsiteX0" fmla="*/ 1775 w 47644"/>
                  <a:gd name="connsiteY0" fmla="*/ 13385 h 71628"/>
                  <a:gd name="connsiteX1" fmla="*/ 13309 w 47644"/>
                  <a:gd name="connsiteY1" fmla="*/ 18511 h 71628"/>
                  <a:gd name="connsiteX2" fmla="*/ 29969 w 47644"/>
                  <a:gd name="connsiteY2" fmla="*/ 53113 h 71628"/>
                  <a:gd name="connsiteX3" fmla="*/ 33814 w 47644"/>
                  <a:gd name="connsiteY3" fmla="*/ 71055 h 71628"/>
                  <a:gd name="connsiteX4" fmla="*/ 46629 w 47644"/>
                  <a:gd name="connsiteY4" fmla="*/ 59521 h 71628"/>
                  <a:gd name="connsiteX5" fmla="*/ 33814 w 47644"/>
                  <a:gd name="connsiteY5" fmla="*/ 51831 h 71628"/>
                  <a:gd name="connsiteX6" fmla="*/ 17154 w 47644"/>
                  <a:gd name="connsiteY6" fmla="*/ 17230 h 71628"/>
                  <a:gd name="connsiteX7" fmla="*/ 13309 w 47644"/>
                  <a:gd name="connsiteY7" fmla="*/ 570 h 71628"/>
                  <a:gd name="connsiteX8" fmla="*/ 6901 w 47644"/>
                  <a:gd name="connsiteY8" fmla="*/ 570 h 71628"/>
                  <a:gd name="connsiteX9" fmla="*/ 1775 w 47644"/>
                  <a:gd name="connsiteY9" fmla="*/ 13385 h 7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44" h="71628">
                    <a:moveTo>
                      <a:pt x="1775" y="13385"/>
                    </a:moveTo>
                    <a:cubicBezTo>
                      <a:pt x="3057" y="15948"/>
                      <a:pt x="6901" y="18511"/>
                      <a:pt x="13309" y="18511"/>
                    </a:cubicBezTo>
                    <a:cubicBezTo>
                      <a:pt x="18435" y="30045"/>
                      <a:pt x="24843" y="41579"/>
                      <a:pt x="29969" y="53113"/>
                    </a:cubicBezTo>
                    <a:cubicBezTo>
                      <a:pt x="20998" y="58239"/>
                      <a:pt x="26125" y="68492"/>
                      <a:pt x="33814" y="71055"/>
                    </a:cubicBezTo>
                    <a:cubicBezTo>
                      <a:pt x="42785" y="73618"/>
                      <a:pt x="50474" y="67210"/>
                      <a:pt x="46629" y="59521"/>
                    </a:cubicBezTo>
                    <a:cubicBezTo>
                      <a:pt x="45348" y="56958"/>
                      <a:pt x="42785" y="53113"/>
                      <a:pt x="33814" y="51831"/>
                    </a:cubicBezTo>
                    <a:cubicBezTo>
                      <a:pt x="28688" y="40297"/>
                      <a:pt x="22280" y="28764"/>
                      <a:pt x="17154" y="17230"/>
                    </a:cubicBezTo>
                    <a:cubicBezTo>
                      <a:pt x="26125" y="12103"/>
                      <a:pt x="20998" y="3133"/>
                      <a:pt x="13309" y="570"/>
                    </a:cubicBezTo>
                    <a:cubicBezTo>
                      <a:pt x="10746" y="-712"/>
                      <a:pt x="8183" y="570"/>
                      <a:pt x="6901" y="570"/>
                    </a:cubicBezTo>
                    <a:cubicBezTo>
                      <a:pt x="-4633" y="3133"/>
                      <a:pt x="1775" y="12103"/>
                      <a:pt x="1775" y="133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6" name="Freeform: Shape 379510">
                <a:extLst>
                  <a:ext uri="{FF2B5EF4-FFF2-40B4-BE49-F238E27FC236}">
                    <a16:creationId xmlns:a16="http://schemas.microsoft.com/office/drawing/2014/main" id="{0D165B1A-D28C-4F8C-815D-CAA34C91BDA4}"/>
                  </a:ext>
                </a:extLst>
              </p:cNvPr>
              <p:cNvSpPr/>
              <p:nvPr/>
            </p:nvSpPr>
            <p:spPr>
              <a:xfrm>
                <a:off x="6796476" y="2382258"/>
                <a:ext cx="157365" cy="213310"/>
              </a:xfrm>
              <a:custGeom>
                <a:avLst/>
                <a:gdLst>
                  <a:gd name="connsiteX0" fmla="*/ 4376 w 157365"/>
                  <a:gd name="connsiteY0" fmla="*/ 12815 h 213310"/>
                  <a:gd name="connsiteX1" fmla="*/ 15910 w 157365"/>
                  <a:gd name="connsiteY1" fmla="*/ 19223 h 213310"/>
                  <a:gd name="connsiteX2" fmla="*/ 138939 w 157365"/>
                  <a:gd name="connsiteY2" fmla="*/ 193513 h 213310"/>
                  <a:gd name="connsiteX3" fmla="*/ 149191 w 157365"/>
                  <a:gd name="connsiteY3" fmla="*/ 212737 h 213310"/>
                  <a:gd name="connsiteX4" fmla="*/ 155599 w 157365"/>
                  <a:gd name="connsiteY4" fmla="*/ 201203 h 213310"/>
                  <a:gd name="connsiteX5" fmla="*/ 142783 w 157365"/>
                  <a:gd name="connsiteY5" fmla="*/ 192232 h 213310"/>
                  <a:gd name="connsiteX6" fmla="*/ 18473 w 157365"/>
                  <a:gd name="connsiteY6" fmla="*/ 17942 h 213310"/>
                  <a:gd name="connsiteX7" fmla="*/ 4376 w 157365"/>
                  <a:gd name="connsiteY7" fmla="*/ 0 h 213310"/>
                  <a:gd name="connsiteX8" fmla="*/ 3094 w 157365"/>
                  <a:gd name="connsiteY8" fmla="*/ 0 h 213310"/>
                  <a:gd name="connsiteX9" fmla="*/ 4376 w 157365"/>
                  <a:gd name="connsiteY9" fmla="*/ 12815 h 213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65" h="213310">
                    <a:moveTo>
                      <a:pt x="4376" y="12815"/>
                    </a:moveTo>
                    <a:cubicBezTo>
                      <a:pt x="6939" y="15379"/>
                      <a:pt x="10783" y="17942"/>
                      <a:pt x="15910" y="19223"/>
                    </a:cubicBezTo>
                    <a:cubicBezTo>
                      <a:pt x="59483" y="74330"/>
                      <a:pt x="100492" y="131999"/>
                      <a:pt x="138939" y="193513"/>
                    </a:cubicBezTo>
                    <a:cubicBezTo>
                      <a:pt x="131250" y="198640"/>
                      <a:pt x="141502" y="210173"/>
                      <a:pt x="149191" y="212737"/>
                    </a:cubicBezTo>
                    <a:cubicBezTo>
                      <a:pt x="156880" y="215300"/>
                      <a:pt x="159443" y="208892"/>
                      <a:pt x="155599" y="201203"/>
                    </a:cubicBezTo>
                    <a:cubicBezTo>
                      <a:pt x="154317" y="198640"/>
                      <a:pt x="150472" y="193513"/>
                      <a:pt x="142783" y="192232"/>
                    </a:cubicBezTo>
                    <a:cubicBezTo>
                      <a:pt x="104337" y="130718"/>
                      <a:pt x="62046" y="71767"/>
                      <a:pt x="18473" y="17942"/>
                    </a:cubicBezTo>
                    <a:cubicBezTo>
                      <a:pt x="24881" y="11534"/>
                      <a:pt x="10783" y="1282"/>
                      <a:pt x="4376" y="0"/>
                    </a:cubicBezTo>
                    <a:cubicBezTo>
                      <a:pt x="4376" y="0"/>
                      <a:pt x="3094" y="0"/>
                      <a:pt x="3094" y="0"/>
                    </a:cubicBezTo>
                    <a:cubicBezTo>
                      <a:pt x="-3314" y="2563"/>
                      <a:pt x="1813" y="10252"/>
                      <a:pt x="4376"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7" name="Freeform: Shape 379511">
                <a:extLst>
                  <a:ext uri="{FF2B5EF4-FFF2-40B4-BE49-F238E27FC236}">
                    <a16:creationId xmlns:a16="http://schemas.microsoft.com/office/drawing/2014/main" id="{A4F625BE-A97E-4983-9753-1B5802C3E31E}"/>
                  </a:ext>
                </a:extLst>
              </p:cNvPr>
              <p:cNvSpPr/>
              <p:nvPr/>
            </p:nvSpPr>
            <p:spPr>
              <a:xfrm>
                <a:off x="6771327" y="2228473"/>
                <a:ext cx="70534" cy="169031"/>
              </a:xfrm>
              <a:custGeom>
                <a:avLst/>
                <a:gdLst>
                  <a:gd name="connsiteX0" fmla="*/ 53874 w 70534"/>
                  <a:gd name="connsiteY0" fmla="*/ 162756 h 169031"/>
                  <a:gd name="connsiteX1" fmla="*/ 70535 w 70534"/>
                  <a:gd name="connsiteY1" fmla="*/ 165319 h 169031"/>
                  <a:gd name="connsiteX2" fmla="*/ 53874 w 70534"/>
                  <a:gd name="connsiteY2" fmla="*/ 151222 h 169031"/>
                  <a:gd name="connsiteX3" fmla="*/ 19273 w 70534"/>
                  <a:gd name="connsiteY3" fmla="*/ 110213 h 169031"/>
                  <a:gd name="connsiteX4" fmla="*/ 14147 w 70534"/>
                  <a:gd name="connsiteY4" fmla="*/ 14097 h 169031"/>
                  <a:gd name="connsiteX5" fmla="*/ 20554 w 70534"/>
                  <a:gd name="connsiteY5" fmla="*/ 11534 h 169031"/>
                  <a:gd name="connsiteX6" fmla="*/ 2613 w 70534"/>
                  <a:gd name="connsiteY6" fmla="*/ 0 h 169031"/>
                  <a:gd name="connsiteX7" fmla="*/ 9020 w 70534"/>
                  <a:gd name="connsiteY7" fmla="*/ 11534 h 169031"/>
                  <a:gd name="connsiteX8" fmla="*/ 14147 w 70534"/>
                  <a:gd name="connsiteY8" fmla="*/ 108931 h 169031"/>
                  <a:gd name="connsiteX9" fmla="*/ 50030 w 70534"/>
                  <a:gd name="connsiteY9" fmla="*/ 151222 h 169031"/>
                  <a:gd name="connsiteX10" fmla="*/ 53874 w 70534"/>
                  <a:gd name="connsiteY10" fmla="*/ 162756 h 169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0534" h="169031">
                    <a:moveTo>
                      <a:pt x="53874" y="162756"/>
                    </a:moveTo>
                    <a:cubicBezTo>
                      <a:pt x="60283" y="169164"/>
                      <a:pt x="70535" y="171727"/>
                      <a:pt x="70535" y="165319"/>
                    </a:cubicBezTo>
                    <a:cubicBezTo>
                      <a:pt x="70535" y="161475"/>
                      <a:pt x="64127" y="152504"/>
                      <a:pt x="53874" y="151222"/>
                    </a:cubicBezTo>
                    <a:cubicBezTo>
                      <a:pt x="42340" y="137125"/>
                      <a:pt x="30807" y="124310"/>
                      <a:pt x="19273" y="110213"/>
                    </a:cubicBezTo>
                    <a:cubicBezTo>
                      <a:pt x="17991" y="80737"/>
                      <a:pt x="17991" y="42291"/>
                      <a:pt x="14147" y="14097"/>
                    </a:cubicBezTo>
                    <a:cubicBezTo>
                      <a:pt x="24399" y="17942"/>
                      <a:pt x="20554" y="11534"/>
                      <a:pt x="20554" y="11534"/>
                    </a:cubicBezTo>
                    <a:cubicBezTo>
                      <a:pt x="17991" y="7689"/>
                      <a:pt x="9020" y="0"/>
                      <a:pt x="2613" y="0"/>
                    </a:cubicBezTo>
                    <a:cubicBezTo>
                      <a:pt x="-2514" y="1282"/>
                      <a:pt x="50" y="6408"/>
                      <a:pt x="9020" y="11534"/>
                    </a:cubicBezTo>
                    <a:cubicBezTo>
                      <a:pt x="11584" y="41009"/>
                      <a:pt x="15428" y="79456"/>
                      <a:pt x="14147" y="108931"/>
                    </a:cubicBezTo>
                    <a:cubicBezTo>
                      <a:pt x="26962" y="123028"/>
                      <a:pt x="38496" y="137125"/>
                      <a:pt x="50030" y="151222"/>
                    </a:cubicBezTo>
                    <a:cubicBezTo>
                      <a:pt x="46185" y="155067"/>
                      <a:pt x="52593" y="162756"/>
                      <a:pt x="53874" y="16275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8" name="Freeform: Shape 379512">
                <a:extLst>
                  <a:ext uri="{FF2B5EF4-FFF2-40B4-BE49-F238E27FC236}">
                    <a16:creationId xmlns:a16="http://schemas.microsoft.com/office/drawing/2014/main" id="{E24A2B5E-BD45-4F18-9484-F162669BA2E0}"/>
                  </a:ext>
                </a:extLst>
              </p:cNvPr>
              <p:cNvSpPr/>
              <p:nvPr/>
            </p:nvSpPr>
            <p:spPr>
              <a:xfrm>
                <a:off x="6911321" y="2369443"/>
                <a:ext cx="106813" cy="125789"/>
              </a:xfrm>
              <a:custGeom>
                <a:avLst/>
                <a:gdLst>
                  <a:gd name="connsiteX0" fmla="*/ 4871 w 106813"/>
                  <a:gd name="connsiteY0" fmla="*/ 11534 h 125789"/>
                  <a:gd name="connsiteX1" fmla="*/ 16405 w 106813"/>
                  <a:gd name="connsiteY1" fmla="*/ 17942 h 125789"/>
                  <a:gd name="connsiteX2" fmla="*/ 88171 w 106813"/>
                  <a:gd name="connsiteY2" fmla="*/ 106368 h 125789"/>
                  <a:gd name="connsiteX3" fmla="*/ 102268 w 106813"/>
                  <a:gd name="connsiteY3" fmla="*/ 125591 h 125789"/>
                  <a:gd name="connsiteX4" fmla="*/ 103550 w 106813"/>
                  <a:gd name="connsiteY4" fmla="*/ 115339 h 125789"/>
                  <a:gd name="connsiteX5" fmla="*/ 90734 w 106813"/>
                  <a:gd name="connsiteY5" fmla="*/ 106368 h 125789"/>
                  <a:gd name="connsiteX6" fmla="*/ 18967 w 106813"/>
                  <a:gd name="connsiteY6" fmla="*/ 17942 h 125789"/>
                  <a:gd name="connsiteX7" fmla="*/ 3589 w 106813"/>
                  <a:gd name="connsiteY7" fmla="*/ 0 h 125789"/>
                  <a:gd name="connsiteX8" fmla="*/ 2307 w 106813"/>
                  <a:gd name="connsiteY8" fmla="*/ 0 h 125789"/>
                  <a:gd name="connsiteX9" fmla="*/ 4871 w 106813"/>
                  <a:gd name="connsiteY9" fmla="*/ 11534 h 125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813" h="125789">
                    <a:moveTo>
                      <a:pt x="4871" y="11534"/>
                    </a:moveTo>
                    <a:cubicBezTo>
                      <a:pt x="7433" y="14097"/>
                      <a:pt x="11278" y="16660"/>
                      <a:pt x="16405" y="17942"/>
                    </a:cubicBezTo>
                    <a:cubicBezTo>
                      <a:pt x="40754" y="46136"/>
                      <a:pt x="65103" y="75611"/>
                      <a:pt x="88171" y="106368"/>
                    </a:cubicBezTo>
                    <a:cubicBezTo>
                      <a:pt x="81763" y="111494"/>
                      <a:pt x="94579" y="124310"/>
                      <a:pt x="102268" y="125591"/>
                    </a:cubicBezTo>
                    <a:cubicBezTo>
                      <a:pt x="107395" y="126873"/>
                      <a:pt x="108676" y="121747"/>
                      <a:pt x="103550" y="115339"/>
                    </a:cubicBezTo>
                    <a:cubicBezTo>
                      <a:pt x="102268" y="112776"/>
                      <a:pt x="97142" y="107650"/>
                      <a:pt x="90734" y="106368"/>
                    </a:cubicBezTo>
                    <a:cubicBezTo>
                      <a:pt x="67666" y="75611"/>
                      <a:pt x="43317" y="46136"/>
                      <a:pt x="18967" y="17942"/>
                    </a:cubicBezTo>
                    <a:cubicBezTo>
                      <a:pt x="24094" y="14097"/>
                      <a:pt x="11278" y="1282"/>
                      <a:pt x="3589" y="0"/>
                    </a:cubicBezTo>
                    <a:cubicBezTo>
                      <a:pt x="3589" y="0"/>
                      <a:pt x="2307" y="0"/>
                      <a:pt x="2307" y="0"/>
                    </a:cubicBezTo>
                    <a:cubicBezTo>
                      <a:pt x="-4100" y="2563"/>
                      <a:pt x="4871" y="11534"/>
                      <a:pt x="4871"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89" name="Freeform: Shape 379513">
                <a:extLst>
                  <a:ext uri="{FF2B5EF4-FFF2-40B4-BE49-F238E27FC236}">
                    <a16:creationId xmlns:a16="http://schemas.microsoft.com/office/drawing/2014/main" id="{6612F1A7-F37F-40E9-B503-489667F18D65}"/>
                  </a:ext>
                </a:extLst>
              </p:cNvPr>
              <p:cNvSpPr/>
              <p:nvPr/>
            </p:nvSpPr>
            <p:spPr>
              <a:xfrm>
                <a:off x="7148152" y="2361753"/>
                <a:ext cx="230678" cy="301163"/>
              </a:xfrm>
              <a:custGeom>
                <a:avLst/>
                <a:gdLst>
                  <a:gd name="connsiteX0" fmla="*/ 219145 w 230678"/>
                  <a:gd name="connsiteY0" fmla="*/ 292192 h 301163"/>
                  <a:gd name="connsiteX1" fmla="*/ 229398 w 230678"/>
                  <a:gd name="connsiteY1" fmla="*/ 301163 h 301163"/>
                  <a:gd name="connsiteX2" fmla="*/ 230679 w 230678"/>
                  <a:gd name="connsiteY2" fmla="*/ 299882 h 301163"/>
                  <a:gd name="connsiteX3" fmla="*/ 216582 w 230678"/>
                  <a:gd name="connsiteY3" fmla="*/ 280658 h 301163"/>
                  <a:gd name="connsiteX4" fmla="*/ 161476 w 230678"/>
                  <a:gd name="connsiteY4" fmla="*/ 201203 h 301163"/>
                  <a:gd name="connsiteX5" fmla="*/ 152505 w 230678"/>
                  <a:gd name="connsiteY5" fmla="*/ 173009 h 301163"/>
                  <a:gd name="connsiteX6" fmla="*/ 17942 w 230678"/>
                  <a:gd name="connsiteY6" fmla="*/ 17942 h 301163"/>
                  <a:gd name="connsiteX7" fmla="*/ 0 w 230678"/>
                  <a:gd name="connsiteY7" fmla="*/ 0 h 301163"/>
                  <a:gd name="connsiteX8" fmla="*/ 16660 w 230678"/>
                  <a:gd name="connsiteY8" fmla="*/ 17942 h 301163"/>
                  <a:gd name="connsiteX9" fmla="*/ 149942 w 230678"/>
                  <a:gd name="connsiteY9" fmla="*/ 171727 h 301163"/>
                  <a:gd name="connsiteX10" fmla="*/ 158912 w 230678"/>
                  <a:gd name="connsiteY10" fmla="*/ 199921 h 301163"/>
                  <a:gd name="connsiteX11" fmla="*/ 215300 w 230678"/>
                  <a:gd name="connsiteY11" fmla="*/ 280658 h 301163"/>
                  <a:gd name="connsiteX12" fmla="*/ 219145 w 230678"/>
                  <a:gd name="connsiteY12" fmla="*/ 292192 h 30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0678" h="301163">
                    <a:moveTo>
                      <a:pt x="219145" y="292192"/>
                    </a:moveTo>
                    <a:cubicBezTo>
                      <a:pt x="224271" y="298600"/>
                      <a:pt x="226834" y="299882"/>
                      <a:pt x="229398" y="301163"/>
                    </a:cubicBezTo>
                    <a:cubicBezTo>
                      <a:pt x="229398" y="301163"/>
                      <a:pt x="230679" y="299882"/>
                      <a:pt x="230679" y="299882"/>
                    </a:cubicBezTo>
                    <a:cubicBezTo>
                      <a:pt x="228116" y="290911"/>
                      <a:pt x="220427" y="281940"/>
                      <a:pt x="216582" y="280658"/>
                    </a:cubicBezTo>
                    <a:cubicBezTo>
                      <a:pt x="198640" y="252464"/>
                      <a:pt x="180699" y="226834"/>
                      <a:pt x="161476" y="201203"/>
                    </a:cubicBezTo>
                    <a:lnTo>
                      <a:pt x="152505" y="173009"/>
                    </a:lnTo>
                    <a:cubicBezTo>
                      <a:pt x="110213" y="117902"/>
                      <a:pt x="65359" y="66640"/>
                      <a:pt x="17942" y="17942"/>
                    </a:cubicBezTo>
                    <a:cubicBezTo>
                      <a:pt x="16660" y="11534"/>
                      <a:pt x="3845" y="1282"/>
                      <a:pt x="0" y="0"/>
                    </a:cubicBezTo>
                    <a:cubicBezTo>
                      <a:pt x="0" y="6408"/>
                      <a:pt x="16660" y="17942"/>
                      <a:pt x="16660" y="17942"/>
                    </a:cubicBezTo>
                    <a:cubicBezTo>
                      <a:pt x="64078" y="66640"/>
                      <a:pt x="107650" y="116621"/>
                      <a:pt x="149942" y="171727"/>
                    </a:cubicBezTo>
                    <a:lnTo>
                      <a:pt x="158912" y="199921"/>
                    </a:lnTo>
                    <a:cubicBezTo>
                      <a:pt x="178135" y="225552"/>
                      <a:pt x="197359" y="252464"/>
                      <a:pt x="215300" y="280658"/>
                    </a:cubicBezTo>
                    <a:cubicBezTo>
                      <a:pt x="214019" y="281940"/>
                      <a:pt x="212737" y="284503"/>
                      <a:pt x="219145" y="29219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0" name="Freeform: Shape 379514">
                <a:extLst>
                  <a:ext uri="{FF2B5EF4-FFF2-40B4-BE49-F238E27FC236}">
                    <a16:creationId xmlns:a16="http://schemas.microsoft.com/office/drawing/2014/main" id="{5B8F4E75-64D3-4283-8C99-8BB14B2D1D2C}"/>
                  </a:ext>
                </a:extLst>
              </p:cNvPr>
              <p:cNvSpPr/>
              <p:nvPr/>
            </p:nvSpPr>
            <p:spPr>
              <a:xfrm>
                <a:off x="7216075" y="2375850"/>
                <a:ext cx="102523" cy="103805"/>
              </a:xfrm>
              <a:custGeom>
                <a:avLst/>
                <a:gdLst>
                  <a:gd name="connsiteX0" fmla="*/ 8971 w 102523"/>
                  <a:gd name="connsiteY0" fmla="*/ 10252 h 103805"/>
                  <a:gd name="connsiteX1" fmla="*/ 17942 w 102523"/>
                  <a:gd name="connsiteY1" fmla="*/ 17942 h 103805"/>
                  <a:gd name="connsiteX2" fmla="*/ 17942 w 102523"/>
                  <a:gd name="connsiteY2" fmla="*/ 16660 h 103805"/>
                  <a:gd name="connsiteX3" fmla="*/ 70485 w 102523"/>
                  <a:gd name="connsiteY3" fmla="*/ 67922 h 103805"/>
                  <a:gd name="connsiteX4" fmla="*/ 85864 w 102523"/>
                  <a:gd name="connsiteY4" fmla="*/ 84582 h 103805"/>
                  <a:gd name="connsiteX5" fmla="*/ 102524 w 102523"/>
                  <a:gd name="connsiteY5" fmla="*/ 103805 h 103805"/>
                  <a:gd name="connsiteX6" fmla="*/ 85864 w 102523"/>
                  <a:gd name="connsiteY6" fmla="*/ 85864 h 103805"/>
                  <a:gd name="connsiteX7" fmla="*/ 67922 w 102523"/>
                  <a:gd name="connsiteY7" fmla="*/ 66640 h 103805"/>
                  <a:gd name="connsiteX8" fmla="*/ 0 w 102523"/>
                  <a:gd name="connsiteY8" fmla="*/ 0 h 103805"/>
                  <a:gd name="connsiteX9" fmla="*/ 8971 w 102523"/>
                  <a:gd name="connsiteY9" fmla="*/ 10252 h 10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523" h="103805">
                    <a:moveTo>
                      <a:pt x="8971" y="10252"/>
                    </a:moveTo>
                    <a:cubicBezTo>
                      <a:pt x="11534" y="12815"/>
                      <a:pt x="15378" y="16660"/>
                      <a:pt x="17942" y="17942"/>
                    </a:cubicBezTo>
                    <a:cubicBezTo>
                      <a:pt x="17942" y="17942"/>
                      <a:pt x="17942" y="16660"/>
                      <a:pt x="17942" y="16660"/>
                    </a:cubicBezTo>
                    <a:lnTo>
                      <a:pt x="70485" y="67922"/>
                    </a:lnTo>
                    <a:cubicBezTo>
                      <a:pt x="75611" y="73048"/>
                      <a:pt x="80737" y="79456"/>
                      <a:pt x="85864" y="84582"/>
                    </a:cubicBezTo>
                    <a:cubicBezTo>
                      <a:pt x="88427" y="88427"/>
                      <a:pt x="101242" y="102524"/>
                      <a:pt x="102524" y="103805"/>
                    </a:cubicBezTo>
                    <a:cubicBezTo>
                      <a:pt x="98679" y="99961"/>
                      <a:pt x="88427" y="88427"/>
                      <a:pt x="85864" y="85864"/>
                    </a:cubicBezTo>
                    <a:cubicBezTo>
                      <a:pt x="80737" y="79456"/>
                      <a:pt x="74330" y="73048"/>
                      <a:pt x="67922" y="66640"/>
                    </a:cubicBezTo>
                    <a:cubicBezTo>
                      <a:pt x="1281" y="1282"/>
                      <a:pt x="1281" y="1282"/>
                      <a:pt x="0" y="0"/>
                    </a:cubicBezTo>
                    <a:cubicBezTo>
                      <a:pt x="1281" y="1282"/>
                      <a:pt x="1281" y="2563"/>
                      <a:pt x="8971"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1" name="Freeform: Shape 379515">
                <a:extLst>
                  <a:ext uri="{FF2B5EF4-FFF2-40B4-BE49-F238E27FC236}">
                    <a16:creationId xmlns:a16="http://schemas.microsoft.com/office/drawing/2014/main" id="{48C33CE1-F96F-4485-B475-0C259455EB29}"/>
                  </a:ext>
                </a:extLst>
              </p:cNvPr>
              <p:cNvSpPr/>
              <p:nvPr/>
            </p:nvSpPr>
            <p:spPr>
              <a:xfrm>
                <a:off x="7221200" y="2379695"/>
                <a:ext cx="47417" cy="46135"/>
              </a:xfrm>
              <a:custGeom>
                <a:avLst/>
                <a:gdLst>
                  <a:gd name="connsiteX0" fmla="*/ 8971 w 47417"/>
                  <a:gd name="connsiteY0" fmla="*/ 8971 h 46135"/>
                  <a:gd name="connsiteX1" fmla="*/ 17942 w 47417"/>
                  <a:gd name="connsiteY1" fmla="*/ 16660 h 46135"/>
                  <a:gd name="connsiteX2" fmla="*/ 16660 w 47417"/>
                  <a:gd name="connsiteY2" fmla="*/ 15379 h 46135"/>
                  <a:gd name="connsiteX3" fmla="*/ 47418 w 47417"/>
                  <a:gd name="connsiteY3" fmla="*/ 46136 h 46135"/>
                  <a:gd name="connsiteX4" fmla="*/ 29476 w 47417"/>
                  <a:gd name="connsiteY4" fmla="*/ 28194 h 46135"/>
                  <a:gd name="connsiteX5" fmla="*/ 30757 w 47417"/>
                  <a:gd name="connsiteY5" fmla="*/ 29476 h 46135"/>
                  <a:gd name="connsiteX6" fmla="*/ 0 w 47417"/>
                  <a:gd name="connsiteY6" fmla="*/ 0 h 46135"/>
                  <a:gd name="connsiteX7" fmla="*/ 8971 w 47417"/>
                  <a:gd name="connsiteY7" fmla="*/ 8971 h 46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17" h="46135">
                    <a:moveTo>
                      <a:pt x="8971" y="8971"/>
                    </a:moveTo>
                    <a:cubicBezTo>
                      <a:pt x="11534" y="11534"/>
                      <a:pt x="15379" y="15379"/>
                      <a:pt x="17942" y="16660"/>
                    </a:cubicBezTo>
                    <a:cubicBezTo>
                      <a:pt x="17942" y="16660"/>
                      <a:pt x="17942" y="16660"/>
                      <a:pt x="16660" y="15379"/>
                    </a:cubicBezTo>
                    <a:cubicBezTo>
                      <a:pt x="26913" y="25631"/>
                      <a:pt x="37165" y="35883"/>
                      <a:pt x="47418" y="46136"/>
                    </a:cubicBezTo>
                    <a:cubicBezTo>
                      <a:pt x="46136" y="44854"/>
                      <a:pt x="32039" y="29476"/>
                      <a:pt x="29476" y="28194"/>
                    </a:cubicBezTo>
                    <a:cubicBezTo>
                      <a:pt x="29476" y="28194"/>
                      <a:pt x="29476" y="29476"/>
                      <a:pt x="30757" y="29476"/>
                    </a:cubicBezTo>
                    <a:cubicBezTo>
                      <a:pt x="1282" y="1282"/>
                      <a:pt x="1282" y="1282"/>
                      <a:pt x="0" y="0"/>
                    </a:cubicBezTo>
                    <a:cubicBezTo>
                      <a:pt x="0" y="0"/>
                      <a:pt x="6408" y="5126"/>
                      <a:pt x="8971"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2" name="Freeform: Shape 379516">
                <a:extLst>
                  <a:ext uri="{FF2B5EF4-FFF2-40B4-BE49-F238E27FC236}">
                    <a16:creationId xmlns:a16="http://schemas.microsoft.com/office/drawing/2014/main" id="{10F01B17-8928-46AC-BE8B-FD8D7DECBCDF}"/>
                  </a:ext>
                </a:extLst>
              </p:cNvPr>
              <p:cNvSpPr/>
              <p:nvPr/>
            </p:nvSpPr>
            <p:spPr>
              <a:xfrm>
                <a:off x="4199305" y="3121710"/>
                <a:ext cx="6407" cy="21786"/>
              </a:xfrm>
              <a:custGeom>
                <a:avLst/>
                <a:gdLst>
                  <a:gd name="connsiteX0" fmla="*/ 0 w 6407"/>
                  <a:gd name="connsiteY0" fmla="*/ 21786 h 21786"/>
                  <a:gd name="connsiteX1" fmla="*/ 6408 w 6407"/>
                  <a:gd name="connsiteY1" fmla="*/ 0 h 21786"/>
                  <a:gd name="connsiteX2" fmla="*/ 0 w 6407"/>
                  <a:gd name="connsiteY2" fmla="*/ 21786 h 21786"/>
                  <a:gd name="connsiteX3" fmla="*/ 0 w 6407"/>
                  <a:gd name="connsiteY3" fmla="*/ 21786 h 21786"/>
                </a:gdLst>
                <a:ahLst/>
                <a:cxnLst>
                  <a:cxn ang="0">
                    <a:pos x="connsiteX0" y="connsiteY0"/>
                  </a:cxn>
                  <a:cxn ang="0">
                    <a:pos x="connsiteX1" y="connsiteY1"/>
                  </a:cxn>
                  <a:cxn ang="0">
                    <a:pos x="connsiteX2" y="connsiteY2"/>
                  </a:cxn>
                  <a:cxn ang="0">
                    <a:pos x="connsiteX3" y="connsiteY3"/>
                  </a:cxn>
                </a:cxnLst>
                <a:rect l="l" t="t" r="r" b="b"/>
                <a:pathLst>
                  <a:path w="6407" h="21786">
                    <a:moveTo>
                      <a:pt x="0" y="21786"/>
                    </a:moveTo>
                    <a:cubicBezTo>
                      <a:pt x="2563" y="15379"/>
                      <a:pt x="5126" y="6408"/>
                      <a:pt x="6408" y="0"/>
                    </a:cubicBezTo>
                    <a:lnTo>
                      <a:pt x="0" y="21786"/>
                    </a:lnTo>
                    <a:cubicBezTo>
                      <a:pt x="0" y="21786"/>
                      <a:pt x="0" y="21786"/>
                      <a:pt x="0" y="2178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3" name="Freeform: Shape 379517">
                <a:extLst>
                  <a:ext uri="{FF2B5EF4-FFF2-40B4-BE49-F238E27FC236}">
                    <a16:creationId xmlns:a16="http://schemas.microsoft.com/office/drawing/2014/main" id="{E440596C-F5C1-4A85-BC17-807EB20C0077}"/>
                  </a:ext>
                </a:extLst>
              </p:cNvPr>
              <p:cNvSpPr/>
              <p:nvPr/>
            </p:nvSpPr>
            <p:spPr>
              <a:xfrm>
                <a:off x="4241596" y="3076856"/>
                <a:ext cx="9559" cy="111494"/>
              </a:xfrm>
              <a:custGeom>
                <a:avLst/>
                <a:gdLst>
                  <a:gd name="connsiteX0" fmla="*/ 1282 w 9559"/>
                  <a:gd name="connsiteY0" fmla="*/ 16660 h 111494"/>
                  <a:gd name="connsiteX1" fmla="*/ 0 w 9559"/>
                  <a:gd name="connsiteY1" fmla="*/ 24349 h 111494"/>
                  <a:gd name="connsiteX2" fmla="*/ 1282 w 9559"/>
                  <a:gd name="connsiteY2" fmla="*/ 24349 h 111494"/>
                  <a:gd name="connsiteX3" fmla="*/ 2563 w 9559"/>
                  <a:gd name="connsiteY3" fmla="*/ 21786 h 111494"/>
                  <a:gd name="connsiteX4" fmla="*/ 2563 w 9559"/>
                  <a:gd name="connsiteY4" fmla="*/ 97397 h 111494"/>
                  <a:gd name="connsiteX5" fmla="*/ 1282 w 9559"/>
                  <a:gd name="connsiteY5" fmla="*/ 111494 h 111494"/>
                  <a:gd name="connsiteX6" fmla="*/ 8971 w 9559"/>
                  <a:gd name="connsiteY6" fmla="*/ 87145 h 111494"/>
                  <a:gd name="connsiteX7" fmla="*/ 5126 w 9559"/>
                  <a:gd name="connsiteY7" fmla="*/ 90990 h 111494"/>
                  <a:gd name="connsiteX8" fmla="*/ 5126 w 9559"/>
                  <a:gd name="connsiteY8" fmla="*/ 16660 h 111494"/>
                  <a:gd name="connsiteX9" fmla="*/ 8971 w 9559"/>
                  <a:gd name="connsiteY9" fmla="*/ 0 h 111494"/>
                  <a:gd name="connsiteX10" fmla="*/ 7689 w 9559"/>
                  <a:gd name="connsiteY10" fmla="*/ 0 h 111494"/>
                  <a:gd name="connsiteX11" fmla="*/ 1282 w 9559"/>
                  <a:gd name="connsiteY11" fmla="*/ 16660 h 11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59" h="111494">
                    <a:moveTo>
                      <a:pt x="1282" y="16660"/>
                    </a:moveTo>
                    <a:cubicBezTo>
                      <a:pt x="0" y="21786"/>
                      <a:pt x="0" y="23068"/>
                      <a:pt x="0" y="24349"/>
                    </a:cubicBezTo>
                    <a:cubicBezTo>
                      <a:pt x="0" y="24349"/>
                      <a:pt x="0" y="24349"/>
                      <a:pt x="1282" y="24349"/>
                    </a:cubicBezTo>
                    <a:cubicBezTo>
                      <a:pt x="2563" y="23068"/>
                      <a:pt x="2563" y="23068"/>
                      <a:pt x="2563" y="21786"/>
                    </a:cubicBezTo>
                    <a:cubicBezTo>
                      <a:pt x="2563" y="96116"/>
                      <a:pt x="2563" y="96116"/>
                      <a:pt x="2563" y="97397"/>
                    </a:cubicBezTo>
                    <a:cubicBezTo>
                      <a:pt x="2563" y="97397"/>
                      <a:pt x="-1282" y="110213"/>
                      <a:pt x="1282" y="111494"/>
                    </a:cubicBezTo>
                    <a:cubicBezTo>
                      <a:pt x="5126" y="110213"/>
                      <a:pt x="11534" y="88427"/>
                      <a:pt x="8971" y="87145"/>
                    </a:cubicBezTo>
                    <a:cubicBezTo>
                      <a:pt x="7689" y="87145"/>
                      <a:pt x="7689" y="87145"/>
                      <a:pt x="5126" y="90990"/>
                    </a:cubicBezTo>
                    <a:cubicBezTo>
                      <a:pt x="5126" y="69203"/>
                      <a:pt x="-3845" y="37165"/>
                      <a:pt x="5126" y="16660"/>
                    </a:cubicBezTo>
                    <a:cubicBezTo>
                      <a:pt x="6408" y="14097"/>
                      <a:pt x="10252" y="3845"/>
                      <a:pt x="8971" y="0"/>
                    </a:cubicBezTo>
                    <a:cubicBezTo>
                      <a:pt x="8971" y="0"/>
                      <a:pt x="8971" y="0"/>
                      <a:pt x="7689" y="0"/>
                    </a:cubicBezTo>
                    <a:cubicBezTo>
                      <a:pt x="5126" y="3845"/>
                      <a:pt x="2563" y="14097"/>
                      <a:pt x="128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4" name="Freeform: Shape 379518">
                <a:extLst>
                  <a:ext uri="{FF2B5EF4-FFF2-40B4-BE49-F238E27FC236}">
                    <a16:creationId xmlns:a16="http://schemas.microsoft.com/office/drawing/2014/main" id="{2C295C04-A686-45B9-925A-437DFAAABC82}"/>
                  </a:ext>
                </a:extLst>
              </p:cNvPr>
              <p:cNvSpPr/>
              <p:nvPr/>
            </p:nvSpPr>
            <p:spPr>
              <a:xfrm>
                <a:off x="4259337" y="2964080"/>
                <a:ext cx="45055" cy="124309"/>
              </a:xfrm>
              <a:custGeom>
                <a:avLst/>
                <a:gdLst>
                  <a:gd name="connsiteX0" fmla="*/ 36084 w 45055"/>
                  <a:gd name="connsiteY0" fmla="*/ 15379 h 124309"/>
                  <a:gd name="connsiteX1" fmla="*/ 34803 w 45055"/>
                  <a:gd name="connsiteY1" fmla="*/ 23068 h 124309"/>
                  <a:gd name="connsiteX2" fmla="*/ 7890 w 45055"/>
                  <a:gd name="connsiteY2" fmla="*/ 101242 h 124309"/>
                  <a:gd name="connsiteX3" fmla="*/ 201 w 45055"/>
                  <a:gd name="connsiteY3" fmla="*/ 124310 h 124309"/>
                  <a:gd name="connsiteX4" fmla="*/ 1482 w 45055"/>
                  <a:gd name="connsiteY4" fmla="*/ 124310 h 124309"/>
                  <a:gd name="connsiteX5" fmla="*/ 9172 w 45055"/>
                  <a:gd name="connsiteY5" fmla="*/ 99961 h 124309"/>
                  <a:gd name="connsiteX6" fmla="*/ 36084 w 45055"/>
                  <a:gd name="connsiteY6" fmla="*/ 21786 h 124309"/>
                  <a:gd name="connsiteX7" fmla="*/ 45055 w 45055"/>
                  <a:gd name="connsiteY7" fmla="*/ 0 h 124309"/>
                  <a:gd name="connsiteX8" fmla="*/ 43773 w 45055"/>
                  <a:gd name="connsiteY8" fmla="*/ 0 h 124309"/>
                  <a:gd name="connsiteX9" fmla="*/ 36084 w 45055"/>
                  <a:gd name="connsiteY9" fmla="*/ 15379 h 12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55" h="124309">
                    <a:moveTo>
                      <a:pt x="36084" y="15379"/>
                    </a:moveTo>
                    <a:cubicBezTo>
                      <a:pt x="34803" y="17942"/>
                      <a:pt x="33521" y="21786"/>
                      <a:pt x="34803" y="23068"/>
                    </a:cubicBezTo>
                    <a:cubicBezTo>
                      <a:pt x="25832" y="48699"/>
                      <a:pt x="15579" y="75611"/>
                      <a:pt x="7890" y="101242"/>
                    </a:cubicBezTo>
                    <a:cubicBezTo>
                      <a:pt x="4045" y="106368"/>
                      <a:pt x="-1081" y="120465"/>
                      <a:pt x="201" y="124310"/>
                    </a:cubicBezTo>
                    <a:cubicBezTo>
                      <a:pt x="201" y="124310"/>
                      <a:pt x="1482" y="124310"/>
                      <a:pt x="1482" y="124310"/>
                    </a:cubicBezTo>
                    <a:cubicBezTo>
                      <a:pt x="5327" y="120465"/>
                      <a:pt x="11735" y="102524"/>
                      <a:pt x="9172" y="99961"/>
                    </a:cubicBezTo>
                    <a:cubicBezTo>
                      <a:pt x="18142" y="73048"/>
                      <a:pt x="27113" y="47417"/>
                      <a:pt x="36084" y="21786"/>
                    </a:cubicBezTo>
                    <a:cubicBezTo>
                      <a:pt x="39929" y="16660"/>
                      <a:pt x="45055" y="3845"/>
                      <a:pt x="45055" y="0"/>
                    </a:cubicBezTo>
                    <a:cubicBezTo>
                      <a:pt x="45055" y="0"/>
                      <a:pt x="45055" y="0"/>
                      <a:pt x="43773" y="0"/>
                    </a:cubicBezTo>
                    <a:cubicBezTo>
                      <a:pt x="41210" y="3845"/>
                      <a:pt x="37366" y="12816"/>
                      <a:pt x="36084"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5" name="Freeform: Shape 379519">
                <a:extLst>
                  <a:ext uri="{FF2B5EF4-FFF2-40B4-BE49-F238E27FC236}">
                    <a16:creationId xmlns:a16="http://schemas.microsoft.com/office/drawing/2014/main" id="{F1C8166A-5711-48A5-AB2D-9CB28B54200B}"/>
                  </a:ext>
                </a:extLst>
              </p:cNvPr>
              <p:cNvSpPr/>
              <p:nvPr/>
            </p:nvSpPr>
            <p:spPr>
              <a:xfrm>
                <a:off x="4281645" y="3053788"/>
                <a:ext cx="9823" cy="24594"/>
              </a:xfrm>
              <a:custGeom>
                <a:avLst/>
                <a:gdLst>
                  <a:gd name="connsiteX0" fmla="*/ 961 w 9823"/>
                  <a:gd name="connsiteY0" fmla="*/ 15379 h 24594"/>
                  <a:gd name="connsiteX1" fmla="*/ 961 w 9823"/>
                  <a:gd name="connsiteY1" fmla="*/ 24349 h 24594"/>
                  <a:gd name="connsiteX2" fmla="*/ 8650 w 9823"/>
                  <a:gd name="connsiteY2" fmla="*/ 0 h 24594"/>
                  <a:gd name="connsiteX3" fmla="*/ 7369 w 9823"/>
                  <a:gd name="connsiteY3" fmla="*/ 0 h 24594"/>
                  <a:gd name="connsiteX4" fmla="*/ 961 w 9823"/>
                  <a:gd name="connsiteY4" fmla="*/ 15379 h 24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23" h="24594">
                    <a:moveTo>
                      <a:pt x="961" y="15379"/>
                    </a:moveTo>
                    <a:cubicBezTo>
                      <a:pt x="-320" y="21786"/>
                      <a:pt x="-320" y="25631"/>
                      <a:pt x="961" y="24349"/>
                    </a:cubicBezTo>
                    <a:cubicBezTo>
                      <a:pt x="6087" y="21786"/>
                      <a:pt x="12495" y="1281"/>
                      <a:pt x="8650" y="0"/>
                    </a:cubicBezTo>
                    <a:cubicBezTo>
                      <a:pt x="8650" y="0"/>
                      <a:pt x="8650" y="0"/>
                      <a:pt x="7369" y="0"/>
                    </a:cubicBezTo>
                    <a:cubicBezTo>
                      <a:pt x="4806" y="2563"/>
                      <a:pt x="2243" y="10252"/>
                      <a:pt x="96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6" name="Freeform: Shape 379520">
                <a:extLst>
                  <a:ext uri="{FF2B5EF4-FFF2-40B4-BE49-F238E27FC236}">
                    <a16:creationId xmlns:a16="http://schemas.microsoft.com/office/drawing/2014/main" id="{34B487E3-32A2-4E20-A064-D2037F59ED7A}"/>
                  </a:ext>
                </a:extLst>
              </p:cNvPr>
              <p:cNvSpPr/>
              <p:nvPr/>
            </p:nvSpPr>
            <p:spPr>
              <a:xfrm>
                <a:off x="4293298" y="3047380"/>
                <a:ext cx="10860" cy="24594"/>
              </a:xfrm>
              <a:custGeom>
                <a:avLst/>
                <a:gdLst>
                  <a:gd name="connsiteX0" fmla="*/ 842 w 10860"/>
                  <a:gd name="connsiteY0" fmla="*/ 15379 h 24594"/>
                  <a:gd name="connsiteX1" fmla="*/ 2123 w 10860"/>
                  <a:gd name="connsiteY1" fmla="*/ 24349 h 24594"/>
                  <a:gd name="connsiteX2" fmla="*/ 9813 w 10860"/>
                  <a:gd name="connsiteY2" fmla="*/ 0 h 24594"/>
                  <a:gd name="connsiteX3" fmla="*/ 8531 w 10860"/>
                  <a:gd name="connsiteY3" fmla="*/ 0 h 24594"/>
                  <a:gd name="connsiteX4" fmla="*/ 842 w 10860"/>
                  <a:gd name="connsiteY4" fmla="*/ 15379 h 245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60" h="24594">
                    <a:moveTo>
                      <a:pt x="842" y="15379"/>
                    </a:moveTo>
                    <a:cubicBezTo>
                      <a:pt x="-440" y="21786"/>
                      <a:pt x="-440" y="25631"/>
                      <a:pt x="2123" y="24349"/>
                    </a:cubicBezTo>
                    <a:cubicBezTo>
                      <a:pt x="5968" y="21786"/>
                      <a:pt x="13657" y="2563"/>
                      <a:pt x="9813" y="0"/>
                    </a:cubicBezTo>
                    <a:cubicBezTo>
                      <a:pt x="9813" y="0"/>
                      <a:pt x="8531" y="0"/>
                      <a:pt x="8531" y="0"/>
                    </a:cubicBezTo>
                    <a:cubicBezTo>
                      <a:pt x="4686" y="2563"/>
                      <a:pt x="2123" y="10252"/>
                      <a:pt x="84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7" name="Freeform: Shape 379521">
                <a:extLst>
                  <a:ext uri="{FF2B5EF4-FFF2-40B4-BE49-F238E27FC236}">
                    <a16:creationId xmlns:a16="http://schemas.microsoft.com/office/drawing/2014/main" id="{3EF5A454-3FD0-4E4D-B50E-107FEE74EFEF}"/>
                  </a:ext>
                </a:extLst>
              </p:cNvPr>
              <p:cNvSpPr/>
              <p:nvPr/>
            </p:nvSpPr>
            <p:spPr>
              <a:xfrm>
                <a:off x="4292333" y="3034565"/>
                <a:ext cx="37942" cy="126873"/>
              </a:xfrm>
              <a:custGeom>
                <a:avLst/>
                <a:gdLst>
                  <a:gd name="connsiteX0" fmla="*/ 26156 w 37942"/>
                  <a:gd name="connsiteY0" fmla="*/ 16660 h 126873"/>
                  <a:gd name="connsiteX1" fmla="*/ 27437 w 37942"/>
                  <a:gd name="connsiteY1" fmla="*/ 24349 h 126873"/>
                  <a:gd name="connsiteX2" fmla="*/ 6933 w 37942"/>
                  <a:gd name="connsiteY2" fmla="*/ 103805 h 126873"/>
                  <a:gd name="connsiteX3" fmla="*/ 1806 w 37942"/>
                  <a:gd name="connsiteY3" fmla="*/ 126873 h 126873"/>
                  <a:gd name="connsiteX4" fmla="*/ 9496 w 37942"/>
                  <a:gd name="connsiteY4" fmla="*/ 102524 h 126873"/>
                  <a:gd name="connsiteX5" fmla="*/ 9496 w 37942"/>
                  <a:gd name="connsiteY5" fmla="*/ 102524 h 126873"/>
                  <a:gd name="connsiteX6" fmla="*/ 30000 w 37942"/>
                  <a:gd name="connsiteY6" fmla="*/ 23068 h 126873"/>
                  <a:gd name="connsiteX7" fmla="*/ 36408 w 37942"/>
                  <a:gd name="connsiteY7" fmla="*/ 0 h 126873"/>
                  <a:gd name="connsiteX8" fmla="*/ 35127 w 37942"/>
                  <a:gd name="connsiteY8" fmla="*/ 0 h 126873"/>
                  <a:gd name="connsiteX9" fmla="*/ 26156 w 37942"/>
                  <a:gd name="connsiteY9" fmla="*/ 16660 h 12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942" h="126873">
                    <a:moveTo>
                      <a:pt x="26156" y="16660"/>
                    </a:moveTo>
                    <a:cubicBezTo>
                      <a:pt x="24874" y="19223"/>
                      <a:pt x="24874" y="23068"/>
                      <a:pt x="27437" y="24349"/>
                    </a:cubicBezTo>
                    <a:cubicBezTo>
                      <a:pt x="19748" y="51262"/>
                      <a:pt x="13340" y="76893"/>
                      <a:pt x="6933" y="103805"/>
                    </a:cubicBezTo>
                    <a:cubicBezTo>
                      <a:pt x="525" y="111494"/>
                      <a:pt x="-2038" y="126873"/>
                      <a:pt x="1806" y="126873"/>
                    </a:cubicBezTo>
                    <a:cubicBezTo>
                      <a:pt x="6933" y="126873"/>
                      <a:pt x="13340" y="105087"/>
                      <a:pt x="9496" y="102524"/>
                    </a:cubicBezTo>
                    <a:cubicBezTo>
                      <a:pt x="9496" y="102524"/>
                      <a:pt x="9496" y="102524"/>
                      <a:pt x="9496" y="102524"/>
                    </a:cubicBezTo>
                    <a:cubicBezTo>
                      <a:pt x="15903" y="75611"/>
                      <a:pt x="22311" y="48699"/>
                      <a:pt x="30000" y="23068"/>
                    </a:cubicBezTo>
                    <a:cubicBezTo>
                      <a:pt x="36408" y="15379"/>
                      <a:pt x="40253" y="0"/>
                      <a:pt x="36408" y="0"/>
                    </a:cubicBezTo>
                    <a:cubicBezTo>
                      <a:pt x="36408" y="0"/>
                      <a:pt x="36408" y="0"/>
                      <a:pt x="35127" y="0"/>
                    </a:cubicBezTo>
                    <a:cubicBezTo>
                      <a:pt x="30000" y="3845"/>
                      <a:pt x="27437" y="12816"/>
                      <a:pt x="26156"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8" name="Freeform: Shape 379522">
                <a:extLst>
                  <a:ext uri="{FF2B5EF4-FFF2-40B4-BE49-F238E27FC236}">
                    <a16:creationId xmlns:a16="http://schemas.microsoft.com/office/drawing/2014/main" id="{4F92E660-0860-42D8-A742-5A8327B56680}"/>
                  </a:ext>
                </a:extLst>
              </p:cNvPr>
              <p:cNvSpPr/>
              <p:nvPr/>
            </p:nvSpPr>
            <p:spPr>
              <a:xfrm>
                <a:off x="4411558" y="2894876"/>
                <a:ext cx="41265" cy="123028"/>
              </a:xfrm>
              <a:custGeom>
                <a:avLst/>
                <a:gdLst>
                  <a:gd name="connsiteX0" fmla="*/ 29960 w 41265"/>
                  <a:gd name="connsiteY0" fmla="*/ 15379 h 123028"/>
                  <a:gd name="connsiteX1" fmla="*/ 31242 w 41265"/>
                  <a:gd name="connsiteY1" fmla="*/ 23068 h 123028"/>
                  <a:gd name="connsiteX2" fmla="*/ 8174 w 41265"/>
                  <a:gd name="connsiteY2" fmla="*/ 99961 h 123028"/>
                  <a:gd name="connsiteX3" fmla="*/ 1766 w 41265"/>
                  <a:gd name="connsiteY3" fmla="*/ 123028 h 123028"/>
                  <a:gd name="connsiteX4" fmla="*/ 12019 w 41265"/>
                  <a:gd name="connsiteY4" fmla="*/ 99961 h 123028"/>
                  <a:gd name="connsiteX5" fmla="*/ 10737 w 41265"/>
                  <a:gd name="connsiteY5" fmla="*/ 98679 h 123028"/>
                  <a:gd name="connsiteX6" fmla="*/ 32524 w 41265"/>
                  <a:gd name="connsiteY6" fmla="*/ 21786 h 123028"/>
                  <a:gd name="connsiteX7" fmla="*/ 38931 w 41265"/>
                  <a:gd name="connsiteY7" fmla="*/ 0 h 123028"/>
                  <a:gd name="connsiteX8" fmla="*/ 37650 w 41265"/>
                  <a:gd name="connsiteY8" fmla="*/ 0 h 123028"/>
                  <a:gd name="connsiteX9" fmla="*/ 29960 w 41265"/>
                  <a:gd name="connsiteY9" fmla="*/ 15379 h 123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265" h="123028">
                    <a:moveTo>
                      <a:pt x="29960" y="15379"/>
                    </a:moveTo>
                    <a:cubicBezTo>
                      <a:pt x="28679" y="17942"/>
                      <a:pt x="28679" y="21786"/>
                      <a:pt x="31242" y="23068"/>
                    </a:cubicBezTo>
                    <a:cubicBezTo>
                      <a:pt x="23553" y="48699"/>
                      <a:pt x="15863" y="74330"/>
                      <a:pt x="8174" y="99961"/>
                    </a:cubicBezTo>
                    <a:cubicBezTo>
                      <a:pt x="485" y="107650"/>
                      <a:pt x="-2078" y="123028"/>
                      <a:pt x="1766" y="123028"/>
                    </a:cubicBezTo>
                    <a:cubicBezTo>
                      <a:pt x="6892" y="123028"/>
                      <a:pt x="15863" y="105087"/>
                      <a:pt x="12019" y="99961"/>
                    </a:cubicBezTo>
                    <a:cubicBezTo>
                      <a:pt x="12019" y="99961"/>
                      <a:pt x="10737" y="99961"/>
                      <a:pt x="10737" y="98679"/>
                    </a:cubicBezTo>
                    <a:cubicBezTo>
                      <a:pt x="17145" y="73048"/>
                      <a:pt x="24834" y="47417"/>
                      <a:pt x="32524" y="21786"/>
                    </a:cubicBezTo>
                    <a:cubicBezTo>
                      <a:pt x="40213" y="14097"/>
                      <a:pt x="44058" y="0"/>
                      <a:pt x="38931" y="0"/>
                    </a:cubicBezTo>
                    <a:cubicBezTo>
                      <a:pt x="38931" y="0"/>
                      <a:pt x="37650" y="0"/>
                      <a:pt x="37650" y="0"/>
                    </a:cubicBezTo>
                    <a:cubicBezTo>
                      <a:pt x="33805" y="3845"/>
                      <a:pt x="29960" y="12816"/>
                      <a:pt x="29960"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399" name="Freeform: Shape 379523">
                <a:extLst>
                  <a:ext uri="{FF2B5EF4-FFF2-40B4-BE49-F238E27FC236}">
                    <a16:creationId xmlns:a16="http://schemas.microsoft.com/office/drawing/2014/main" id="{0C20B3B0-D303-4CF2-B008-32305EB061AA}"/>
                  </a:ext>
                </a:extLst>
              </p:cNvPr>
              <p:cNvSpPr/>
              <p:nvPr/>
            </p:nvSpPr>
            <p:spPr>
              <a:xfrm>
                <a:off x="4479530" y="2964004"/>
                <a:ext cx="21375" cy="56463"/>
              </a:xfrm>
              <a:custGeom>
                <a:avLst/>
                <a:gdLst>
                  <a:gd name="connsiteX0" fmla="*/ 8125 w 21375"/>
                  <a:gd name="connsiteY0" fmla="*/ 15454 h 56463"/>
                  <a:gd name="connsiteX1" fmla="*/ 10687 w 21375"/>
                  <a:gd name="connsiteY1" fmla="*/ 23143 h 56463"/>
                  <a:gd name="connsiteX2" fmla="*/ 8125 w 21375"/>
                  <a:gd name="connsiteY2" fmla="*/ 33396 h 56463"/>
                  <a:gd name="connsiteX3" fmla="*/ 2998 w 21375"/>
                  <a:gd name="connsiteY3" fmla="*/ 56463 h 56463"/>
                  <a:gd name="connsiteX4" fmla="*/ 11969 w 21375"/>
                  <a:gd name="connsiteY4" fmla="*/ 33396 h 56463"/>
                  <a:gd name="connsiteX5" fmla="*/ 10687 w 21375"/>
                  <a:gd name="connsiteY5" fmla="*/ 32114 h 56463"/>
                  <a:gd name="connsiteX6" fmla="*/ 13251 w 21375"/>
                  <a:gd name="connsiteY6" fmla="*/ 21862 h 56463"/>
                  <a:gd name="connsiteX7" fmla="*/ 18377 w 21375"/>
                  <a:gd name="connsiteY7" fmla="*/ 75 h 56463"/>
                  <a:gd name="connsiteX8" fmla="*/ 17095 w 21375"/>
                  <a:gd name="connsiteY8" fmla="*/ 75 h 56463"/>
                  <a:gd name="connsiteX9" fmla="*/ 8125 w 21375"/>
                  <a:gd name="connsiteY9" fmla="*/ 15454 h 5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75" h="56463">
                    <a:moveTo>
                      <a:pt x="8125" y="15454"/>
                    </a:moveTo>
                    <a:cubicBezTo>
                      <a:pt x="8125" y="18017"/>
                      <a:pt x="8125" y="21862"/>
                      <a:pt x="10687" y="23143"/>
                    </a:cubicBezTo>
                    <a:cubicBezTo>
                      <a:pt x="9406" y="26988"/>
                      <a:pt x="9406" y="30833"/>
                      <a:pt x="8125" y="33396"/>
                    </a:cubicBezTo>
                    <a:cubicBezTo>
                      <a:pt x="-847" y="41085"/>
                      <a:pt x="-2128" y="56463"/>
                      <a:pt x="2998" y="56463"/>
                    </a:cubicBezTo>
                    <a:cubicBezTo>
                      <a:pt x="9406" y="56463"/>
                      <a:pt x="17095" y="37240"/>
                      <a:pt x="11969" y="33396"/>
                    </a:cubicBezTo>
                    <a:cubicBezTo>
                      <a:pt x="11969" y="33396"/>
                      <a:pt x="10687" y="33396"/>
                      <a:pt x="10687" y="32114"/>
                    </a:cubicBezTo>
                    <a:cubicBezTo>
                      <a:pt x="11969" y="28269"/>
                      <a:pt x="11969" y="24425"/>
                      <a:pt x="13251" y="21862"/>
                    </a:cubicBezTo>
                    <a:cubicBezTo>
                      <a:pt x="22221" y="14172"/>
                      <a:pt x="23503" y="-1206"/>
                      <a:pt x="18377" y="75"/>
                    </a:cubicBezTo>
                    <a:cubicBezTo>
                      <a:pt x="18377" y="75"/>
                      <a:pt x="17095" y="75"/>
                      <a:pt x="17095" y="75"/>
                    </a:cubicBezTo>
                    <a:cubicBezTo>
                      <a:pt x="10687" y="3920"/>
                      <a:pt x="8125" y="12891"/>
                      <a:pt x="8125" y="154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0" name="Freeform: Shape 379524">
                <a:extLst>
                  <a:ext uri="{FF2B5EF4-FFF2-40B4-BE49-F238E27FC236}">
                    <a16:creationId xmlns:a16="http://schemas.microsoft.com/office/drawing/2014/main" id="{3653523B-C8BB-48A3-A107-D1F2490D2A8E}"/>
                  </a:ext>
                </a:extLst>
              </p:cNvPr>
              <p:cNvSpPr/>
              <p:nvPr/>
            </p:nvSpPr>
            <p:spPr>
              <a:xfrm>
                <a:off x="4574364" y="2900002"/>
                <a:ext cx="22983" cy="55391"/>
              </a:xfrm>
              <a:custGeom>
                <a:avLst/>
                <a:gdLst>
                  <a:gd name="connsiteX0" fmla="*/ 6843 w 22983"/>
                  <a:gd name="connsiteY0" fmla="*/ 16660 h 55391"/>
                  <a:gd name="connsiteX1" fmla="*/ 10687 w 22983"/>
                  <a:gd name="connsiteY1" fmla="*/ 23068 h 55391"/>
                  <a:gd name="connsiteX2" fmla="*/ 8124 w 22983"/>
                  <a:gd name="connsiteY2" fmla="*/ 33320 h 55391"/>
                  <a:gd name="connsiteX3" fmla="*/ 2998 w 22983"/>
                  <a:gd name="connsiteY3" fmla="*/ 55106 h 55391"/>
                  <a:gd name="connsiteX4" fmla="*/ 15814 w 22983"/>
                  <a:gd name="connsiteY4" fmla="*/ 34602 h 55391"/>
                  <a:gd name="connsiteX5" fmla="*/ 11969 w 22983"/>
                  <a:gd name="connsiteY5" fmla="*/ 32039 h 55391"/>
                  <a:gd name="connsiteX6" fmla="*/ 14532 w 22983"/>
                  <a:gd name="connsiteY6" fmla="*/ 21786 h 55391"/>
                  <a:gd name="connsiteX7" fmla="*/ 20940 w 22983"/>
                  <a:gd name="connsiteY7" fmla="*/ 0 h 55391"/>
                  <a:gd name="connsiteX8" fmla="*/ 18377 w 22983"/>
                  <a:gd name="connsiteY8" fmla="*/ 0 h 55391"/>
                  <a:gd name="connsiteX9" fmla="*/ 6843 w 22983"/>
                  <a:gd name="connsiteY9" fmla="*/ 16660 h 5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83" h="55391">
                    <a:moveTo>
                      <a:pt x="6843" y="16660"/>
                    </a:moveTo>
                    <a:cubicBezTo>
                      <a:pt x="6843" y="19223"/>
                      <a:pt x="6843" y="23068"/>
                      <a:pt x="10687" y="23068"/>
                    </a:cubicBezTo>
                    <a:cubicBezTo>
                      <a:pt x="9406" y="26912"/>
                      <a:pt x="9406" y="29476"/>
                      <a:pt x="8124" y="33320"/>
                    </a:cubicBezTo>
                    <a:cubicBezTo>
                      <a:pt x="-846" y="39728"/>
                      <a:pt x="-2128" y="53825"/>
                      <a:pt x="2998" y="55106"/>
                    </a:cubicBezTo>
                    <a:cubicBezTo>
                      <a:pt x="9406" y="57670"/>
                      <a:pt x="18377" y="42291"/>
                      <a:pt x="15814" y="34602"/>
                    </a:cubicBezTo>
                    <a:cubicBezTo>
                      <a:pt x="14532" y="32039"/>
                      <a:pt x="13251" y="32039"/>
                      <a:pt x="11969" y="32039"/>
                    </a:cubicBezTo>
                    <a:cubicBezTo>
                      <a:pt x="13251" y="28194"/>
                      <a:pt x="13251" y="25631"/>
                      <a:pt x="14532" y="21786"/>
                    </a:cubicBezTo>
                    <a:cubicBezTo>
                      <a:pt x="23503" y="15379"/>
                      <a:pt x="24785" y="1282"/>
                      <a:pt x="20940" y="0"/>
                    </a:cubicBezTo>
                    <a:cubicBezTo>
                      <a:pt x="19658" y="0"/>
                      <a:pt x="19658" y="0"/>
                      <a:pt x="18377" y="0"/>
                    </a:cubicBezTo>
                    <a:cubicBezTo>
                      <a:pt x="9406" y="3845"/>
                      <a:pt x="6843" y="12816"/>
                      <a:pt x="684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1" name="Freeform: Shape 379525">
                <a:extLst>
                  <a:ext uri="{FF2B5EF4-FFF2-40B4-BE49-F238E27FC236}">
                    <a16:creationId xmlns:a16="http://schemas.microsoft.com/office/drawing/2014/main" id="{93824D73-6738-4128-A6C2-ECC16CE88A2C}"/>
                  </a:ext>
                </a:extLst>
              </p:cNvPr>
              <p:cNvSpPr/>
              <p:nvPr/>
            </p:nvSpPr>
            <p:spPr>
              <a:xfrm>
                <a:off x="4597432" y="2891032"/>
                <a:ext cx="22983" cy="55391"/>
              </a:xfrm>
              <a:custGeom>
                <a:avLst/>
                <a:gdLst>
                  <a:gd name="connsiteX0" fmla="*/ 6843 w 22983"/>
                  <a:gd name="connsiteY0" fmla="*/ 16660 h 55391"/>
                  <a:gd name="connsiteX1" fmla="*/ 10687 w 22983"/>
                  <a:gd name="connsiteY1" fmla="*/ 23068 h 55391"/>
                  <a:gd name="connsiteX2" fmla="*/ 8125 w 22983"/>
                  <a:gd name="connsiteY2" fmla="*/ 33320 h 55391"/>
                  <a:gd name="connsiteX3" fmla="*/ 2998 w 22983"/>
                  <a:gd name="connsiteY3" fmla="*/ 55106 h 55391"/>
                  <a:gd name="connsiteX4" fmla="*/ 15814 w 22983"/>
                  <a:gd name="connsiteY4" fmla="*/ 34602 h 55391"/>
                  <a:gd name="connsiteX5" fmla="*/ 11969 w 22983"/>
                  <a:gd name="connsiteY5" fmla="*/ 32039 h 55391"/>
                  <a:gd name="connsiteX6" fmla="*/ 14532 w 22983"/>
                  <a:gd name="connsiteY6" fmla="*/ 21786 h 55391"/>
                  <a:gd name="connsiteX7" fmla="*/ 20940 w 22983"/>
                  <a:gd name="connsiteY7" fmla="*/ 0 h 55391"/>
                  <a:gd name="connsiteX8" fmla="*/ 18377 w 22983"/>
                  <a:gd name="connsiteY8" fmla="*/ 0 h 55391"/>
                  <a:gd name="connsiteX9" fmla="*/ 6843 w 22983"/>
                  <a:gd name="connsiteY9" fmla="*/ 16660 h 55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83" h="55391">
                    <a:moveTo>
                      <a:pt x="6843" y="16660"/>
                    </a:moveTo>
                    <a:cubicBezTo>
                      <a:pt x="6843" y="19223"/>
                      <a:pt x="6843" y="23068"/>
                      <a:pt x="10687" y="23068"/>
                    </a:cubicBezTo>
                    <a:cubicBezTo>
                      <a:pt x="9406" y="26912"/>
                      <a:pt x="9406" y="29476"/>
                      <a:pt x="8125" y="33320"/>
                    </a:cubicBezTo>
                    <a:cubicBezTo>
                      <a:pt x="-847" y="39728"/>
                      <a:pt x="-2128" y="53825"/>
                      <a:pt x="2998" y="55106"/>
                    </a:cubicBezTo>
                    <a:cubicBezTo>
                      <a:pt x="9406" y="57670"/>
                      <a:pt x="18377" y="42291"/>
                      <a:pt x="15814" y="34602"/>
                    </a:cubicBezTo>
                    <a:cubicBezTo>
                      <a:pt x="14532" y="32039"/>
                      <a:pt x="13251" y="32039"/>
                      <a:pt x="11969" y="32039"/>
                    </a:cubicBezTo>
                    <a:cubicBezTo>
                      <a:pt x="13251" y="28194"/>
                      <a:pt x="13251" y="25631"/>
                      <a:pt x="14532" y="21786"/>
                    </a:cubicBezTo>
                    <a:cubicBezTo>
                      <a:pt x="23503" y="15379"/>
                      <a:pt x="24785" y="1282"/>
                      <a:pt x="20940" y="0"/>
                    </a:cubicBezTo>
                    <a:cubicBezTo>
                      <a:pt x="19658" y="0"/>
                      <a:pt x="18377" y="0"/>
                      <a:pt x="18377" y="0"/>
                    </a:cubicBezTo>
                    <a:cubicBezTo>
                      <a:pt x="9406" y="5126"/>
                      <a:pt x="6843" y="14097"/>
                      <a:pt x="684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2" name="Freeform: Shape 379526">
                <a:extLst>
                  <a:ext uri="{FF2B5EF4-FFF2-40B4-BE49-F238E27FC236}">
                    <a16:creationId xmlns:a16="http://schemas.microsoft.com/office/drawing/2014/main" id="{40E18F9A-AD1A-4F1C-BEF1-80E42A0DDDCF}"/>
                  </a:ext>
                </a:extLst>
              </p:cNvPr>
              <p:cNvSpPr/>
              <p:nvPr/>
            </p:nvSpPr>
            <p:spPr>
              <a:xfrm>
                <a:off x="4669634" y="2866516"/>
                <a:ext cx="23067" cy="55353"/>
              </a:xfrm>
              <a:custGeom>
                <a:avLst/>
                <a:gdLst>
                  <a:gd name="connsiteX0" fmla="*/ 6408 w 23067"/>
                  <a:gd name="connsiteY0" fmla="*/ 16827 h 55353"/>
                  <a:gd name="connsiteX1" fmla="*/ 10252 w 23067"/>
                  <a:gd name="connsiteY1" fmla="*/ 23234 h 55353"/>
                  <a:gd name="connsiteX2" fmla="*/ 6408 w 23067"/>
                  <a:gd name="connsiteY2" fmla="*/ 34768 h 55353"/>
                  <a:gd name="connsiteX3" fmla="*/ 0 w 23067"/>
                  <a:gd name="connsiteY3" fmla="*/ 48865 h 55353"/>
                  <a:gd name="connsiteX4" fmla="*/ 7689 w 23067"/>
                  <a:gd name="connsiteY4" fmla="*/ 53992 h 55353"/>
                  <a:gd name="connsiteX5" fmla="*/ 12815 w 23067"/>
                  <a:gd name="connsiteY5" fmla="*/ 32205 h 55353"/>
                  <a:gd name="connsiteX6" fmla="*/ 11534 w 23067"/>
                  <a:gd name="connsiteY6" fmla="*/ 32205 h 55353"/>
                  <a:gd name="connsiteX7" fmla="*/ 15378 w 23067"/>
                  <a:gd name="connsiteY7" fmla="*/ 20671 h 55353"/>
                  <a:gd name="connsiteX8" fmla="*/ 23068 w 23067"/>
                  <a:gd name="connsiteY8" fmla="*/ 9137 h 55353"/>
                  <a:gd name="connsiteX9" fmla="*/ 16660 w 23067"/>
                  <a:gd name="connsiteY9" fmla="*/ 167 h 55353"/>
                  <a:gd name="connsiteX10" fmla="*/ 6408 w 23067"/>
                  <a:gd name="connsiteY10" fmla="*/ 16827 h 55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67" h="55353">
                    <a:moveTo>
                      <a:pt x="6408" y="16827"/>
                    </a:moveTo>
                    <a:cubicBezTo>
                      <a:pt x="6408" y="20671"/>
                      <a:pt x="7689" y="23234"/>
                      <a:pt x="10252" y="23234"/>
                    </a:cubicBezTo>
                    <a:cubicBezTo>
                      <a:pt x="8971" y="27079"/>
                      <a:pt x="10252" y="32205"/>
                      <a:pt x="6408" y="34768"/>
                    </a:cubicBezTo>
                    <a:cubicBezTo>
                      <a:pt x="6408" y="34768"/>
                      <a:pt x="0" y="39895"/>
                      <a:pt x="0" y="48865"/>
                    </a:cubicBezTo>
                    <a:cubicBezTo>
                      <a:pt x="0" y="52710"/>
                      <a:pt x="2563" y="57836"/>
                      <a:pt x="7689" y="53992"/>
                    </a:cubicBezTo>
                    <a:cubicBezTo>
                      <a:pt x="16660" y="48865"/>
                      <a:pt x="19223" y="33487"/>
                      <a:pt x="12815" y="32205"/>
                    </a:cubicBezTo>
                    <a:cubicBezTo>
                      <a:pt x="12815" y="32205"/>
                      <a:pt x="11534" y="32205"/>
                      <a:pt x="11534" y="32205"/>
                    </a:cubicBezTo>
                    <a:cubicBezTo>
                      <a:pt x="12815" y="28361"/>
                      <a:pt x="11534" y="23234"/>
                      <a:pt x="15378" y="20671"/>
                    </a:cubicBezTo>
                    <a:cubicBezTo>
                      <a:pt x="17941" y="19390"/>
                      <a:pt x="21786" y="12982"/>
                      <a:pt x="23068" y="9137"/>
                    </a:cubicBezTo>
                    <a:cubicBezTo>
                      <a:pt x="23068" y="5293"/>
                      <a:pt x="23068" y="-1115"/>
                      <a:pt x="16660" y="167"/>
                    </a:cubicBezTo>
                    <a:cubicBezTo>
                      <a:pt x="8971" y="5293"/>
                      <a:pt x="6408" y="14264"/>
                      <a:pt x="6408" y="1682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3" name="Freeform: Shape 379527">
                <a:extLst>
                  <a:ext uri="{FF2B5EF4-FFF2-40B4-BE49-F238E27FC236}">
                    <a16:creationId xmlns:a16="http://schemas.microsoft.com/office/drawing/2014/main" id="{4202457C-AC9D-4E9F-BFBA-193CF2B76961}"/>
                  </a:ext>
                </a:extLst>
              </p:cNvPr>
              <p:cNvSpPr/>
              <p:nvPr/>
            </p:nvSpPr>
            <p:spPr>
              <a:xfrm>
                <a:off x="5606037" y="2640628"/>
                <a:ext cx="24605" cy="20046"/>
              </a:xfrm>
              <a:custGeom>
                <a:avLst/>
                <a:gdLst>
                  <a:gd name="connsiteX0" fmla="*/ 410 w 24605"/>
                  <a:gd name="connsiteY0" fmla="*/ 13318 h 20046"/>
                  <a:gd name="connsiteX1" fmla="*/ 23478 w 24605"/>
                  <a:gd name="connsiteY1" fmla="*/ 13318 h 20046"/>
                  <a:gd name="connsiteX2" fmla="*/ 10662 w 24605"/>
                  <a:gd name="connsiteY2" fmla="*/ 503 h 20046"/>
                  <a:gd name="connsiteX3" fmla="*/ 410 w 24605"/>
                  <a:gd name="connsiteY3" fmla="*/ 13318 h 20046"/>
                </a:gdLst>
                <a:ahLst/>
                <a:cxnLst>
                  <a:cxn ang="0">
                    <a:pos x="connsiteX0" y="connsiteY0"/>
                  </a:cxn>
                  <a:cxn ang="0">
                    <a:pos x="connsiteX1" y="connsiteY1"/>
                  </a:cxn>
                  <a:cxn ang="0">
                    <a:pos x="connsiteX2" y="connsiteY2"/>
                  </a:cxn>
                  <a:cxn ang="0">
                    <a:pos x="connsiteX3" y="connsiteY3"/>
                  </a:cxn>
                </a:cxnLst>
                <a:rect l="l" t="t" r="r" b="b"/>
                <a:pathLst>
                  <a:path w="24605" h="20046">
                    <a:moveTo>
                      <a:pt x="410" y="13318"/>
                    </a:moveTo>
                    <a:cubicBezTo>
                      <a:pt x="2973" y="22289"/>
                      <a:pt x="18352" y="22289"/>
                      <a:pt x="23478" y="13318"/>
                    </a:cubicBezTo>
                    <a:cubicBezTo>
                      <a:pt x="27323" y="5629"/>
                      <a:pt x="20915" y="-2060"/>
                      <a:pt x="10662" y="503"/>
                    </a:cubicBezTo>
                    <a:cubicBezTo>
                      <a:pt x="410" y="1784"/>
                      <a:pt x="-872" y="9474"/>
                      <a:pt x="410" y="1331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404" name="Graphic 379285">
                <a:extLst>
                  <a:ext uri="{FF2B5EF4-FFF2-40B4-BE49-F238E27FC236}">
                    <a16:creationId xmlns:a16="http://schemas.microsoft.com/office/drawing/2014/main" id="{D973D960-FBCD-4D6F-9AA8-88935B4C1FE3}"/>
                  </a:ext>
                </a:extLst>
              </p:cNvPr>
              <p:cNvGrpSpPr/>
              <p:nvPr/>
            </p:nvGrpSpPr>
            <p:grpSpPr>
              <a:xfrm>
                <a:off x="6134382" y="2523228"/>
                <a:ext cx="297539" cy="326195"/>
                <a:chOff x="6134382" y="2523228"/>
                <a:chExt cx="297539" cy="326195"/>
              </a:xfrm>
              <a:grpFill/>
            </p:grpSpPr>
            <p:sp>
              <p:nvSpPr>
                <p:cNvPr id="991" name="Freeform: Shape 379529">
                  <a:extLst>
                    <a:ext uri="{FF2B5EF4-FFF2-40B4-BE49-F238E27FC236}">
                      <a16:creationId xmlns:a16="http://schemas.microsoft.com/office/drawing/2014/main" id="{DA72333A-1B1D-4FCA-9AD3-1B4AA6A60827}"/>
                    </a:ext>
                  </a:extLst>
                </p:cNvPr>
                <p:cNvSpPr/>
                <p:nvPr/>
              </p:nvSpPr>
              <p:spPr>
                <a:xfrm>
                  <a:off x="6258756" y="2706489"/>
                  <a:ext cx="49980" cy="44854"/>
                </a:xfrm>
                <a:custGeom>
                  <a:avLst/>
                  <a:gdLst>
                    <a:gd name="connsiteX0" fmla="*/ 8971 w 49980"/>
                    <a:gd name="connsiteY0" fmla="*/ 24349 h 44854"/>
                    <a:gd name="connsiteX1" fmla="*/ 0 w 49980"/>
                    <a:gd name="connsiteY1" fmla="*/ 0 h 44854"/>
                    <a:gd name="connsiteX2" fmla="*/ 41010 w 49980"/>
                    <a:gd name="connsiteY2" fmla="*/ 20505 h 44854"/>
                    <a:gd name="connsiteX3" fmla="*/ 49980 w 49980"/>
                    <a:gd name="connsiteY3" fmla="*/ 44854 h 44854"/>
                    <a:gd name="connsiteX4" fmla="*/ 8971 w 49980"/>
                    <a:gd name="connsiteY4" fmla="*/ 24349 h 44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980" h="44854">
                      <a:moveTo>
                        <a:pt x="8971" y="24349"/>
                      </a:moveTo>
                      <a:cubicBezTo>
                        <a:pt x="6408" y="16660"/>
                        <a:pt x="2563" y="7689"/>
                        <a:pt x="0" y="0"/>
                      </a:cubicBezTo>
                      <a:lnTo>
                        <a:pt x="41010" y="20505"/>
                      </a:lnTo>
                      <a:cubicBezTo>
                        <a:pt x="43573" y="28194"/>
                        <a:pt x="47417" y="37165"/>
                        <a:pt x="49980" y="44854"/>
                      </a:cubicBezTo>
                      <a:lnTo>
                        <a:pt x="8971" y="24349"/>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92" name="Freeform: Shape 379530">
                  <a:extLst>
                    <a:ext uri="{FF2B5EF4-FFF2-40B4-BE49-F238E27FC236}">
                      <a16:creationId xmlns:a16="http://schemas.microsoft.com/office/drawing/2014/main" id="{52991201-6D05-4485-9FBC-E9DEAB445040}"/>
                    </a:ext>
                  </a:extLst>
                </p:cNvPr>
                <p:cNvSpPr/>
                <p:nvPr/>
              </p:nvSpPr>
              <p:spPr>
                <a:xfrm>
                  <a:off x="6134382" y="2523228"/>
                  <a:ext cx="297539" cy="326195"/>
                </a:xfrm>
                <a:custGeom>
                  <a:avLst/>
                  <a:gdLst>
                    <a:gd name="connsiteX0" fmla="*/ 1345 w 297539"/>
                    <a:gd name="connsiteY0" fmla="*/ 14097 h 326195"/>
                    <a:gd name="connsiteX1" fmla="*/ 12879 w 297539"/>
                    <a:gd name="connsiteY1" fmla="*/ 20505 h 326195"/>
                    <a:gd name="connsiteX2" fmla="*/ 69267 w 297539"/>
                    <a:gd name="connsiteY2" fmla="*/ 156349 h 326195"/>
                    <a:gd name="connsiteX3" fmla="*/ 116685 w 297539"/>
                    <a:gd name="connsiteY3" fmla="*/ 179416 h 326195"/>
                    <a:gd name="connsiteX4" fmla="*/ 128219 w 297539"/>
                    <a:gd name="connsiteY4" fmla="*/ 210174 h 326195"/>
                    <a:gd name="connsiteX5" fmla="*/ 175636 w 297539"/>
                    <a:gd name="connsiteY5" fmla="*/ 234523 h 326195"/>
                    <a:gd name="connsiteX6" fmla="*/ 187170 w 297539"/>
                    <a:gd name="connsiteY6" fmla="*/ 266561 h 326195"/>
                    <a:gd name="connsiteX7" fmla="*/ 273034 w 297539"/>
                    <a:gd name="connsiteY7" fmla="*/ 311416 h 326195"/>
                    <a:gd name="connsiteX8" fmla="*/ 293539 w 297539"/>
                    <a:gd name="connsiteY8" fmla="*/ 324231 h 326195"/>
                    <a:gd name="connsiteX9" fmla="*/ 285849 w 297539"/>
                    <a:gd name="connsiteY9" fmla="*/ 303726 h 326195"/>
                    <a:gd name="connsiteX10" fmla="*/ 275597 w 297539"/>
                    <a:gd name="connsiteY10" fmla="*/ 306289 h 326195"/>
                    <a:gd name="connsiteX11" fmla="*/ 191015 w 297539"/>
                    <a:gd name="connsiteY11" fmla="*/ 262717 h 326195"/>
                    <a:gd name="connsiteX12" fmla="*/ 182044 w 297539"/>
                    <a:gd name="connsiteY12" fmla="*/ 238367 h 326195"/>
                    <a:gd name="connsiteX13" fmla="*/ 261500 w 297539"/>
                    <a:gd name="connsiteY13" fmla="*/ 279377 h 326195"/>
                    <a:gd name="connsiteX14" fmla="*/ 282005 w 297539"/>
                    <a:gd name="connsiteY14" fmla="*/ 292192 h 326195"/>
                    <a:gd name="connsiteX15" fmla="*/ 274315 w 297539"/>
                    <a:gd name="connsiteY15" fmla="*/ 271688 h 326195"/>
                    <a:gd name="connsiteX16" fmla="*/ 264063 w 297539"/>
                    <a:gd name="connsiteY16" fmla="*/ 274251 h 326195"/>
                    <a:gd name="connsiteX17" fmla="*/ 179481 w 297539"/>
                    <a:gd name="connsiteY17" fmla="*/ 230678 h 326195"/>
                    <a:gd name="connsiteX18" fmla="*/ 170510 w 297539"/>
                    <a:gd name="connsiteY18" fmla="*/ 206329 h 326195"/>
                    <a:gd name="connsiteX19" fmla="*/ 249966 w 297539"/>
                    <a:gd name="connsiteY19" fmla="*/ 246057 h 326195"/>
                    <a:gd name="connsiteX20" fmla="*/ 270471 w 297539"/>
                    <a:gd name="connsiteY20" fmla="*/ 258872 h 326195"/>
                    <a:gd name="connsiteX21" fmla="*/ 262781 w 297539"/>
                    <a:gd name="connsiteY21" fmla="*/ 238367 h 326195"/>
                    <a:gd name="connsiteX22" fmla="*/ 252529 w 297539"/>
                    <a:gd name="connsiteY22" fmla="*/ 240931 h 326195"/>
                    <a:gd name="connsiteX23" fmla="*/ 169228 w 297539"/>
                    <a:gd name="connsiteY23" fmla="*/ 198640 h 326195"/>
                    <a:gd name="connsiteX24" fmla="*/ 111558 w 297539"/>
                    <a:gd name="connsiteY24" fmla="*/ 60233 h 326195"/>
                    <a:gd name="connsiteX25" fmla="*/ 105151 w 297539"/>
                    <a:gd name="connsiteY25" fmla="*/ 41009 h 326195"/>
                    <a:gd name="connsiteX26" fmla="*/ 94899 w 297539"/>
                    <a:gd name="connsiteY26" fmla="*/ 55106 h 326195"/>
                    <a:gd name="connsiteX27" fmla="*/ 106433 w 297539"/>
                    <a:gd name="connsiteY27" fmla="*/ 61514 h 326195"/>
                    <a:gd name="connsiteX28" fmla="*/ 162821 w 297539"/>
                    <a:gd name="connsiteY28" fmla="*/ 194795 h 326195"/>
                    <a:gd name="connsiteX29" fmla="*/ 121811 w 297539"/>
                    <a:gd name="connsiteY29" fmla="*/ 174290 h 326195"/>
                    <a:gd name="connsiteX30" fmla="*/ 64141 w 297539"/>
                    <a:gd name="connsiteY30" fmla="*/ 39728 h 326195"/>
                    <a:gd name="connsiteX31" fmla="*/ 57733 w 297539"/>
                    <a:gd name="connsiteY31" fmla="*/ 20505 h 326195"/>
                    <a:gd name="connsiteX32" fmla="*/ 47481 w 297539"/>
                    <a:gd name="connsiteY32" fmla="*/ 34602 h 326195"/>
                    <a:gd name="connsiteX33" fmla="*/ 59015 w 297539"/>
                    <a:gd name="connsiteY33" fmla="*/ 41009 h 326195"/>
                    <a:gd name="connsiteX34" fmla="*/ 114122 w 297539"/>
                    <a:gd name="connsiteY34" fmla="*/ 173009 h 326195"/>
                    <a:gd name="connsiteX35" fmla="*/ 73112 w 297539"/>
                    <a:gd name="connsiteY35" fmla="*/ 153785 h 326195"/>
                    <a:gd name="connsiteX36" fmla="*/ 18005 w 297539"/>
                    <a:gd name="connsiteY36" fmla="*/ 19223 h 326195"/>
                    <a:gd name="connsiteX37" fmla="*/ 11598 w 297539"/>
                    <a:gd name="connsiteY37" fmla="*/ 0 h 326195"/>
                    <a:gd name="connsiteX38" fmla="*/ 6471 w 297539"/>
                    <a:gd name="connsiteY38" fmla="*/ 0 h 326195"/>
                    <a:gd name="connsiteX39" fmla="*/ 1345 w 297539"/>
                    <a:gd name="connsiteY39" fmla="*/ 14097 h 32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97539" h="326195">
                      <a:moveTo>
                        <a:pt x="1345" y="14097"/>
                      </a:moveTo>
                      <a:cubicBezTo>
                        <a:pt x="2627" y="16660"/>
                        <a:pt x="6471" y="19223"/>
                        <a:pt x="12879" y="20505"/>
                      </a:cubicBezTo>
                      <a:cubicBezTo>
                        <a:pt x="32102" y="64077"/>
                        <a:pt x="50044" y="110213"/>
                        <a:pt x="69267" y="156349"/>
                      </a:cubicBezTo>
                      <a:lnTo>
                        <a:pt x="116685" y="179416"/>
                      </a:lnTo>
                      <a:cubicBezTo>
                        <a:pt x="120530" y="189669"/>
                        <a:pt x="124374" y="199921"/>
                        <a:pt x="128219" y="210174"/>
                      </a:cubicBezTo>
                      <a:lnTo>
                        <a:pt x="175636" y="234523"/>
                      </a:lnTo>
                      <a:cubicBezTo>
                        <a:pt x="179481" y="244775"/>
                        <a:pt x="183325" y="255028"/>
                        <a:pt x="187170" y="266561"/>
                      </a:cubicBezTo>
                      <a:cubicBezTo>
                        <a:pt x="212801" y="280658"/>
                        <a:pt x="247403" y="298600"/>
                        <a:pt x="273034" y="311416"/>
                      </a:cubicBezTo>
                      <a:cubicBezTo>
                        <a:pt x="271752" y="324231"/>
                        <a:pt x="285849" y="329357"/>
                        <a:pt x="293539" y="324231"/>
                      </a:cubicBezTo>
                      <a:cubicBezTo>
                        <a:pt x="301228" y="319105"/>
                        <a:pt x="297383" y="305008"/>
                        <a:pt x="285849" y="303726"/>
                      </a:cubicBezTo>
                      <a:cubicBezTo>
                        <a:pt x="282005" y="302445"/>
                        <a:pt x="278160" y="303726"/>
                        <a:pt x="275597" y="306289"/>
                      </a:cubicBezTo>
                      <a:lnTo>
                        <a:pt x="191015" y="262717"/>
                      </a:lnTo>
                      <a:cubicBezTo>
                        <a:pt x="188452" y="253746"/>
                        <a:pt x="184607" y="246057"/>
                        <a:pt x="182044" y="238367"/>
                      </a:cubicBezTo>
                      <a:cubicBezTo>
                        <a:pt x="206393" y="251183"/>
                        <a:pt x="237151" y="266561"/>
                        <a:pt x="261500" y="279377"/>
                      </a:cubicBezTo>
                      <a:cubicBezTo>
                        <a:pt x="260219" y="292192"/>
                        <a:pt x="275597" y="297319"/>
                        <a:pt x="282005" y="292192"/>
                      </a:cubicBezTo>
                      <a:cubicBezTo>
                        <a:pt x="289694" y="287066"/>
                        <a:pt x="284568" y="274251"/>
                        <a:pt x="274315" y="271688"/>
                      </a:cubicBezTo>
                      <a:cubicBezTo>
                        <a:pt x="270471" y="270406"/>
                        <a:pt x="266626" y="271688"/>
                        <a:pt x="264063" y="274251"/>
                      </a:cubicBezTo>
                      <a:lnTo>
                        <a:pt x="179481" y="230678"/>
                      </a:lnTo>
                      <a:cubicBezTo>
                        <a:pt x="176918" y="222989"/>
                        <a:pt x="173073" y="214018"/>
                        <a:pt x="170510" y="206329"/>
                      </a:cubicBezTo>
                      <a:cubicBezTo>
                        <a:pt x="193578" y="217863"/>
                        <a:pt x="225617" y="234523"/>
                        <a:pt x="249966" y="246057"/>
                      </a:cubicBezTo>
                      <a:cubicBezTo>
                        <a:pt x="248685" y="258872"/>
                        <a:pt x="262781" y="263998"/>
                        <a:pt x="270471" y="258872"/>
                      </a:cubicBezTo>
                      <a:cubicBezTo>
                        <a:pt x="278160" y="253746"/>
                        <a:pt x="273034" y="240931"/>
                        <a:pt x="262781" y="238367"/>
                      </a:cubicBezTo>
                      <a:cubicBezTo>
                        <a:pt x="258937" y="237086"/>
                        <a:pt x="255092" y="238367"/>
                        <a:pt x="252529" y="240931"/>
                      </a:cubicBezTo>
                      <a:lnTo>
                        <a:pt x="169228" y="198640"/>
                      </a:lnTo>
                      <a:cubicBezTo>
                        <a:pt x="150005" y="151222"/>
                        <a:pt x="130782" y="105087"/>
                        <a:pt x="111558" y="60233"/>
                      </a:cubicBezTo>
                      <a:cubicBezTo>
                        <a:pt x="123092" y="52543"/>
                        <a:pt x="111558" y="42291"/>
                        <a:pt x="105151" y="41009"/>
                      </a:cubicBezTo>
                      <a:cubicBezTo>
                        <a:pt x="96180" y="39728"/>
                        <a:pt x="89772" y="47417"/>
                        <a:pt x="94899" y="55106"/>
                      </a:cubicBezTo>
                      <a:cubicBezTo>
                        <a:pt x="96180" y="57670"/>
                        <a:pt x="100025" y="60233"/>
                        <a:pt x="106433" y="61514"/>
                      </a:cubicBezTo>
                      <a:cubicBezTo>
                        <a:pt x="125655" y="103805"/>
                        <a:pt x="143597" y="148659"/>
                        <a:pt x="162821" y="194795"/>
                      </a:cubicBezTo>
                      <a:lnTo>
                        <a:pt x="121811" y="174290"/>
                      </a:lnTo>
                      <a:cubicBezTo>
                        <a:pt x="102588" y="129436"/>
                        <a:pt x="83365" y="83300"/>
                        <a:pt x="64141" y="39728"/>
                      </a:cubicBezTo>
                      <a:cubicBezTo>
                        <a:pt x="75675" y="32039"/>
                        <a:pt x="64141" y="21786"/>
                        <a:pt x="57733" y="20505"/>
                      </a:cubicBezTo>
                      <a:cubicBezTo>
                        <a:pt x="48763" y="19223"/>
                        <a:pt x="42355" y="26912"/>
                        <a:pt x="47481" y="34602"/>
                      </a:cubicBezTo>
                      <a:cubicBezTo>
                        <a:pt x="48763" y="37165"/>
                        <a:pt x="52607" y="39728"/>
                        <a:pt x="59015" y="41009"/>
                      </a:cubicBezTo>
                      <a:cubicBezTo>
                        <a:pt x="78238" y="83300"/>
                        <a:pt x="96180" y="126873"/>
                        <a:pt x="114122" y="173009"/>
                      </a:cubicBezTo>
                      <a:lnTo>
                        <a:pt x="73112" y="153785"/>
                      </a:lnTo>
                      <a:cubicBezTo>
                        <a:pt x="55170" y="107650"/>
                        <a:pt x="35947" y="62796"/>
                        <a:pt x="18005" y="19223"/>
                      </a:cubicBezTo>
                      <a:cubicBezTo>
                        <a:pt x="29539" y="11534"/>
                        <a:pt x="18005" y="1282"/>
                        <a:pt x="11598" y="0"/>
                      </a:cubicBezTo>
                      <a:cubicBezTo>
                        <a:pt x="10316" y="0"/>
                        <a:pt x="7753" y="0"/>
                        <a:pt x="6471" y="0"/>
                      </a:cubicBezTo>
                      <a:cubicBezTo>
                        <a:pt x="-2500" y="3845"/>
                        <a:pt x="64" y="11534"/>
                        <a:pt x="1345"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405" name="Freeform: Shape 379531">
                <a:extLst>
                  <a:ext uri="{FF2B5EF4-FFF2-40B4-BE49-F238E27FC236}">
                    <a16:creationId xmlns:a16="http://schemas.microsoft.com/office/drawing/2014/main" id="{0376EEAF-51BF-4A97-A51A-20543A87F10A}"/>
                  </a:ext>
                </a:extLst>
              </p:cNvPr>
              <p:cNvSpPr/>
              <p:nvPr/>
            </p:nvSpPr>
            <p:spPr>
              <a:xfrm>
                <a:off x="6597816" y="2248977"/>
                <a:ext cx="164841" cy="188635"/>
              </a:xfrm>
              <a:custGeom>
                <a:avLst/>
                <a:gdLst>
                  <a:gd name="connsiteX0" fmla="*/ 4396 w 164841"/>
                  <a:gd name="connsiteY0" fmla="*/ 10252 h 188635"/>
                  <a:gd name="connsiteX1" fmla="*/ 15930 w 164841"/>
                  <a:gd name="connsiteY1" fmla="*/ 15379 h 188635"/>
                  <a:gd name="connsiteX2" fmla="*/ 145366 w 164841"/>
                  <a:gd name="connsiteY2" fmla="*/ 170446 h 188635"/>
                  <a:gd name="connsiteX3" fmla="*/ 156900 w 164841"/>
                  <a:gd name="connsiteY3" fmla="*/ 188387 h 188635"/>
                  <a:gd name="connsiteX4" fmla="*/ 163308 w 164841"/>
                  <a:gd name="connsiteY4" fmla="*/ 180698 h 188635"/>
                  <a:gd name="connsiteX5" fmla="*/ 149211 w 164841"/>
                  <a:gd name="connsiteY5" fmla="*/ 170446 h 188635"/>
                  <a:gd name="connsiteX6" fmla="*/ 19774 w 164841"/>
                  <a:gd name="connsiteY6" fmla="*/ 15379 h 188635"/>
                  <a:gd name="connsiteX7" fmla="*/ 4396 w 164841"/>
                  <a:gd name="connsiteY7" fmla="*/ 0 h 188635"/>
                  <a:gd name="connsiteX8" fmla="*/ 3114 w 164841"/>
                  <a:gd name="connsiteY8" fmla="*/ 0 h 188635"/>
                  <a:gd name="connsiteX9" fmla="*/ 4396 w 164841"/>
                  <a:gd name="connsiteY9" fmla="*/ 10252 h 18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841" h="188635">
                    <a:moveTo>
                      <a:pt x="4396" y="10252"/>
                    </a:moveTo>
                    <a:cubicBezTo>
                      <a:pt x="6959" y="12815"/>
                      <a:pt x="10803" y="15379"/>
                      <a:pt x="15930" y="15379"/>
                    </a:cubicBezTo>
                    <a:cubicBezTo>
                      <a:pt x="60784" y="62796"/>
                      <a:pt x="104357" y="115339"/>
                      <a:pt x="145366" y="170446"/>
                    </a:cubicBezTo>
                    <a:cubicBezTo>
                      <a:pt x="138958" y="174290"/>
                      <a:pt x="149211" y="185824"/>
                      <a:pt x="156900" y="188387"/>
                    </a:cubicBezTo>
                    <a:cubicBezTo>
                      <a:pt x="163308" y="189669"/>
                      <a:pt x="167153" y="185824"/>
                      <a:pt x="163308" y="180698"/>
                    </a:cubicBezTo>
                    <a:cubicBezTo>
                      <a:pt x="163308" y="180698"/>
                      <a:pt x="158182" y="173009"/>
                      <a:pt x="149211" y="170446"/>
                    </a:cubicBezTo>
                    <a:cubicBezTo>
                      <a:pt x="108201" y="115339"/>
                      <a:pt x="64628" y="62796"/>
                      <a:pt x="19774" y="15379"/>
                    </a:cubicBezTo>
                    <a:cubicBezTo>
                      <a:pt x="26182" y="8971"/>
                      <a:pt x="10803" y="0"/>
                      <a:pt x="4396" y="0"/>
                    </a:cubicBezTo>
                    <a:cubicBezTo>
                      <a:pt x="4396" y="0"/>
                      <a:pt x="3114" y="0"/>
                      <a:pt x="3114" y="0"/>
                    </a:cubicBezTo>
                    <a:cubicBezTo>
                      <a:pt x="-4575" y="1282"/>
                      <a:pt x="4396" y="10252"/>
                      <a:pt x="4396"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6" name="Freeform: Shape 379532">
                <a:extLst>
                  <a:ext uri="{FF2B5EF4-FFF2-40B4-BE49-F238E27FC236}">
                    <a16:creationId xmlns:a16="http://schemas.microsoft.com/office/drawing/2014/main" id="{7E84D803-F62B-43E4-93B2-0C8717AC838D}"/>
                  </a:ext>
                </a:extLst>
              </p:cNvPr>
              <p:cNvSpPr/>
              <p:nvPr/>
            </p:nvSpPr>
            <p:spPr>
              <a:xfrm>
                <a:off x="6800197" y="2327152"/>
                <a:ext cx="62169" cy="97264"/>
              </a:xfrm>
              <a:custGeom>
                <a:avLst/>
                <a:gdLst>
                  <a:gd name="connsiteX0" fmla="*/ 45509 w 62169"/>
                  <a:gd name="connsiteY0" fmla="*/ 90990 h 97264"/>
                  <a:gd name="connsiteX1" fmla="*/ 62169 w 62169"/>
                  <a:gd name="connsiteY1" fmla="*/ 93553 h 97264"/>
                  <a:gd name="connsiteX2" fmla="*/ 54480 w 62169"/>
                  <a:gd name="connsiteY2" fmla="*/ 82019 h 97264"/>
                  <a:gd name="connsiteX3" fmla="*/ 55762 w 62169"/>
                  <a:gd name="connsiteY3" fmla="*/ 58951 h 97264"/>
                  <a:gd name="connsiteX4" fmla="*/ 19878 w 62169"/>
                  <a:gd name="connsiteY4" fmla="*/ 16660 h 97264"/>
                  <a:gd name="connsiteX5" fmla="*/ 4499 w 62169"/>
                  <a:gd name="connsiteY5" fmla="*/ 0 h 97264"/>
                  <a:gd name="connsiteX6" fmla="*/ 3218 w 62169"/>
                  <a:gd name="connsiteY6" fmla="*/ 0 h 97264"/>
                  <a:gd name="connsiteX7" fmla="*/ 9626 w 62169"/>
                  <a:gd name="connsiteY7" fmla="*/ 14097 h 97264"/>
                  <a:gd name="connsiteX8" fmla="*/ 16033 w 62169"/>
                  <a:gd name="connsiteY8" fmla="*/ 16660 h 97264"/>
                  <a:gd name="connsiteX9" fmla="*/ 50635 w 62169"/>
                  <a:gd name="connsiteY9" fmla="*/ 57670 h 97264"/>
                  <a:gd name="connsiteX10" fmla="*/ 49354 w 62169"/>
                  <a:gd name="connsiteY10" fmla="*/ 79456 h 97264"/>
                  <a:gd name="connsiteX11" fmla="*/ 40383 w 62169"/>
                  <a:gd name="connsiteY11" fmla="*/ 84582 h 97264"/>
                  <a:gd name="connsiteX12" fmla="*/ 45509 w 62169"/>
                  <a:gd name="connsiteY12" fmla="*/ 90990 h 97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169" h="97264">
                    <a:moveTo>
                      <a:pt x="45509" y="90990"/>
                    </a:moveTo>
                    <a:cubicBezTo>
                      <a:pt x="51917" y="97397"/>
                      <a:pt x="62169" y="99961"/>
                      <a:pt x="62169" y="93553"/>
                    </a:cubicBezTo>
                    <a:cubicBezTo>
                      <a:pt x="62169" y="90990"/>
                      <a:pt x="60888" y="87145"/>
                      <a:pt x="54480" y="82019"/>
                    </a:cubicBezTo>
                    <a:lnTo>
                      <a:pt x="55762" y="58951"/>
                    </a:lnTo>
                    <a:cubicBezTo>
                      <a:pt x="44228" y="44854"/>
                      <a:pt x="32694" y="30757"/>
                      <a:pt x="19878" y="16660"/>
                    </a:cubicBezTo>
                    <a:cubicBezTo>
                      <a:pt x="26286" y="12815"/>
                      <a:pt x="12189" y="1282"/>
                      <a:pt x="4499" y="0"/>
                    </a:cubicBezTo>
                    <a:cubicBezTo>
                      <a:pt x="4499" y="0"/>
                      <a:pt x="3218" y="0"/>
                      <a:pt x="3218" y="0"/>
                    </a:cubicBezTo>
                    <a:cubicBezTo>
                      <a:pt x="-4471" y="1282"/>
                      <a:pt x="3218" y="10252"/>
                      <a:pt x="9626" y="14097"/>
                    </a:cubicBezTo>
                    <a:cubicBezTo>
                      <a:pt x="12189" y="15379"/>
                      <a:pt x="14752" y="16660"/>
                      <a:pt x="16033" y="16660"/>
                    </a:cubicBezTo>
                    <a:cubicBezTo>
                      <a:pt x="27567" y="29475"/>
                      <a:pt x="39101" y="43573"/>
                      <a:pt x="50635" y="57670"/>
                    </a:cubicBezTo>
                    <a:cubicBezTo>
                      <a:pt x="50635" y="64077"/>
                      <a:pt x="49354" y="73048"/>
                      <a:pt x="49354" y="79456"/>
                    </a:cubicBezTo>
                    <a:cubicBezTo>
                      <a:pt x="41665" y="76893"/>
                      <a:pt x="39101" y="80737"/>
                      <a:pt x="40383" y="84582"/>
                    </a:cubicBezTo>
                    <a:cubicBezTo>
                      <a:pt x="42946" y="87145"/>
                      <a:pt x="44228" y="88427"/>
                      <a:pt x="45509" y="9099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7" name="Freeform: Shape 379533">
                <a:extLst>
                  <a:ext uri="{FF2B5EF4-FFF2-40B4-BE49-F238E27FC236}">
                    <a16:creationId xmlns:a16="http://schemas.microsoft.com/office/drawing/2014/main" id="{230AFA3B-B4D2-4A8C-9FE6-BE682FEB204C}"/>
                  </a:ext>
                </a:extLst>
              </p:cNvPr>
              <p:cNvSpPr/>
              <p:nvPr/>
            </p:nvSpPr>
            <p:spPr>
              <a:xfrm>
                <a:off x="7062371" y="2357909"/>
                <a:ext cx="43975" cy="44854"/>
              </a:xfrm>
              <a:custGeom>
                <a:avLst/>
                <a:gdLst>
                  <a:gd name="connsiteX0" fmla="*/ 6325 w 43975"/>
                  <a:gd name="connsiteY0" fmla="*/ 12815 h 44854"/>
                  <a:gd name="connsiteX1" fmla="*/ 16577 w 43975"/>
                  <a:gd name="connsiteY1" fmla="*/ 19223 h 44854"/>
                  <a:gd name="connsiteX2" fmla="*/ 24267 w 43975"/>
                  <a:gd name="connsiteY2" fmla="*/ 26912 h 44854"/>
                  <a:gd name="connsiteX3" fmla="*/ 42208 w 43975"/>
                  <a:gd name="connsiteY3" fmla="*/ 44854 h 44854"/>
                  <a:gd name="connsiteX4" fmla="*/ 35801 w 43975"/>
                  <a:gd name="connsiteY4" fmla="*/ 32039 h 44854"/>
                  <a:gd name="connsiteX5" fmla="*/ 26830 w 43975"/>
                  <a:gd name="connsiteY5" fmla="*/ 26912 h 44854"/>
                  <a:gd name="connsiteX6" fmla="*/ 19141 w 43975"/>
                  <a:gd name="connsiteY6" fmla="*/ 17942 h 44854"/>
                  <a:gd name="connsiteX7" fmla="*/ 1199 w 43975"/>
                  <a:gd name="connsiteY7" fmla="*/ 0 h 44854"/>
                  <a:gd name="connsiteX8" fmla="*/ 6325 w 43975"/>
                  <a:gd name="connsiteY8" fmla="*/ 12815 h 44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75" h="44854">
                    <a:moveTo>
                      <a:pt x="6325" y="12815"/>
                    </a:moveTo>
                    <a:cubicBezTo>
                      <a:pt x="8888" y="15379"/>
                      <a:pt x="12733" y="17942"/>
                      <a:pt x="16577" y="19223"/>
                    </a:cubicBezTo>
                    <a:cubicBezTo>
                      <a:pt x="19141" y="21786"/>
                      <a:pt x="21704" y="24349"/>
                      <a:pt x="24267" y="26912"/>
                    </a:cubicBezTo>
                    <a:cubicBezTo>
                      <a:pt x="20422" y="30757"/>
                      <a:pt x="37083" y="44854"/>
                      <a:pt x="42208" y="44854"/>
                    </a:cubicBezTo>
                    <a:cubicBezTo>
                      <a:pt x="46053" y="44854"/>
                      <a:pt x="43490" y="38446"/>
                      <a:pt x="35801" y="32039"/>
                    </a:cubicBezTo>
                    <a:cubicBezTo>
                      <a:pt x="30674" y="28194"/>
                      <a:pt x="28111" y="26912"/>
                      <a:pt x="26830" y="26912"/>
                    </a:cubicBezTo>
                    <a:cubicBezTo>
                      <a:pt x="24267" y="24349"/>
                      <a:pt x="21704" y="21786"/>
                      <a:pt x="19141" y="17942"/>
                    </a:cubicBezTo>
                    <a:cubicBezTo>
                      <a:pt x="21704" y="14097"/>
                      <a:pt x="8888" y="1282"/>
                      <a:pt x="1199" y="0"/>
                    </a:cubicBezTo>
                    <a:cubicBezTo>
                      <a:pt x="-2646" y="3845"/>
                      <a:pt x="3762" y="10252"/>
                      <a:pt x="6325"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8" name="Freeform: Shape 379534">
                <a:extLst>
                  <a:ext uri="{FF2B5EF4-FFF2-40B4-BE49-F238E27FC236}">
                    <a16:creationId xmlns:a16="http://schemas.microsoft.com/office/drawing/2014/main" id="{55FDD3BF-0F95-4FFF-8DB0-F192AEBB251C}"/>
                  </a:ext>
                </a:extLst>
              </p:cNvPr>
              <p:cNvSpPr/>
              <p:nvPr/>
            </p:nvSpPr>
            <p:spPr>
              <a:xfrm>
                <a:off x="7109538" y="2337404"/>
                <a:ext cx="69480" cy="67997"/>
              </a:xfrm>
              <a:custGeom>
                <a:avLst/>
                <a:gdLst>
                  <a:gd name="connsiteX0" fmla="*/ 7857 w 69480"/>
                  <a:gd name="connsiteY0" fmla="*/ 8971 h 67997"/>
                  <a:gd name="connsiteX1" fmla="*/ 18109 w 69480"/>
                  <a:gd name="connsiteY1" fmla="*/ 16660 h 67997"/>
                  <a:gd name="connsiteX2" fmla="*/ 51430 w 69480"/>
                  <a:gd name="connsiteY2" fmla="*/ 49980 h 67997"/>
                  <a:gd name="connsiteX3" fmla="*/ 69371 w 69480"/>
                  <a:gd name="connsiteY3" fmla="*/ 67922 h 67997"/>
                  <a:gd name="connsiteX4" fmla="*/ 52711 w 69480"/>
                  <a:gd name="connsiteY4" fmla="*/ 49980 h 67997"/>
                  <a:gd name="connsiteX5" fmla="*/ 19391 w 69480"/>
                  <a:gd name="connsiteY5" fmla="*/ 16660 h 67997"/>
                  <a:gd name="connsiteX6" fmla="*/ 1449 w 69480"/>
                  <a:gd name="connsiteY6" fmla="*/ 0 h 67997"/>
                  <a:gd name="connsiteX7" fmla="*/ 168 w 69480"/>
                  <a:gd name="connsiteY7" fmla="*/ 0 h 67997"/>
                  <a:gd name="connsiteX8" fmla="*/ 7857 w 69480"/>
                  <a:gd name="connsiteY8" fmla="*/ 8971 h 6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480" h="67997">
                    <a:moveTo>
                      <a:pt x="7857" y="8971"/>
                    </a:moveTo>
                    <a:cubicBezTo>
                      <a:pt x="10420" y="11534"/>
                      <a:pt x="14265" y="14097"/>
                      <a:pt x="18109" y="16660"/>
                    </a:cubicBezTo>
                    <a:cubicBezTo>
                      <a:pt x="29643" y="28194"/>
                      <a:pt x="39896" y="38446"/>
                      <a:pt x="51430" y="49980"/>
                    </a:cubicBezTo>
                    <a:cubicBezTo>
                      <a:pt x="50148" y="53825"/>
                      <a:pt x="65526" y="69203"/>
                      <a:pt x="69371" y="67922"/>
                    </a:cubicBezTo>
                    <a:cubicBezTo>
                      <a:pt x="70653" y="65359"/>
                      <a:pt x="60401" y="53825"/>
                      <a:pt x="52711" y="49980"/>
                    </a:cubicBezTo>
                    <a:cubicBezTo>
                      <a:pt x="41177" y="38446"/>
                      <a:pt x="30925" y="26912"/>
                      <a:pt x="19391" y="16660"/>
                    </a:cubicBezTo>
                    <a:cubicBezTo>
                      <a:pt x="20672" y="14097"/>
                      <a:pt x="6575" y="1282"/>
                      <a:pt x="1449" y="0"/>
                    </a:cubicBezTo>
                    <a:cubicBezTo>
                      <a:pt x="1449" y="0"/>
                      <a:pt x="1449" y="0"/>
                      <a:pt x="168" y="0"/>
                    </a:cubicBezTo>
                    <a:cubicBezTo>
                      <a:pt x="-1114" y="1282"/>
                      <a:pt x="5294" y="7689"/>
                      <a:pt x="7857"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09" name="Freeform: Shape 379535">
                <a:extLst>
                  <a:ext uri="{FF2B5EF4-FFF2-40B4-BE49-F238E27FC236}">
                    <a16:creationId xmlns:a16="http://schemas.microsoft.com/office/drawing/2014/main" id="{44B65BAA-B25E-4038-B4E0-8E81E9B3A6E4}"/>
                  </a:ext>
                </a:extLst>
              </p:cNvPr>
              <p:cNvSpPr/>
              <p:nvPr/>
            </p:nvSpPr>
            <p:spPr>
              <a:xfrm>
                <a:off x="7244068" y="2400200"/>
                <a:ext cx="47618" cy="48698"/>
              </a:xfrm>
              <a:custGeom>
                <a:avLst/>
                <a:gdLst>
                  <a:gd name="connsiteX0" fmla="*/ 7890 w 47618"/>
                  <a:gd name="connsiteY0" fmla="*/ 11534 h 48698"/>
                  <a:gd name="connsiteX1" fmla="*/ 16861 w 47618"/>
                  <a:gd name="connsiteY1" fmla="*/ 19223 h 48698"/>
                  <a:gd name="connsiteX2" fmla="*/ 16861 w 47618"/>
                  <a:gd name="connsiteY2" fmla="*/ 17942 h 48698"/>
                  <a:gd name="connsiteX3" fmla="*/ 33521 w 47618"/>
                  <a:gd name="connsiteY3" fmla="*/ 34602 h 48698"/>
                  <a:gd name="connsiteX4" fmla="*/ 47618 w 47618"/>
                  <a:gd name="connsiteY4" fmla="*/ 48699 h 48698"/>
                  <a:gd name="connsiteX5" fmla="*/ 29676 w 47618"/>
                  <a:gd name="connsiteY5" fmla="*/ 29476 h 48698"/>
                  <a:gd name="connsiteX6" fmla="*/ 30958 w 47618"/>
                  <a:gd name="connsiteY6" fmla="*/ 30757 h 48698"/>
                  <a:gd name="connsiteX7" fmla="*/ 14298 w 47618"/>
                  <a:gd name="connsiteY7" fmla="*/ 14097 h 48698"/>
                  <a:gd name="connsiteX8" fmla="*/ 201 w 47618"/>
                  <a:gd name="connsiteY8" fmla="*/ 0 h 48698"/>
                  <a:gd name="connsiteX9" fmla="*/ 7890 w 47618"/>
                  <a:gd name="connsiteY9" fmla="*/ 11534 h 4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18" h="48698">
                    <a:moveTo>
                      <a:pt x="7890" y="11534"/>
                    </a:moveTo>
                    <a:cubicBezTo>
                      <a:pt x="10453" y="14097"/>
                      <a:pt x="14298" y="17942"/>
                      <a:pt x="16861" y="19223"/>
                    </a:cubicBezTo>
                    <a:cubicBezTo>
                      <a:pt x="16861" y="19223"/>
                      <a:pt x="16861" y="19223"/>
                      <a:pt x="16861" y="17942"/>
                    </a:cubicBezTo>
                    <a:cubicBezTo>
                      <a:pt x="21987" y="23068"/>
                      <a:pt x="28395" y="29476"/>
                      <a:pt x="33521" y="34602"/>
                    </a:cubicBezTo>
                    <a:cubicBezTo>
                      <a:pt x="36084" y="38446"/>
                      <a:pt x="45055" y="47417"/>
                      <a:pt x="47618" y="48699"/>
                    </a:cubicBezTo>
                    <a:cubicBezTo>
                      <a:pt x="47618" y="47417"/>
                      <a:pt x="32239" y="32039"/>
                      <a:pt x="29676" y="29476"/>
                    </a:cubicBezTo>
                    <a:cubicBezTo>
                      <a:pt x="29676" y="29476"/>
                      <a:pt x="29676" y="29476"/>
                      <a:pt x="30958" y="30757"/>
                    </a:cubicBezTo>
                    <a:cubicBezTo>
                      <a:pt x="25832" y="25631"/>
                      <a:pt x="19424" y="19223"/>
                      <a:pt x="14298" y="14097"/>
                    </a:cubicBezTo>
                    <a:cubicBezTo>
                      <a:pt x="11735" y="10252"/>
                      <a:pt x="2764" y="2563"/>
                      <a:pt x="201" y="0"/>
                    </a:cubicBezTo>
                    <a:cubicBezTo>
                      <a:pt x="-1081" y="2563"/>
                      <a:pt x="4046" y="8971"/>
                      <a:pt x="7890"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0" name="Freeform: Shape 379536">
                <a:extLst>
                  <a:ext uri="{FF2B5EF4-FFF2-40B4-BE49-F238E27FC236}">
                    <a16:creationId xmlns:a16="http://schemas.microsoft.com/office/drawing/2014/main" id="{CC3EA454-620B-4976-8288-D9A0821541BD}"/>
                  </a:ext>
                </a:extLst>
              </p:cNvPr>
              <p:cNvSpPr/>
              <p:nvPr/>
            </p:nvSpPr>
            <p:spPr>
              <a:xfrm>
                <a:off x="4198024" y="3088390"/>
                <a:ext cx="83300" cy="388308"/>
              </a:xfrm>
              <a:custGeom>
                <a:avLst/>
                <a:gdLst>
                  <a:gd name="connsiteX0" fmla="*/ 0 w 83300"/>
                  <a:gd name="connsiteY0" fmla="*/ 379337 h 388308"/>
                  <a:gd name="connsiteX1" fmla="*/ 1282 w 83300"/>
                  <a:gd name="connsiteY1" fmla="*/ 387027 h 388308"/>
                  <a:gd name="connsiteX2" fmla="*/ 3844 w 83300"/>
                  <a:gd name="connsiteY2" fmla="*/ 388308 h 388308"/>
                  <a:gd name="connsiteX3" fmla="*/ 6408 w 83300"/>
                  <a:gd name="connsiteY3" fmla="*/ 362677 h 388308"/>
                  <a:gd name="connsiteX4" fmla="*/ 16660 w 83300"/>
                  <a:gd name="connsiteY4" fmla="*/ 267843 h 388308"/>
                  <a:gd name="connsiteX5" fmla="*/ 33320 w 83300"/>
                  <a:gd name="connsiteY5" fmla="*/ 225552 h 388308"/>
                  <a:gd name="connsiteX6" fmla="*/ 75611 w 83300"/>
                  <a:gd name="connsiteY6" fmla="*/ 23068 h 388308"/>
                  <a:gd name="connsiteX7" fmla="*/ 83301 w 83300"/>
                  <a:gd name="connsiteY7" fmla="*/ 1282 h 388308"/>
                  <a:gd name="connsiteX8" fmla="*/ 82019 w 83300"/>
                  <a:gd name="connsiteY8" fmla="*/ 0 h 388308"/>
                  <a:gd name="connsiteX9" fmla="*/ 74330 w 83300"/>
                  <a:gd name="connsiteY9" fmla="*/ 24349 h 388308"/>
                  <a:gd name="connsiteX10" fmla="*/ 32039 w 83300"/>
                  <a:gd name="connsiteY10" fmla="*/ 224270 h 388308"/>
                  <a:gd name="connsiteX11" fmla="*/ 15378 w 83300"/>
                  <a:gd name="connsiteY11" fmla="*/ 266561 h 388308"/>
                  <a:gd name="connsiteX12" fmla="*/ 5126 w 83300"/>
                  <a:gd name="connsiteY12" fmla="*/ 362677 h 388308"/>
                  <a:gd name="connsiteX13" fmla="*/ 0 w 83300"/>
                  <a:gd name="connsiteY13" fmla="*/ 379337 h 38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300" h="388308">
                    <a:moveTo>
                      <a:pt x="0" y="379337"/>
                    </a:moveTo>
                    <a:cubicBezTo>
                      <a:pt x="0" y="383182"/>
                      <a:pt x="0" y="383182"/>
                      <a:pt x="1282" y="387027"/>
                    </a:cubicBezTo>
                    <a:cubicBezTo>
                      <a:pt x="1282" y="387027"/>
                      <a:pt x="2563" y="388308"/>
                      <a:pt x="3844" y="388308"/>
                    </a:cubicBezTo>
                    <a:cubicBezTo>
                      <a:pt x="8971" y="381901"/>
                      <a:pt x="10252" y="366522"/>
                      <a:pt x="6408" y="362677"/>
                    </a:cubicBezTo>
                    <a:cubicBezTo>
                      <a:pt x="8971" y="330639"/>
                      <a:pt x="12816" y="299882"/>
                      <a:pt x="16660" y="267843"/>
                    </a:cubicBezTo>
                    <a:lnTo>
                      <a:pt x="33320" y="225552"/>
                    </a:lnTo>
                    <a:cubicBezTo>
                      <a:pt x="43573" y="156349"/>
                      <a:pt x="57670" y="89708"/>
                      <a:pt x="75611" y="23068"/>
                    </a:cubicBezTo>
                    <a:cubicBezTo>
                      <a:pt x="79456" y="17942"/>
                      <a:pt x="83301" y="8971"/>
                      <a:pt x="83301" y="1282"/>
                    </a:cubicBezTo>
                    <a:cubicBezTo>
                      <a:pt x="83301" y="1282"/>
                      <a:pt x="82019" y="0"/>
                      <a:pt x="82019" y="0"/>
                    </a:cubicBezTo>
                    <a:cubicBezTo>
                      <a:pt x="76893" y="5126"/>
                      <a:pt x="71767" y="20505"/>
                      <a:pt x="74330" y="24349"/>
                    </a:cubicBezTo>
                    <a:cubicBezTo>
                      <a:pt x="56388" y="89708"/>
                      <a:pt x="42291" y="156349"/>
                      <a:pt x="32039" y="224270"/>
                    </a:cubicBezTo>
                    <a:lnTo>
                      <a:pt x="15378" y="266561"/>
                    </a:lnTo>
                    <a:cubicBezTo>
                      <a:pt x="11534" y="298600"/>
                      <a:pt x="7689" y="330639"/>
                      <a:pt x="5126" y="362677"/>
                    </a:cubicBezTo>
                    <a:cubicBezTo>
                      <a:pt x="1282" y="367804"/>
                      <a:pt x="0" y="372930"/>
                      <a:pt x="0" y="37933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1" name="Freeform: Shape 379537">
                <a:extLst>
                  <a:ext uri="{FF2B5EF4-FFF2-40B4-BE49-F238E27FC236}">
                    <a16:creationId xmlns:a16="http://schemas.microsoft.com/office/drawing/2014/main" id="{34D6B887-7867-4EFC-A58D-6C9410B920E1}"/>
                  </a:ext>
                </a:extLst>
              </p:cNvPr>
              <p:cNvSpPr/>
              <p:nvPr/>
            </p:nvSpPr>
            <p:spPr>
              <a:xfrm>
                <a:off x="4402738" y="3025485"/>
                <a:ext cx="23803" cy="50880"/>
              </a:xfrm>
              <a:custGeom>
                <a:avLst/>
                <a:gdLst>
                  <a:gd name="connsiteX0" fmla="*/ 333 w 23803"/>
                  <a:gd name="connsiteY0" fmla="*/ 18051 h 50880"/>
                  <a:gd name="connsiteX1" fmla="*/ 5459 w 23803"/>
                  <a:gd name="connsiteY1" fmla="*/ 24459 h 50880"/>
                  <a:gd name="connsiteX2" fmla="*/ 8023 w 23803"/>
                  <a:gd name="connsiteY2" fmla="*/ 21896 h 50880"/>
                  <a:gd name="connsiteX3" fmla="*/ 13149 w 23803"/>
                  <a:gd name="connsiteY3" fmla="*/ 37274 h 50880"/>
                  <a:gd name="connsiteX4" fmla="*/ 11867 w 23803"/>
                  <a:gd name="connsiteY4" fmla="*/ 50090 h 50880"/>
                  <a:gd name="connsiteX5" fmla="*/ 22120 w 23803"/>
                  <a:gd name="connsiteY5" fmla="*/ 41119 h 50880"/>
                  <a:gd name="connsiteX6" fmla="*/ 19557 w 23803"/>
                  <a:gd name="connsiteY6" fmla="*/ 27022 h 50880"/>
                  <a:gd name="connsiteX7" fmla="*/ 15712 w 23803"/>
                  <a:gd name="connsiteY7" fmla="*/ 30866 h 50880"/>
                  <a:gd name="connsiteX8" fmla="*/ 10586 w 23803"/>
                  <a:gd name="connsiteY8" fmla="*/ 16769 h 50880"/>
                  <a:gd name="connsiteX9" fmla="*/ 10586 w 23803"/>
                  <a:gd name="connsiteY9" fmla="*/ 109 h 50880"/>
                  <a:gd name="connsiteX10" fmla="*/ 333 w 23803"/>
                  <a:gd name="connsiteY10" fmla="*/ 18051 h 50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803" h="50880">
                    <a:moveTo>
                      <a:pt x="333" y="18051"/>
                    </a:moveTo>
                    <a:cubicBezTo>
                      <a:pt x="-948" y="24459"/>
                      <a:pt x="1615" y="27022"/>
                      <a:pt x="5459" y="24459"/>
                    </a:cubicBezTo>
                    <a:cubicBezTo>
                      <a:pt x="6741" y="24459"/>
                      <a:pt x="6741" y="23177"/>
                      <a:pt x="8023" y="21896"/>
                    </a:cubicBezTo>
                    <a:cubicBezTo>
                      <a:pt x="9304" y="27022"/>
                      <a:pt x="15712" y="32148"/>
                      <a:pt x="13149" y="37274"/>
                    </a:cubicBezTo>
                    <a:cubicBezTo>
                      <a:pt x="11867" y="42400"/>
                      <a:pt x="10586" y="47527"/>
                      <a:pt x="11867" y="50090"/>
                    </a:cubicBezTo>
                    <a:cubicBezTo>
                      <a:pt x="14430" y="52653"/>
                      <a:pt x="19557" y="48808"/>
                      <a:pt x="22120" y="41119"/>
                    </a:cubicBezTo>
                    <a:cubicBezTo>
                      <a:pt x="24683" y="33430"/>
                      <a:pt x="24683" y="25740"/>
                      <a:pt x="19557" y="27022"/>
                    </a:cubicBezTo>
                    <a:cubicBezTo>
                      <a:pt x="18275" y="28303"/>
                      <a:pt x="15712" y="30866"/>
                      <a:pt x="15712" y="30866"/>
                    </a:cubicBezTo>
                    <a:cubicBezTo>
                      <a:pt x="14430" y="27022"/>
                      <a:pt x="11867" y="20614"/>
                      <a:pt x="10586" y="16769"/>
                    </a:cubicBezTo>
                    <a:cubicBezTo>
                      <a:pt x="14430" y="9080"/>
                      <a:pt x="15712" y="-1172"/>
                      <a:pt x="10586" y="109"/>
                    </a:cubicBezTo>
                    <a:cubicBezTo>
                      <a:pt x="4178" y="5236"/>
                      <a:pt x="1615" y="15488"/>
                      <a:pt x="333" y="180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2" name="Freeform: Shape 379538">
                <a:extLst>
                  <a:ext uri="{FF2B5EF4-FFF2-40B4-BE49-F238E27FC236}">
                    <a16:creationId xmlns:a16="http://schemas.microsoft.com/office/drawing/2014/main" id="{2F70B259-6EA7-44E0-B39A-2588B13FB72A}"/>
                  </a:ext>
                </a:extLst>
              </p:cNvPr>
              <p:cNvSpPr/>
              <p:nvPr/>
            </p:nvSpPr>
            <p:spPr>
              <a:xfrm>
                <a:off x="4459460" y="3004980"/>
                <a:ext cx="27694" cy="50589"/>
              </a:xfrm>
              <a:custGeom>
                <a:avLst/>
                <a:gdLst>
                  <a:gd name="connsiteX0" fmla="*/ 0 w 27694"/>
                  <a:gd name="connsiteY0" fmla="*/ 16769 h 50589"/>
                  <a:gd name="connsiteX1" fmla="*/ 6408 w 27694"/>
                  <a:gd name="connsiteY1" fmla="*/ 23177 h 50589"/>
                  <a:gd name="connsiteX2" fmla="*/ 7689 w 27694"/>
                  <a:gd name="connsiteY2" fmla="*/ 21896 h 50589"/>
                  <a:gd name="connsiteX3" fmla="*/ 15379 w 27694"/>
                  <a:gd name="connsiteY3" fmla="*/ 35993 h 50589"/>
                  <a:gd name="connsiteX4" fmla="*/ 17942 w 27694"/>
                  <a:gd name="connsiteY4" fmla="*/ 50090 h 50589"/>
                  <a:gd name="connsiteX5" fmla="*/ 25631 w 27694"/>
                  <a:gd name="connsiteY5" fmla="*/ 27022 h 50589"/>
                  <a:gd name="connsiteX6" fmla="*/ 17942 w 27694"/>
                  <a:gd name="connsiteY6" fmla="*/ 30866 h 50589"/>
                  <a:gd name="connsiteX7" fmla="*/ 10252 w 27694"/>
                  <a:gd name="connsiteY7" fmla="*/ 16769 h 50589"/>
                  <a:gd name="connsiteX8" fmla="*/ 8971 w 27694"/>
                  <a:gd name="connsiteY8" fmla="*/ 109 h 50589"/>
                  <a:gd name="connsiteX9" fmla="*/ 0 w 27694"/>
                  <a:gd name="connsiteY9" fmla="*/ 16769 h 5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94" h="50589">
                    <a:moveTo>
                      <a:pt x="0" y="16769"/>
                    </a:moveTo>
                    <a:cubicBezTo>
                      <a:pt x="0" y="21896"/>
                      <a:pt x="1282" y="25740"/>
                      <a:pt x="6408" y="23177"/>
                    </a:cubicBezTo>
                    <a:cubicBezTo>
                      <a:pt x="7689" y="23177"/>
                      <a:pt x="7689" y="21896"/>
                      <a:pt x="7689" y="21896"/>
                    </a:cubicBezTo>
                    <a:cubicBezTo>
                      <a:pt x="10252" y="25740"/>
                      <a:pt x="12816" y="32148"/>
                      <a:pt x="15379" y="35993"/>
                    </a:cubicBezTo>
                    <a:cubicBezTo>
                      <a:pt x="11534" y="44963"/>
                      <a:pt x="12816" y="52653"/>
                      <a:pt x="17942" y="50090"/>
                    </a:cubicBezTo>
                    <a:cubicBezTo>
                      <a:pt x="25631" y="47527"/>
                      <a:pt x="30757" y="28303"/>
                      <a:pt x="25631" y="27022"/>
                    </a:cubicBezTo>
                    <a:cubicBezTo>
                      <a:pt x="24350" y="27022"/>
                      <a:pt x="21786" y="27022"/>
                      <a:pt x="17942" y="30866"/>
                    </a:cubicBezTo>
                    <a:cubicBezTo>
                      <a:pt x="15379" y="27022"/>
                      <a:pt x="12816" y="21896"/>
                      <a:pt x="10252" y="16769"/>
                    </a:cubicBezTo>
                    <a:cubicBezTo>
                      <a:pt x="14097" y="9080"/>
                      <a:pt x="15379" y="-1172"/>
                      <a:pt x="8971" y="109"/>
                    </a:cubicBezTo>
                    <a:cubicBezTo>
                      <a:pt x="3845" y="3954"/>
                      <a:pt x="1282" y="14206"/>
                      <a:pt x="0" y="1676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3" name="Freeform: Shape 379539">
                <a:extLst>
                  <a:ext uri="{FF2B5EF4-FFF2-40B4-BE49-F238E27FC236}">
                    <a16:creationId xmlns:a16="http://schemas.microsoft.com/office/drawing/2014/main" id="{5C5BAE24-4E34-47E4-80F4-9E29363C2AC4}"/>
                  </a:ext>
                </a:extLst>
              </p:cNvPr>
              <p:cNvSpPr/>
              <p:nvPr/>
            </p:nvSpPr>
            <p:spPr>
              <a:xfrm>
                <a:off x="4771594" y="2833362"/>
                <a:ext cx="25717" cy="87220"/>
              </a:xfrm>
              <a:custGeom>
                <a:avLst/>
                <a:gdLst>
                  <a:gd name="connsiteX0" fmla="*/ 8254 w 25717"/>
                  <a:gd name="connsiteY0" fmla="*/ 16660 h 87220"/>
                  <a:gd name="connsiteX1" fmla="*/ 13380 w 25717"/>
                  <a:gd name="connsiteY1" fmla="*/ 23068 h 87220"/>
                  <a:gd name="connsiteX2" fmla="*/ 8254 w 25717"/>
                  <a:gd name="connsiteY2" fmla="*/ 65359 h 87220"/>
                  <a:gd name="connsiteX3" fmla="*/ 4409 w 25717"/>
                  <a:gd name="connsiteY3" fmla="*/ 87145 h 87220"/>
                  <a:gd name="connsiteX4" fmla="*/ 17224 w 25717"/>
                  <a:gd name="connsiteY4" fmla="*/ 66640 h 87220"/>
                  <a:gd name="connsiteX5" fmla="*/ 12098 w 25717"/>
                  <a:gd name="connsiteY5" fmla="*/ 64077 h 87220"/>
                  <a:gd name="connsiteX6" fmla="*/ 17224 w 25717"/>
                  <a:gd name="connsiteY6" fmla="*/ 21786 h 87220"/>
                  <a:gd name="connsiteX7" fmla="*/ 22351 w 25717"/>
                  <a:gd name="connsiteY7" fmla="*/ 0 h 87220"/>
                  <a:gd name="connsiteX8" fmla="*/ 18506 w 25717"/>
                  <a:gd name="connsiteY8" fmla="*/ 0 h 87220"/>
                  <a:gd name="connsiteX9" fmla="*/ 8254 w 25717"/>
                  <a:gd name="connsiteY9" fmla="*/ 16660 h 87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717" h="87220">
                    <a:moveTo>
                      <a:pt x="8254" y="16660"/>
                    </a:moveTo>
                    <a:cubicBezTo>
                      <a:pt x="8254" y="19223"/>
                      <a:pt x="9535" y="23068"/>
                      <a:pt x="13380" y="23068"/>
                    </a:cubicBezTo>
                    <a:cubicBezTo>
                      <a:pt x="10817" y="37165"/>
                      <a:pt x="9535" y="51262"/>
                      <a:pt x="8254" y="65359"/>
                    </a:cubicBezTo>
                    <a:cubicBezTo>
                      <a:pt x="-1999" y="71767"/>
                      <a:pt x="-1999" y="85864"/>
                      <a:pt x="4409" y="87145"/>
                    </a:cubicBezTo>
                    <a:cubicBezTo>
                      <a:pt x="12098" y="88427"/>
                      <a:pt x="22351" y="73048"/>
                      <a:pt x="17224" y="66640"/>
                    </a:cubicBezTo>
                    <a:cubicBezTo>
                      <a:pt x="15943" y="64077"/>
                      <a:pt x="14661" y="64077"/>
                      <a:pt x="12098" y="64077"/>
                    </a:cubicBezTo>
                    <a:cubicBezTo>
                      <a:pt x="13380" y="49980"/>
                      <a:pt x="15943" y="35883"/>
                      <a:pt x="17224" y="21786"/>
                    </a:cubicBezTo>
                    <a:cubicBezTo>
                      <a:pt x="27477" y="15379"/>
                      <a:pt x="27477" y="2563"/>
                      <a:pt x="22351" y="0"/>
                    </a:cubicBezTo>
                    <a:cubicBezTo>
                      <a:pt x="21069" y="0"/>
                      <a:pt x="19788" y="0"/>
                      <a:pt x="18506" y="0"/>
                    </a:cubicBezTo>
                    <a:cubicBezTo>
                      <a:pt x="9535" y="5126"/>
                      <a:pt x="8254" y="14097"/>
                      <a:pt x="8254"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4" name="Freeform: Shape 379540">
                <a:extLst>
                  <a:ext uri="{FF2B5EF4-FFF2-40B4-BE49-F238E27FC236}">
                    <a16:creationId xmlns:a16="http://schemas.microsoft.com/office/drawing/2014/main" id="{63447A77-A628-4B37-846D-92F4DCAFF720}"/>
                  </a:ext>
                </a:extLst>
              </p:cNvPr>
              <p:cNvSpPr/>
              <p:nvPr/>
            </p:nvSpPr>
            <p:spPr>
              <a:xfrm>
                <a:off x="5758132" y="2635840"/>
                <a:ext cx="102889" cy="163750"/>
              </a:xfrm>
              <a:custGeom>
                <a:avLst/>
                <a:gdLst>
                  <a:gd name="connsiteX0" fmla="*/ 820 w 102889"/>
                  <a:gd name="connsiteY0" fmla="*/ 14261 h 163750"/>
                  <a:gd name="connsiteX1" fmla="*/ 21325 w 102889"/>
                  <a:gd name="connsiteY1" fmla="*/ 16824 h 163750"/>
                  <a:gd name="connsiteX2" fmla="*/ 54645 w 102889"/>
                  <a:gd name="connsiteY2" fmla="*/ 32203 h 163750"/>
                  <a:gd name="connsiteX3" fmla="*/ 84121 w 102889"/>
                  <a:gd name="connsiteY3" fmla="*/ 142416 h 163750"/>
                  <a:gd name="connsiteX4" fmla="*/ 85402 w 102889"/>
                  <a:gd name="connsiteY4" fmla="*/ 162920 h 163750"/>
                  <a:gd name="connsiteX5" fmla="*/ 102063 w 102889"/>
                  <a:gd name="connsiteY5" fmla="*/ 147542 h 163750"/>
                  <a:gd name="connsiteX6" fmla="*/ 90529 w 102889"/>
                  <a:gd name="connsiteY6" fmla="*/ 141134 h 163750"/>
                  <a:gd name="connsiteX7" fmla="*/ 59772 w 102889"/>
                  <a:gd name="connsiteY7" fmla="*/ 29640 h 163750"/>
                  <a:gd name="connsiteX8" fmla="*/ 25170 w 102889"/>
                  <a:gd name="connsiteY8" fmla="*/ 12980 h 163750"/>
                  <a:gd name="connsiteX9" fmla="*/ 11073 w 102889"/>
                  <a:gd name="connsiteY9" fmla="*/ 164 h 163750"/>
                  <a:gd name="connsiteX10" fmla="*/ 820 w 102889"/>
                  <a:gd name="connsiteY10" fmla="*/ 14261 h 163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89" h="163750">
                    <a:moveTo>
                      <a:pt x="820" y="14261"/>
                    </a:moveTo>
                    <a:cubicBezTo>
                      <a:pt x="3383" y="19387"/>
                      <a:pt x="12354" y="23232"/>
                      <a:pt x="21325" y="16824"/>
                    </a:cubicBezTo>
                    <a:lnTo>
                      <a:pt x="54645" y="32203"/>
                    </a:lnTo>
                    <a:cubicBezTo>
                      <a:pt x="64898" y="68086"/>
                      <a:pt x="73868" y="105251"/>
                      <a:pt x="84121" y="142416"/>
                    </a:cubicBezTo>
                    <a:cubicBezTo>
                      <a:pt x="72587" y="148823"/>
                      <a:pt x="76432" y="160357"/>
                      <a:pt x="85402" y="162920"/>
                    </a:cubicBezTo>
                    <a:cubicBezTo>
                      <a:pt x="95655" y="166765"/>
                      <a:pt x="105907" y="156513"/>
                      <a:pt x="102063" y="147542"/>
                    </a:cubicBezTo>
                    <a:cubicBezTo>
                      <a:pt x="100781" y="144979"/>
                      <a:pt x="96936" y="141134"/>
                      <a:pt x="90529" y="141134"/>
                    </a:cubicBezTo>
                    <a:cubicBezTo>
                      <a:pt x="80277" y="102688"/>
                      <a:pt x="70024" y="65523"/>
                      <a:pt x="59772" y="29640"/>
                    </a:cubicBezTo>
                    <a:cubicBezTo>
                      <a:pt x="49519" y="24513"/>
                      <a:pt x="35422" y="18106"/>
                      <a:pt x="25170" y="12980"/>
                    </a:cubicBezTo>
                    <a:cubicBezTo>
                      <a:pt x="27733" y="5290"/>
                      <a:pt x="21325" y="-1117"/>
                      <a:pt x="11073" y="164"/>
                    </a:cubicBezTo>
                    <a:cubicBezTo>
                      <a:pt x="-4306" y="4009"/>
                      <a:pt x="820" y="14261"/>
                      <a:pt x="820" y="1426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5" name="Freeform: Shape 379541">
                <a:extLst>
                  <a:ext uri="{FF2B5EF4-FFF2-40B4-BE49-F238E27FC236}">
                    <a16:creationId xmlns:a16="http://schemas.microsoft.com/office/drawing/2014/main" id="{49A09984-3AEE-4ED0-A791-D7645E159C52}"/>
                  </a:ext>
                </a:extLst>
              </p:cNvPr>
              <p:cNvSpPr/>
              <p:nvPr/>
            </p:nvSpPr>
            <p:spPr>
              <a:xfrm>
                <a:off x="5793554" y="2618774"/>
                <a:ext cx="133362" cy="171845"/>
              </a:xfrm>
              <a:custGeom>
                <a:avLst/>
                <a:gdLst>
                  <a:gd name="connsiteX0" fmla="*/ 1282 w 133362"/>
                  <a:gd name="connsiteY0" fmla="*/ 22356 h 171845"/>
                  <a:gd name="connsiteX1" fmla="*/ 21786 w 133362"/>
                  <a:gd name="connsiteY1" fmla="*/ 24919 h 171845"/>
                  <a:gd name="connsiteX2" fmla="*/ 55107 w 133362"/>
                  <a:gd name="connsiteY2" fmla="*/ 40298 h 171845"/>
                  <a:gd name="connsiteX3" fmla="*/ 85864 w 133362"/>
                  <a:gd name="connsiteY3" fmla="*/ 150510 h 171845"/>
                  <a:gd name="connsiteX4" fmla="*/ 87145 w 133362"/>
                  <a:gd name="connsiteY4" fmla="*/ 171015 h 171845"/>
                  <a:gd name="connsiteX5" fmla="*/ 103806 w 133362"/>
                  <a:gd name="connsiteY5" fmla="*/ 155637 h 171845"/>
                  <a:gd name="connsiteX6" fmla="*/ 92272 w 133362"/>
                  <a:gd name="connsiteY6" fmla="*/ 149229 h 171845"/>
                  <a:gd name="connsiteX7" fmla="*/ 62796 w 133362"/>
                  <a:gd name="connsiteY7" fmla="*/ 44142 h 171845"/>
                  <a:gd name="connsiteX8" fmla="*/ 101242 w 133362"/>
                  <a:gd name="connsiteY8" fmla="*/ 62084 h 171845"/>
                  <a:gd name="connsiteX9" fmla="*/ 115340 w 133362"/>
                  <a:gd name="connsiteY9" fmla="*/ 110782 h 171845"/>
                  <a:gd name="connsiteX10" fmla="*/ 116621 w 133362"/>
                  <a:gd name="connsiteY10" fmla="*/ 131287 h 171845"/>
                  <a:gd name="connsiteX11" fmla="*/ 131999 w 133362"/>
                  <a:gd name="connsiteY11" fmla="*/ 115909 h 171845"/>
                  <a:gd name="connsiteX12" fmla="*/ 120466 w 133362"/>
                  <a:gd name="connsiteY12" fmla="*/ 109501 h 171845"/>
                  <a:gd name="connsiteX13" fmla="*/ 105087 w 133362"/>
                  <a:gd name="connsiteY13" fmla="*/ 58239 h 171845"/>
                  <a:gd name="connsiteX14" fmla="*/ 58951 w 133362"/>
                  <a:gd name="connsiteY14" fmla="*/ 37734 h 171845"/>
                  <a:gd name="connsiteX15" fmla="*/ 53825 w 133362"/>
                  <a:gd name="connsiteY15" fmla="*/ 19793 h 171845"/>
                  <a:gd name="connsiteX16" fmla="*/ 52543 w 133362"/>
                  <a:gd name="connsiteY16" fmla="*/ 570 h 171845"/>
                  <a:gd name="connsiteX17" fmla="*/ 44854 w 133362"/>
                  <a:gd name="connsiteY17" fmla="*/ 570 h 171845"/>
                  <a:gd name="connsiteX18" fmla="*/ 42291 w 133362"/>
                  <a:gd name="connsiteY18" fmla="*/ 19793 h 171845"/>
                  <a:gd name="connsiteX19" fmla="*/ 48699 w 133362"/>
                  <a:gd name="connsiteY19" fmla="*/ 21074 h 171845"/>
                  <a:gd name="connsiteX20" fmla="*/ 52543 w 133362"/>
                  <a:gd name="connsiteY20" fmla="*/ 35171 h 171845"/>
                  <a:gd name="connsiteX21" fmla="*/ 24350 w 133362"/>
                  <a:gd name="connsiteY21" fmla="*/ 21074 h 171845"/>
                  <a:gd name="connsiteX22" fmla="*/ 5126 w 133362"/>
                  <a:gd name="connsiteY22" fmla="*/ 9540 h 171845"/>
                  <a:gd name="connsiteX23" fmla="*/ 1282 w 133362"/>
                  <a:gd name="connsiteY23" fmla="*/ 22356 h 171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3362" h="171845">
                    <a:moveTo>
                      <a:pt x="1282" y="22356"/>
                    </a:moveTo>
                    <a:cubicBezTo>
                      <a:pt x="5126" y="28764"/>
                      <a:pt x="14097" y="31327"/>
                      <a:pt x="21786" y="24919"/>
                    </a:cubicBezTo>
                    <a:lnTo>
                      <a:pt x="55107" y="40298"/>
                    </a:lnTo>
                    <a:cubicBezTo>
                      <a:pt x="65359" y="76181"/>
                      <a:pt x="75611" y="112064"/>
                      <a:pt x="85864" y="150510"/>
                    </a:cubicBezTo>
                    <a:cubicBezTo>
                      <a:pt x="74330" y="156918"/>
                      <a:pt x="78174" y="168452"/>
                      <a:pt x="87145" y="171015"/>
                    </a:cubicBezTo>
                    <a:cubicBezTo>
                      <a:pt x="97398" y="174860"/>
                      <a:pt x="107650" y="164607"/>
                      <a:pt x="103806" y="155637"/>
                    </a:cubicBezTo>
                    <a:cubicBezTo>
                      <a:pt x="102524" y="153073"/>
                      <a:pt x="98679" y="149229"/>
                      <a:pt x="92272" y="149229"/>
                    </a:cubicBezTo>
                    <a:cubicBezTo>
                      <a:pt x="82019" y="113346"/>
                      <a:pt x="71767" y="77462"/>
                      <a:pt x="62796" y="44142"/>
                    </a:cubicBezTo>
                    <a:lnTo>
                      <a:pt x="101242" y="62084"/>
                    </a:lnTo>
                    <a:cubicBezTo>
                      <a:pt x="106369" y="78744"/>
                      <a:pt x="111495" y="94122"/>
                      <a:pt x="115340" y="110782"/>
                    </a:cubicBezTo>
                    <a:cubicBezTo>
                      <a:pt x="103806" y="117190"/>
                      <a:pt x="107650" y="128724"/>
                      <a:pt x="116621" y="131287"/>
                    </a:cubicBezTo>
                    <a:cubicBezTo>
                      <a:pt x="126874" y="135132"/>
                      <a:pt x="137126" y="124880"/>
                      <a:pt x="131999" y="115909"/>
                    </a:cubicBezTo>
                    <a:cubicBezTo>
                      <a:pt x="130718" y="113346"/>
                      <a:pt x="126874" y="109501"/>
                      <a:pt x="120466" y="109501"/>
                    </a:cubicBezTo>
                    <a:cubicBezTo>
                      <a:pt x="115340" y="92841"/>
                      <a:pt x="110213" y="74899"/>
                      <a:pt x="105087" y="58239"/>
                    </a:cubicBezTo>
                    <a:lnTo>
                      <a:pt x="58951" y="37734"/>
                    </a:lnTo>
                    <a:cubicBezTo>
                      <a:pt x="57670" y="31327"/>
                      <a:pt x="55107" y="24919"/>
                      <a:pt x="53825" y="19793"/>
                    </a:cubicBezTo>
                    <a:cubicBezTo>
                      <a:pt x="65359" y="13385"/>
                      <a:pt x="61514" y="3133"/>
                      <a:pt x="52543" y="570"/>
                    </a:cubicBezTo>
                    <a:cubicBezTo>
                      <a:pt x="49980" y="-712"/>
                      <a:pt x="47417" y="570"/>
                      <a:pt x="44854" y="570"/>
                    </a:cubicBezTo>
                    <a:cubicBezTo>
                      <a:pt x="32039" y="4414"/>
                      <a:pt x="34602" y="17230"/>
                      <a:pt x="42291" y="19793"/>
                    </a:cubicBezTo>
                    <a:cubicBezTo>
                      <a:pt x="44854" y="21074"/>
                      <a:pt x="46136" y="21074"/>
                      <a:pt x="48699" y="21074"/>
                    </a:cubicBezTo>
                    <a:cubicBezTo>
                      <a:pt x="49980" y="26200"/>
                      <a:pt x="51262" y="30045"/>
                      <a:pt x="52543" y="35171"/>
                    </a:cubicBezTo>
                    <a:cubicBezTo>
                      <a:pt x="43573" y="31327"/>
                      <a:pt x="32039" y="26200"/>
                      <a:pt x="24350" y="21074"/>
                    </a:cubicBezTo>
                    <a:cubicBezTo>
                      <a:pt x="26912" y="9540"/>
                      <a:pt x="14097" y="4414"/>
                      <a:pt x="5126" y="9540"/>
                    </a:cubicBezTo>
                    <a:cubicBezTo>
                      <a:pt x="0" y="13385"/>
                      <a:pt x="-1282" y="18511"/>
                      <a:pt x="1282" y="2235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6" name="Freeform: Shape 379542">
                <a:extLst>
                  <a:ext uri="{FF2B5EF4-FFF2-40B4-BE49-F238E27FC236}">
                    <a16:creationId xmlns:a16="http://schemas.microsoft.com/office/drawing/2014/main" id="{0F345331-7CB1-485C-B6AC-382FCD341053}"/>
                  </a:ext>
                </a:extLst>
              </p:cNvPr>
              <p:cNvSpPr/>
              <p:nvPr/>
            </p:nvSpPr>
            <p:spPr>
              <a:xfrm>
                <a:off x="6279847" y="2524510"/>
                <a:ext cx="188809" cy="317556"/>
              </a:xfrm>
              <a:custGeom>
                <a:avLst/>
                <a:gdLst>
                  <a:gd name="connsiteX0" fmla="*/ 1978 w 188809"/>
                  <a:gd name="connsiteY0" fmla="*/ 14097 h 317556"/>
                  <a:gd name="connsiteX1" fmla="*/ 13512 w 188809"/>
                  <a:gd name="connsiteY1" fmla="*/ 20505 h 317556"/>
                  <a:gd name="connsiteX2" fmla="*/ 89123 w 188809"/>
                  <a:gd name="connsiteY2" fmla="*/ 188387 h 317556"/>
                  <a:gd name="connsiteX3" fmla="*/ 136540 w 188809"/>
                  <a:gd name="connsiteY3" fmla="*/ 212737 h 317556"/>
                  <a:gd name="connsiteX4" fmla="*/ 169860 w 188809"/>
                  <a:gd name="connsiteY4" fmla="*/ 296037 h 317556"/>
                  <a:gd name="connsiteX5" fmla="*/ 173705 w 188809"/>
                  <a:gd name="connsiteY5" fmla="*/ 316542 h 317556"/>
                  <a:gd name="connsiteX6" fmla="*/ 187803 w 188809"/>
                  <a:gd name="connsiteY6" fmla="*/ 303726 h 317556"/>
                  <a:gd name="connsiteX7" fmla="*/ 174987 w 188809"/>
                  <a:gd name="connsiteY7" fmla="*/ 294755 h 317556"/>
                  <a:gd name="connsiteX8" fmla="*/ 140385 w 188809"/>
                  <a:gd name="connsiteY8" fmla="*/ 208892 h 317556"/>
                  <a:gd name="connsiteX9" fmla="*/ 92968 w 188809"/>
                  <a:gd name="connsiteY9" fmla="*/ 184542 h 317556"/>
                  <a:gd name="connsiteX10" fmla="*/ 18638 w 188809"/>
                  <a:gd name="connsiteY10" fmla="*/ 19223 h 317556"/>
                  <a:gd name="connsiteX11" fmla="*/ 10949 w 188809"/>
                  <a:gd name="connsiteY11" fmla="*/ 0 h 317556"/>
                  <a:gd name="connsiteX12" fmla="*/ 5822 w 188809"/>
                  <a:gd name="connsiteY12" fmla="*/ 0 h 317556"/>
                  <a:gd name="connsiteX13" fmla="*/ 1978 w 188809"/>
                  <a:gd name="connsiteY13" fmla="*/ 14097 h 31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8809" h="317556">
                    <a:moveTo>
                      <a:pt x="1978" y="14097"/>
                    </a:moveTo>
                    <a:cubicBezTo>
                      <a:pt x="3259" y="16660"/>
                      <a:pt x="7104" y="19223"/>
                      <a:pt x="13512" y="20505"/>
                    </a:cubicBezTo>
                    <a:cubicBezTo>
                      <a:pt x="39143" y="74330"/>
                      <a:pt x="64773" y="129436"/>
                      <a:pt x="89123" y="188387"/>
                    </a:cubicBezTo>
                    <a:lnTo>
                      <a:pt x="136540" y="212737"/>
                    </a:lnTo>
                    <a:cubicBezTo>
                      <a:pt x="148074" y="239649"/>
                      <a:pt x="158326" y="267843"/>
                      <a:pt x="169860" y="296037"/>
                    </a:cubicBezTo>
                    <a:cubicBezTo>
                      <a:pt x="159608" y="301163"/>
                      <a:pt x="164735" y="313979"/>
                      <a:pt x="173705" y="316542"/>
                    </a:cubicBezTo>
                    <a:cubicBezTo>
                      <a:pt x="183958" y="320386"/>
                      <a:pt x="191647" y="312697"/>
                      <a:pt x="187803" y="303726"/>
                    </a:cubicBezTo>
                    <a:cubicBezTo>
                      <a:pt x="186521" y="301163"/>
                      <a:pt x="183958" y="296037"/>
                      <a:pt x="174987" y="294755"/>
                    </a:cubicBezTo>
                    <a:cubicBezTo>
                      <a:pt x="163453" y="265280"/>
                      <a:pt x="151919" y="237086"/>
                      <a:pt x="140385" y="208892"/>
                    </a:cubicBezTo>
                    <a:lnTo>
                      <a:pt x="92968" y="184542"/>
                    </a:lnTo>
                    <a:cubicBezTo>
                      <a:pt x="68618" y="126873"/>
                      <a:pt x="44269" y="71767"/>
                      <a:pt x="18638" y="19223"/>
                    </a:cubicBezTo>
                    <a:cubicBezTo>
                      <a:pt x="30171" y="11534"/>
                      <a:pt x="18638" y="1282"/>
                      <a:pt x="10949" y="0"/>
                    </a:cubicBezTo>
                    <a:cubicBezTo>
                      <a:pt x="9667" y="0"/>
                      <a:pt x="8385" y="0"/>
                      <a:pt x="5822" y="0"/>
                    </a:cubicBezTo>
                    <a:cubicBezTo>
                      <a:pt x="-4430" y="3845"/>
                      <a:pt x="1978" y="14097"/>
                      <a:pt x="197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7" name="Freeform: Shape 379543">
                <a:extLst>
                  <a:ext uri="{FF2B5EF4-FFF2-40B4-BE49-F238E27FC236}">
                    <a16:creationId xmlns:a16="http://schemas.microsoft.com/office/drawing/2014/main" id="{914DD5A8-6F46-4EFD-88A6-C32C50361756}"/>
                  </a:ext>
                </a:extLst>
              </p:cNvPr>
              <p:cNvSpPr/>
              <p:nvPr/>
            </p:nvSpPr>
            <p:spPr>
              <a:xfrm>
                <a:off x="6590535" y="2301521"/>
                <a:ext cx="138320" cy="169361"/>
              </a:xfrm>
              <a:custGeom>
                <a:avLst/>
                <a:gdLst>
                  <a:gd name="connsiteX0" fmla="*/ 3987 w 138320"/>
                  <a:gd name="connsiteY0" fmla="*/ 10252 h 169361"/>
                  <a:gd name="connsiteX1" fmla="*/ 15521 w 138320"/>
                  <a:gd name="connsiteY1" fmla="*/ 15379 h 169361"/>
                  <a:gd name="connsiteX2" fmla="*/ 119327 w 138320"/>
                  <a:gd name="connsiteY2" fmla="*/ 151222 h 169361"/>
                  <a:gd name="connsiteX3" fmla="*/ 129579 w 138320"/>
                  <a:gd name="connsiteY3" fmla="*/ 169164 h 169361"/>
                  <a:gd name="connsiteX4" fmla="*/ 135987 w 138320"/>
                  <a:gd name="connsiteY4" fmla="*/ 158912 h 169361"/>
                  <a:gd name="connsiteX5" fmla="*/ 123171 w 138320"/>
                  <a:gd name="connsiteY5" fmla="*/ 151222 h 169361"/>
                  <a:gd name="connsiteX6" fmla="*/ 19365 w 138320"/>
                  <a:gd name="connsiteY6" fmla="*/ 15379 h 169361"/>
                  <a:gd name="connsiteX7" fmla="*/ 7832 w 138320"/>
                  <a:gd name="connsiteY7" fmla="*/ 0 h 169361"/>
                  <a:gd name="connsiteX8" fmla="*/ 3987 w 138320"/>
                  <a:gd name="connsiteY8" fmla="*/ 0 h 169361"/>
                  <a:gd name="connsiteX9" fmla="*/ 3987 w 138320"/>
                  <a:gd name="connsiteY9" fmla="*/ 10252 h 169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320" h="169361">
                    <a:moveTo>
                      <a:pt x="3987" y="10252"/>
                    </a:moveTo>
                    <a:cubicBezTo>
                      <a:pt x="6550" y="12815"/>
                      <a:pt x="10395" y="15379"/>
                      <a:pt x="15521" y="15379"/>
                    </a:cubicBezTo>
                    <a:cubicBezTo>
                      <a:pt x="51404" y="57670"/>
                      <a:pt x="86006" y="102524"/>
                      <a:pt x="119327" y="151222"/>
                    </a:cubicBezTo>
                    <a:cubicBezTo>
                      <a:pt x="111637" y="156349"/>
                      <a:pt x="121890" y="167882"/>
                      <a:pt x="129579" y="169164"/>
                    </a:cubicBezTo>
                    <a:cubicBezTo>
                      <a:pt x="137268" y="170446"/>
                      <a:pt x="141113" y="165319"/>
                      <a:pt x="135987" y="158912"/>
                    </a:cubicBezTo>
                    <a:cubicBezTo>
                      <a:pt x="134705" y="156349"/>
                      <a:pt x="130861" y="152504"/>
                      <a:pt x="123171" y="151222"/>
                    </a:cubicBezTo>
                    <a:cubicBezTo>
                      <a:pt x="89851" y="103805"/>
                      <a:pt x="55249" y="58951"/>
                      <a:pt x="19365" y="15379"/>
                    </a:cubicBezTo>
                    <a:cubicBezTo>
                      <a:pt x="25774" y="11534"/>
                      <a:pt x="15521" y="1282"/>
                      <a:pt x="7832" y="0"/>
                    </a:cubicBezTo>
                    <a:cubicBezTo>
                      <a:pt x="6550" y="0"/>
                      <a:pt x="5269" y="0"/>
                      <a:pt x="3987" y="0"/>
                    </a:cubicBezTo>
                    <a:cubicBezTo>
                      <a:pt x="-4984" y="2563"/>
                      <a:pt x="3987" y="10252"/>
                      <a:pt x="3987"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8" name="Freeform: Shape 379544">
                <a:extLst>
                  <a:ext uri="{FF2B5EF4-FFF2-40B4-BE49-F238E27FC236}">
                    <a16:creationId xmlns:a16="http://schemas.microsoft.com/office/drawing/2014/main" id="{0950AAFA-6921-40EE-8660-10A503C6932D}"/>
                  </a:ext>
                </a:extLst>
              </p:cNvPr>
              <p:cNvSpPr/>
              <p:nvPr/>
            </p:nvSpPr>
            <p:spPr>
              <a:xfrm>
                <a:off x="6812724" y="2438646"/>
                <a:ext cx="246788" cy="414048"/>
              </a:xfrm>
              <a:custGeom>
                <a:avLst/>
                <a:gdLst>
                  <a:gd name="connsiteX0" fmla="*/ 3507 w 246788"/>
                  <a:gd name="connsiteY0" fmla="*/ 11534 h 414048"/>
                  <a:gd name="connsiteX1" fmla="*/ 15041 w 246788"/>
                  <a:gd name="connsiteY1" fmla="*/ 17942 h 414048"/>
                  <a:gd name="connsiteX2" fmla="*/ 229060 w 246788"/>
                  <a:gd name="connsiteY2" fmla="*/ 390871 h 414048"/>
                  <a:gd name="connsiteX3" fmla="*/ 239312 w 246788"/>
                  <a:gd name="connsiteY3" fmla="*/ 413939 h 414048"/>
                  <a:gd name="connsiteX4" fmla="*/ 243157 w 246788"/>
                  <a:gd name="connsiteY4" fmla="*/ 397279 h 414048"/>
                  <a:gd name="connsiteX5" fmla="*/ 232904 w 246788"/>
                  <a:gd name="connsiteY5" fmla="*/ 390871 h 414048"/>
                  <a:gd name="connsiteX6" fmla="*/ 18886 w 246788"/>
                  <a:gd name="connsiteY6" fmla="*/ 17942 h 414048"/>
                  <a:gd name="connsiteX7" fmla="*/ 4788 w 246788"/>
                  <a:gd name="connsiteY7" fmla="*/ 0 h 414048"/>
                  <a:gd name="connsiteX8" fmla="*/ 3507 w 246788"/>
                  <a:gd name="connsiteY8" fmla="*/ 0 h 414048"/>
                  <a:gd name="connsiteX9" fmla="*/ 3507 w 246788"/>
                  <a:gd name="connsiteY9" fmla="*/ 11534 h 41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788" h="414048">
                    <a:moveTo>
                      <a:pt x="3507" y="11534"/>
                    </a:moveTo>
                    <a:cubicBezTo>
                      <a:pt x="8633" y="16660"/>
                      <a:pt x="12477" y="17942"/>
                      <a:pt x="15041" y="17942"/>
                    </a:cubicBezTo>
                    <a:cubicBezTo>
                      <a:pt x="95778" y="129436"/>
                      <a:pt x="167545" y="253746"/>
                      <a:pt x="229060" y="390871"/>
                    </a:cubicBezTo>
                    <a:cubicBezTo>
                      <a:pt x="218807" y="398561"/>
                      <a:pt x="232904" y="412658"/>
                      <a:pt x="239312" y="413939"/>
                    </a:cubicBezTo>
                    <a:cubicBezTo>
                      <a:pt x="247001" y="415221"/>
                      <a:pt x="249565" y="404968"/>
                      <a:pt x="243157" y="397279"/>
                    </a:cubicBezTo>
                    <a:cubicBezTo>
                      <a:pt x="239312" y="393434"/>
                      <a:pt x="235467" y="392153"/>
                      <a:pt x="232904" y="390871"/>
                    </a:cubicBezTo>
                    <a:cubicBezTo>
                      <a:pt x="171390" y="255028"/>
                      <a:pt x="99623" y="129436"/>
                      <a:pt x="18886" y="17942"/>
                    </a:cubicBezTo>
                    <a:cubicBezTo>
                      <a:pt x="25293" y="11534"/>
                      <a:pt x="13759" y="0"/>
                      <a:pt x="4788" y="0"/>
                    </a:cubicBezTo>
                    <a:cubicBezTo>
                      <a:pt x="4788" y="0"/>
                      <a:pt x="3507" y="0"/>
                      <a:pt x="3507" y="0"/>
                    </a:cubicBezTo>
                    <a:cubicBezTo>
                      <a:pt x="-2901" y="2563"/>
                      <a:pt x="943" y="8971"/>
                      <a:pt x="3507"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19" name="Freeform: Shape 379545">
                <a:extLst>
                  <a:ext uri="{FF2B5EF4-FFF2-40B4-BE49-F238E27FC236}">
                    <a16:creationId xmlns:a16="http://schemas.microsoft.com/office/drawing/2014/main" id="{538C41E5-9E5E-4095-A7CA-B16067A3F904}"/>
                  </a:ext>
                </a:extLst>
              </p:cNvPr>
              <p:cNvSpPr/>
              <p:nvPr/>
            </p:nvSpPr>
            <p:spPr>
              <a:xfrm>
                <a:off x="7157043" y="2411734"/>
                <a:ext cx="109458" cy="129436"/>
              </a:xfrm>
              <a:custGeom>
                <a:avLst/>
                <a:gdLst>
                  <a:gd name="connsiteX0" fmla="*/ 6488 w 109458"/>
                  <a:gd name="connsiteY0" fmla="*/ 10252 h 129436"/>
                  <a:gd name="connsiteX1" fmla="*/ 16740 w 109458"/>
                  <a:gd name="connsiteY1" fmla="*/ 17942 h 129436"/>
                  <a:gd name="connsiteX2" fmla="*/ 92352 w 109458"/>
                  <a:gd name="connsiteY2" fmla="*/ 110213 h 129436"/>
                  <a:gd name="connsiteX3" fmla="*/ 109012 w 109458"/>
                  <a:gd name="connsiteY3" fmla="*/ 129436 h 129436"/>
                  <a:gd name="connsiteX4" fmla="*/ 94915 w 109458"/>
                  <a:gd name="connsiteY4" fmla="*/ 110213 h 129436"/>
                  <a:gd name="connsiteX5" fmla="*/ 19304 w 109458"/>
                  <a:gd name="connsiteY5" fmla="*/ 17942 h 129436"/>
                  <a:gd name="connsiteX6" fmla="*/ 1362 w 109458"/>
                  <a:gd name="connsiteY6" fmla="*/ 0 h 129436"/>
                  <a:gd name="connsiteX7" fmla="*/ 80 w 109458"/>
                  <a:gd name="connsiteY7" fmla="*/ 0 h 129436"/>
                  <a:gd name="connsiteX8" fmla="*/ 6488 w 109458"/>
                  <a:gd name="connsiteY8" fmla="*/ 10252 h 12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458" h="129436">
                    <a:moveTo>
                      <a:pt x="6488" y="10252"/>
                    </a:moveTo>
                    <a:cubicBezTo>
                      <a:pt x="9051" y="12815"/>
                      <a:pt x="12896" y="16660"/>
                      <a:pt x="16740" y="17942"/>
                    </a:cubicBezTo>
                    <a:cubicBezTo>
                      <a:pt x="42371" y="47417"/>
                      <a:pt x="68003" y="78174"/>
                      <a:pt x="92352" y="110213"/>
                    </a:cubicBezTo>
                    <a:cubicBezTo>
                      <a:pt x="88507" y="117902"/>
                      <a:pt x="109012" y="129436"/>
                      <a:pt x="109012" y="129436"/>
                    </a:cubicBezTo>
                    <a:cubicBezTo>
                      <a:pt x="111575" y="128155"/>
                      <a:pt x="102604" y="114058"/>
                      <a:pt x="94915" y="110213"/>
                    </a:cubicBezTo>
                    <a:cubicBezTo>
                      <a:pt x="70566" y="78174"/>
                      <a:pt x="44935" y="47417"/>
                      <a:pt x="19304" y="17942"/>
                    </a:cubicBezTo>
                    <a:cubicBezTo>
                      <a:pt x="20585" y="12815"/>
                      <a:pt x="7770" y="1282"/>
                      <a:pt x="1362" y="0"/>
                    </a:cubicBezTo>
                    <a:cubicBezTo>
                      <a:pt x="1362" y="0"/>
                      <a:pt x="1362" y="0"/>
                      <a:pt x="80" y="0"/>
                    </a:cubicBezTo>
                    <a:cubicBezTo>
                      <a:pt x="80" y="1282"/>
                      <a:pt x="-1201" y="3845"/>
                      <a:pt x="6488"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0" name="Freeform: Shape 379546">
                <a:extLst>
                  <a:ext uri="{FF2B5EF4-FFF2-40B4-BE49-F238E27FC236}">
                    <a16:creationId xmlns:a16="http://schemas.microsoft.com/office/drawing/2014/main" id="{F894D4EF-FF7E-49CF-AF35-80A847E2CC91}"/>
                  </a:ext>
                </a:extLst>
              </p:cNvPr>
              <p:cNvSpPr/>
              <p:nvPr/>
            </p:nvSpPr>
            <p:spPr>
              <a:xfrm>
                <a:off x="7159518" y="2363035"/>
                <a:ext cx="68189" cy="70555"/>
              </a:xfrm>
              <a:custGeom>
                <a:avLst/>
                <a:gdLst>
                  <a:gd name="connsiteX0" fmla="*/ 6576 w 68189"/>
                  <a:gd name="connsiteY0" fmla="*/ 10252 h 70555"/>
                  <a:gd name="connsiteX1" fmla="*/ 16829 w 68189"/>
                  <a:gd name="connsiteY1" fmla="*/ 17942 h 70555"/>
                  <a:gd name="connsiteX2" fmla="*/ 50149 w 68189"/>
                  <a:gd name="connsiteY2" fmla="*/ 52543 h 70555"/>
                  <a:gd name="connsiteX3" fmla="*/ 68091 w 68189"/>
                  <a:gd name="connsiteY3" fmla="*/ 70485 h 70555"/>
                  <a:gd name="connsiteX4" fmla="*/ 51431 w 68189"/>
                  <a:gd name="connsiteY4" fmla="*/ 52543 h 70555"/>
                  <a:gd name="connsiteX5" fmla="*/ 18110 w 68189"/>
                  <a:gd name="connsiteY5" fmla="*/ 17942 h 70555"/>
                  <a:gd name="connsiteX6" fmla="*/ 168 w 68189"/>
                  <a:gd name="connsiteY6" fmla="*/ 0 h 70555"/>
                  <a:gd name="connsiteX7" fmla="*/ 168 w 68189"/>
                  <a:gd name="connsiteY7" fmla="*/ 0 h 70555"/>
                  <a:gd name="connsiteX8" fmla="*/ 6576 w 68189"/>
                  <a:gd name="connsiteY8" fmla="*/ 10252 h 7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89" h="70555">
                    <a:moveTo>
                      <a:pt x="6576" y="10252"/>
                    </a:moveTo>
                    <a:cubicBezTo>
                      <a:pt x="9139" y="12815"/>
                      <a:pt x="12984" y="15379"/>
                      <a:pt x="16829" y="17942"/>
                    </a:cubicBezTo>
                    <a:cubicBezTo>
                      <a:pt x="28363" y="29476"/>
                      <a:pt x="38615" y="41009"/>
                      <a:pt x="50149" y="52543"/>
                    </a:cubicBezTo>
                    <a:cubicBezTo>
                      <a:pt x="48868" y="55106"/>
                      <a:pt x="64246" y="71767"/>
                      <a:pt x="68091" y="70485"/>
                    </a:cubicBezTo>
                    <a:cubicBezTo>
                      <a:pt x="69372" y="67922"/>
                      <a:pt x="57838" y="56388"/>
                      <a:pt x="51431" y="52543"/>
                    </a:cubicBezTo>
                    <a:cubicBezTo>
                      <a:pt x="41178" y="41009"/>
                      <a:pt x="29644" y="29476"/>
                      <a:pt x="18110" y="17942"/>
                    </a:cubicBezTo>
                    <a:cubicBezTo>
                      <a:pt x="19392" y="15379"/>
                      <a:pt x="5295" y="1282"/>
                      <a:pt x="168" y="0"/>
                    </a:cubicBezTo>
                    <a:cubicBezTo>
                      <a:pt x="168" y="0"/>
                      <a:pt x="168" y="0"/>
                      <a:pt x="168" y="0"/>
                    </a:cubicBezTo>
                    <a:cubicBezTo>
                      <a:pt x="-1113" y="1282"/>
                      <a:pt x="5295" y="8971"/>
                      <a:pt x="6576"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1" name="Freeform: Shape 379547">
                <a:extLst>
                  <a:ext uri="{FF2B5EF4-FFF2-40B4-BE49-F238E27FC236}">
                    <a16:creationId xmlns:a16="http://schemas.microsoft.com/office/drawing/2014/main" id="{4C5A8084-D35A-4FC6-83D4-44E4E100D621}"/>
                  </a:ext>
                </a:extLst>
              </p:cNvPr>
              <p:cNvSpPr/>
              <p:nvPr/>
            </p:nvSpPr>
            <p:spPr>
              <a:xfrm>
                <a:off x="7117395" y="2314336"/>
                <a:ext cx="121746" cy="119183"/>
              </a:xfrm>
              <a:custGeom>
                <a:avLst/>
                <a:gdLst>
                  <a:gd name="connsiteX0" fmla="*/ 7689 w 121746"/>
                  <a:gd name="connsiteY0" fmla="*/ 8971 h 119183"/>
                  <a:gd name="connsiteX1" fmla="*/ 17942 w 121746"/>
                  <a:gd name="connsiteY1" fmla="*/ 16660 h 119183"/>
                  <a:gd name="connsiteX2" fmla="*/ 102524 w 121746"/>
                  <a:gd name="connsiteY2" fmla="*/ 101242 h 119183"/>
                  <a:gd name="connsiteX3" fmla="*/ 120466 w 121746"/>
                  <a:gd name="connsiteY3" fmla="*/ 119184 h 119183"/>
                  <a:gd name="connsiteX4" fmla="*/ 121747 w 121746"/>
                  <a:gd name="connsiteY4" fmla="*/ 119184 h 119183"/>
                  <a:gd name="connsiteX5" fmla="*/ 105087 w 121746"/>
                  <a:gd name="connsiteY5" fmla="*/ 101242 h 119183"/>
                  <a:gd name="connsiteX6" fmla="*/ 19223 w 121746"/>
                  <a:gd name="connsiteY6" fmla="*/ 16660 h 119183"/>
                  <a:gd name="connsiteX7" fmla="*/ 0 w 121746"/>
                  <a:gd name="connsiteY7" fmla="*/ 0 h 119183"/>
                  <a:gd name="connsiteX8" fmla="*/ 0 w 121746"/>
                  <a:gd name="connsiteY8" fmla="*/ 0 h 119183"/>
                  <a:gd name="connsiteX9" fmla="*/ 7689 w 121746"/>
                  <a:gd name="connsiteY9" fmla="*/ 8971 h 11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46" h="119183">
                    <a:moveTo>
                      <a:pt x="7689" y="8971"/>
                    </a:moveTo>
                    <a:cubicBezTo>
                      <a:pt x="10252" y="11534"/>
                      <a:pt x="14097" y="14097"/>
                      <a:pt x="17942" y="16660"/>
                    </a:cubicBezTo>
                    <a:cubicBezTo>
                      <a:pt x="47417" y="43573"/>
                      <a:pt x="75611" y="71767"/>
                      <a:pt x="102524" y="101242"/>
                    </a:cubicBezTo>
                    <a:cubicBezTo>
                      <a:pt x="102524" y="106368"/>
                      <a:pt x="115339" y="117902"/>
                      <a:pt x="120466" y="119184"/>
                    </a:cubicBezTo>
                    <a:cubicBezTo>
                      <a:pt x="120466" y="119184"/>
                      <a:pt x="120466" y="119184"/>
                      <a:pt x="121747" y="119184"/>
                    </a:cubicBezTo>
                    <a:cubicBezTo>
                      <a:pt x="120466" y="115339"/>
                      <a:pt x="110213" y="105087"/>
                      <a:pt x="105087" y="101242"/>
                    </a:cubicBezTo>
                    <a:cubicBezTo>
                      <a:pt x="76893" y="71767"/>
                      <a:pt x="48699" y="43573"/>
                      <a:pt x="19223" y="16660"/>
                    </a:cubicBezTo>
                    <a:cubicBezTo>
                      <a:pt x="17942" y="12816"/>
                      <a:pt x="5126" y="1282"/>
                      <a:pt x="0" y="0"/>
                    </a:cubicBezTo>
                    <a:cubicBezTo>
                      <a:pt x="0" y="0"/>
                      <a:pt x="0" y="0"/>
                      <a:pt x="0" y="0"/>
                    </a:cubicBezTo>
                    <a:cubicBezTo>
                      <a:pt x="1281" y="2563"/>
                      <a:pt x="6408" y="7689"/>
                      <a:pt x="7689"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2" name="Freeform: Shape 379548">
                <a:extLst>
                  <a:ext uri="{FF2B5EF4-FFF2-40B4-BE49-F238E27FC236}">
                    <a16:creationId xmlns:a16="http://schemas.microsoft.com/office/drawing/2014/main" id="{DE5797F5-F42E-4521-9983-CE71D8EAB079}"/>
                  </a:ext>
                </a:extLst>
              </p:cNvPr>
              <p:cNvSpPr/>
              <p:nvPr/>
            </p:nvSpPr>
            <p:spPr>
              <a:xfrm>
                <a:off x="7189162" y="2366880"/>
                <a:ext cx="67922" cy="70566"/>
              </a:xfrm>
              <a:custGeom>
                <a:avLst/>
                <a:gdLst>
                  <a:gd name="connsiteX0" fmla="*/ 7689 w 67922"/>
                  <a:gd name="connsiteY0" fmla="*/ 10252 h 70566"/>
                  <a:gd name="connsiteX1" fmla="*/ 16660 w 67922"/>
                  <a:gd name="connsiteY1" fmla="*/ 17942 h 70566"/>
                  <a:gd name="connsiteX2" fmla="*/ 49980 w 67922"/>
                  <a:gd name="connsiteY2" fmla="*/ 52543 h 70566"/>
                  <a:gd name="connsiteX3" fmla="*/ 67922 w 67922"/>
                  <a:gd name="connsiteY3" fmla="*/ 70485 h 70566"/>
                  <a:gd name="connsiteX4" fmla="*/ 51262 w 67922"/>
                  <a:gd name="connsiteY4" fmla="*/ 52543 h 70566"/>
                  <a:gd name="connsiteX5" fmla="*/ 17942 w 67922"/>
                  <a:gd name="connsiteY5" fmla="*/ 17942 h 70566"/>
                  <a:gd name="connsiteX6" fmla="*/ 0 w 67922"/>
                  <a:gd name="connsiteY6" fmla="*/ 0 h 70566"/>
                  <a:gd name="connsiteX7" fmla="*/ 0 w 67922"/>
                  <a:gd name="connsiteY7" fmla="*/ 0 h 70566"/>
                  <a:gd name="connsiteX8" fmla="*/ 7689 w 67922"/>
                  <a:gd name="connsiteY8" fmla="*/ 10252 h 70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922" h="70566">
                    <a:moveTo>
                      <a:pt x="7689" y="10252"/>
                    </a:moveTo>
                    <a:cubicBezTo>
                      <a:pt x="10253" y="12815"/>
                      <a:pt x="14097" y="15379"/>
                      <a:pt x="16660" y="17942"/>
                    </a:cubicBezTo>
                    <a:cubicBezTo>
                      <a:pt x="28194" y="29476"/>
                      <a:pt x="38447" y="41009"/>
                      <a:pt x="49980" y="52543"/>
                    </a:cubicBezTo>
                    <a:cubicBezTo>
                      <a:pt x="51262" y="57670"/>
                      <a:pt x="65359" y="71767"/>
                      <a:pt x="67922" y="70485"/>
                    </a:cubicBezTo>
                    <a:cubicBezTo>
                      <a:pt x="67922" y="67922"/>
                      <a:pt x="57670" y="56388"/>
                      <a:pt x="51262" y="52543"/>
                    </a:cubicBezTo>
                    <a:cubicBezTo>
                      <a:pt x="39728" y="41009"/>
                      <a:pt x="29476" y="29476"/>
                      <a:pt x="17942" y="17942"/>
                    </a:cubicBezTo>
                    <a:cubicBezTo>
                      <a:pt x="16660" y="14097"/>
                      <a:pt x="3845" y="1282"/>
                      <a:pt x="0" y="0"/>
                    </a:cubicBezTo>
                    <a:cubicBezTo>
                      <a:pt x="0" y="0"/>
                      <a:pt x="0" y="0"/>
                      <a:pt x="0" y="0"/>
                    </a:cubicBezTo>
                    <a:cubicBezTo>
                      <a:pt x="1282" y="3845"/>
                      <a:pt x="5126" y="7689"/>
                      <a:pt x="7689"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3" name="Freeform: Shape 379549">
                <a:extLst>
                  <a:ext uri="{FF2B5EF4-FFF2-40B4-BE49-F238E27FC236}">
                    <a16:creationId xmlns:a16="http://schemas.microsoft.com/office/drawing/2014/main" id="{0FC71621-1995-4B21-84B0-FA343852E79D}"/>
                  </a:ext>
                </a:extLst>
              </p:cNvPr>
              <p:cNvSpPr/>
              <p:nvPr/>
            </p:nvSpPr>
            <p:spPr>
              <a:xfrm>
                <a:off x="7178910" y="2345093"/>
                <a:ext cx="94834" cy="96115"/>
              </a:xfrm>
              <a:custGeom>
                <a:avLst/>
                <a:gdLst>
                  <a:gd name="connsiteX0" fmla="*/ 7689 w 94834"/>
                  <a:gd name="connsiteY0" fmla="*/ 10252 h 96115"/>
                  <a:gd name="connsiteX1" fmla="*/ 16660 w 94834"/>
                  <a:gd name="connsiteY1" fmla="*/ 17942 h 96115"/>
                  <a:gd name="connsiteX2" fmla="*/ 76893 w 94834"/>
                  <a:gd name="connsiteY2" fmla="*/ 78174 h 96115"/>
                  <a:gd name="connsiteX3" fmla="*/ 94834 w 94834"/>
                  <a:gd name="connsiteY3" fmla="*/ 96116 h 96115"/>
                  <a:gd name="connsiteX4" fmla="*/ 78175 w 94834"/>
                  <a:gd name="connsiteY4" fmla="*/ 78174 h 96115"/>
                  <a:gd name="connsiteX5" fmla="*/ 17942 w 94834"/>
                  <a:gd name="connsiteY5" fmla="*/ 17942 h 96115"/>
                  <a:gd name="connsiteX6" fmla="*/ 0 w 94834"/>
                  <a:gd name="connsiteY6" fmla="*/ 0 h 96115"/>
                  <a:gd name="connsiteX7" fmla="*/ 7689 w 94834"/>
                  <a:gd name="connsiteY7" fmla="*/ 10252 h 9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834" h="96115">
                    <a:moveTo>
                      <a:pt x="7689" y="10252"/>
                    </a:moveTo>
                    <a:cubicBezTo>
                      <a:pt x="10252" y="12815"/>
                      <a:pt x="14097" y="15379"/>
                      <a:pt x="16660" y="17942"/>
                    </a:cubicBezTo>
                    <a:cubicBezTo>
                      <a:pt x="37165" y="37165"/>
                      <a:pt x="56388" y="57670"/>
                      <a:pt x="76893" y="78174"/>
                    </a:cubicBezTo>
                    <a:cubicBezTo>
                      <a:pt x="78175" y="82019"/>
                      <a:pt x="90990" y="94834"/>
                      <a:pt x="94834" y="96116"/>
                    </a:cubicBezTo>
                    <a:cubicBezTo>
                      <a:pt x="94834" y="92271"/>
                      <a:pt x="80738" y="79456"/>
                      <a:pt x="78175" y="78174"/>
                    </a:cubicBezTo>
                    <a:cubicBezTo>
                      <a:pt x="58951" y="57670"/>
                      <a:pt x="38446" y="37165"/>
                      <a:pt x="17942" y="17942"/>
                    </a:cubicBezTo>
                    <a:cubicBezTo>
                      <a:pt x="15378" y="14097"/>
                      <a:pt x="2563" y="2563"/>
                      <a:pt x="0" y="0"/>
                    </a:cubicBezTo>
                    <a:cubicBezTo>
                      <a:pt x="0" y="1282"/>
                      <a:pt x="0" y="2563"/>
                      <a:pt x="7689"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4" name="Freeform: Shape 379550">
                <a:extLst>
                  <a:ext uri="{FF2B5EF4-FFF2-40B4-BE49-F238E27FC236}">
                    <a16:creationId xmlns:a16="http://schemas.microsoft.com/office/drawing/2014/main" id="{4624B0B0-C3BE-475C-BC9B-FDA5237796C2}"/>
                  </a:ext>
                </a:extLst>
              </p:cNvPr>
              <p:cNvSpPr/>
              <p:nvPr/>
            </p:nvSpPr>
            <p:spPr>
              <a:xfrm>
                <a:off x="7211797" y="2372006"/>
                <a:ext cx="68355" cy="70484"/>
              </a:xfrm>
              <a:custGeom>
                <a:avLst/>
                <a:gdLst>
                  <a:gd name="connsiteX0" fmla="*/ 8122 w 68355"/>
                  <a:gd name="connsiteY0" fmla="*/ 10252 h 70484"/>
                  <a:gd name="connsiteX1" fmla="*/ 17093 w 68355"/>
                  <a:gd name="connsiteY1" fmla="*/ 17942 h 70484"/>
                  <a:gd name="connsiteX2" fmla="*/ 50413 w 68355"/>
                  <a:gd name="connsiteY2" fmla="*/ 52543 h 70484"/>
                  <a:gd name="connsiteX3" fmla="*/ 68355 w 68355"/>
                  <a:gd name="connsiteY3" fmla="*/ 70485 h 70484"/>
                  <a:gd name="connsiteX4" fmla="*/ 68355 w 68355"/>
                  <a:gd name="connsiteY4" fmla="*/ 70485 h 70484"/>
                  <a:gd name="connsiteX5" fmla="*/ 51695 w 68355"/>
                  <a:gd name="connsiteY5" fmla="*/ 52543 h 70484"/>
                  <a:gd name="connsiteX6" fmla="*/ 18374 w 68355"/>
                  <a:gd name="connsiteY6" fmla="*/ 17942 h 70484"/>
                  <a:gd name="connsiteX7" fmla="*/ 433 w 68355"/>
                  <a:gd name="connsiteY7" fmla="*/ 0 h 70484"/>
                  <a:gd name="connsiteX8" fmla="*/ 8122 w 68355"/>
                  <a:gd name="connsiteY8" fmla="*/ 10252 h 7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355" h="70484">
                    <a:moveTo>
                      <a:pt x="8122" y="10252"/>
                    </a:moveTo>
                    <a:cubicBezTo>
                      <a:pt x="10686" y="12815"/>
                      <a:pt x="14530" y="15379"/>
                      <a:pt x="17093" y="17942"/>
                    </a:cubicBezTo>
                    <a:cubicBezTo>
                      <a:pt x="28627" y="29476"/>
                      <a:pt x="40161" y="41009"/>
                      <a:pt x="50413" y="52543"/>
                    </a:cubicBezTo>
                    <a:cubicBezTo>
                      <a:pt x="52976" y="56388"/>
                      <a:pt x="65792" y="69203"/>
                      <a:pt x="68355" y="70485"/>
                    </a:cubicBezTo>
                    <a:cubicBezTo>
                      <a:pt x="68355" y="70485"/>
                      <a:pt x="68355" y="70485"/>
                      <a:pt x="68355" y="70485"/>
                    </a:cubicBezTo>
                    <a:cubicBezTo>
                      <a:pt x="65792" y="66640"/>
                      <a:pt x="55540" y="56388"/>
                      <a:pt x="51695" y="52543"/>
                    </a:cubicBezTo>
                    <a:cubicBezTo>
                      <a:pt x="40161" y="41009"/>
                      <a:pt x="29908" y="29476"/>
                      <a:pt x="18374" y="17942"/>
                    </a:cubicBezTo>
                    <a:cubicBezTo>
                      <a:pt x="15812" y="14097"/>
                      <a:pt x="2996" y="1282"/>
                      <a:pt x="433" y="0"/>
                    </a:cubicBezTo>
                    <a:cubicBezTo>
                      <a:pt x="-848" y="2563"/>
                      <a:pt x="433" y="3845"/>
                      <a:pt x="8122"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5" name="Freeform: Shape 379551">
                <a:extLst>
                  <a:ext uri="{FF2B5EF4-FFF2-40B4-BE49-F238E27FC236}">
                    <a16:creationId xmlns:a16="http://schemas.microsoft.com/office/drawing/2014/main" id="{83D812D6-30EA-4DE9-BBD1-330F92F453B4}"/>
                  </a:ext>
                </a:extLst>
              </p:cNvPr>
              <p:cNvSpPr/>
              <p:nvPr/>
            </p:nvSpPr>
            <p:spPr>
              <a:xfrm>
                <a:off x="4146421" y="3176816"/>
                <a:ext cx="46476" cy="205047"/>
              </a:xfrm>
              <a:custGeom>
                <a:avLst/>
                <a:gdLst>
                  <a:gd name="connsiteX0" fmla="*/ 40069 w 46476"/>
                  <a:gd name="connsiteY0" fmla="*/ 16660 h 205047"/>
                  <a:gd name="connsiteX1" fmla="*/ 38787 w 46476"/>
                  <a:gd name="connsiteY1" fmla="*/ 25631 h 205047"/>
                  <a:gd name="connsiteX2" fmla="*/ 4185 w 46476"/>
                  <a:gd name="connsiteY2" fmla="*/ 180698 h 205047"/>
                  <a:gd name="connsiteX3" fmla="*/ 341 w 46476"/>
                  <a:gd name="connsiteY3" fmla="*/ 205047 h 205047"/>
                  <a:gd name="connsiteX4" fmla="*/ 5467 w 46476"/>
                  <a:gd name="connsiteY4" fmla="*/ 179416 h 205047"/>
                  <a:gd name="connsiteX5" fmla="*/ 40069 w 46476"/>
                  <a:gd name="connsiteY5" fmla="*/ 24349 h 205047"/>
                  <a:gd name="connsiteX6" fmla="*/ 46477 w 46476"/>
                  <a:gd name="connsiteY6" fmla="*/ 0 h 205047"/>
                  <a:gd name="connsiteX7" fmla="*/ 46477 w 46476"/>
                  <a:gd name="connsiteY7" fmla="*/ 0 h 205047"/>
                  <a:gd name="connsiteX8" fmla="*/ 40069 w 46476"/>
                  <a:gd name="connsiteY8" fmla="*/ 16660 h 20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476" h="205047">
                    <a:moveTo>
                      <a:pt x="40069" y="16660"/>
                    </a:moveTo>
                    <a:cubicBezTo>
                      <a:pt x="38787" y="23068"/>
                      <a:pt x="38787" y="24349"/>
                      <a:pt x="38787" y="25631"/>
                    </a:cubicBezTo>
                    <a:cubicBezTo>
                      <a:pt x="24690" y="76893"/>
                      <a:pt x="13156" y="128155"/>
                      <a:pt x="4185" y="180698"/>
                    </a:cubicBezTo>
                    <a:cubicBezTo>
                      <a:pt x="1622" y="187106"/>
                      <a:pt x="-941" y="201203"/>
                      <a:pt x="341" y="205047"/>
                    </a:cubicBezTo>
                    <a:cubicBezTo>
                      <a:pt x="2904" y="199921"/>
                      <a:pt x="5467" y="181979"/>
                      <a:pt x="5467" y="179416"/>
                    </a:cubicBezTo>
                    <a:cubicBezTo>
                      <a:pt x="14438" y="126873"/>
                      <a:pt x="25972" y="75611"/>
                      <a:pt x="40069" y="24349"/>
                    </a:cubicBezTo>
                    <a:cubicBezTo>
                      <a:pt x="41350" y="20505"/>
                      <a:pt x="46477" y="5126"/>
                      <a:pt x="46477" y="0"/>
                    </a:cubicBezTo>
                    <a:cubicBezTo>
                      <a:pt x="46477" y="0"/>
                      <a:pt x="46477" y="0"/>
                      <a:pt x="46477" y="0"/>
                    </a:cubicBezTo>
                    <a:cubicBezTo>
                      <a:pt x="43913" y="5126"/>
                      <a:pt x="41350" y="12815"/>
                      <a:pt x="40069"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6" name="Freeform: Shape 379552">
                <a:extLst>
                  <a:ext uri="{FF2B5EF4-FFF2-40B4-BE49-F238E27FC236}">
                    <a16:creationId xmlns:a16="http://schemas.microsoft.com/office/drawing/2014/main" id="{947EDFE2-12EA-4F5F-8261-DD3DAF6C52C6}"/>
                  </a:ext>
                </a:extLst>
              </p:cNvPr>
              <p:cNvSpPr/>
              <p:nvPr/>
            </p:nvSpPr>
            <p:spPr>
              <a:xfrm>
                <a:off x="4131383" y="3164001"/>
                <a:ext cx="75611" cy="467764"/>
              </a:xfrm>
              <a:custGeom>
                <a:avLst/>
                <a:gdLst>
                  <a:gd name="connsiteX0" fmla="*/ 0 w 75611"/>
                  <a:gd name="connsiteY0" fmla="*/ 458793 h 467764"/>
                  <a:gd name="connsiteX1" fmla="*/ 1282 w 75611"/>
                  <a:gd name="connsiteY1" fmla="*/ 467764 h 467764"/>
                  <a:gd name="connsiteX2" fmla="*/ 2563 w 75611"/>
                  <a:gd name="connsiteY2" fmla="*/ 442133 h 467764"/>
                  <a:gd name="connsiteX3" fmla="*/ 7689 w 75611"/>
                  <a:gd name="connsiteY3" fmla="*/ 346017 h 467764"/>
                  <a:gd name="connsiteX4" fmla="*/ 17942 w 75611"/>
                  <a:gd name="connsiteY4" fmla="*/ 303726 h 467764"/>
                  <a:gd name="connsiteX5" fmla="*/ 69204 w 75611"/>
                  <a:gd name="connsiteY5" fmla="*/ 24349 h 467764"/>
                  <a:gd name="connsiteX6" fmla="*/ 75611 w 75611"/>
                  <a:gd name="connsiteY6" fmla="*/ 0 h 467764"/>
                  <a:gd name="connsiteX7" fmla="*/ 75611 w 75611"/>
                  <a:gd name="connsiteY7" fmla="*/ 0 h 467764"/>
                  <a:gd name="connsiteX8" fmla="*/ 67922 w 75611"/>
                  <a:gd name="connsiteY8" fmla="*/ 24349 h 467764"/>
                  <a:gd name="connsiteX9" fmla="*/ 16660 w 75611"/>
                  <a:gd name="connsiteY9" fmla="*/ 301163 h 467764"/>
                  <a:gd name="connsiteX10" fmla="*/ 6408 w 75611"/>
                  <a:gd name="connsiteY10" fmla="*/ 343454 h 467764"/>
                  <a:gd name="connsiteX11" fmla="*/ 1282 w 75611"/>
                  <a:gd name="connsiteY11" fmla="*/ 442133 h 467764"/>
                  <a:gd name="connsiteX12" fmla="*/ 0 w 75611"/>
                  <a:gd name="connsiteY12" fmla="*/ 458793 h 467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611" h="467764">
                    <a:moveTo>
                      <a:pt x="0" y="458793"/>
                    </a:moveTo>
                    <a:cubicBezTo>
                      <a:pt x="0" y="463919"/>
                      <a:pt x="0" y="465201"/>
                      <a:pt x="1282" y="467764"/>
                    </a:cubicBezTo>
                    <a:cubicBezTo>
                      <a:pt x="6408" y="460075"/>
                      <a:pt x="3845" y="443415"/>
                      <a:pt x="2563" y="442133"/>
                    </a:cubicBezTo>
                    <a:cubicBezTo>
                      <a:pt x="3845" y="410095"/>
                      <a:pt x="5126" y="378056"/>
                      <a:pt x="7689" y="346017"/>
                    </a:cubicBezTo>
                    <a:lnTo>
                      <a:pt x="17942" y="303726"/>
                    </a:lnTo>
                    <a:cubicBezTo>
                      <a:pt x="28194" y="208892"/>
                      <a:pt x="44854" y="115339"/>
                      <a:pt x="69204" y="24349"/>
                    </a:cubicBezTo>
                    <a:cubicBezTo>
                      <a:pt x="71767" y="19223"/>
                      <a:pt x="75611" y="7689"/>
                      <a:pt x="75611" y="0"/>
                    </a:cubicBezTo>
                    <a:cubicBezTo>
                      <a:pt x="75611" y="0"/>
                      <a:pt x="75611" y="0"/>
                      <a:pt x="75611" y="0"/>
                    </a:cubicBezTo>
                    <a:cubicBezTo>
                      <a:pt x="70485" y="7689"/>
                      <a:pt x="67922" y="21786"/>
                      <a:pt x="67922" y="24349"/>
                    </a:cubicBezTo>
                    <a:cubicBezTo>
                      <a:pt x="43573" y="114058"/>
                      <a:pt x="26912" y="207610"/>
                      <a:pt x="16660" y="301163"/>
                    </a:cubicBezTo>
                    <a:lnTo>
                      <a:pt x="6408" y="343454"/>
                    </a:lnTo>
                    <a:cubicBezTo>
                      <a:pt x="3845" y="376774"/>
                      <a:pt x="1282" y="408813"/>
                      <a:pt x="1282" y="442133"/>
                    </a:cubicBezTo>
                    <a:cubicBezTo>
                      <a:pt x="0" y="447259"/>
                      <a:pt x="0" y="453667"/>
                      <a:pt x="0" y="45879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7" name="Freeform: Shape 379553">
                <a:extLst>
                  <a:ext uri="{FF2B5EF4-FFF2-40B4-BE49-F238E27FC236}">
                    <a16:creationId xmlns:a16="http://schemas.microsoft.com/office/drawing/2014/main" id="{B5C07154-F2BD-4EDC-BF87-66B5095E7A78}"/>
                  </a:ext>
                </a:extLst>
              </p:cNvPr>
              <p:cNvSpPr/>
              <p:nvPr/>
            </p:nvSpPr>
            <p:spPr>
              <a:xfrm>
                <a:off x="4205462" y="3124273"/>
                <a:ext cx="18444" cy="58951"/>
              </a:xfrm>
              <a:custGeom>
                <a:avLst/>
                <a:gdLst>
                  <a:gd name="connsiteX0" fmla="*/ 11785 w 18444"/>
                  <a:gd name="connsiteY0" fmla="*/ 14097 h 58951"/>
                  <a:gd name="connsiteX1" fmla="*/ 10504 w 18444"/>
                  <a:gd name="connsiteY1" fmla="*/ 23068 h 58951"/>
                  <a:gd name="connsiteX2" fmla="*/ 6659 w 18444"/>
                  <a:gd name="connsiteY2" fmla="*/ 34602 h 58951"/>
                  <a:gd name="connsiteX3" fmla="*/ 251 w 18444"/>
                  <a:gd name="connsiteY3" fmla="*/ 58951 h 58951"/>
                  <a:gd name="connsiteX4" fmla="*/ 7941 w 18444"/>
                  <a:gd name="connsiteY4" fmla="*/ 34602 h 58951"/>
                  <a:gd name="connsiteX5" fmla="*/ 11785 w 18444"/>
                  <a:gd name="connsiteY5" fmla="*/ 23068 h 58951"/>
                  <a:gd name="connsiteX6" fmla="*/ 18193 w 18444"/>
                  <a:gd name="connsiteY6" fmla="*/ 0 h 58951"/>
                  <a:gd name="connsiteX7" fmla="*/ 18193 w 18444"/>
                  <a:gd name="connsiteY7" fmla="*/ 0 h 58951"/>
                  <a:gd name="connsiteX8" fmla="*/ 11785 w 18444"/>
                  <a:gd name="connsiteY8" fmla="*/ 14097 h 5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44" h="58951">
                    <a:moveTo>
                      <a:pt x="11785" y="14097"/>
                    </a:moveTo>
                    <a:cubicBezTo>
                      <a:pt x="10504" y="16660"/>
                      <a:pt x="10504" y="21786"/>
                      <a:pt x="10504" y="23068"/>
                    </a:cubicBezTo>
                    <a:cubicBezTo>
                      <a:pt x="9222" y="26912"/>
                      <a:pt x="7941" y="30757"/>
                      <a:pt x="6659" y="34602"/>
                    </a:cubicBezTo>
                    <a:cubicBezTo>
                      <a:pt x="2815" y="41010"/>
                      <a:pt x="-1030" y="56388"/>
                      <a:pt x="251" y="58951"/>
                    </a:cubicBezTo>
                    <a:cubicBezTo>
                      <a:pt x="2815" y="57670"/>
                      <a:pt x="9222" y="37165"/>
                      <a:pt x="7941" y="34602"/>
                    </a:cubicBezTo>
                    <a:cubicBezTo>
                      <a:pt x="9222" y="30757"/>
                      <a:pt x="10504" y="26912"/>
                      <a:pt x="11785" y="23068"/>
                    </a:cubicBezTo>
                    <a:cubicBezTo>
                      <a:pt x="15630" y="16660"/>
                      <a:pt x="19475" y="1282"/>
                      <a:pt x="18193" y="0"/>
                    </a:cubicBezTo>
                    <a:cubicBezTo>
                      <a:pt x="18193" y="0"/>
                      <a:pt x="18193" y="0"/>
                      <a:pt x="18193" y="0"/>
                    </a:cubicBezTo>
                    <a:cubicBezTo>
                      <a:pt x="15630" y="1282"/>
                      <a:pt x="13067" y="11534"/>
                      <a:pt x="11785"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8" name="Freeform: Shape 379554">
                <a:extLst>
                  <a:ext uri="{FF2B5EF4-FFF2-40B4-BE49-F238E27FC236}">
                    <a16:creationId xmlns:a16="http://schemas.microsoft.com/office/drawing/2014/main" id="{C67D453E-9151-4F80-8595-019FC3A33F5F}"/>
                  </a:ext>
                </a:extLst>
              </p:cNvPr>
              <p:cNvSpPr/>
              <p:nvPr/>
            </p:nvSpPr>
            <p:spPr>
              <a:xfrm>
                <a:off x="4251033" y="3058914"/>
                <a:ext cx="29258" cy="93552"/>
              </a:xfrm>
              <a:custGeom>
                <a:avLst/>
                <a:gdLst>
                  <a:gd name="connsiteX0" fmla="*/ 20039 w 29258"/>
                  <a:gd name="connsiteY0" fmla="*/ 16660 h 93552"/>
                  <a:gd name="connsiteX1" fmla="*/ 20039 w 29258"/>
                  <a:gd name="connsiteY1" fmla="*/ 24349 h 93552"/>
                  <a:gd name="connsiteX2" fmla="*/ 7224 w 29258"/>
                  <a:gd name="connsiteY2" fmla="*/ 70485 h 93552"/>
                  <a:gd name="connsiteX3" fmla="*/ 816 w 29258"/>
                  <a:gd name="connsiteY3" fmla="*/ 93553 h 93552"/>
                  <a:gd name="connsiteX4" fmla="*/ 8505 w 29258"/>
                  <a:gd name="connsiteY4" fmla="*/ 69203 h 93552"/>
                  <a:gd name="connsiteX5" fmla="*/ 21321 w 29258"/>
                  <a:gd name="connsiteY5" fmla="*/ 23068 h 93552"/>
                  <a:gd name="connsiteX6" fmla="*/ 29010 w 29258"/>
                  <a:gd name="connsiteY6" fmla="*/ 0 h 93552"/>
                  <a:gd name="connsiteX7" fmla="*/ 29010 w 29258"/>
                  <a:gd name="connsiteY7" fmla="*/ 0 h 93552"/>
                  <a:gd name="connsiteX8" fmla="*/ 20039 w 29258"/>
                  <a:gd name="connsiteY8" fmla="*/ 16660 h 9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258" h="93552">
                    <a:moveTo>
                      <a:pt x="20039" y="16660"/>
                    </a:moveTo>
                    <a:cubicBezTo>
                      <a:pt x="18757" y="19223"/>
                      <a:pt x="18757" y="24349"/>
                      <a:pt x="20039" y="24349"/>
                    </a:cubicBezTo>
                    <a:cubicBezTo>
                      <a:pt x="14913" y="39728"/>
                      <a:pt x="11068" y="55106"/>
                      <a:pt x="7224" y="70485"/>
                    </a:cubicBezTo>
                    <a:cubicBezTo>
                      <a:pt x="2097" y="76893"/>
                      <a:pt x="-1747" y="92271"/>
                      <a:pt x="816" y="93553"/>
                    </a:cubicBezTo>
                    <a:cubicBezTo>
                      <a:pt x="4660" y="92271"/>
                      <a:pt x="12350" y="71766"/>
                      <a:pt x="8505" y="69203"/>
                    </a:cubicBezTo>
                    <a:cubicBezTo>
                      <a:pt x="12350" y="53825"/>
                      <a:pt x="17476" y="38446"/>
                      <a:pt x="21321" y="23068"/>
                    </a:cubicBezTo>
                    <a:cubicBezTo>
                      <a:pt x="26447" y="16660"/>
                      <a:pt x="30291" y="1281"/>
                      <a:pt x="29010" y="0"/>
                    </a:cubicBezTo>
                    <a:cubicBezTo>
                      <a:pt x="29010" y="0"/>
                      <a:pt x="29010" y="0"/>
                      <a:pt x="29010" y="0"/>
                    </a:cubicBezTo>
                    <a:cubicBezTo>
                      <a:pt x="23884" y="3845"/>
                      <a:pt x="21321" y="14097"/>
                      <a:pt x="20039"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29" name="Freeform: Shape 379555">
                <a:extLst>
                  <a:ext uri="{FF2B5EF4-FFF2-40B4-BE49-F238E27FC236}">
                    <a16:creationId xmlns:a16="http://schemas.microsoft.com/office/drawing/2014/main" id="{13694A31-5560-4E2E-8149-BCE783F5471E}"/>
                  </a:ext>
                </a:extLst>
              </p:cNvPr>
              <p:cNvSpPr/>
              <p:nvPr/>
            </p:nvSpPr>
            <p:spPr>
              <a:xfrm>
                <a:off x="4377107" y="3066494"/>
                <a:ext cx="23578" cy="51289"/>
              </a:xfrm>
              <a:custGeom>
                <a:avLst/>
                <a:gdLst>
                  <a:gd name="connsiteX0" fmla="*/ 333 w 23578"/>
                  <a:gd name="connsiteY0" fmla="*/ 18051 h 51289"/>
                  <a:gd name="connsiteX1" fmla="*/ 5459 w 23578"/>
                  <a:gd name="connsiteY1" fmla="*/ 24459 h 51289"/>
                  <a:gd name="connsiteX2" fmla="*/ 8023 w 23578"/>
                  <a:gd name="connsiteY2" fmla="*/ 21896 h 51289"/>
                  <a:gd name="connsiteX3" fmla="*/ 13149 w 23578"/>
                  <a:gd name="connsiteY3" fmla="*/ 37274 h 51289"/>
                  <a:gd name="connsiteX4" fmla="*/ 11867 w 23578"/>
                  <a:gd name="connsiteY4" fmla="*/ 50090 h 51289"/>
                  <a:gd name="connsiteX5" fmla="*/ 20838 w 23578"/>
                  <a:gd name="connsiteY5" fmla="*/ 43682 h 51289"/>
                  <a:gd name="connsiteX6" fmla="*/ 19557 w 23578"/>
                  <a:gd name="connsiteY6" fmla="*/ 27022 h 51289"/>
                  <a:gd name="connsiteX7" fmla="*/ 15712 w 23578"/>
                  <a:gd name="connsiteY7" fmla="*/ 30867 h 51289"/>
                  <a:gd name="connsiteX8" fmla="*/ 10586 w 23578"/>
                  <a:gd name="connsiteY8" fmla="*/ 16769 h 51289"/>
                  <a:gd name="connsiteX9" fmla="*/ 10586 w 23578"/>
                  <a:gd name="connsiteY9" fmla="*/ 109 h 51289"/>
                  <a:gd name="connsiteX10" fmla="*/ 333 w 23578"/>
                  <a:gd name="connsiteY10" fmla="*/ 18051 h 51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578" h="51289">
                    <a:moveTo>
                      <a:pt x="333" y="18051"/>
                    </a:moveTo>
                    <a:cubicBezTo>
                      <a:pt x="-948" y="24459"/>
                      <a:pt x="1615" y="27022"/>
                      <a:pt x="5459" y="24459"/>
                    </a:cubicBezTo>
                    <a:cubicBezTo>
                      <a:pt x="6741" y="24459"/>
                      <a:pt x="6741" y="23177"/>
                      <a:pt x="8023" y="21896"/>
                    </a:cubicBezTo>
                    <a:cubicBezTo>
                      <a:pt x="9304" y="27022"/>
                      <a:pt x="15712" y="32148"/>
                      <a:pt x="13149" y="37274"/>
                    </a:cubicBezTo>
                    <a:cubicBezTo>
                      <a:pt x="13149" y="37274"/>
                      <a:pt x="9304" y="46245"/>
                      <a:pt x="11867" y="50090"/>
                    </a:cubicBezTo>
                    <a:cubicBezTo>
                      <a:pt x="13149" y="52653"/>
                      <a:pt x="16993" y="51371"/>
                      <a:pt x="20838" y="43682"/>
                    </a:cubicBezTo>
                    <a:cubicBezTo>
                      <a:pt x="24683" y="35993"/>
                      <a:pt x="24683" y="25740"/>
                      <a:pt x="19557" y="27022"/>
                    </a:cubicBezTo>
                    <a:cubicBezTo>
                      <a:pt x="18275" y="28303"/>
                      <a:pt x="15712" y="30867"/>
                      <a:pt x="15712" y="30867"/>
                    </a:cubicBezTo>
                    <a:cubicBezTo>
                      <a:pt x="14431" y="27022"/>
                      <a:pt x="11867" y="20614"/>
                      <a:pt x="10586" y="16769"/>
                    </a:cubicBezTo>
                    <a:cubicBezTo>
                      <a:pt x="14431" y="9080"/>
                      <a:pt x="15712" y="-1172"/>
                      <a:pt x="10586" y="109"/>
                    </a:cubicBezTo>
                    <a:cubicBezTo>
                      <a:pt x="4178" y="5236"/>
                      <a:pt x="1615" y="15488"/>
                      <a:pt x="333" y="180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0" name="Freeform: Shape 379556">
                <a:extLst>
                  <a:ext uri="{FF2B5EF4-FFF2-40B4-BE49-F238E27FC236}">
                    <a16:creationId xmlns:a16="http://schemas.microsoft.com/office/drawing/2014/main" id="{CCD807A4-F69E-46CF-B968-FDB70940E09A}"/>
                  </a:ext>
                </a:extLst>
              </p:cNvPr>
              <p:cNvSpPr/>
              <p:nvPr/>
            </p:nvSpPr>
            <p:spPr>
              <a:xfrm>
                <a:off x="4651692" y="2842333"/>
                <a:ext cx="51561" cy="137287"/>
              </a:xfrm>
              <a:custGeom>
                <a:avLst/>
                <a:gdLst>
                  <a:gd name="connsiteX0" fmla="*/ 6408 w 51561"/>
                  <a:gd name="connsiteY0" fmla="*/ 17942 h 137287"/>
                  <a:gd name="connsiteX1" fmla="*/ 10252 w 51561"/>
                  <a:gd name="connsiteY1" fmla="*/ 24349 h 137287"/>
                  <a:gd name="connsiteX2" fmla="*/ 0 w 51561"/>
                  <a:gd name="connsiteY2" fmla="*/ 78174 h 137287"/>
                  <a:gd name="connsiteX3" fmla="*/ 35883 w 51561"/>
                  <a:gd name="connsiteY3" fmla="*/ 121747 h 137287"/>
                  <a:gd name="connsiteX4" fmla="*/ 41010 w 51561"/>
                  <a:gd name="connsiteY4" fmla="*/ 137125 h 137287"/>
                  <a:gd name="connsiteX5" fmla="*/ 48699 w 51561"/>
                  <a:gd name="connsiteY5" fmla="*/ 114058 h 137287"/>
                  <a:gd name="connsiteX6" fmla="*/ 38446 w 51561"/>
                  <a:gd name="connsiteY6" fmla="*/ 116621 h 137287"/>
                  <a:gd name="connsiteX7" fmla="*/ 2563 w 51561"/>
                  <a:gd name="connsiteY7" fmla="*/ 74330 h 137287"/>
                  <a:gd name="connsiteX8" fmla="*/ 12816 w 51561"/>
                  <a:gd name="connsiteY8" fmla="*/ 21786 h 137287"/>
                  <a:gd name="connsiteX9" fmla="*/ 19223 w 51561"/>
                  <a:gd name="connsiteY9" fmla="*/ 0 h 137287"/>
                  <a:gd name="connsiteX10" fmla="*/ 16660 w 51561"/>
                  <a:gd name="connsiteY10" fmla="*/ 0 h 137287"/>
                  <a:gd name="connsiteX11" fmla="*/ 6408 w 51561"/>
                  <a:gd name="connsiteY11" fmla="*/ 17942 h 13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561" h="137287">
                    <a:moveTo>
                      <a:pt x="6408" y="17942"/>
                    </a:moveTo>
                    <a:cubicBezTo>
                      <a:pt x="6408" y="20505"/>
                      <a:pt x="6408" y="24349"/>
                      <a:pt x="10252" y="24349"/>
                    </a:cubicBezTo>
                    <a:cubicBezTo>
                      <a:pt x="6408" y="42291"/>
                      <a:pt x="2563" y="60233"/>
                      <a:pt x="0" y="78174"/>
                    </a:cubicBezTo>
                    <a:cubicBezTo>
                      <a:pt x="11534" y="90990"/>
                      <a:pt x="25631" y="108931"/>
                      <a:pt x="35883" y="121747"/>
                    </a:cubicBezTo>
                    <a:cubicBezTo>
                      <a:pt x="30757" y="131999"/>
                      <a:pt x="34602" y="138407"/>
                      <a:pt x="41010" y="137125"/>
                    </a:cubicBezTo>
                    <a:cubicBezTo>
                      <a:pt x="49980" y="134562"/>
                      <a:pt x="55107" y="119184"/>
                      <a:pt x="48699" y="114058"/>
                    </a:cubicBezTo>
                    <a:cubicBezTo>
                      <a:pt x="47417" y="112776"/>
                      <a:pt x="43573" y="111494"/>
                      <a:pt x="38446" y="116621"/>
                    </a:cubicBezTo>
                    <a:lnTo>
                      <a:pt x="2563" y="74330"/>
                    </a:lnTo>
                    <a:cubicBezTo>
                      <a:pt x="6408" y="56388"/>
                      <a:pt x="8971" y="39728"/>
                      <a:pt x="12816" y="21786"/>
                    </a:cubicBezTo>
                    <a:cubicBezTo>
                      <a:pt x="21786" y="15379"/>
                      <a:pt x="24350" y="2563"/>
                      <a:pt x="19223" y="0"/>
                    </a:cubicBezTo>
                    <a:cubicBezTo>
                      <a:pt x="17942" y="0"/>
                      <a:pt x="16660" y="0"/>
                      <a:pt x="16660" y="0"/>
                    </a:cubicBezTo>
                    <a:cubicBezTo>
                      <a:pt x="8971" y="5126"/>
                      <a:pt x="6408" y="14097"/>
                      <a:pt x="6408"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1" name="Freeform: Shape 379557">
                <a:extLst>
                  <a:ext uri="{FF2B5EF4-FFF2-40B4-BE49-F238E27FC236}">
                    <a16:creationId xmlns:a16="http://schemas.microsoft.com/office/drawing/2014/main" id="{39557475-9818-4937-9BE6-85F61DD4EDF5}"/>
                  </a:ext>
                </a:extLst>
              </p:cNvPr>
              <p:cNvSpPr/>
              <p:nvPr/>
            </p:nvSpPr>
            <p:spPr>
              <a:xfrm>
                <a:off x="6518911" y="2510413"/>
                <a:ext cx="231220" cy="387471"/>
              </a:xfrm>
              <a:custGeom>
                <a:avLst/>
                <a:gdLst>
                  <a:gd name="connsiteX0" fmla="*/ 2563 w 231220"/>
                  <a:gd name="connsiteY0" fmla="*/ 15379 h 387471"/>
                  <a:gd name="connsiteX1" fmla="*/ 14097 w 231220"/>
                  <a:gd name="connsiteY1" fmla="*/ 21786 h 387471"/>
                  <a:gd name="connsiteX2" fmla="*/ 129437 w 231220"/>
                  <a:gd name="connsiteY2" fmla="*/ 252464 h 387471"/>
                  <a:gd name="connsiteX3" fmla="*/ 176854 w 231220"/>
                  <a:gd name="connsiteY3" fmla="*/ 279377 h 387471"/>
                  <a:gd name="connsiteX4" fmla="*/ 212737 w 231220"/>
                  <a:gd name="connsiteY4" fmla="*/ 365240 h 387471"/>
                  <a:gd name="connsiteX5" fmla="*/ 219145 w 231220"/>
                  <a:gd name="connsiteY5" fmla="*/ 387027 h 387471"/>
                  <a:gd name="connsiteX6" fmla="*/ 229398 w 231220"/>
                  <a:gd name="connsiteY6" fmla="*/ 371648 h 387471"/>
                  <a:gd name="connsiteX7" fmla="*/ 217864 w 231220"/>
                  <a:gd name="connsiteY7" fmla="*/ 363959 h 387471"/>
                  <a:gd name="connsiteX8" fmla="*/ 180699 w 231220"/>
                  <a:gd name="connsiteY8" fmla="*/ 275532 h 387471"/>
                  <a:gd name="connsiteX9" fmla="*/ 133281 w 231220"/>
                  <a:gd name="connsiteY9" fmla="*/ 248620 h 387471"/>
                  <a:gd name="connsiteX10" fmla="*/ 17942 w 231220"/>
                  <a:gd name="connsiteY10" fmla="*/ 19223 h 387471"/>
                  <a:gd name="connsiteX11" fmla="*/ 8971 w 231220"/>
                  <a:gd name="connsiteY11" fmla="*/ 0 h 387471"/>
                  <a:gd name="connsiteX12" fmla="*/ 5126 w 231220"/>
                  <a:gd name="connsiteY12" fmla="*/ 0 h 387471"/>
                  <a:gd name="connsiteX13" fmla="*/ 2563 w 231220"/>
                  <a:gd name="connsiteY13" fmla="*/ 15379 h 387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1220" h="387471">
                    <a:moveTo>
                      <a:pt x="2563" y="15379"/>
                    </a:moveTo>
                    <a:cubicBezTo>
                      <a:pt x="6408" y="20505"/>
                      <a:pt x="11534" y="21786"/>
                      <a:pt x="14097" y="21786"/>
                    </a:cubicBezTo>
                    <a:cubicBezTo>
                      <a:pt x="55107" y="93553"/>
                      <a:pt x="93553" y="171727"/>
                      <a:pt x="129437" y="252464"/>
                    </a:cubicBezTo>
                    <a:lnTo>
                      <a:pt x="176854" y="279377"/>
                    </a:lnTo>
                    <a:cubicBezTo>
                      <a:pt x="189669" y="307571"/>
                      <a:pt x="201203" y="337046"/>
                      <a:pt x="212737" y="365240"/>
                    </a:cubicBezTo>
                    <a:cubicBezTo>
                      <a:pt x="201203" y="374211"/>
                      <a:pt x="212737" y="385745"/>
                      <a:pt x="219145" y="387027"/>
                    </a:cubicBezTo>
                    <a:cubicBezTo>
                      <a:pt x="228116" y="389590"/>
                      <a:pt x="234524" y="380619"/>
                      <a:pt x="229398" y="371648"/>
                    </a:cubicBezTo>
                    <a:cubicBezTo>
                      <a:pt x="225553" y="365240"/>
                      <a:pt x="220427" y="365240"/>
                      <a:pt x="217864" y="363959"/>
                    </a:cubicBezTo>
                    <a:cubicBezTo>
                      <a:pt x="206330" y="334483"/>
                      <a:pt x="193514" y="305008"/>
                      <a:pt x="180699" y="275532"/>
                    </a:cubicBezTo>
                    <a:lnTo>
                      <a:pt x="133281" y="248620"/>
                    </a:lnTo>
                    <a:cubicBezTo>
                      <a:pt x="97398" y="167882"/>
                      <a:pt x="58951" y="90990"/>
                      <a:pt x="17942" y="19223"/>
                    </a:cubicBezTo>
                    <a:cubicBezTo>
                      <a:pt x="28194" y="11534"/>
                      <a:pt x="15378" y="1282"/>
                      <a:pt x="8971" y="0"/>
                    </a:cubicBezTo>
                    <a:cubicBezTo>
                      <a:pt x="7689" y="0"/>
                      <a:pt x="6408" y="0"/>
                      <a:pt x="5126" y="0"/>
                    </a:cubicBezTo>
                    <a:cubicBezTo>
                      <a:pt x="-2563" y="6408"/>
                      <a:pt x="0" y="11534"/>
                      <a:pt x="2563"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2" name="Freeform: Shape 379558">
                <a:extLst>
                  <a:ext uri="{FF2B5EF4-FFF2-40B4-BE49-F238E27FC236}">
                    <a16:creationId xmlns:a16="http://schemas.microsoft.com/office/drawing/2014/main" id="{A5F0091A-9611-46EB-BE77-FE481570D878}"/>
                  </a:ext>
                </a:extLst>
              </p:cNvPr>
              <p:cNvSpPr/>
              <p:nvPr/>
            </p:nvSpPr>
            <p:spPr>
              <a:xfrm>
                <a:off x="6595074" y="2274608"/>
                <a:ext cx="151953" cy="224310"/>
              </a:xfrm>
              <a:custGeom>
                <a:avLst/>
                <a:gdLst>
                  <a:gd name="connsiteX0" fmla="*/ 132730 w 151953"/>
                  <a:gd name="connsiteY0" fmla="*/ 217863 h 224310"/>
                  <a:gd name="connsiteX1" fmla="*/ 151953 w 151953"/>
                  <a:gd name="connsiteY1" fmla="*/ 219144 h 224310"/>
                  <a:gd name="connsiteX2" fmla="*/ 145545 w 151953"/>
                  <a:gd name="connsiteY2" fmla="*/ 208892 h 224310"/>
                  <a:gd name="connsiteX3" fmla="*/ 151953 w 151953"/>
                  <a:gd name="connsiteY3" fmla="*/ 184543 h 224310"/>
                  <a:gd name="connsiteX4" fmla="*/ 18672 w 151953"/>
                  <a:gd name="connsiteY4" fmla="*/ 15379 h 224310"/>
                  <a:gd name="connsiteX5" fmla="*/ 4575 w 151953"/>
                  <a:gd name="connsiteY5" fmla="*/ 0 h 224310"/>
                  <a:gd name="connsiteX6" fmla="*/ 3293 w 151953"/>
                  <a:gd name="connsiteY6" fmla="*/ 0 h 224310"/>
                  <a:gd name="connsiteX7" fmla="*/ 7138 w 151953"/>
                  <a:gd name="connsiteY7" fmla="*/ 12815 h 224310"/>
                  <a:gd name="connsiteX8" fmla="*/ 16109 w 151953"/>
                  <a:gd name="connsiteY8" fmla="*/ 15379 h 224310"/>
                  <a:gd name="connsiteX9" fmla="*/ 148108 w 151953"/>
                  <a:gd name="connsiteY9" fmla="*/ 181979 h 224310"/>
                  <a:gd name="connsiteX10" fmla="*/ 141701 w 151953"/>
                  <a:gd name="connsiteY10" fmla="*/ 205047 h 224310"/>
                  <a:gd name="connsiteX11" fmla="*/ 131448 w 151953"/>
                  <a:gd name="connsiteY11" fmla="*/ 212737 h 224310"/>
                  <a:gd name="connsiteX12" fmla="*/ 132730 w 151953"/>
                  <a:gd name="connsiteY12" fmla="*/ 217863 h 224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1953" h="224310">
                    <a:moveTo>
                      <a:pt x="132730" y="217863"/>
                    </a:moveTo>
                    <a:cubicBezTo>
                      <a:pt x="140419" y="225552"/>
                      <a:pt x="151953" y="226834"/>
                      <a:pt x="151953" y="219144"/>
                    </a:cubicBezTo>
                    <a:cubicBezTo>
                      <a:pt x="151953" y="215300"/>
                      <a:pt x="149390" y="212737"/>
                      <a:pt x="145545" y="208892"/>
                    </a:cubicBezTo>
                    <a:lnTo>
                      <a:pt x="151953" y="184543"/>
                    </a:lnTo>
                    <a:cubicBezTo>
                      <a:pt x="109662" y="124310"/>
                      <a:pt x="64808" y="67922"/>
                      <a:pt x="18672" y="15379"/>
                    </a:cubicBezTo>
                    <a:cubicBezTo>
                      <a:pt x="25079" y="8971"/>
                      <a:pt x="10982" y="0"/>
                      <a:pt x="4575" y="0"/>
                    </a:cubicBezTo>
                    <a:cubicBezTo>
                      <a:pt x="4575" y="0"/>
                      <a:pt x="3293" y="0"/>
                      <a:pt x="3293" y="0"/>
                    </a:cubicBezTo>
                    <a:cubicBezTo>
                      <a:pt x="-3115" y="1282"/>
                      <a:pt x="730" y="8971"/>
                      <a:pt x="7138" y="12815"/>
                    </a:cubicBezTo>
                    <a:cubicBezTo>
                      <a:pt x="10982" y="15379"/>
                      <a:pt x="14827" y="15379"/>
                      <a:pt x="16109" y="15379"/>
                    </a:cubicBezTo>
                    <a:cubicBezTo>
                      <a:pt x="62245" y="66640"/>
                      <a:pt x="105817" y="123028"/>
                      <a:pt x="148108" y="181979"/>
                    </a:cubicBezTo>
                    <a:cubicBezTo>
                      <a:pt x="146827" y="188387"/>
                      <a:pt x="144264" y="198640"/>
                      <a:pt x="141701" y="205047"/>
                    </a:cubicBezTo>
                    <a:cubicBezTo>
                      <a:pt x="131448" y="201203"/>
                      <a:pt x="128885" y="207610"/>
                      <a:pt x="131448" y="212737"/>
                    </a:cubicBezTo>
                    <a:cubicBezTo>
                      <a:pt x="131448" y="215300"/>
                      <a:pt x="132730" y="216581"/>
                      <a:pt x="132730" y="21786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3" name="Freeform: Shape 379559">
                <a:extLst>
                  <a:ext uri="{FF2B5EF4-FFF2-40B4-BE49-F238E27FC236}">
                    <a16:creationId xmlns:a16="http://schemas.microsoft.com/office/drawing/2014/main" id="{7A709716-0EBC-47F5-AE6F-8D53632C500E}"/>
                  </a:ext>
                </a:extLst>
              </p:cNvPr>
              <p:cNvSpPr/>
              <p:nvPr/>
            </p:nvSpPr>
            <p:spPr>
              <a:xfrm>
                <a:off x="7195269" y="2437365"/>
                <a:ext cx="86391" cy="105086"/>
              </a:xfrm>
              <a:custGeom>
                <a:avLst/>
                <a:gdLst>
                  <a:gd name="connsiteX0" fmla="*/ 5427 w 86391"/>
                  <a:gd name="connsiteY0" fmla="*/ 12815 h 105086"/>
                  <a:gd name="connsiteX1" fmla="*/ 15679 w 86391"/>
                  <a:gd name="connsiteY1" fmla="*/ 20505 h 105086"/>
                  <a:gd name="connsiteX2" fmla="*/ 68223 w 86391"/>
                  <a:gd name="connsiteY2" fmla="*/ 85864 h 105086"/>
                  <a:gd name="connsiteX3" fmla="*/ 84883 w 86391"/>
                  <a:gd name="connsiteY3" fmla="*/ 105087 h 105086"/>
                  <a:gd name="connsiteX4" fmla="*/ 77194 w 86391"/>
                  <a:gd name="connsiteY4" fmla="*/ 89708 h 105086"/>
                  <a:gd name="connsiteX5" fmla="*/ 70786 w 86391"/>
                  <a:gd name="connsiteY5" fmla="*/ 84582 h 105086"/>
                  <a:gd name="connsiteX6" fmla="*/ 18243 w 86391"/>
                  <a:gd name="connsiteY6" fmla="*/ 19223 h 105086"/>
                  <a:gd name="connsiteX7" fmla="*/ 1582 w 86391"/>
                  <a:gd name="connsiteY7" fmla="*/ 0 h 105086"/>
                  <a:gd name="connsiteX8" fmla="*/ 5427 w 86391"/>
                  <a:gd name="connsiteY8" fmla="*/ 12815 h 10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391" h="105086">
                    <a:moveTo>
                      <a:pt x="5427" y="12815"/>
                    </a:moveTo>
                    <a:cubicBezTo>
                      <a:pt x="7990" y="15379"/>
                      <a:pt x="11834" y="19223"/>
                      <a:pt x="15679" y="20505"/>
                    </a:cubicBezTo>
                    <a:cubicBezTo>
                      <a:pt x="33621" y="41009"/>
                      <a:pt x="51563" y="62796"/>
                      <a:pt x="68223" y="85864"/>
                    </a:cubicBezTo>
                    <a:cubicBezTo>
                      <a:pt x="65660" y="89708"/>
                      <a:pt x="79757" y="105087"/>
                      <a:pt x="84883" y="105087"/>
                    </a:cubicBezTo>
                    <a:cubicBezTo>
                      <a:pt x="88728" y="105087"/>
                      <a:pt x="84883" y="97397"/>
                      <a:pt x="77194" y="89708"/>
                    </a:cubicBezTo>
                    <a:cubicBezTo>
                      <a:pt x="73349" y="85864"/>
                      <a:pt x="72067" y="85864"/>
                      <a:pt x="70786" y="84582"/>
                    </a:cubicBezTo>
                    <a:cubicBezTo>
                      <a:pt x="54126" y="62796"/>
                      <a:pt x="36184" y="41009"/>
                      <a:pt x="18243" y="19223"/>
                    </a:cubicBezTo>
                    <a:cubicBezTo>
                      <a:pt x="19524" y="14097"/>
                      <a:pt x="6709" y="1282"/>
                      <a:pt x="1582" y="0"/>
                    </a:cubicBezTo>
                    <a:cubicBezTo>
                      <a:pt x="-3544" y="2563"/>
                      <a:pt x="5427" y="11534"/>
                      <a:pt x="5427"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4" name="Freeform: Shape 379560">
                <a:extLst>
                  <a:ext uri="{FF2B5EF4-FFF2-40B4-BE49-F238E27FC236}">
                    <a16:creationId xmlns:a16="http://schemas.microsoft.com/office/drawing/2014/main" id="{26B6EF49-4255-40EC-B847-A702B8274B75}"/>
                  </a:ext>
                </a:extLst>
              </p:cNvPr>
              <p:cNvSpPr/>
              <p:nvPr/>
            </p:nvSpPr>
            <p:spPr>
              <a:xfrm>
                <a:off x="7234016" y="2441209"/>
                <a:ext cx="96116" cy="131999"/>
              </a:xfrm>
              <a:custGeom>
                <a:avLst/>
                <a:gdLst>
                  <a:gd name="connsiteX0" fmla="*/ 84582 w 96116"/>
                  <a:gd name="connsiteY0" fmla="*/ 123028 h 131999"/>
                  <a:gd name="connsiteX1" fmla="*/ 94834 w 96116"/>
                  <a:gd name="connsiteY1" fmla="*/ 131999 h 131999"/>
                  <a:gd name="connsiteX2" fmla="*/ 96116 w 96116"/>
                  <a:gd name="connsiteY2" fmla="*/ 130718 h 131999"/>
                  <a:gd name="connsiteX3" fmla="*/ 87145 w 96116"/>
                  <a:gd name="connsiteY3" fmla="*/ 116621 h 131999"/>
                  <a:gd name="connsiteX4" fmla="*/ 79456 w 96116"/>
                  <a:gd name="connsiteY4" fmla="*/ 94834 h 131999"/>
                  <a:gd name="connsiteX5" fmla="*/ 17942 w 96116"/>
                  <a:gd name="connsiteY5" fmla="*/ 19223 h 131999"/>
                  <a:gd name="connsiteX6" fmla="*/ 1281 w 96116"/>
                  <a:gd name="connsiteY6" fmla="*/ 0 h 131999"/>
                  <a:gd name="connsiteX7" fmla="*/ 0 w 96116"/>
                  <a:gd name="connsiteY7" fmla="*/ 0 h 131999"/>
                  <a:gd name="connsiteX8" fmla="*/ 16660 w 96116"/>
                  <a:gd name="connsiteY8" fmla="*/ 17942 h 131999"/>
                  <a:gd name="connsiteX9" fmla="*/ 76893 w 96116"/>
                  <a:gd name="connsiteY9" fmla="*/ 92271 h 131999"/>
                  <a:gd name="connsiteX10" fmla="*/ 84582 w 96116"/>
                  <a:gd name="connsiteY10" fmla="*/ 112776 h 131999"/>
                  <a:gd name="connsiteX11" fmla="*/ 80737 w 96116"/>
                  <a:gd name="connsiteY11" fmla="*/ 111494 h 131999"/>
                  <a:gd name="connsiteX12" fmla="*/ 79456 w 96116"/>
                  <a:gd name="connsiteY12" fmla="*/ 112776 h 131999"/>
                  <a:gd name="connsiteX13" fmla="*/ 84582 w 96116"/>
                  <a:gd name="connsiteY13" fmla="*/ 123028 h 13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116" h="131999">
                    <a:moveTo>
                      <a:pt x="84582" y="123028"/>
                    </a:moveTo>
                    <a:cubicBezTo>
                      <a:pt x="85864" y="125591"/>
                      <a:pt x="90990" y="130718"/>
                      <a:pt x="94834" y="131999"/>
                    </a:cubicBezTo>
                    <a:cubicBezTo>
                      <a:pt x="94834" y="131999"/>
                      <a:pt x="96116" y="131999"/>
                      <a:pt x="96116" y="130718"/>
                    </a:cubicBezTo>
                    <a:cubicBezTo>
                      <a:pt x="96116" y="126873"/>
                      <a:pt x="90990" y="119184"/>
                      <a:pt x="87145" y="116621"/>
                    </a:cubicBezTo>
                    <a:lnTo>
                      <a:pt x="79456" y="94834"/>
                    </a:lnTo>
                    <a:cubicBezTo>
                      <a:pt x="58951" y="69203"/>
                      <a:pt x="38446" y="43573"/>
                      <a:pt x="17942" y="19223"/>
                    </a:cubicBezTo>
                    <a:cubicBezTo>
                      <a:pt x="17942" y="14097"/>
                      <a:pt x="5126" y="1282"/>
                      <a:pt x="1281" y="0"/>
                    </a:cubicBezTo>
                    <a:cubicBezTo>
                      <a:pt x="1281" y="0"/>
                      <a:pt x="1281" y="0"/>
                      <a:pt x="0" y="0"/>
                    </a:cubicBezTo>
                    <a:cubicBezTo>
                      <a:pt x="1281" y="5126"/>
                      <a:pt x="10252" y="15379"/>
                      <a:pt x="16660" y="17942"/>
                    </a:cubicBezTo>
                    <a:cubicBezTo>
                      <a:pt x="37165" y="42291"/>
                      <a:pt x="57670" y="66640"/>
                      <a:pt x="76893" y="92271"/>
                    </a:cubicBezTo>
                    <a:cubicBezTo>
                      <a:pt x="79456" y="98679"/>
                      <a:pt x="82019" y="106368"/>
                      <a:pt x="84582" y="112776"/>
                    </a:cubicBezTo>
                    <a:cubicBezTo>
                      <a:pt x="82019" y="111494"/>
                      <a:pt x="82019" y="111494"/>
                      <a:pt x="80737" y="111494"/>
                    </a:cubicBezTo>
                    <a:cubicBezTo>
                      <a:pt x="80737" y="111494"/>
                      <a:pt x="79456" y="111494"/>
                      <a:pt x="79456" y="112776"/>
                    </a:cubicBezTo>
                    <a:cubicBezTo>
                      <a:pt x="78175" y="115339"/>
                      <a:pt x="82019" y="120465"/>
                      <a:pt x="84582" y="12302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5" name="Freeform: Shape 379561">
                <a:extLst>
                  <a:ext uri="{FF2B5EF4-FFF2-40B4-BE49-F238E27FC236}">
                    <a16:creationId xmlns:a16="http://schemas.microsoft.com/office/drawing/2014/main" id="{C8FB0728-7CCC-4BE3-8C6E-B6E3DF2A01EE}"/>
                  </a:ext>
                </a:extLst>
              </p:cNvPr>
              <p:cNvSpPr/>
              <p:nvPr/>
            </p:nvSpPr>
            <p:spPr>
              <a:xfrm>
                <a:off x="7318599" y="2477092"/>
                <a:ext cx="89708" cy="112776"/>
              </a:xfrm>
              <a:custGeom>
                <a:avLst/>
                <a:gdLst>
                  <a:gd name="connsiteX0" fmla="*/ 82019 w 89708"/>
                  <a:gd name="connsiteY0" fmla="*/ 103805 h 112776"/>
                  <a:gd name="connsiteX1" fmla="*/ 89709 w 89708"/>
                  <a:gd name="connsiteY1" fmla="*/ 112776 h 112776"/>
                  <a:gd name="connsiteX2" fmla="*/ 74330 w 89708"/>
                  <a:gd name="connsiteY2" fmla="*/ 92271 h 112776"/>
                  <a:gd name="connsiteX3" fmla="*/ 37165 w 89708"/>
                  <a:gd name="connsiteY3" fmla="*/ 44854 h 112776"/>
                  <a:gd name="connsiteX4" fmla="*/ 5126 w 89708"/>
                  <a:gd name="connsiteY4" fmla="*/ 5126 h 112776"/>
                  <a:gd name="connsiteX5" fmla="*/ 0 w 89708"/>
                  <a:gd name="connsiteY5" fmla="*/ 0 h 112776"/>
                  <a:gd name="connsiteX6" fmla="*/ 34602 w 89708"/>
                  <a:gd name="connsiteY6" fmla="*/ 43573 h 112776"/>
                  <a:gd name="connsiteX7" fmla="*/ 73048 w 89708"/>
                  <a:gd name="connsiteY7" fmla="*/ 92271 h 112776"/>
                  <a:gd name="connsiteX8" fmla="*/ 82019 w 89708"/>
                  <a:gd name="connsiteY8" fmla="*/ 103805 h 11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708" h="112776">
                    <a:moveTo>
                      <a:pt x="82019" y="103805"/>
                    </a:moveTo>
                    <a:cubicBezTo>
                      <a:pt x="88427" y="111495"/>
                      <a:pt x="89709" y="112776"/>
                      <a:pt x="89709" y="112776"/>
                    </a:cubicBezTo>
                    <a:cubicBezTo>
                      <a:pt x="87145" y="108931"/>
                      <a:pt x="78175" y="96116"/>
                      <a:pt x="74330" y="92271"/>
                    </a:cubicBezTo>
                    <a:cubicBezTo>
                      <a:pt x="61514" y="76893"/>
                      <a:pt x="49980" y="60233"/>
                      <a:pt x="37165" y="44854"/>
                    </a:cubicBezTo>
                    <a:lnTo>
                      <a:pt x="5126" y="5126"/>
                    </a:lnTo>
                    <a:lnTo>
                      <a:pt x="0" y="0"/>
                    </a:lnTo>
                    <a:lnTo>
                      <a:pt x="34602" y="43573"/>
                    </a:lnTo>
                    <a:cubicBezTo>
                      <a:pt x="47417" y="60233"/>
                      <a:pt x="61514" y="75611"/>
                      <a:pt x="73048" y="92271"/>
                    </a:cubicBezTo>
                    <a:cubicBezTo>
                      <a:pt x="74330" y="94834"/>
                      <a:pt x="76893" y="98679"/>
                      <a:pt x="82019" y="10380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6" name="Freeform: Shape 379562">
                <a:extLst>
                  <a:ext uri="{FF2B5EF4-FFF2-40B4-BE49-F238E27FC236}">
                    <a16:creationId xmlns:a16="http://schemas.microsoft.com/office/drawing/2014/main" id="{257C8FB2-DBFD-4F42-9A7A-9C0271C719C0}"/>
                  </a:ext>
                </a:extLst>
              </p:cNvPr>
              <p:cNvSpPr/>
              <p:nvPr/>
            </p:nvSpPr>
            <p:spPr>
              <a:xfrm>
                <a:off x="4193147" y="3175535"/>
                <a:ext cx="38448" cy="166600"/>
              </a:xfrm>
              <a:custGeom>
                <a:avLst/>
                <a:gdLst>
                  <a:gd name="connsiteX0" fmla="*/ 29226 w 38448"/>
                  <a:gd name="connsiteY0" fmla="*/ 16660 h 166600"/>
                  <a:gd name="connsiteX1" fmla="*/ 29226 w 38448"/>
                  <a:gd name="connsiteY1" fmla="*/ 24349 h 166600"/>
                  <a:gd name="connsiteX2" fmla="*/ 4876 w 38448"/>
                  <a:gd name="connsiteY2" fmla="*/ 142252 h 166600"/>
                  <a:gd name="connsiteX3" fmla="*/ 1032 w 38448"/>
                  <a:gd name="connsiteY3" fmla="*/ 166601 h 166600"/>
                  <a:gd name="connsiteX4" fmla="*/ 2313 w 38448"/>
                  <a:gd name="connsiteY4" fmla="*/ 166601 h 166600"/>
                  <a:gd name="connsiteX5" fmla="*/ 7439 w 38448"/>
                  <a:gd name="connsiteY5" fmla="*/ 140970 h 166600"/>
                  <a:gd name="connsiteX6" fmla="*/ 31789 w 38448"/>
                  <a:gd name="connsiteY6" fmla="*/ 23068 h 166600"/>
                  <a:gd name="connsiteX7" fmla="*/ 38197 w 38448"/>
                  <a:gd name="connsiteY7" fmla="*/ 0 h 166600"/>
                  <a:gd name="connsiteX8" fmla="*/ 36915 w 38448"/>
                  <a:gd name="connsiteY8" fmla="*/ 0 h 166600"/>
                  <a:gd name="connsiteX9" fmla="*/ 29226 w 38448"/>
                  <a:gd name="connsiteY9" fmla="*/ 16660 h 16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448" h="166600">
                    <a:moveTo>
                      <a:pt x="29226" y="16660"/>
                    </a:moveTo>
                    <a:cubicBezTo>
                      <a:pt x="27944" y="23068"/>
                      <a:pt x="29226" y="24349"/>
                      <a:pt x="29226" y="24349"/>
                    </a:cubicBezTo>
                    <a:cubicBezTo>
                      <a:pt x="20255" y="62796"/>
                      <a:pt x="11284" y="102524"/>
                      <a:pt x="4876" y="142252"/>
                    </a:cubicBezTo>
                    <a:cubicBezTo>
                      <a:pt x="1032" y="147378"/>
                      <a:pt x="-1531" y="161475"/>
                      <a:pt x="1032" y="166601"/>
                    </a:cubicBezTo>
                    <a:cubicBezTo>
                      <a:pt x="1032" y="166601"/>
                      <a:pt x="2313" y="166601"/>
                      <a:pt x="2313" y="166601"/>
                    </a:cubicBezTo>
                    <a:cubicBezTo>
                      <a:pt x="6158" y="164038"/>
                      <a:pt x="10003" y="146096"/>
                      <a:pt x="7439" y="140970"/>
                    </a:cubicBezTo>
                    <a:cubicBezTo>
                      <a:pt x="13847" y="101242"/>
                      <a:pt x="22818" y="61514"/>
                      <a:pt x="31789" y="23068"/>
                    </a:cubicBezTo>
                    <a:cubicBezTo>
                      <a:pt x="35634" y="17942"/>
                      <a:pt x="39478" y="3845"/>
                      <a:pt x="38197" y="0"/>
                    </a:cubicBezTo>
                    <a:cubicBezTo>
                      <a:pt x="38197" y="0"/>
                      <a:pt x="36915" y="0"/>
                      <a:pt x="36915" y="0"/>
                    </a:cubicBezTo>
                    <a:cubicBezTo>
                      <a:pt x="33071" y="2563"/>
                      <a:pt x="30507" y="12815"/>
                      <a:pt x="29226"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7" name="Freeform: Shape 379563">
                <a:extLst>
                  <a:ext uri="{FF2B5EF4-FFF2-40B4-BE49-F238E27FC236}">
                    <a16:creationId xmlns:a16="http://schemas.microsoft.com/office/drawing/2014/main" id="{E0FDE31C-74A7-429B-ACC9-02FA7E84CBBF}"/>
                  </a:ext>
                </a:extLst>
              </p:cNvPr>
              <p:cNvSpPr/>
              <p:nvPr/>
            </p:nvSpPr>
            <p:spPr>
              <a:xfrm>
                <a:off x="4265421" y="3080700"/>
                <a:ext cx="28419" cy="93552"/>
              </a:xfrm>
              <a:custGeom>
                <a:avLst/>
                <a:gdLst>
                  <a:gd name="connsiteX0" fmla="*/ 18467 w 28419"/>
                  <a:gd name="connsiteY0" fmla="*/ 16660 h 93552"/>
                  <a:gd name="connsiteX1" fmla="*/ 18467 w 28419"/>
                  <a:gd name="connsiteY1" fmla="*/ 24349 h 93552"/>
                  <a:gd name="connsiteX2" fmla="*/ 6933 w 28419"/>
                  <a:gd name="connsiteY2" fmla="*/ 70485 h 93552"/>
                  <a:gd name="connsiteX3" fmla="*/ 1806 w 28419"/>
                  <a:gd name="connsiteY3" fmla="*/ 93553 h 93552"/>
                  <a:gd name="connsiteX4" fmla="*/ 9496 w 28419"/>
                  <a:gd name="connsiteY4" fmla="*/ 69203 h 93552"/>
                  <a:gd name="connsiteX5" fmla="*/ 9496 w 28419"/>
                  <a:gd name="connsiteY5" fmla="*/ 69203 h 93552"/>
                  <a:gd name="connsiteX6" fmla="*/ 21030 w 28419"/>
                  <a:gd name="connsiteY6" fmla="*/ 23068 h 93552"/>
                  <a:gd name="connsiteX7" fmla="*/ 27437 w 28419"/>
                  <a:gd name="connsiteY7" fmla="*/ 0 h 93552"/>
                  <a:gd name="connsiteX8" fmla="*/ 26156 w 28419"/>
                  <a:gd name="connsiteY8" fmla="*/ 0 h 93552"/>
                  <a:gd name="connsiteX9" fmla="*/ 18467 w 28419"/>
                  <a:gd name="connsiteY9" fmla="*/ 16660 h 9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19" h="93552">
                    <a:moveTo>
                      <a:pt x="18467" y="16660"/>
                    </a:moveTo>
                    <a:cubicBezTo>
                      <a:pt x="17185" y="19223"/>
                      <a:pt x="17185" y="24349"/>
                      <a:pt x="18467" y="24349"/>
                    </a:cubicBezTo>
                    <a:cubicBezTo>
                      <a:pt x="14622" y="39728"/>
                      <a:pt x="10777" y="55106"/>
                      <a:pt x="6933" y="70485"/>
                    </a:cubicBezTo>
                    <a:cubicBezTo>
                      <a:pt x="525" y="78174"/>
                      <a:pt x="-2038" y="93553"/>
                      <a:pt x="1806" y="93553"/>
                    </a:cubicBezTo>
                    <a:cubicBezTo>
                      <a:pt x="5651" y="93553"/>
                      <a:pt x="13340" y="71766"/>
                      <a:pt x="9496" y="69203"/>
                    </a:cubicBezTo>
                    <a:cubicBezTo>
                      <a:pt x="9496" y="69203"/>
                      <a:pt x="9496" y="69203"/>
                      <a:pt x="9496" y="69203"/>
                    </a:cubicBezTo>
                    <a:cubicBezTo>
                      <a:pt x="13340" y="53825"/>
                      <a:pt x="17185" y="38446"/>
                      <a:pt x="21030" y="23068"/>
                    </a:cubicBezTo>
                    <a:cubicBezTo>
                      <a:pt x="27437" y="15379"/>
                      <a:pt x="30001" y="0"/>
                      <a:pt x="27437" y="0"/>
                    </a:cubicBezTo>
                    <a:cubicBezTo>
                      <a:pt x="27437" y="0"/>
                      <a:pt x="27437" y="0"/>
                      <a:pt x="26156" y="0"/>
                    </a:cubicBezTo>
                    <a:cubicBezTo>
                      <a:pt x="22311" y="3845"/>
                      <a:pt x="18467" y="14097"/>
                      <a:pt x="1846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8" name="Freeform: Shape 379564">
                <a:extLst>
                  <a:ext uri="{FF2B5EF4-FFF2-40B4-BE49-F238E27FC236}">
                    <a16:creationId xmlns:a16="http://schemas.microsoft.com/office/drawing/2014/main" id="{DD40E1A0-196D-4206-BD61-5E54A6FD6621}"/>
                  </a:ext>
                </a:extLst>
              </p:cNvPr>
              <p:cNvSpPr/>
              <p:nvPr/>
            </p:nvSpPr>
            <p:spPr>
              <a:xfrm>
                <a:off x="4277945" y="3006371"/>
                <a:ext cx="47633" cy="161474"/>
              </a:xfrm>
              <a:custGeom>
                <a:avLst/>
                <a:gdLst>
                  <a:gd name="connsiteX0" fmla="*/ 37981 w 47633"/>
                  <a:gd name="connsiteY0" fmla="*/ 16660 h 161474"/>
                  <a:gd name="connsiteX1" fmla="*/ 37981 w 47633"/>
                  <a:gd name="connsiteY1" fmla="*/ 24349 h 161474"/>
                  <a:gd name="connsiteX2" fmla="*/ 7224 w 47633"/>
                  <a:gd name="connsiteY2" fmla="*/ 138407 h 161474"/>
                  <a:gd name="connsiteX3" fmla="*/ 816 w 47633"/>
                  <a:gd name="connsiteY3" fmla="*/ 161475 h 161474"/>
                  <a:gd name="connsiteX4" fmla="*/ 9787 w 47633"/>
                  <a:gd name="connsiteY4" fmla="*/ 138407 h 161474"/>
                  <a:gd name="connsiteX5" fmla="*/ 8505 w 47633"/>
                  <a:gd name="connsiteY5" fmla="*/ 137125 h 161474"/>
                  <a:gd name="connsiteX6" fmla="*/ 39263 w 47633"/>
                  <a:gd name="connsiteY6" fmla="*/ 23068 h 161474"/>
                  <a:gd name="connsiteX7" fmla="*/ 46952 w 47633"/>
                  <a:gd name="connsiteY7" fmla="*/ 0 h 161474"/>
                  <a:gd name="connsiteX8" fmla="*/ 45670 w 47633"/>
                  <a:gd name="connsiteY8" fmla="*/ 0 h 161474"/>
                  <a:gd name="connsiteX9" fmla="*/ 37981 w 47633"/>
                  <a:gd name="connsiteY9" fmla="*/ 16660 h 161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633" h="161474">
                    <a:moveTo>
                      <a:pt x="37981" y="16660"/>
                    </a:moveTo>
                    <a:cubicBezTo>
                      <a:pt x="36699" y="23068"/>
                      <a:pt x="37981" y="23068"/>
                      <a:pt x="37981" y="24349"/>
                    </a:cubicBezTo>
                    <a:cubicBezTo>
                      <a:pt x="26447" y="61514"/>
                      <a:pt x="16195" y="99961"/>
                      <a:pt x="7224" y="138407"/>
                    </a:cubicBezTo>
                    <a:cubicBezTo>
                      <a:pt x="2097" y="143533"/>
                      <a:pt x="-1747" y="157630"/>
                      <a:pt x="816" y="161475"/>
                    </a:cubicBezTo>
                    <a:cubicBezTo>
                      <a:pt x="8505" y="161475"/>
                      <a:pt x="9787" y="138407"/>
                      <a:pt x="9787" y="138407"/>
                    </a:cubicBezTo>
                    <a:cubicBezTo>
                      <a:pt x="9787" y="138407"/>
                      <a:pt x="8505" y="138407"/>
                      <a:pt x="8505" y="137125"/>
                    </a:cubicBezTo>
                    <a:cubicBezTo>
                      <a:pt x="17476" y="98679"/>
                      <a:pt x="27729" y="60233"/>
                      <a:pt x="39263" y="23068"/>
                    </a:cubicBezTo>
                    <a:cubicBezTo>
                      <a:pt x="44389" y="17942"/>
                      <a:pt x="49515" y="5126"/>
                      <a:pt x="46952" y="0"/>
                    </a:cubicBezTo>
                    <a:cubicBezTo>
                      <a:pt x="46952" y="0"/>
                      <a:pt x="45670" y="0"/>
                      <a:pt x="45670" y="0"/>
                    </a:cubicBezTo>
                    <a:cubicBezTo>
                      <a:pt x="41825" y="5126"/>
                      <a:pt x="39263" y="14097"/>
                      <a:pt x="3798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39" name="Freeform: Shape 379565">
                <a:extLst>
                  <a:ext uri="{FF2B5EF4-FFF2-40B4-BE49-F238E27FC236}">
                    <a16:creationId xmlns:a16="http://schemas.microsoft.com/office/drawing/2014/main" id="{02B54EC5-328D-4833-A0E2-0C3FA7B35537}"/>
                  </a:ext>
                </a:extLst>
              </p:cNvPr>
              <p:cNvSpPr/>
              <p:nvPr/>
            </p:nvSpPr>
            <p:spPr>
              <a:xfrm>
                <a:off x="4306431" y="3061477"/>
                <a:ext cx="28637" cy="93552"/>
              </a:xfrm>
              <a:custGeom>
                <a:avLst/>
                <a:gdLst>
                  <a:gd name="connsiteX0" fmla="*/ 17185 w 28637"/>
                  <a:gd name="connsiteY0" fmla="*/ 16660 h 93552"/>
                  <a:gd name="connsiteX1" fmla="*/ 18467 w 28637"/>
                  <a:gd name="connsiteY1" fmla="*/ 24349 h 93552"/>
                  <a:gd name="connsiteX2" fmla="*/ 6933 w 28637"/>
                  <a:gd name="connsiteY2" fmla="*/ 70485 h 93552"/>
                  <a:gd name="connsiteX3" fmla="*/ 1806 w 28637"/>
                  <a:gd name="connsiteY3" fmla="*/ 93553 h 93552"/>
                  <a:gd name="connsiteX4" fmla="*/ 10777 w 28637"/>
                  <a:gd name="connsiteY4" fmla="*/ 70485 h 93552"/>
                  <a:gd name="connsiteX5" fmla="*/ 9496 w 28637"/>
                  <a:gd name="connsiteY5" fmla="*/ 69203 h 93552"/>
                  <a:gd name="connsiteX6" fmla="*/ 21030 w 28637"/>
                  <a:gd name="connsiteY6" fmla="*/ 23068 h 93552"/>
                  <a:gd name="connsiteX7" fmla="*/ 27437 w 28637"/>
                  <a:gd name="connsiteY7" fmla="*/ 0 h 93552"/>
                  <a:gd name="connsiteX8" fmla="*/ 26156 w 28637"/>
                  <a:gd name="connsiteY8" fmla="*/ 0 h 93552"/>
                  <a:gd name="connsiteX9" fmla="*/ 17185 w 28637"/>
                  <a:gd name="connsiteY9" fmla="*/ 16660 h 9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37" h="93552">
                    <a:moveTo>
                      <a:pt x="17185" y="16660"/>
                    </a:moveTo>
                    <a:cubicBezTo>
                      <a:pt x="17185" y="19223"/>
                      <a:pt x="15903" y="23068"/>
                      <a:pt x="18467" y="24349"/>
                    </a:cubicBezTo>
                    <a:cubicBezTo>
                      <a:pt x="14622" y="39728"/>
                      <a:pt x="10777" y="55106"/>
                      <a:pt x="6933" y="70485"/>
                    </a:cubicBezTo>
                    <a:cubicBezTo>
                      <a:pt x="525" y="78174"/>
                      <a:pt x="-2038" y="93553"/>
                      <a:pt x="1806" y="93553"/>
                    </a:cubicBezTo>
                    <a:cubicBezTo>
                      <a:pt x="6933" y="93553"/>
                      <a:pt x="13340" y="74330"/>
                      <a:pt x="10777" y="70485"/>
                    </a:cubicBezTo>
                    <a:cubicBezTo>
                      <a:pt x="10777" y="70485"/>
                      <a:pt x="9496" y="69203"/>
                      <a:pt x="9496" y="69203"/>
                    </a:cubicBezTo>
                    <a:cubicBezTo>
                      <a:pt x="13340" y="53825"/>
                      <a:pt x="17185" y="38446"/>
                      <a:pt x="21030" y="23068"/>
                    </a:cubicBezTo>
                    <a:cubicBezTo>
                      <a:pt x="28719" y="15379"/>
                      <a:pt x="30001" y="0"/>
                      <a:pt x="27437" y="0"/>
                    </a:cubicBezTo>
                    <a:cubicBezTo>
                      <a:pt x="27437" y="0"/>
                      <a:pt x="27437" y="0"/>
                      <a:pt x="26156" y="0"/>
                    </a:cubicBezTo>
                    <a:cubicBezTo>
                      <a:pt x="19748" y="3845"/>
                      <a:pt x="17185" y="14097"/>
                      <a:pt x="1718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0" name="Freeform: Shape 379566">
                <a:extLst>
                  <a:ext uri="{FF2B5EF4-FFF2-40B4-BE49-F238E27FC236}">
                    <a16:creationId xmlns:a16="http://schemas.microsoft.com/office/drawing/2014/main" id="{E1F98868-5E91-450E-A53E-FB780E396873}"/>
                  </a:ext>
                </a:extLst>
              </p:cNvPr>
              <p:cNvSpPr/>
              <p:nvPr/>
            </p:nvSpPr>
            <p:spPr>
              <a:xfrm>
                <a:off x="4336895" y="3014060"/>
                <a:ext cx="37185" cy="126872"/>
              </a:xfrm>
              <a:custGeom>
                <a:avLst/>
                <a:gdLst>
                  <a:gd name="connsiteX0" fmla="*/ 25167 w 37185"/>
                  <a:gd name="connsiteY0" fmla="*/ 16660 h 126872"/>
                  <a:gd name="connsiteX1" fmla="*/ 26449 w 37185"/>
                  <a:gd name="connsiteY1" fmla="*/ 24349 h 126872"/>
                  <a:gd name="connsiteX2" fmla="*/ 7226 w 37185"/>
                  <a:gd name="connsiteY2" fmla="*/ 103805 h 126872"/>
                  <a:gd name="connsiteX3" fmla="*/ 2099 w 37185"/>
                  <a:gd name="connsiteY3" fmla="*/ 126873 h 126872"/>
                  <a:gd name="connsiteX4" fmla="*/ 11070 w 37185"/>
                  <a:gd name="connsiteY4" fmla="*/ 103805 h 126872"/>
                  <a:gd name="connsiteX5" fmla="*/ 9789 w 37185"/>
                  <a:gd name="connsiteY5" fmla="*/ 102524 h 126872"/>
                  <a:gd name="connsiteX6" fmla="*/ 29012 w 37185"/>
                  <a:gd name="connsiteY6" fmla="*/ 23068 h 126872"/>
                  <a:gd name="connsiteX7" fmla="*/ 35420 w 37185"/>
                  <a:gd name="connsiteY7" fmla="*/ 0 h 126872"/>
                  <a:gd name="connsiteX8" fmla="*/ 34138 w 37185"/>
                  <a:gd name="connsiteY8" fmla="*/ 0 h 126872"/>
                  <a:gd name="connsiteX9" fmla="*/ 25167 w 37185"/>
                  <a:gd name="connsiteY9" fmla="*/ 16660 h 126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185" h="126872">
                    <a:moveTo>
                      <a:pt x="25167" y="16660"/>
                    </a:moveTo>
                    <a:cubicBezTo>
                      <a:pt x="25167" y="19223"/>
                      <a:pt x="23886" y="23068"/>
                      <a:pt x="26449" y="24349"/>
                    </a:cubicBezTo>
                    <a:cubicBezTo>
                      <a:pt x="18759" y="49980"/>
                      <a:pt x="12352" y="76893"/>
                      <a:pt x="7226" y="103805"/>
                    </a:cubicBezTo>
                    <a:cubicBezTo>
                      <a:pt x="-464" y="111494"/>
                      <a:pt x="-1745" y="126873"/>
                      <a:pt x="2099" y="126873"/>
                    </a:cubicBezTo>
                    <a:cubicBezTo>
                      <a:pt x="7226" y="126873"/>
                      <a:pt x="14915" y="107650"/>
                      <a:pt x="11070" y="103805"/>
                    </a:cubicBezTo>
                    <a:cubicBezTo>
                      <a:pt x="11070" y="103805"/>
                      <a:pt x="9789" y="102524"/>
                      <a:pt x="9789" y="102524"/>
                    </a:cubicBezTo>
                    <a:cubicBezTo>
                      <a:pt x="16196" y="75611"/>
                      <a:pt x="22604" y="49980"/>
                      <a:pt x="29012" y="23068"/>
                    </a:cubicBezTo>
                    <a:cubicBezTo>
                      <a:pt x="36701" y="15379"/>
                      <a:pt x="39264" y="0"/>
                      <a:pt x="35420" y="0"/>
                    </a:cubicBezTo>
                    <a:cubicBezTo>
                      <a:pt x="35420" y="0"/>
                      <a:pt x="34138" y="0"/>
                      <a:pt x="34138" y="0"/>
                    </a:cubicBezTo>
                    <a:cubicBezTo>
                      <a:pt x="29012" y="3845"/>
                      <a:pt x="26449" y="14097"/>
                      <a:pt x="2516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1" name="Freeform: Shape 379567">
                <a:extLst>
                  <a:ext uri="{FF2B5EF4-FFF2-40B4-BE49-F238E27FC236}">
                    <a16:creationId xmlns:a16="http://schemas.microsoft.com/office/drawing/2014/main" id="{79BC0521-E392-464E-BAC1-FFE4E521FCC5}"/>
                  </a:ext>
                </a:extLst>
              </p:cNvPr>
              <p:cNvSpPr/>
              <p:nvPr/>
            </p:nvSpPr>
            <p:spPr>
              <a:xfrm>
                <a:off x="4353555" y="3040972"/>
                <a:ext cx="27834" cy="92271"/>
              </a:xfrm>
              <a:custGeom>
                <a:avLst/>
                <a:gdLst>
                  <a:gd name="connsiteX0" fmla="*/ 16197 w 27834"/>
                  <a:gd name="connsiteY0" fmla="*/ 16660 h 92271"/>
                  <a:gd name="connsiteX1" fmla="*/ 17478 w 27834"/>
                  <a:gd name="connsiteY1" fmla="*/ 24349 h 92271"/>
                  <a:gd name="connsiteX2" fmla="*/ 7226 w 27834"/>
                  <a:gd name="connsiteY2" fmla="*/ 69203 h 92271"/>
                  <a:gd name="connsiteX3" fmla="*/ 2099 w 27834"/>
                  <a:gd name="connsiteY3" fmla="*/ 92271 h 92271"/>
                  <a:gd name="connsiteX4" fmla="*/ 11070 w 27834"/>
                  <a:gd name="connsiteY4" fmla="*/ 69203 h 92271"/>
                  <a:gd name="connsiteX5" fmla="*/ 9789 w 27834"/>
                  <a:gd name="connsiteY5" fmla="*/ 67922 h 92271"/>
                  <a:gd name="connsiteX6" fmla="*/ 20041 w 27834"/>
                  <a:gd name="connsiteY6" fmla="*/ 23068 h 92271"/>
                  <a:gd name="connsiteX7" fmla="*/ 25167 w 27834"/>
                  <a:gd name="connsiteY7" fmla="*/ 0 h 92271"/>
                  <a:gd name="connsiteX8" fmla="*/ 23886 w 27834"/>
                  <a:gd name="connsiteY8" fmla="*/ 0 h 92271"/>
                  <a:gd name="connsiteX9" fmla="*/ 16197 w 27834"/>
                  <a:gd name="connsiteY9" fmla="*/ 16660 h 92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34" h="92271">
                    <a:moveTo>
                      <a:pt x="16197" y="16660"/>
                    </a:moveTo>
                    <a:cubicBezTo>
                      <a:pt x="16197" y="19223"/>
                      <a:pt x="14915" y="23068"/>
                      <a:pt x="17478" y="24349"/>
                    </a:cubicBezTo>
                    <a:cubicBezTo>
                      <a:pt x="13633" y="39728"/>
                      <a:pt x="9789" y="53825"/>
                      <a:pt x="7226" y="69203"/>
                    </a:cubicBezTo>
                    <a:cubicBezTo>
                      <a:pt x="-464" y="76893"/>
                      <a:pt x="-1745" y="92271"/>
                      <a:pt x="2099" y="92271"/>
                    </a:cubicBezTo>
                    <a:cubicBezTo>
                      <a:pt x="7226" y="92271"/>
                      <a:pt x="14915" y="73048"/>
                      <a:pt x="11070" y="69203"/>
                    </a:cubicBezTo>
                    <a:cubicBezTo>
                      <a:pt x="11070" y="69203"/>
                      <a:pt x="9789" y="67922"/>
                      <a:pt x="9789" y="67922"/>
                    </a:cubicBezTo>
                    <a:cubicBezTo>
                      <a:pt x="13633" y="52543"/>
                      <a:pt x="16197" y="37165"/>
                      <a:pt x="20041" y="23068"/>
                    </a:cubicBezTo>
                    <a:cubicBezTo>
                      <a:pt x="27731" y="15379"/>
                      <a:pt x="30293" y="0"/>
                      <a:pt x="25167" y="0"/>
                    </a:cubicBezTo>
                    <a:cubicBezTo>
                      <a:pt x="25167" y="0"/>
                      <a:pt x="23886" y="0"/>
                      <a:pt x="23886" y="0"/>
                    </a:cubicBezTo>
                    <a:cubicBezTo>
                      <a:pt x="18759" y="3845"/>
                      <a:pt x="16197" y="14097"/>
                      <a:pt x="1619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2" name="Freeform: Shape 379568">
                <a:extLst>
                  <a:ext uri="{FF2B5EF4-FFF2-40B4-BE49-F238E27FC236}">
                    <a16:creationId xmlns:a16="http://schemas.microsoft.com/office/drawing/2014/main" id="{C9920089-FE72-4A14-A4AA-6390F2E8FD7A}"/>
                  </a:ext>
                </a:extLst>
              </p:cNvPr>
              <p:cNvSpPr/>
              <p:nvPr/>
            </p:nvSpPr>
            <p:spPr>
              <a:xfrm>
                <a:off x="4426139" y="3080591"/>
                <a:ext cx="43912" cy="77567"/>
              </a:xfrm>
              <a:custGeom>
                <a:avLst/>
                <a:gdLst>
                  <a:gd name="connsiteX0" fmla="*/ 0 w 43912"/>
                  <a:gd name="connsiteY0" fmla="*/ 16769 h 77567"/>
                  <a:gd name="connsiteX1" fmla="*/ 6408 w 43912"/>
                  <a:gd name="connsiteY1" fmla="*/ 23177 h 77567"/>
                  <a:gd name="connsiteX2" fmla="*/ 7689 w 43912"/>
                  <a:gd name="connsiteY2" fmla="*/ 21896 h 77567"/>
                  <a:gd name="connsiteX3" fmla="*/ 30757 w 43912"/>
                  <a:gd name="connsiteY3" fmla="*/ 62905 h 77567"/>
                  <a:gd name="connsiteX4" fmla="*/ 34602 w 43912"/>
                  <a:gd name="connsiteY4" fmla="*/ 77002 h 77567"/>
                  <a:gd name="connsiteX5" fmla="*/ 41010 w 43912"/>
                  <a:gd name="connsiteY5" fmla="*/ 52653 h 77567"/>
                  <a:gd name="connsiteX6" fmla="*/ 33320 w 43912"/>
                  <a:gd name="connsiteY6" fmla="*/ 57779 h 77567"/>
                  <a:gd name="connsiteX7" fmla="*/ 10252 w 43912"/>
                  <a:gd name="connsiteY7" fmla="*/ 16769 h 77567"/>
                  <a:gd name="connsiteX8" fmla="*/ 8971 w 43912"/>
                  <a:gd name="connsiteY8" fmla="*/ 109 h 77567"/>
                  <a:gd name="connsiteX9" fmla="*/ 0 w 43912"/>
                  <a:gd name="connsiteY9" fmla="*/ 16769 h 77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912" h="77567">
                    <a:moveTo>
                      <a:pt x="0" y="16769"/>
                    </a:moveTo>
                    <a:cubicBezTo>
                      <a:pt x="0" y="21896"/>
                      <a:pt x="1282" y="25740"/>
                      <a:pt x="6408" y="23177"/>
                    </a:cubicBezTo>
                    <a:cubicBezTo>
                      <a:pt x="7689" y="23177"/>
                      <a:pt x="7689" y="21896"/>
                      <a:pt x="7689" y="21896"/>
                    </a:cubicBezTo>
                    <a:cubicBezTo>
                      <a:pt x="14097" y="34711"/>
                      <a:pt x="24350" y="50090"/>
                      <a:pt x="30757" y="62905"/>
                    </a:cubicBezTo>
                    <a:cubicBezTo>
                      <a:pt x="26913" y="73157"/>
                      <a:pt x="29476" y="79565"/>
                      <a:pt x="34602" y="77002"/>
                    </a:cubicBezTo>
                    <a:cubicBezTo>
                      <a:pt x="42291" y="74439"/>
                      <a:pt x="47417" y="55216"/>
                      <a:pt x="41010" y="52653"/>
                    </a:cubicBezTo>
                    <a:cubicBezTo>
                      <a:pt x="39728" y="52653"/>
                      <a:pt x="37165" y="52653"/>
                      <a:pt x="33320" y="57779"/>
                    </a:cubicBezTo>
                    <a:cubicBezTo>
                      <a:pt x="26913" y="46245"/>
                      <a:pt x="16660" y="29585"/>
                      <a:pt x="10252" y="16769"/>
                    </a:cubicBezTo>
                    <a:cubicBezTo>
                      <a:pt x="14097" y="9080"/>
                      <a:pt x="15379" y="-1172"/>
                      <a:pt x="8971" y="109"/>
                    </a:cubicBezTo>
                    <a:cubicBezTo>
                      <a:pt x="2563" y="2672"/>
                      <a:pt x="0" y="12925"/>
                      <a:pt x="0" y="1676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3" name="Freeform: Shape 379569">
                <a:extLst>
                  <a:ext uri="{FF2B5EF4-FFF2-40B4-BE49-F238E27FC236}">
                    <a16:creationId xmlns:a16="http://schemas.microsoft.com/office/drawing/2014/main" id="{21FB33C3-77BC-413E-8C99-F6A476CB3935}"/>
                  </a:ext>
                </a:extLst>
              </p:cNvPr>
              <p:cNvSpPr/>
              <p:nvPr/>
            </p:nvSpPr>
            <p:spPr>
              <a:xfrm>
                <a:off x="4488035" y="2956315"/>
                <a:ext cx="33374" cy="124385"/>
              </a:xfrm>
              <a:custGeom>
                <a:avLst/>
                <a:gdLst>
                  <a:gd name="connsiteX0" fmla="*/ 20124 w 33374"/>
                  <a:gd name="connsiteY0" fmla="*/ 15454 h 124385"/>
                  <a:gd name="connsiteX1" fmla="*/ 22687 w 33374"/>
                  <a:gd name="connsiteY1" fmla="*/ 23143 h 124385"/>
                  <a:gd name="connsiteX2" fmla="*/ 7308 w 33374"/>
                  <a:gd name="connsiteY2" fmla="*/ 101317 h 124385"/>
                  <a:gd name="connsiteX3" fmla="*/ 3464 w 33374"/>
                  <a:gd name="connsiteY3" fmla="*/ 124385 h 124385"/>
                  <a:gd name="connsiteX4" fmla="*/ 12434 w 33374"/>
                  <a:gd name="connsiteY4" fmla="*/ 101317 h 124385"/>
                  <a:gd name="connsiteX5" fmla="*/ 9871 w 33374"/>
                  <a:gd name="connsiteY5" fmla="*/ 100036 h 124385"/>
                  <a:gd name="connsiteX6" fmla="*/ 25250 w 33374"/>
                  <a:gd name="connsiteY6" fmla="*/ 21862 h 124385"/>
                  <a:gd name="connsiteX7" fmla="*/ 30376 w 33374"/>
                  <a:gd name="connsiteY7" fmla="*/ 75 h 124385"/>
                  <a:gd name="connsiteX8" fmla="*/ 29095 w 33374"/>
                  <a:gd name="connsiteY8" fmla="*/ 75 h 124385"/>
                  <a:gd name="connsiteX9" fmla="*/ 20124 w 33374"/>
                  <a:gd name="connsiteY9" fmla="*/ 15454 h 12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74" h="124385">
                    <a:moveTo>
                      <a:pt x="20124" y="15454"/>
                    </a:moveTo>
                    <a:cubicBezTo>
                      <a:pt x="20124" y="18017"/>
                      <a:pt x="20124" y="21862"/>
                      <a:pt x="22687" y="23143"/>
                    </a:cubicBezTo>
                    <a:cubicBezTo>
                      <a:pt x="17561" y="48774"/>
                      <a:pt x="11153" y="74405"/>
                      <a:pt x="7308" y="101317"/>
                    </a:cubicBezTo>
                    <a:cubicBezTo>
                      <a:pt x="-1663" y="109007"/>
                      <a:pt x="-1663" y="124385"/>
                      <a:pt x="3464" y="124385"/>
                    </a:cubicBezTo>
                    <a:cubicBezTo>
                      <a:pt x="11153" y="124385"/>
                      <a:pt x="17561" y="105162"/>
                      <a:pt x="12434" y="101317"/>
                    </a:cubicBezTo>
                    <a:cubicBezTo>
                      <a:pt x="12434" y="101317"/>
                      <a:pt x="11153" y="101317"/>
                      <a:pt x="9871" y="100036"/>
                    </a:cubicBezTo>
                    <a:cubicBezTo>
                      <a:pt x="14997" y="74405"/>
                      <a:pt x="20124" y="47493"/>
                      <a:pt x="25250" y="21862"/>
                    </a:cubicBezTo>
                    <a:cubicBezTo>
                      <a:pt x="34221" y="14172"/>
                      <a:pt x="35502" y="-1206"/>
                      <a:pt x="30376" y="75"/>
                    </a:cubicBezTo>
                    <a:cubicBezTo>
                      <a:pt x="30376" y="75"/>
                      <a:pt x="29095" y="75"/>
                      <a:pt x="29095" y="75"/>
                    </a:cubicBezTo>
                    <a:cubicBezTo>
                      <a:pt x="22687" y="3920"/>
                      <a:pt x="20124" y="12891"/>
                      <a:pt x="20124" y="154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4" name="Freeform: Shape 379570">
                <a:extLst>
                  <a:ext uri="{FF2B5EF4-FFF2-40B4-BE49-F238E27FC236}">
                    <a16:creationId xmlns:a16="http://schemas.microsoft.com/office/drawing/2014/main" id="{BCA05235-FCC5-4E06-AFC8-14EC870A35CD}"/>
                  </a:ext>
                </a:extLst>
              </p:cNvPr>
              <p:cNvSpPr/>
              <p:nvPr/>
            </p:nvSpPr>
            <p:spPr>
              <a:xfrm>
                <a:off x="6564988" y="2302802"/>
                <a:ext cx="172013" cy="228311"/>
              </a:xfrm>
              <a:custGeom>
                <a:avLst/>
                <a:gdLst>
                  <a:gd name="connsiteX0" fmla="*/ 3903 w 172013"/>
                  <a:gd name="connsiteY0" fmla="*/ 12815 h 228311"/>
                  <a:gd name="connsiteX1" fmla="*/ 15437 w 172013"/>
                  <a:gd name="connsiteY1" fmla="*/ 17942 h 228311"/>
                  <a:gd name="connsiteX2" fmla="*/ 152563 w 172013"/>
                  <a:gd name="connsiteY2" fmla="*/ 208892 h 228311"/>
                  <a:gd name="connsiteX3" fmla="*/ 162815 w 172013"/>
                  <a:gd name="connsiteY3" fmla="*/ 228115 h 228311"/>
                  <a:gd name="connsiteX4" fmla="*/ 170505 w 172013"/>
                  <a:gd name="connsiteY4" fmla="*/ 216581 h 228311"/>
                  <a:gd name="connsiteX5" fmla="*/ 157689 w 172013"/>
                  <a:gd name="connsiteY5" fmla="*/ 207610 h 228311"/>
                  <a:gd name="connsiteX6" fmla="*/ 19282 w 172013"/>
                  <a:gd name="connsiteY6" fmla="*/ 16660 h 228311"/>
                  <a:gd name="connsiteX7" fmla="*/ 5185 w 172013"/>
                  <a:gd name="connsiteY7" fmla="*/ 0 h 228311"/>
                  <a:gd name="connsiteX8" fmla="*/ 3903 w 172013"/>
                  <a:gd name="connsiteY8" fmla="*/ 0 h 228311"/>
                  <a:gd name="connsiteX9" fmla="*/ 3903 w 172013"/>
                  <a:gd name="connsiteY9" fmla="*/ 12815 h 22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013" h="228311">
                    <a:moveTo>
                      <a:pt x="3903" y="12815"/>
                    </a:moveTo>
                    <a:cubicBezTo>
                      <a:pt x="6466" y="15379"/>
                      <a:pt x="10311" y="17942"/>
                      <a:pt x="15437" y="17942"/>
                    </a:cubicBezTo>
                    <a:cubicBezTo>
                      <a:pt x="64136" y="76893"/>
                      <a:pt x="108990" y="139688"/>
                      <a:pt x="152563" y="208892"/>
                    </a:cubicBezTo>
                    <a:cubicBezTo>
                      <a:pt x="144874" y="214018"/>
                      <a:pt x="153845" y="225552"/>
                      <a:pt x="162815" y="228115"/>
                    </a:cubicBezTo>
                    <a:cubicBezTo>
                      <a:pt x="170505" y="229397"/>
                      <a:pt x="174349" y="224270"/>
                      <a:pt x="170505" y="216581"/>
                    </a:cubicBezTo>
                    <a:cubicBezTo>
                      <a:pt x="169223" y="214018"/>
                      <a:pt x="165378" y="208892"/>
                      <a:pt x="157689" y="207610"/>
                    </a:cubicBezTo>
                    <a:cubicBezTo>
                      <a:pt x="114116" y="139688"/>
                      <a:pt x="67980" y="75611"/>
                      <a:pt x="19282" y="16660"/>
                    </a:cubicBezTo>
                    <a:cubicBezTo>
                      <a:pt x="26971" y="10252"/>
                      <a:pt x="11592" y="1282"/>
                      <a:pt x="5185" y="0"/>
                    </a:cubicBezTo>
                    <a:cubicBezTo>
                      <a:pt x="5185" y="0"/>
                      <a:pt x="3903" y="0"/>
                      <a:pt x="3903" y="0"/>
                    </a:cubicBezTo>
                    <a:cubicBezTo>
                      <a:pt x="-2505" y="3845"/>
                      <a:pt x="58" y="10252"/>
                      <a:pt x="3903"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5" name="Freeform: Shape 379571">
                <a:extLst>
                  <a:ext uri="{FF2B5EF4-FFF2-40B4-BE49-F238E27FC236}">
                    <a16:creationId xmlns:a16="http://schemas.microsoft.com/office/drawing/2014/main" id="{F2F27373-1FF9-4C4D-B355-3574438F4E9A}"/>
                  </a:ext>
                </a:extLst>
              </p:cNvPr>
              <p:cNvSpPr/>
              <p:nvPr/>
            </p:nvSpPr>
            <p:spPr>
              <a:xfrm>
                <a:off x="6824985" y="2496316"/>
                <a:ext cx="128598" cy="197932"/>
              </a:xfrm>
              <a:custGeom>
                <a:avLst/>
                <a:gdLst>
                  <a:gd name="connsiteX0" fmla="*/ 4061 w 128598"/>
                  <a:gd name="connsiteY0" fmla="*/ 12815 h 197932"/>
                  <a:gd name="connsiteX1" fmla="*/ 15595 w 128598"/>
                  <a:gd name="connsiteY1" fmla="*/ 19223 h 197932"/>
                  <a:gd name="connsiteX2" fmla="*/ 110430 w 128598"/>
                  <a:gd name="connsiteY2" fmla="*/ 176853 h 197932"/>
                  <a:gd name="connsiteX3" fmla="*/ 119400 w 128598"/>
                  <a:gd name="connsiteY3" fmla="*/ 197358 h 197932"/>
                  <a:gd name="connsiteX4" fmla="*/ 127090 w 128598"/>
                  <a:gd name="connsiteY4" fmla="*/ 185824 h 197932"/>
                  <a:gd name="connsiteX5" fmla="*/ 114275 w 128598"/>
                  <a:gd name="connsiteY5" fmla="*/ 176853 h 197932"/>
                  <a:gd name="connsiteX6" fmla="*/ 19440 w 128598"/>
                  <a:gd name="connsiteY6" fmla="*/ 19223 h 197932"/>
                  <a:gd name="connsiteX7" fmla="*/ 7906 w 128598"/>
                  <a:gd name="connsiteY7" fmla="*/ 0 h 197932"/>
                  <a:gd name="connsiteX8" fmla="*/ 4061 w 128598"/>
                  <a:gd name="connsiteY8" fmla="*/ 0 h 197932"/>
                  <a:gd name="connsiteX9" fmla="*/ 4061 w 128598"/>
                  <a:gd name="connsiteY9" fmla="*/ 12815 h 19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598" h="197932">
                    <a:moveTo>
                      <a:pt x="4061" y="12815"/>
                    </a:moveTo>
                    <a:cubicBezTo>
                      <a:pt x="6624" y="15379"/>
                      <a:pt x="10469" y="19223"/>
                      <a:pt x="15595" y="19223"/>
                    </a:cubicBezTo>
                    <a:cubicBezTo>
                      <a:pt x="48915" y="69203"/>
                      <a:pt x="80954" y="121747"/>
                      <a:pt x="110430" y="176853"/>
                    </a:cubicBezTo>
                    <a:cubicBezTo>
                      <a:pt x="102741" y="181979"/>
                      <a:pt x="111711" y="194795"/>
                      <a:pt x="119400" y="197358"/>
                    </a:cubicBezTo>
                    <a:cubicBezTo>
                      <a:pt x="127090" y="199921"/>
                      <a:pt x="130934" y="193513"/>
                      <a:pt x="127090" y="185824"/>
                    </a:cubicBezTo>
                    <a:cubicBezTo>
                      <a:pt x="125808" y="183261"/>
                      <a:pt x="121964" y="178135"/>
                      <a:pt x="114275" y="176853"/>
                    </a:cubicBezTo>
                    <a:cubicBezTo>
                      <a:pt x="84799" y="121747"/>
                      <a:pt x="52760" y="69203"/>
                      <a:pt x="19440" y="19223"/>
                    </a:cubicBezTo>
                    <a:cubicBezTo>
                      <a:pt x="27129" y="14097"/>
                      <a:pt x="16877" y="2563"/>
                      <a:pt x="7906" y="0"/>
                    </a:cubicBezTo>
                    <a:cubicBezTo>
                      <a:pt x="6624" y="0"/>
                      <a:pt x="5343" y="0"/>
                      <a:pt x="4061" y="0"/>
                    </a:cubicBezTo>
                    <a:cubicBezTo>
                      <a:pt x="-3628" y="2563"/>
                      <a:pt x="1498" y="10252"/>
                      <a:pt x="4061"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6" name="Freeform: Shape 379572">
                <a:extLst>
                  <a:ext uri="{FF2B5EF4-FFF2-40B4-BE49-F238E27FC236}">
                    <a16:creationId xmlns:a16="http://schemas.microsoft.com/office/drawing/2014/main" id="{E9F7AC89-D5A0-4B4C-A1E4-9A10D16D214D}"/>
                  </a:ext>
                </a:extLst>
              </p:cNvPr>
              <p:cNvSpPr/>
              <p:nvPr/>
            </p:nvSpPr>
            <p:spPr>
              <a:xfrm>
                <a:off x="6926457" y="2483500"/>
                <a:ext cx="40082" cy="48862"/>
              </a:xfrm>
              <a:custGeom>
                <a:avLst/>
                <a:gdLst>
                  <a:gd name="connsiteX0" fmla="*/ 3831 w 40082"/>
                  <a:gd name="connsiteY0" fmla="*/ 12815 h 48862"/>
                  <a:gd name="connsiteX1" fmla="*/ 15365 w 40082"/>
                  <a:gd name="connsiteY1" fmla="*/ 20505 h 48862"/>
                  <a:gd name="connsiteX2" fmla="*/ 21773 w 40082"/>
                  <a:gd name="connsiteY2" fmla="*/ 29476 h 48862"/>
                  <a:gd name="connsiteX3" fmla="*/ 34589 w 40082"/>
                  <a:gd name="connsiteY3" fmla="*/ 48699 h 48862"/>
                  <a:gd name="connsiteX4" fmla="*/ 35870 w 40082"/>
                  <a:gd name="connsiteY4" fmla="*/ 35883 h 48862"/>
                  <a:gd name="connsiteX5" fmla="*/ 24336 w 40082"/>
                  <a:gd name="connsiteY5" fmla="*/ 28194 h 48862"/>
                  <a:gd name="connsiteX6" fmla="*/ 17928 w 40082"/>
                  <a:gd name="connsiteY6" fmla="*/ 19223 h 48862"/>
                  <a:gd name="connsiteX7" fmla="*/ 3831 w 40082"/>
                  <a:gd name="connsiteY7" fmla="*/ 0 h 48862"/>
                  <a:gd name="connsiteX8" fmla="*/ 2550 w 40082"/>
                  <a:gd name="connsiteY8" fmla="*/ 0 h 48862"/>
                  <a:gd name="connsiteX9" fmla="*/ 3831 w 40082"/>
                  <a:gd name="connsiteY9" fmla="*/ 12815 h 4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82" h="48862">
                    <a:moveTo>
                      <a:pt x="3831" y="12815"/>
                    </a:moveTo>
                    <a:cubicBezTo>
                      <a:pt x="6394" y="15379"/>
                      <a:pt x="10239" y="19223"/>
                      <a:pt x="15365" y="20505"/>
                    </a:cubicBezTo>
                    <a:cubicBezTo>
                      <a:pt x="17928" y="23068"/>
                      <a:pt x="19210" y="26912"/>
                      <a:pt x="21773" y="29476"/>
                    </a:cubicBezTo>
                    <a:cubicBezTo>
                      <a:pt x="14084" y="34602"/>
                      <a:pt x="26899" y="47417"/>
                      <a:pt x="34589" y="48699"/>
                    </a:cubicBezTo>
                    <a:cubicBezTo>
                      <a:pt x="40996" y="49980"/>
                      <a:pt x="42278" y="43573"/>
                      <a:pt x="35870" y="35883"/>
                    </a:cubicBezTo>
                    <a:cubicBezTo>
                      <a:pt x="33307" y="33320"/>
                      <a:pt x="29462" y="29476"/>
                      <a:pt x="24336" y="28194"/>
                    </a:cubicBezTo>
                    <a:cubicBezTo>
                      <a:pt x="21773" y="25631"/>
                      <a:pt x="20491" y="21786"/>
                      <a:pt x="17928" y="19223"/>
                    </a:cubicBezTo>
                    <a:cubicBezTo>
                      <a:pt x="24336" y="14097"/>
                      <a:pt x="12802" y="1282"/>
                      <a:pt x="3831" y="0"/>
                    </a:cubicBezTo>
                    <a:cubicBezTo>
                      <a:pt x="3831" y="0"/>
                      <a:pt x="2550" y="0"/>
                      <a:pt x="2550" y="0"/>
                    </a:cubicBezTo>
                    <a:cubicBezTo>
                      <a:pt x="-3858" y="2563"/>
                      <a:pt x="3831" y="12815"/>
                      <a:pt x="3831"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7" name="Freeform: Shape 379573">
                <a:extLst>
                  <a:ext uri="{FF2B5EF4-FFF2-40B4-BE49-F238E27FC236}">
                    <a16:creationId xmlns:a16="http://schemas.microsoft.com/office/drawing/2014/main" id="{AE19404A-0079-4E20-8C8B-E3F84FC8E8E4}"/>
                  </a:ext>
                </a:extLst>
              </p:cNvPr>
              <p:cNvSpPr/>
              <p:nvPr/>
            </p:nvSpPr>
            <p:spPr>
              <a:xfrm>
                <a:off x="7056964" y="2416717"/>
                <a:ext cx="65328" cy="71909"/>
              </a:xfrm>
              <a:custGeom>
                <a:avLst/>
                <a:gdLst>
                  <a:gd name="connsiteX0" fmla="*/ 5324 w 65328"/>
                  <a:gd name="connsiteY0" fmla="*/ 9114 h 71909"/>
                  <a:gd name="connsiteX1" fmla="*/ 16858 w 65328"/>
                  <a:gd name="connsiteY1" fmla="*/ 16803 h 71909"/>
                  <a:gd name="connsiteX2" fmla="*/ 46334 w 65328"/>
                  <a:gd name="connsiteY2" fmla="*/ 52686 h 71909"/>
                  <a:gd name="connsiteX3" fmla="*/ 62994 w 65328"/>
                  <a:gd name="connsiteY3" fmla="*/ 71909 h 71909"/>
                  <a:gd name="connsiteX4" fmla="*/ 56586 w 65328"/>
                  <a:gd name="connsiteY4" fmla="*/ 57812 h 71909"/>
                  <a:gd name="connsiteX5" fmla="*/ 48897 w 65328"/>
                  <a:gd name="connsiteY5" fmla="*/ 53968 h 71909"/>
                  <a:gd name="connsiteX6" fmla="*/ 19421 w 65328"/>
                  <a:gd name="connsiteY6" fmla="*/ 18085 h 71909"/>
                  <a:gd name="connsiteX7" fmla="*/ 2761 w 65328"/>
                  <a:gd name="connsiteY7" fmla="*/ 143 h 71909"/>
                  <a:gd name="connsiteX8" fmla="*/ 5324 w 65328"/>
                  <a:gd name="connsiteY8" fmla="*/ 9114 h 7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28" h="71909">
                    <a:moveTo>
                      <a:pt x="5324" y="9114"/>
                    </a:moveTo>
                    <a:cubicBezTo>
                      <a:pt x="7887" y="11677"/>
                      <a:pt x="11732" y="14240"/>
                      <a:pt x="16858" y="16803"/>
                    </a:cubicBezTo>
                    <a:cubicBezTo>
                      <a:pt x="27110" y="28337"/>
                      <a:pt x="36081" y="41152"/>
                      <a:pt x="46334" y="52686"/>
                    </a:cubicBezTo>
                    <a:cubicBezTo>
                      <a:pt x="41208" y="57812"/>
                      <a:pt x="56586" y="71909"/>
                      <a:pt x="62994" y="71909"/>
                    </a:cubicBezTo>
                    <a:cubicBezTo>
                      <a:pt x="68120" y="71909"/>
                      <a:pt x="64276" y="62939"/>
                      <a:pt x="56586" y="57812"/>
                    </a:cubicBezTo>
                    <a:cubicBezTo>
                      <a:pt x="52742" y="55249"/>
                      <a:pt x="50178" y="53968"/>
                      <a:pt x="48897" y="53968"/>
                    </a:cubicBezTo>
                    <a:cubicBezTo>
                      <a:pt x="38644" y="42434"/>
                      <a:pt x="29674" y="29618"/>
                      <a:pt x="19421" y="18085"/>
                    </a:cubicBezTo>
                    <a:cubicBezTo>
                      <a:pt x="23266" y="14240"/>
                      <a:pt x="10451" y="143"/>
                      <a:pt x="2761" y="143"/>
                    </a:cubicBezTo>
                    <a:cubicBezTo>
                      <a:pt x="-3646" y="-1139"/>
                      <a:pt x="2761" y="6551"/>
                      <a:pt x="5324" y="911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48" name="Freeform: Shape 379574">
                <a:extLst>
                  <a:ext uri="{FF2B5EF4-FFF2-40B4-BE49-F238E27FC236}">
                    <a16:creationId xmlns:a16="http://schemas.microsoft.com/office/drawing/2014/main" id="{0D550588-90B6-407B-91A3-3239F894406F}"/>
                  </a:ext>
                </a:extLst>
              </p:cNvPr>
              <p:cNvSpPr/>
              <p:nvPr/>
            </p:nvSpPr>
            <p:spPr>
              <a:xfrm>
                <a:off x="7296812" y="2457869"/>
                <a:ext cx="41009" cy="47417"/>
              </a:xfrm>
              <a:custGeom>
                <a:avLst/>
                <a:gdLst>
                  <a:gd name="connsiteX0" fmla="*/ 8971 w 41009"/>
                  <a:gd name="connsiteY0" fmla="*/ 10252 h 47417"/>
                  <a:gd name="connsiteX1" fmla="*/ 16660 w 41009"/>
                  <a:gd name="connsiteY1" fmla="*/ 19223 h 47417"/>
                  <a:gd name="connsiteX2" fmla="*/ 24350 w 41009"/>
                  <a:gd name="connsiteY2" fmla="*/ 28194 h 47417"/>
                  <a:gd name="connsiteX3" fmla="*/ 41010 w 41009"/>
                  <a:gd name="connsiteY3" fmla="*/ 47417 h 47417"/>
                  <a:gd name="connsiteX4" fmla="*/ 24350 w 41009"/>
                  <a:gd name="connsiteY4" fmla="*/ 28194 h 47417"/>
                  <a:gd name="connsiteX5" fmla="*/ 16660 w 41009"/>
                  <a:gd name="connsiteY5" fmla="*/ 19223 h 47417"/>
                  <a:gd name="connsiteX6" fmla="*/ 0 w 41009"/>
                  <a:gd name="connsiteY6" fmla="*/ 0 h 47417"/>
                  <a:gd name="connsiteX7" fmla="*/ 8971 w 41009"/>
                  <a:gd name="connsiteY7" fmla="*/ 10252 h 4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09" h="47417">
                    <a:moveTo>
                      <a:pt x="8971" y="10252"/>
                    </a:moveTo>
                    <a:cubicBezTo>
                      <a:pt x="11534" y="12815"/>
                      <a:pt x="14097" y="16660"/>
                      <a:pt x="16660" y="19223"/>
                    </a:cubicBezTo>
                    <a:cubicBezTo>
                      <a:pt x="19223" y="21786"/>
                      <a:pt x="21787" y="25631"/>
                      <a:pt x="24350" y="28194"/>
                    </a:cubicBezTo>
                    <a:cubicBezTo>
                      <a:pt x="25631" y="30757"/>
                      <a:pt x="38446" y="44854"/>
                      <a:pt x="41010" y="47417"/>
                    </a:cubicBezTo>
                    <a:cubicBezTo>
                      <a:pt x="41010" y="46136"/>
                      <a:pt x="28194" y="32039"/>
                      <a:pt x="24350" y="28194"/>
                    </a:cubicBezTo>
                    <a:cubicBezTo>
                      <a:pt x="21787" y="25631"/>
                      <a:pt x="19223" y="21786"/>
                      <a:pt x="16660" y="19223"/>
                    </a:cubicBezTo>
                    <a:cubicBezTo>
                      <a:pt x="15379" y="16660"/>
                      <a:pt x="2563" y="2563"/>
                      <a:pt x="0" y="0"/>
                    </a:cubicBezTo>
                    <a:cubicBezTo>
                      <a:pt x="1282" y="0"/>
                      <a:pt x="6408" y="6408"/>
                      <a:pt x="8971"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449" name="Graphic 379285">
                <a:extLst>
                  <a:ext uri="{FF2B5EF4-FFF2-40B4-BE49-F238E27FC236}">
                    <a16:creationId xmlns:a16="http://schemas.microsoft.com/office/drawing/2014/main" id="{D973D960-FBCD-4D6F-9AA8-88935B4C1FE3}"/>
                  </a:ext>
                </a:extLst>
              </p:cNvPr>
              <p:cNvGrpSpPr/>
              <p:nvPr/>
            </p:nvGrpSpPr>
            <p:grpSpPr>
              <a:xfrm>
                <a:off x="7332696" y="2495034"/>
                <a:ext cx="60232" cy="73048"/>
                <a:chOff x="7332696" y="2495034"/>
                <a:chExt cx="60232" cy="73048"/>
              </a:xfrm>
              <a:grpFill/>
            </p:grpSpPr>
            <p:sp>
              <p:nvSpPr>
                <p:cNvPr id="989" name="Freeform: Shape 379576">
                  <a:extLst>
                    <a:ext uri="{FF2B5EF4-FFF2-40B4-BE49-F238E27FC236}">
                      <a16:creationId xmlns:a16="http://schemas.microsoft.com/office/drawing/2014/main" id="{7DDCE0AA-99A2-4390-A2C3-53E9457FFD73}"/>
                    </a:ext>
                  </a:extLst>
                </p:cNvPr>
                <p:cNvSpPr/>
                <p:nvPr/>
              </p:nvSpPr>
              <p:spPr>
                <a:xfrm>
                  <a:off x="7377550" y="2547578"/>
                  <a:ext cx="15378" cy="20504"/>
                </a:xfrm>
                <a:custGeom>
                  <a:avLst/>
                  <a:gdLst>
                    <a:gd name="connsiteX0" fmla="*/ 7689 w 15378"/>
                    <a:gd name="connsiteY0" fmla="*/ 11534 h 20504"/>
                    <a:gd name="connsiteX1" fmla="*/ 15378 w 15378"/>
                    <a:gd name="connsiteY1" fmla="*/ 20505 h 20504"/>
                    <a:gd name="connsiteX2" fmla="*/ 0 w 15378"/>
                    <a:gd name="connsiteY2" fmla="*/ 0 h 20504"/>
                    <a:gd name="connsiteX3" fmla="*/ 7689 w 15378"/>
                    <a:gd name="connsiteY3" fmla="*/ 11534 h 20504"/>
                  </a:gdLst>
                  <a:ahLst/>
                  <a:cxnLst>
                    <a:cxn ang="0">
                      <a:pos x="connsiteX0" y="connsiteY0"/>
                    </a:cxn>
                    <a:cxn ang="0">
                      <a:pos x="connsiteX1" y="connsiteY1"/>
                    </a:cxn>
                    <a:cxn ang="0">
                      <a:pos x="connsiteX2" y="connsiteY2"/>
                    </a:cxn>
                    <a:cxn ang="0">
                      <a:pos x="connsiteX3" y="connsiteY3"/>
                    </a:cxn>
                  </a:cxnLst>
                  <a:rect l="l" t="t" r="r" b="b"/>
                  <a:pathLst>
                    <a:path w="15378" h="20504">
                      <a:moveTo>
                        <a:pt x="7689" y="11534"/>
                      </a:moveTo>
                      <a:cubicBezTo>
                        <a:pt x="10253" y="14097"/>
                        <a:pt x="12815" y="17942"/>
                        <a:pt x="15378" y="20505"/>
                      </a:cubicBezTo>
                      <a:lnTo>
                        <a:pt x="0" y="0"/>
                      </a:lnTo>
                      <a:cubicBezTo>
                        <a:pt x="2563" y="3845"/>
                        <a:pt x="5126" y="7689"/>
                        <a:pt x="7689"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90" name="Freeform: Shape 379577">
                  <a:extLst>
                    <a:ext uri="{FF2B5EF4-FFF2-40B4-BE49-F238E27FC236}">
                      <a16:creationId xmlns:a16="http://schemas.microsoft.com/office/drawing/2014/main" id="{17617917-AEF2-4FB6-BE57-B4870B7C02B1}"/>
                    </a:ext>
                  </a:extLst>
                </p:cNvPr>
                <p:cNvSpPr/>
                <p:nvPr/>
              </p:nvSpPr>
              <p:spPr>
                <a:xfrm>
                  <a:off x="7332696" y="2495034"/>
                  <a:ext cx="10252" cy="11533"/>
                </a:xfrm>
                <a:custGeom>
                  <a:avLst/>
                  <a:gdLst>
                    <a:gd name="connsiteX0" fmla="*/ 5126 w 10252"/>
                    <a:gd name="connsiteY0" fmla="*/ 6408 h 11533"/>
                    <a:gd name="connsiteX1" fmla="*/ 10252 w 10252"/>
                    <a:gd name="connsiteY1" fmla="*/ 11534 h 11533"/>
                    <a:gd name="connsiteX2" fmla="*/ 5126 w 10252"/>
                    <a:gd name="connsiteY2" fmla="*/ 6408 h 11533"/>
                    <a:gd name="connsiteX3" fmla="*/ 0 w 10252"/>
                    <a:gd name="connsiteY3" fmla="*/ 0 h 11533"/>
                    <a:gd name="connsiteX4" fmla="*/ 5126 w 10252"/>
                    <a:gd name="connsiteY4" fmla="*/ 6408 h 11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2" h="11533">
                      <a:moveTo>
                        <a:pt x="5126" y="6408"/>
                      </a:moveTo>
                      <a:cubicBezTo>
                        <a:pt x="6408" y="7689"/>
                        <a:pt x="7689" y="10252"/>
                        <a:pt x="10252" y="11534"/>
                      </a:cubicBezTo>
                      <a:lnTo>
                        <a:pt x="5126" y="6408"/>
                      </a:lnTo>
                      <a:lnTo>
                        <a:pt x="0" y="0"/>
                      </a:lnTo>
                      <a:cubicBezTo>
                        <a:pt x="1281" y="1282"/>
                        <a:pt x="3844" y="3845"/>
                        <a:pt x="5126" y="640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450" name="Freeform: Shape 379578">
                <a:extLst>
                  <a:ext uri="{FF2B5EF4-FFF2-40B4-BE49-F238E27FC236}">
                    <a16:creationId xmlns:a16="http://schemas.microsoft.com/office/drawing/2014/main" id="{72A7DD61-E464-49D9-AACB-DDBB74ED4CFA}"/>
                  </a:ext>
                </a:extLst>
              </p:cNvPr>
              <p:cNvSpPr/>
              <p:nvPr/>
            </p:nvSpPr>
            <p:spPr>
              <a:xfrm>
                <a:off x="4195461" y="2956391"/>
                <a:ext cx="80737" cy="289629"/>
              </a:xfrm>
              <a:custGeom>
                <a:avLst/>
                <a:gdLst>
                  <a:gd name="connsiteX0" fmla="*/ 75611 w 80737"/>
                  <a:gd name="connsiteY0" fmla="*/ 15379 h 289629"/>
                  <a:gd name="connsiteX1" fmla="*/ 73048 w 80737"/>
                  <a:gd name="connsiteY1" fmla="*/ 23068 h 289629"/>
                  <a:gd name="connsiteX2" fmla="*/ 38446 w 80737"/>
                  <a:gd name="connsiteY2" fmla="*/ 116621 h 289629"/>
                  <a:gd name="connsiteX3" fmla="*/ 30757 w 80737"/>
                  <a:gd name="connsiteY3" fmla="*/ 175572 h 289629"/>
                  <a:gd name="connsiteX4" fmla="*/ 6408 w 80737"/>
                  <a:gd name="connsiteY4" fmla="*/ 266561 h 289629"/>
                  <a:gd name="connsiteX5" fmla="*/ 0 w 80737"/>
                  <a:gd name="connsiteY5" fmla="*/ 289629 h 289629"/>
                  <a:gd name="connsiteX6" fmla="*/ 1282 w 80737"/>
                  <a:gd name="connsiteY6" fmla="*/ 289629 h 289629"/>
                  <a:gd name="connsiteX7" fmla="*/ 6408 w 80737"/>
                  <a:gd name="connsiteY7" fmla="*/ 265280 h 289629"/>
                  <a:gd name="connsiteX8" fmla="*/ 30757 w 80737"/>
                  <a:gd name="connsiteY8" fmla="*/ 171727 h 289629"/>
                  <a:gd name="connsiteX9" fmla="*/ 38446 w 80737"/>
                  <a:gd name="connsiteY9" fmla="*/ 112776 h 289629"/>
                  <a:gd name="connsiteX10" fmla="*/ 71767 w 80737"/>
                  <a:gd name="connsiteY10" fmla="*/ 21786 h 289629"/>
                  <a:gd name="connsiteX11" fmla="*/ 80738 w 80737"/>
                  <a:gd name="connsiteY11" fmla="*/ 0 h 289629"/>
                  <a:gd name="connsiteX12" fmla="*/ 80738 w 80737"/>
                  <a:gd name="connsiteY12" fmla="*/ 0 h 289629"/>
                  <a:gd name="connsiteX13" fmla="*/ 75611 w 80737"/>
                  <a:gd name="connsiteY13" fmla="*/ 15379 h 28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737" h="289629">
                    <a:moveTo>
                      <a:pt x="75611" y="15379"/>
                    </a:moveTo>
                    <a:cubicBezTo>
                      <a:pt x="73048" y="21786"/>
                      <a:pt x="73048" y="23068"/>
                      <a:pt x="73048" y="23068"/>
                    </a:cubicBezTo>
                    <a:cubicBezTo>
                      <a:pt x="60233" y="53825"/>
                      <a:pt x="48699" y="84582"/>
                      <a:pt x="38446" y="116621"/>
                    </a:cubicBezTo>
                    <a:lnTo>
                      <a:pt x="30757" y="175572"/>
                    </a:lnTo>
                    <a:cubicBezTo>
                      <a:pt x="21786" y="205047"/>
                      <a:pt x="14097" y="235804"/>
                      <a:pt x="6408" y="266561"/>
                    </a:cubicBezTo>
                    <a:cubicBezTo>
                      <a:pt x="2563" y="272969"/>
                      <a:pt x="0" y="284503"/>
                      <a:pt x="0" y="289629"/>
                    </a:cubicBezTo>
                    <a:cubicBezTo>
                      <a:pt x="0" y="289629"/>
                      <a:pt x="1282" y="289629"/>
                      <a:pt x="1282" y="289629"/>
                    </a:cubicBezTo>
                    <a:cubicBezTo>
                      <a:pt x="5126" y="281940"/>
                      <a:pt x="7689" y="269125"/>
                      <a:pt x="6408" y="265280"/>
                    </a:cubicBezTo>
                    <a:cubicBezTo>
                      <a:pt x="14097" y="234523"/>
                      <a:pt x="21786" y="202484"/>
                      <a:pt x="30757" y="171727"/>
                    </a:cubicBezTo>
                    <a:lnTo>
                      <a:pt x="38446" y="112776"/>
                    </a:lnTo>
                    <a:cubicBezTo>
                      <a:pt x="48699" y="82019"/>
                      <a:pt x="60233" y="51262"/>
                      <a:pt x="71767" y="21786"/>
                    </a:cubicBezTo>
                    <a:cubicBezTo>
                      <a:pt x="75611" y="16660"/>
                      <a:pt x="79456" y="5126"/>
                      <a:pt x="80738" y="0"/>
                    </a:cubicBezTo>
                    <a:cubicBezTo>
                      <a:pt x="80738" y="0"/>
                      <a:pt x="80738" y="0"/>
                      <a:pt x="80738" y="0"/>
                    </a:cubicBezTo>
                    <a:cubicBezTo>
                      <a:pt x="80738" y="5126"/>
                      <a:pt x="78175" y="11534"/>
                      <a:pt x="7561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1" name="Freeform: Shape 379579">
                <a:extLst>
                  <a:ext uri="{FF2B5EF4-FFF2-40B4-BE49-F238E27FC236}">
                    <a16:creationId xmlns:a16="http://schemas.microsoft.com/office/drawing/2014/main" id="{611F74E5-F5AC-44A4-A999-5B52A8561C08}"/>
                  </a:ext>
                </a:extLst>
              </p:cNvPr>
              <p:cNvSpPr/>
              <p:nvPr/>
            </p:nvSpPr>
            <p:spPr>
              <a:xfrm>
                <a:off x="4203400" y="3205010"/>
                <a:ext cx="27492" cy="131999"/>
              </a:xfrm>
              <a:custGeom>
                <a:avLst/>
                <a:gdLst>
                  <a:gd name="connsiteX0" fmla="*/ 20255 w 27492"/>
                  <a:gd name="connsiteY0" fmla="*/ 16660 h 131999"/>
                  <a:gd name="connsiteX1" fmla="*/ 20255 w 27492"/>
                  <a:gd name="connsiteY1" fmla="*/ 24349 h 131999"/>
                  <a:gd name="connsiteX2" fmla="*/ 4876 w 27492"/>
                  <a:gd name="connsiteY2" fmla="*/ 107650 h 131999"/>
                  <a:gd name="connsiteX3" fmla="*/ 1032 w 27492"/>
                  <a:gd name="connsiteY3" fmla="*/ 131999 h 131999"/>
                  <a:gd name="connsiteX4" fmla="*/ 6158 w 27492"/>
                  <a:gd name="connsiteY4" fmla="*/ 106368 h 131999"/>
                  <a:gd name="connsiteX5" fmla="*/ 21537 w 27492"/>
                  <a:gd name="connsiteY5" fmla="*/ 23068 h 131999"/>
                  <a:gd name="connsiteX6" fmla="*/ 26663 w 27492"/>
                  <a:gd name="connsiteY6" fmla="*/ 0 h 131999"/>
                  <a:gd name="connsiteX7" fmla="*/ 25381 w 27492"/>
                  <a:gd name="connsiteY7" fmla="*/ 0 h 131999"/>
                  <a:gd name="connsiteX8" fmla="*/ 20255 w 27492"/>
                  <a:gd name="connsiteY8" fmla="*/ 16660 h 13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492" h="131999">
                    <a:moveTo>
                      <a:pt x="20255" y="16660"/>
                    </a:moveTo>
                    <a:cubicBezTo>
                      <a:pt x="20255" y="20505"/>
                      <a:pt x="18973" y="24349"/>
                      <a:pt x="20255" y="24349"/>
                    </a:cubicBezTo>
                    <a:cubicBezTo>
                      <a:pt x="13847" y="51262"/>
                      <a:pt x="8721" y="79456"/>
                      <a:pt x="4876" y="107650"/>
                    </a:cubicBezTo>
                    <a:cubicBezTo>
                      <a:pt x="1032" y="114058"/>
                      <a:pt x="-1531" y="130718"/>
                      <a:pt x="1032" y="131999"/>
                    </a:cubicBezTo>
                    <a:cubicBezTo>
                      <a:pt x="4876" y="130718"/>
                      <a:pt x="10003" y="108931"/>
                      <a:pt x="6158" y="106368"/>
                    </a:cubicBezTo>
                    <a:cubicBezTo>
                      <a:pt x="11284" y="78174"/>
                      <a:pt x="16410" y="51262"/>
                      <a:pt x="21537" y="23068"/>
                    </a:cubicBezTo>
                    <a:cubicBezTo>
                      <a:pt x="25381" y="17942"/>
                      <a:pt x="29226" y="3845"/>
                      <a:pt x="26663" y="0"/>
                    </a:cubicBezTo>
                    <a:cubicBezTo>
                      <a:pt x="26663" y="0"/>
                      <a:pt x="25381" y="0"/>
                      <a:pt x="25381" y="0"/>
                    </a:cubicBezTo>
                    <a:cubicBezTo>
                      <a:pt x="24100" y="2563"/>
                      <a:pt x="21537" y="12816"/>
                      <a:pt x="2025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2" name="Freeform: Shape 379580">
                <a:extLst>
                  <a:ext uri="{FF2B5EF4-FFF2-40B4-BE49-F238E27FC236}">
                    <a16:creationId xmlns:a16="http://schemas.microsoft.com/office/drawing/2014/main" id="{BACF5AF3-FFE8-4B13-B96D-CA74DA3D8B23}"/>
                  </a:ext>
                </a:extLst>
              </p:cNvPr>
              <p:cNvSpPr/>
              <p:nvPr/>
            </p:nvSpPr>
            <p:spPr>
              <a:xfrm>
                <a:off x="4214373" y="3081982"/>
                <a:ext cx="28585" cy="248619"/>
              </a:xfrm>
              <a:custGeom>
                <a:avLst/>
                <a:gdLst>
                  <a:gd name="connsiteX0" fmla="*/ 20816 w 28585"/>
                  <a:gd name="connsiteY0" fmla="*/ 16660 h 248619"/>
                  <a:gd name="connsiteX1" fmla="*/ 19534 w 28585"/>
                  <a:gd name="connsiteY1" fmla="*/ 24349 h 248619"/>
                  <a:gd name="connsiteX2" fmla="*/ 22097 w 28585"/>
                  <a:gd name="connsiteY2" fmla="*/ 21786 h 248619"/>
                  <a:gd name="connsiteX3" fmla="*/ 19534 w 28585"/>
                  <a:gd name="connsiteY3" fmla="*/ 96116 h 248619"/>
                  <a:gd name="connsiteX4" fmla="*/ 20816 w 28585"/>
                  <a:gd name="connsiteY4" fmla="*/ 140970 h 248619"/>
                  <a:gd name="connsiteX5" fmla="*/ 5437 w 28585"/>
                  <a:gd name="connsiteY5" fmla="*/ 224270 h 248619"/>
                  <a:gd name="connsiteX6" fmla="*/ 1593 w 28585"/>
                  <a:gd name="connsiteY6" fmla="*/ 248620 h 248619"/>
                  <a:gd name="connsiteX7" fmla="*/ 6719 w 28585"/>
                  <a:gd name="connsiteY7" fmla="*/ 222989 h 248619"/>
                  <a:gd name="connsiteX8" fmla="*/ 22097 w 28585"/>
                  <a:gd name="connsiteY8" fmla="*/ 139688 h 248619"/>
                  <a:gd name="connsiteX9" fmla="*/ 27224 w 28585"/>
                  <a:gd name="connsiteY9" fmla="*/ 115339 h 248619"/>
                  <a:gd name="connsiteX10" fmla="*/ 23379 w 28585"/>
                  <a:gd name="connsiteY10" fmla="*/ 119184 h 248619"/>
                  <a:gd name="connsiteX11" fmla="*/ 23379 w 28585"/>
                  <a:gd name="connsiteY11" fmla="*/ 15379 h 248619"/>
                  <a:gd name="connsiteX12" fmla="*/ 27224 w 28585"/>
                  <a:gd name="connsiteY12" fmla="*/ 0 h 248619"/>
                  <a:gd name="connsiteX13" fmla="*/ 27224 w 28585"/>
                  <a:gd name="connsiteY13" fmla="*/ 0 h 248619"/>
                  <a:gd name="connsiteX14" fmla="*/ 20816 w 28585"/>
                  <a:gd name="connsiteY14" fmla="*/ 16660 h 24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85" h="248619">
                    <a:moveTo>
                      <a:pt x="20816" y="16660"/>
                    </a:moveTo>
                    <a:cubicBezTo>
                      <a:pt x="19534" y="21786"/>
                      <a:pt x="19534" y="23068"/>
                      <a:pt x="19534" y="24349"/>
                    </a:cubicBezTo>
                    <a:cubicBezTo>
                      <a:pt x="20816" y="23068"/>
                      <a:pt x="20816" y="23068"/>
                      <a:pt x="22097" y="21786"/>
                    </a:cubicBezTo>
                    <a:cubicBezTo>
                      <a:pt x="22097" y="43573"/>
                      <a:pt x="20816" y="73048"/>
                      <a:pt x="19534" y="96116"/>
                    </a:cubicBezTo>
                    <a:lnTo>
                      <a:pt x="20816" y="140970"/>
                    </a:lnTo>
                    <a:cubicBezTo>
                      <a:pt x="14408" y="167883"/>
                      <a:pt x="9282" y="196077"/>
                      <a:pt x="5437" y="224270"/>
                    </a:cubicBezTo>
                    <a:cubicBezTo>
                      <a:pt x="1593" y="229397"/>
                      <a:pt x="-2252" y="244775"/>
                      <a:pt x="1593" y="248620"/>
                    </a:cubicBezTo>
                    <a:cubicBezTo>
                      <a:pt x="8000" y="244775"/>
                      <a:pt x="9282" y="224270"/>
                      <a:pt x="6719" y="222989"/>
                    </a:cubicBezTo>
                    <a:cubicBezTo>
                      <a:pt x="11845" y="194795"/>
                      <a:pt x="16971" y="167883"/>
                      <a:pt x="22097" y="139688"/>
                    </a:cubicBezTo>
                    <a:cubicBezTo>
                      <a:pt x="25942" y="134562"/>
                      <a:pt x="31068" y="119184"/>
                      <a:pt x="27224" y="115339"/>
                    </a:cubicBezTo>
                    <a:cubicBezTo>
                      <a:pt x="25942" y="116621"/>
                      <a:pt x="24660" y="116621"/>
                      <a:pt x="23379" y="119184"/>
                    </a:cubicBezTo>
                    <a:cubicBezTo>
                      <a:pt x="20816" y="23068"/>
                      <a:pt x="20816" y="23068"/>
                      <a:pt x="23379" y="15379"/>
                    </a:cubicBezTo>
                    <a:cubicBezTo>
                      <a:pt x="23379" y="15379"/>
                      <a:pt x="28505" y="3845"/>
                      <a:pt x="27224" y="0"/>
                    </a:cubicBezTo>
                    <a:cubicBezTo>
                      <a:pt x="27224" y="0"/>
                      <a:pt x="27224" y="0"/>
                      <a:pt x="27224" y="0"/>
                    </a:cubicBezTo>
                    <a:cubicBezTo>
                      <a:pt x="24660" y="5126"/>
                      <a:pt x="22097" y="12816"/>
                      <a:pt x="20816"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3" name="Freeform: Shape 379581">
                <a:extLst>
                  <a:ext uri="{FF2B5EF4-FFF2-40B4-BE49-F238E27FC236}">
                    <a16:creationId xmlns:a16="http://schemas.microsoft.com/office/drawing/2014/main" id="{EEC1D2DA-DF98-441F-A17C-59219D5E84F0}"/>
                  </a:ext>
                </a:extLst>
              </p:cNvPr>
              <p:cNvSpPr/>
              <p:nvPr/>
            </p:nvSpPr>
            <p:spPr>
              <a:xfrm>
                <a:off x="4221092" y="3187069"/>
                <a:ext cx="47141" cy="173008"/>
              </a:xfrm>
              <a:custGeom>
                <a:avLst/>
                <a:gdLst>
                  <a:gd name="connsiteX0" fmla="*/ 0 w 47141"/>
                  <a:gd name="connsiteY0" fmla="*/ 165319 h 173008"/>
                  <a:gd name="connsiteX1" fmla="*/ 1281 w 47141"/>
                  <a:gd name="connsiteY1" fmla="*/ 173009 h 173008"/>
                  <a:gd name="connsiteX2" fmla="*/ 8971 w 47141"/>
                  <a:gd name="connsiteY2" fmla="*/ 153785 h 173008"/>
                  <a:gd name="connsiteX3" fmla="*/ 23068 w 47141"/>
                  <a:gd name="connsiteY3" fmla="*/ 120465 h 173008"/>
                  <a:gd name="connsiteX4" fmla="*/ 41010 w 47141"/>
                  <a:gd name="connsiteY4" fmla="*/ 23068 h 173008"/>
                  <a:gd name="connsiteX5" fmla="*/ 46136 w 47141"/>
                  <a:gd name="connsiteY5" fmla="*/ 0 h 173008"/>
                  <a:gd name="connsiteX6" fmla="*/ 44854 w 47141"/>
                  <a:gd name="connsiteY6" fmla="*/ 0 h 173008"/>
                  <a:gd name="connsiteX7" fmla="*/ 38446 w 47141"/>
                  <a:gd name="connsiteY7" fmla="*/ 24349 h 173008"/>
                  <a:gd name="connsiteX8" fmla="*/ 21786 w 47141"/>
                  <a:gd name="connsiteY8" fmla="*/ 119184 h 173008"/>
                  <a:gd name="connsiteX9" fmla="*/ 8971 w 47141"/>
                  <a:gd name="connsiteY9" fmla="*/ 149941 h 173008"/>
                  <a:gd name="connsiteX10" fmla="*/ 7689 w 47141"/>
                  <a:gd name="connsiteY10" fmla="*/ 148659 h 173008"/>
                  <a:gd name="connsiteX11" fmla="*/ 0 w 47141"/>
                  <a:gd name="connsiteY11" fmla="*/ 165319 h 17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141" h="173008">
                    <a:moveTo>
                      <a:pt x="0" y="165319"/>
                    </a:moveTo>
                    <a:cubicBezTo>
                      <a:pt x="0" y="170446"/>
                      <a:pt x="1281" y="173009"/>
                      <a:pt x="1281" y="173009"/>
                    </a:cubicBezTo>
                    <a:cubicBezTo>
                      <a:pt x="6408" y="173009"/>
                      <a:pt x="8971" y="158912"/>
                      <a:pt x="8971" y="153785"/>
                    </a:cubicBezTo>
                    <a:lnTo>
                      <a:pt x="23068" y="120465"/>
                    </a:lnTo>
                    <a:cubicBezTo>
                      <a:pt x="28194" y="87145"/>
                      <a:pt x="33320" y="55106"/>
                      <a:pt x="41010" y="23068"/>
                    </a:cubicBezTo>
                    <a:cubicBezTo>
                      <a:pt x="46136" y="16660"/>
                      <a:pt x="48699" y="3845"/>
                      <a:pt x="46136" y="0"/>
                    </a:cubicBezTo>
                    <a:cubicBezTo>
                      <a:pt x="46136" y="0"/>
                      <a:pt x="44854" y="0"/>
                      <a:pt x="44854" y="0"/>
                    </a:cubicBezTo>
                    <a:cubicBezTo>
                      <a:pt x="41010" y="3845"/>
                      <a:pt x="34602" y="20505"/>
                      <a:pt x="38446" y="24349"/>
                    </a:cubicBezTo>
                    <a:cubicBezTo>
                      <a:pt x="32039" y="56388"/>
                      <a:pt x="26912" y="87145"/>
                      <a:pt x="21786" y="119184"/>
                    </a:cubicBezTo>
                    <a:cubicBezTo>
                      <a:pt x="17942" y="128155"/>
                      <a:pt x="12815" y="140970"/>
                      <a:pt x="8971" y="149941"/>
                    </a:cubicBezTo>
                    <a:cubicBezTo>
                      <a:pt x="8971" y="149941"/>
                      <a:pt x="7689" y="148659"/>
                      <a:pt x="7689" y="148659"/>
                    </a:cubicBezTo>
                    <a:cubicBezTo>
                      <a:pt x="2563" y="148659"/>
                      <a:pt x="0" y="160193"/>
                      <a:pt x="0" y="16531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4" name="Freeform: Shape 379582">
                <a:extLst>
                  <a:ext uri="{FF2B5EF4-FFF2-40B4-BE49-F238E27FC236}">
                    <a16:creationId xmlns:a16="http://schemas.microsoft.com/office/drawing/2014/main" id="{BD40913A-6BD7-43ED-92EB-746E06527D24}"/>
                  </a:ext>
                </a:extLst>
              </p:cNvPr>
              <p:cNvSpPr/>
              <p:nvPr/>
            </p:nvSpPr>
            <p:spPr>
              <a:xfrm>
                <a:off x="4375646" y="3128118"/>
                <a:ext cx="18073" cy="60232"/>
              </a:xfrm>
              <a:custGeom>
                <a:avLst/>
                <a:gdLst>
                  <a:gd name="connsiteX0" fmla="*/ 5639 w 18073"/>
                  <a:gd name="connsiteY0" fmla="*/ 17942 h 60232"/>
                  <a:gd name="connsiteX1" fmla="*/ 8202 w 18073"/>
                  <a:gd name="connsiteY1" fmla="*/ 25631 h 60232"/>
                  <a:gd name="connsiteX2" fmla="*/ 6920 w 18073"/>
                  <a:gd name="connsiteY2" fmla="*/ 37165 h 60232"/>
                  <a:gd name="connsiteX3" fmla="*/ 3076 w 18073"/>
                  <a:gd name="connsiteY3" fmla="*/ 60233 h 60232"/>
                  <a:gd name="connsiteX4" fmla="*/ 10765 w 18073"/>
                  <a:gd name="connsiteY4" fmla="*/ 35883 h 60232"/>
                  <a:gd name="connsiteX5" fmla="*/ 9483 w 18073"/>
                  <a:gd name="connsiteY5" fmla="*/ 34602 h 60232"/>
                  <a:gd name="connsiteX6" fmla="*/ 10765 w 18073"/>
                  <a:gd name="connsiteY6" fmla="*/ 23068 h 60232"/>
                  <a:gd name="connsiteX7" fmla="*/ 14610 w 18073"/>
                  <a:gd name="connsiteY7" fmla="*/ 0 h 60232"/>
                  <a:gd name="connsiteX8" fmla="*/ 13328 w 18073"/>
                  <a:gd name="connsiteY8" fmla="*/ 0 h 60232"/>
                  <a:gd name="connsiteX9" fmla="*/ 5639 w 18073"/>
                  <a:gd name="connsiteY9" fmla="*/ 17942 h 60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73" h="60232">
                    <a:moveTo>
                      <a:pt x="5639" y="17942"/>
                    </a:moveTo>
                    <a:cubicBezTo>
                      <a:pt x="5639" y="20505"/>
                      <a:pt x="5639" y="24349"/>
                      <a:pt x="8202" y="25631"/>
                    </a:cubicBezTo>
                    <a:cubicBezTo>
                      <a:pt x="6920" y="29475"/>
                      <a:pt x="6920" y="33320"/>
                      <a:pt x="6920" y="37165"/>
                    </a:cubicBezTo>
                    <a:cubicBezTo>
                      <a:pt x="-769" y="44854"/>
                      <a:pt x="-2051" y="60233"/>
                      <a:pt x="3076" y="60233"/>
                    </a:cubicBezTo>
                    <a:cubicBezTo>
                      <a:pt x="9483" y="60233"/>
                      <a:pt x="15891" y="41009"/>
                      <a:pt x="10765" y="35883"/>
                    </a:cubicBezTo>
                    <a:cubicBezTo>
                      <a:pt x="10765" y="35883"/>
                      <a:pt x="9483" y="34602"/>
                      <a:pt x="9483" y="34602"/>
                    </a:cubicBezTo>
                    <a:cubicBezTo>
                      <a:pt x="9483" y="30757"/>
                      <a:pt x="10765" y="26912"/>
                      <a:pt x="10765" y="23068"/>
                    </a:cubicBezTo>
                    <a:cubicBezTo>
                      <a:pt x="19736" y="15379"/>
                      <a:pt x="19736" y="0"/>
                      <a:pt x="14610" y="0"/>
                    </a:cubicBezTo>
                    <a:cubicBezTo>
                      <a:pt x="14610" y="0"/>
                      <a:pt x="13328" y="0"/>
                      <a:pt x="13328" y="0"/>
                    </a:cubicBezTo>
                    <a:cubicBezTo>
                      <a:pt x="8202" y="5126"/>
                      <a:pt x="6920" y="15379"/>
                      <a:pt x="5639"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5" name="Freeform: Shape 379583">
                <a:extLst>
                  <a:ext uri="{FF2B5EF4-FFF2-40B4-BE49-F238E27FC236}">
                    <a16:creationId xmlns:a16="http://schemas.microsoft.com/office/drawing/2014/main" id="{AA62246B-19BF-4137-B79D-B9E861129E3B}"/>
                  </a:ext>
                </a:extLst>
              </p:cNvPr>
              <p:cNvSpPr/>
              <p:nvPr/>
            </p:nvSpPr>
            <p:spPr>
              <a:xfrm>
                <a:off x="4704953" y="2820547"/>
                <a:ext cx="45490" cy="218128"/>
              </a:xfrm>
              <a:custGeom>
                <a:avLst/>
                <a:gdLst>
                  <a:gd name="connsiteX0" fmla="*/ 27477 w 45490"/>
                  <a:gd name="connsiteY0" fmla="*/ 15379 h 218128"/>
                  <a:gd name="connsiteX1" fmla="*/ 32603 w 45490"/>
                  <a:gd name="connsiteY1" fmla="*/ 21786 h 218128"/>
                  <a:gd name="connsiteX2" fmla="*/ 8254 w 45490"/>
                  <a:gd name="connsiteY2" fmla="*/ 194795 h 218128"/>
                  <a:gd name="connsiteX3" fmla="*/ 4409 w 45490"/>
                  <a:gd name="connsiteY3" fmla="*/ 217863 h 218128"/>
                  <a:gd name="connsiteX4" fmla="*/ 17224 w 45490"/>
                  <a:gd name="connsiteY4" fmla="*/ 196077 h 218128"/>
                  <a:gd name="connsiteX5" fmla="*/ 12099 w 45490"/>
                  <a:gd name="connsiteY5" fmla="*/ 193513 h 218128"/>
                  <a:gd name="connsiteX6" fmla="*/ 36448 w 45490"/>
                  <a:gd name="connsiteY6" fmla="*/ 20505 h 218128"/>
                  <a:gd name="connsiteX7" fmla="*/ 41574 w 45490"/>
                  <a:gd name="connsiteY7" fmla="*/ 0 h 218128"/>
                  <a:gd name="connsiteX8" fmla="*/ 39011 w 45490"/>
                  <a:gd name="connsiteY8" fmla="*/ 0 h 218128"/>
                  <a:gd name="connsiteX9" fmla="*/ 27477 w 45490"/>
                  <a:gd name="connsiteY9" fmla="*/ 15379 h 21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0" h="218128">
                    <a:moveTo>
                      <a:pt x="27477" y="15379"/>
                    </a:moveTo>
                    <a:cubicBezTo>
                      <a:pt x="27477" y="17942"/>
                      <a:pt x="27477" y="21786"/>
                      <a:pt x="32603" y="21786"/>
                    </a:cubicBezTo>
                    <a:cubicBezTo>
                      <a:pt x="22351" y="78174"/>
                      <a:pt x="14661" y="135844"/>
                      <a:pt x="8254" y="194795"/>
                    </a:cubicBezTo>
                    <a:cubicBezTo>
                      <a:pt x="-1999" y="202484"/>
                      <a:pt x="-1999" y="215300"/>
                      <a:pt x="4409" y="217863"/>
                    </a:cubicBezTo>
                    <a:cubicBezTo>
                      <a:pt x="13380" y="220426"/>
                      <a:pt x="22351" y="203766"/>
                      <a:pt x="17224" y="196077"/>
                    </a:cubicBezTo>
                    <a:cubicBezTo>
                      <a:pt x="15943" y="193513"/>
                      <a:pt x="14661" y="193513"/>
                      <a:pt x="12099" y="193513"/>
                    </a:cubicBezTo>
                    <a:cubicBezTo>
                      <a:pt x="17224" y="134562"/>
                      <a:pt x="26195" y="76893"/>
                      <a:pt x="36448" y="20505"/>
                    </a:cubicBezTo>
                    <a:cubicBezTo>
                      <a:pt x="46700" y="14097"/>
                      <a:pt x="47982" y="1282"/>
                      <a:pt x="41574" y="0"/>
                    </a:cubicBezTo>
                    <a:cubicBezTo>
                      <a:pt x="40292" y="0"/>
                      <a:pt x="39011" y="0"/>
                      <a:pt x="39011" y="0"/>
                    </a:cubicBezTo>
                    <a:cubicBezTo>
                      <a:pt x="30040" y="2563"/>
                      <a:pt x="27477" y="11534"/>
                      <a:pt x="27477"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6" name="Freeform: Shape 379584">
                <a:extLst>
                  <a:ext uri="{FF2B5EF4-FFF2-40B4-BE49-F238E27FC236}">
                    <a16:creationId xmlns:a16="http://schemas.microsoft.com/office/drawing/2014/main" id="{5C0982F9-BEB7-439D-BAE1-04AAAB84D9A5}"/>
                  </a:ext>
                </a:extLst>
              </p:cNvPr>
              <p:cNvSpPr/>
              <p:nvPr/>
            </p:nvSpPr>
            <p:spPr>
              <a:xfrm>
                <a:off x="4733147" y="2842333"/>
                <a:ext cx="37251" cy="187370"/>
              </a:xfrm>
              <a:custGeom>
                <a:avLst/>
                <a:gdLst>
                  <a:gd name="connsiteX0" fmla="*/ 19788 w 37251"/>
                  <a:gd name="connsiteY0" fmla="*/ 16660 h 187370"/>
                  <a:gd name="connsiteX1" fmla="*/ 24914 w 37251"/>
                  <a:gd name="connsiteY1" fmla="*/ 23068 h 187370"/>
                  <a:gd name="connsiteX2" fmla="*/ 8254 w 37251"/>
                  <a:gd name="connsiteY2" fmla="*/ 164038 h 187370"/>
                  <a:gd name="connsiteX3" fmla="*/ 4409 w 37251"/>
                  <a:gd name="connsiteY3" fmla="*/ 187106 h 187370"/>
                  <a:gd name="connsiteX4" fmla="*/ 17225 w 37251"/>
                  <a:gd name="connsiteY4" fmla="*/ 165319 h 187370"/>
                  <a:gd name="connsiteX5" fmla="*/ 12098 w 37251"/>
                  <a:gd name="connsiteY5" fmla="*/ 162756 h 187370"/>
                  <a:gd name="connsiteX6" fmla="*/ 28759 w 37251"/>
                  <a:gd name="connsiteY6" fmla="*/ 21786 h 187370"/>
                  <a:gd name="connsiteX7" fmla="*/ 33885 w 37251"/>
                  <a:gd name="connsiteY7" fmla="*/ 0 h 187370"/>
                  <a:gd name="connsiteX8" fmla="*/ 30040 w 37251"/>
                  <a:gd name="connsiteY8" fmla="*/ 0 h 187370"/>
                  <a:gd name="connsiteX9" fmla="*/ 19788 w 37251"/>
                  <a:gd name="connsiteY9" fmla="*/ 16660 h 187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251" h="187370">
                    <a:moveTo>
                      <a:pt x="19788" y="16660"/>
                    </a:moveTo>
                    <a:cubicBezTo>
                      <a:pt x="19788" y="19223"/>
                      <a:pt x="21069" y="23068"/>
                      <a:pt x="24914" y="23068"/>
                    </a:cubicBezTo>
                    <a:cubicBezTo>
                      <a:pt x="17225" y="69203"/>
                      <a:pt x="12098" y="115339"/>
                      <a:pt x="8254" y="164038"/>
                    </a:cubicBezTo>
                    <a:cubicBezTo>
                      <a:pt x="-1999" y="171727"/>
                      <a:pt x="-1999" y="184543"/>
                      <a:pt x="4409" y="187106"/>
                    </a:cubicBezTo>
                    <a:cubicBezTo>
                      <a:pt x="13380" y="189669"/>
                      <a:pt x="22351" y="173009"/>
                      <a:pt x="17225" y="165319"/>
                    </a:cubicBezTo>
                    <a:cubicBezTo>
                      <a:pt x="15943" y="162756"/>
                      <a:pt x="14662" y="162756"/>
                      <a:pt x="12098" y="162756"/>
                    </a:cubicBezTo>
                    <a:cubicBezTo>
                      <a:pt x="15943" y="115339"/>
                      <a:pt x="22351" y="67922"/>
                      <a:pt x="28759" y="21786"/>
                    </a:cubicBezTo>
                    <a:cubicBezTo>
                      <a:pt x="39011" y="15379"/>
                      <a:pt x="39011" y="1282"/>
                      <a:pt x="33885" y="0"/>
                    </a:cubicBezTo>
                    <a:cubicBezTo>
                      <a:pt x="32603" y="0"/>
                      <a:pt x="31322" y="0"/>
                      <a:pt x="30040" y="0"/>
                    </a:cubicBezTo>
                    <a:cubicBezTo>
                      <a:pt x="22351" y="3845"/>
                      <a:pt x="19788" y="12816"/>
                      <a:pt x="1978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7" name="Freeform: Shape 379585">
                <a:extLst>
                  <a:ext uri="{FF2B5EF4-FFF2-40B4-BE49-F238E27FC236}">
                    <a16:creationId xmlns:a16="http://schemas.microsoft.com/office/drawing/2014/main" id="{9FEEFD5C-429F-4B1E-A905-31D282F9115F}"/>
                  </a:ext>
                </a:extLst>
              </p:cNvPr>
              <p:cNvSpPr/>
              <p:nvPr/>
            </p:nvSpPr>
            <p:spPr>
              <a:xfrm>
                <a:off x="4761341" y="2961517"/>
                <a:ext cx="21633" cy="56463"/>
              </a:xfrm>
              <a:custGeom>
                <a:avLst/>
                <a:gdLst>
                  <a:gd name="connsiteX0" fmla="*/ 3128 w 21633"/>
                  <a:gd name="connsiteY0" fmla="*/ 17942 h 56463"/>
                  <a:gd name="connsiteX1" fmla="*/ 9535 w 21633"/>
                  <a:gd name="connsiteY1" fmla="*/ 24349 h 56463"/>
                  <a:gd name="connsiteX2" fmla="*/ 8254 w 21633"/>
                  <a:gd name="connsiteY2" fmla="*/ 34602 h 56463"/>
                  <a:gd name="connsiteX3" fmla="*/ 4409 w 21633"/>
                  <a:gd name="connsiteY3" fmla="*/ 56388 h 56463"/>
                  <a:gd name="connsiteX4" fmla="*/ 17225 w 21633"/>
                  <a:gd name="connsiteY4" fmla="*/ 34602 h 56463"/>
                  <a:gd name="connsiteX5" fmla="*/ 12099 w 21633"/>
                  <a:gd name="connsiteY5" fmla="*/ 32039 h 56463"/>
                  <a:gd name="connsiteX6" fmla="*/ 13380 w 21633"/>
                  <a:gd name="connsiteY6" fmla="*/ 21786 h 56463"/>
                  <a:gd name="connsiteX7" fmla="*/ 17225 w 21633"/>
                  <a:gd name="connsiteY7" fmla="*/ 0 h 56463"/>
                  <a:gd name="connsiteX8" fmla="*/ 13380 w 21633"/>
                  <a:gd name="connsiteY8" fmla="*/ 0 h 56463"/>
                  <a:gd name="connsiteX9" fmla="*/ 3128 w 21633"/>
                  <a:gd name="connsiteY9" fmla="*/ 17942 h 5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33" h="56463">
                    <a:moveTo>
                      <a:pt x="3128" y="17942"/>
                    </a:moveTo>
                    <a:cubicBezTo>
                      <a:pt x="3128" y="20505"/>
                      <a:pt x="4409" y="24349"/>
                      <a:pt x="9535" y="24349"/>
                    </a:cubicBezTo>
                    <a:cubicBezTo>
                      <a:pt x="9535" y="28194"/>
                      <a:pt x="9535" y="32039"/>
                      <a:pt x="8254" y="34602"/>
                    </a:cubicBezTo>
                    <a:cubicBezTo>
                      <a:pt x="-1999" y="42291"/>
                      <a:pt x="-1999" y="55106"/>
                      <a:pt x="4409" y="56388"/>
                    </a:cubicBezTo>
                    <a:cubicBezTo>
                      <a:pt x="13380" y="57670"/>
                      <a:pt x="22351" y="42291"/>
                      <a:pt x="17225" y="34602"/>
                    </a:cubicBezTo>
                    <a:cubicBezTo>
                      <a:pt x="15943" y="32039"/>
                      <a:pt x="13380" y="32039"/>
                      <a:pt x="12099" y="32039"/>
                    </a:cubicBezTo>
                    <a:cubicBezTo>
                      <a:pt x="12099" y="28194"/>
                      <a:pt x="12099" y="24349"/>
                      <a:pt x="13380" y="21786"/>
                    </a:cubicBezTo>
                    <a:cubicBezTo>
                      <a:pt x="23633" y="14097"/>
                      <a:pt x="23633" y="1282"/>
                      <a:pt x="17225" y="0"/>
                    </a:cubicBezTo>
                    <a:cubicBezTo>
                      <a:pt x="15943" y="0"/>
                      <a:pt x="14662" y="0"/>
                      <a:pt x="13380" y="0"/>
                    </a:cubicBezTo>
                    <a:cubicBezTo>
                      <a:pt x="4409" y="5126"/>
                      <a:pt x="1846" y="14097"/>
                      <a:pt x="3128"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8" name="Freeform: Shape 379586">
                <a:extLst>
                  <a:ext uri="{FF2B5EF4-FFF2-40B4-BE49-F238E27FC236}">
                    <a16:creationId xmlns:a16="http://schemas.microsoft.com/office/drawing/2014/main" id="{723DF404-4AEB-4EC1-8DBF-A2FB00939353}"/>
                  </a:ext>
                </a:extLst>
              </p:cNvPr>
              <p:cNvSpPr/>
              <p:nvPr/>
            </p:nvSpPr>
            <p:spPr>
              <a:xfrm>
                <a:off x="6582494" y="2564238"/>
                <a:ext cx="161220" cy="228451"/>
              </a:xfrm>
              <a:custGeom>
                <a:avLst/>
                <a:gdLst>
                  <a:gd name="connsiteX0" fmla="*/ 1776 w 161220"/>
                  <a:gd name="connsiteY0" fmla="*/ 12815 h 228451"/>
                  <a:gd name="connsiteX1" fmla="*/ 14591 w 161220"/>
                  <a:gd name="connsiteY1" fmla="*/ 19223 h 228451"/>
                  <a:gd name="connsiteX2" fmla="*/ 100455 w 161220"/>
                  <a:gd name="connsiteY2" fmla="*/ 192232 h 228451"/>
                  <a:gd name="connsiteX3" fmla="*/ 137620 w 161220"/>
                  <a:gd name="connsiteY3" fmla="*/ 212737 h 228451"/>
                  <a:gd name="connsiteX4" fmla="*/ 158125 w 161220"/>
                  <a:gd name="connsiteY4" fmla="*/ 226834 h 228451"/>
                  <a:gd name="connsiteX5" fmla="*/ 146591 w 161220"/>
                  <a:gd name="connsiteY5" fmla="*/ 206329 h 228451"/>
                  <a:gd name="connsiteX6" fmla="*/ 138902 w 161220"/>
                  <a:gd name="connsiteY6" fmla="*/ 208892 h 228451"/>
                  <a:gd name="connsiteX7" fmla="*/ 104300 w 161220"/>
                  <a:gd name="connsiteY7" fmla="*/ 190950 h 228451"/>
                  <a:gd name="connsiteX8" fmla="*/ 19718 w 161220"/>
                  <a:gd name="connsiteY8" fmla="*/ 19223 h 228451"/>
                  <a:gd name="connsiteX9" fmla="*/ 10747 w 161220"/>
                  <a:gd name="connsiteY9" fmla="*/ 0 h 228451"/>
                  <a:gd name="connsiteX10" fmla="*/ 6902 w 161220"/>
                  <a:gd name="connsiteY10" fmla="*/ 0 h 228451"/>
                  <a:gd name="connsiteX11" fmla="*/ 1776 w 161220"/>
                  <a:gd name="connsiteY11" fmla="*/ 12815 h 22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220" h="228451">
                    <a:moveTo>
                      <a:pt x="1776" y="12815"/>
                    </a:moveTo>
                    <a:cubicBezTo>
                      <a:pt x="4339" y="15379"/>
                      <a:pt x="6902" y="19223"/>
                      <a:pt x="14591" y="19223"/>
                    </a:cubicBezTo>
                    <a:cubicBezTo>
                      <a:pt x="44067" y="74330"/>
                      <a:pt x="73543" y="131999"/>
                      <a:pt x="100455" y="192232"/>
                    </a:cubicBezTo>
                    <a:cubicBezTo>
                      <a:pt x="111989" y="198640"/>
                      <a:pt x="126086" y="206329"/>
                      <a:pt x="137620" y="212737"/>
                    </a:cubicBezTo>
                    <a:cubicBezTo>
                      <a:pt x="137620" y="224270"/>
                      <a:pt x="151717" y="231960"/>
                      <a:pt x="158125" y="226834"/>
                    </a:cubicBezTo>
                    <a:cubicBezTo>
                      <a:pt x="165814" y="220426"/>
                      <a:pt x="158125" y="206329"/>
                      <a:pt x="146591" y="206329"/>
                    </a:cubicBezTo>
                    <a:cubicBezTo>
                      <a:pt x="142746" y="206329"/>
                      <a:pt x="140183" y="207610"/>
                      <a:pt x="138902" y="208892"/>
                    </a:cubicBezTo>
                    <a:lnTo>
                      <a:pt x="104300" y="190950"/>
                    </a:lnTo>
                    <a:cubicBezTo>
                      <a:pt x="77388" y="130718"/>
                      <a:pt x="49193" y="74330"/>
                      <a:pt x="19718" y="19223"/>
                    </a:cubicBezTo>
                    <a:cubicBezTo>
                      <a:pt x="28688" y="14097"/>
                      <a:pt x="19718" y="1282"/>
                      <a:pt x="10747" y="0"/>
                    </a:cubicBezTo>
                    <a:cubicBezTo>
                      <a:pt x="9465" y="0"/>
                      <a:pt x="8184" y="0"/>
                      <a:pt x="6902" y="0"/>
                    </a:cubicBezTo>
                    <a:cubicBezTo>
                      <a:pt x="-3350" y="2563"/>
                      <a:pt x="494" y="10252"/>
                      <a:pt x="1776"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59" name="Freeform: Shape 379587">
                <a:extLst>
                  <a:ext uri="{FF2B5EF4-FFF2-40B4-BE49-F238E27FC236}">
                    <a16:creationId xmlns:a16="http://schemas.microsoft.com/office/drawing/2014/main" id="{870D21CB-1269-4A22-87CF-694146EF1B72}"/>
                  </a:ext>
                </a:extLst>
              </p:cNvPr>
              <p:cNvSpPr/>
              <p:nvPr/>
            </p:nvSpPr>
            <p:spPr>
              <a:xfrm>
                <a:off x="6816814" y="2527073"/>
                <a:ext cx="123953" cy="201776"/>
              </a:xfrm>
              <a:custGeom>
                <a:avLst/>
                <a:gdLst>
                  <a:gd name="connsiteX0" fmla="*/ 3261 w 123953"/>
                  <a:gd name="connsiteY0" fmla="*/ 14097 h 201776"/>
                  <a:gd name="connsiteX1" fmla="*/ 14795 w 123953"/>
                  <a:gd name="connsiteY1" fmla="*/ 20505 h 201776"/>
                  <a:gd name="connsiteX2" fmla="*/ 105785 w 123953"/>
                  <a:gd name="connsiteY2" fmla="*/ 180698 h 201776"/>
                  <a:gd name="connsiteX3" fmla="*/ 114756 w 123953"/>
                  <a:gd name="connsiteY3" fmla="*/ 201203 h 201776"/>
                  <a:gd name="connsiteX4" fmla="*/ 122446 w 123953"/>
                  <a:gd name="connsiteY4" fmla="*/ 189669 h 201776"/>
                  <a:gd name="connsiteX5" fmla="*/ 109630 w 123953"/>
                  <a:gd name="connsiteY5" fmla="*/ 179416 h 201776"/>
                  <a:gd name="connsiteX6" fmla="*/ 18640 w 123953"/>
                  <a:gd name="connsiteY6" fmla="*/ 19223 h 201776"/>
                  <a:gd name="connsiteX7" fmla="*/ 8387 w 123953"/>
                  <a:gd name="connsiteY7" fmla="*/ 0 h 201776"/>
                  <a:gd name="connsiteX8" fmla="*/ 4543 w 123953"/>
                  <a:gd name="connsiteY8" fmla="*/ 0 h 201776"/>
                  <a:gd name="connsiteX9" fmla="*/ 3261 w 123953"/>
                  <a:gd name="connsiteY9" fmla="*/ 14097 h 20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953" h="201776">
                    <a:moveTo>
                      <a:pt x="3261" y="14097"/>
                    </a:moveTo>
                    <a:cubicBezTo>
                      <a:pt x="5824" y="16660"/>
                      <a:pt x="9669" y="20505"/>
                      <a:pt x="14795" y="20505"/>
                    </a:cubicBezTo>
                    <a:cubicBezTo>
                      <a:pt x="46834" y="71767"/>
                      <a:pt x="77591" y="124310"/>
                      <a:pt x="105785" y="180698"/>
                    </a:cubicBezTo>
                    <a:cubicBezTo>
                      <a:pt x="96814" y="185824"/>
                      <a:pt x="105785" y="198640"/>
                      <a:pt x="114756" y="201203"/>
                    </a:cubicBezTo>
                    <a:cubicBezTo>
                      <a:pt x="122446" y="203766"/>
                      <a:pt x="126290" y="197358"/>
                      <a:pt x="122446" y="189669"/>
                    </a:cubicBezTo>
                    <a:cubicBezTo>
                      <a:pt x="121164" y="187106"/>
                      <a:pt x="117319" y="181979"/>
                      <a:pt x="109630" y="179416"/>
                    </a:cubicBezTo>
                    <a:cubicBezTo>
                      <a:pt x="81436" y="124310"/>
                      <a:pt x="50679" y="70485"/>
                      <a:pt x="18640" y="19223"/>
                    </a:cubicBezTo>
                    <a:cubicBezTo>
                      <a:pt x="26329" y="14097"/>
                      <a:pt x="17358" y="2563"/>
                      <a:pt x="8387" y="0"/>
                    </a:cubicBezTo>
                    <a:cubicBezTo>
                      <a:pt x="7106" y="0"/>
                      <a:pt x="5824" y="0"/>
                      <a:pt x="4543" y="0"/>
                    </a:cubicBezTo>
                    <a:cubicBezTo>
                      <a:pt x="-3147" y="2563"/>
                      <a:pt x="698" y="11534"/>
                      <a:pt x="3261"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0" name="Freeform: Shape 379588">
                <a:extLst>
                  <a:ext uri="{FF2B5EF4-FFF2-40B4-BE49-F238E27FC236}">
                    <a16:creationId xmlns:a16="http://schemas.microsoft.com/office/drawing/2014/main" id="{DFCF26C6-58A1-4037-9E0C-11F6B55315A5}"/>
                  </a:ext>
                </a:extLst>
              </p:cNvPr>
              <p:cNvSpPr/>
              <p:nvPr/>
            </p:nvSpPr>
            <p:spPr>
              <a:xfrm>
                <a:off x="6971082" y="2510413"/>
                <a:ext cx="96932" cy="137266"/>
              </a:xfrm>
              <a:custGeom>
                <a:avLst/>
                <a:gdLst>
                  <a:gd name="connsiteX0" fmla="*/ 4061 w 96932"/>
                  <a:gd name="connsiteY0" fmla="*/ 11534 h 137266"/>
                  <a:gd name="connsiteX1" fmla="*/ 15595 w 96932"/>
                  <a:gd name="connsiteY1" fmla="*/ 19223 h 137266"/>
                  <a:gd name="connsiteX2" fmla="*/ 78391 w 96932"/>
                  <a:gd name="connsiteY2" fmla="*/ 116621 h 137266"/>
                  <a:gd name="connsiteX3" fmla="*/ 91207 w 96932"/>
                  <a:gd name="connsiteY3" fmla="*/ 137125 h 137266"/>
                  <a:gd name="connsiteX4" fmla="*/ 93770 w 96932"/>
                  <a:gd name="connsiteY4" fmla="*/ 124310 h 137266"/>
                  <a:gd name="connsiteX5" fmla="*/ 82236 w 96932"/>
                  <a:gd name="connsiteY5" fmla="*/ 116621 h 137266"/>
                  <a:gd name="connsiteX6" fmla="*/ 19440 w 96932"/>
                  <a:gd name="connsiteY6" fmla="*/ 19223 h 137266"/>
                  <a:gd name="connsiteX7" fmla="*/ 5343 w 96932"/>
                  <a:gd name="connsiteY7" fmla="*/ 0 h 137266"/>
                  <a:gd name="connsiteX8" fmla="*/ 4061 w 96932"/>
                  <a:gd name="connsiteY8" fmla="*/ 0 h 137266"/>
                  <a:gd name="connsiteX9" fmla="*/ 4061 w 96932"/>
                  <a:gd name="connsiteY9" fmla="*/ 11534 h 13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932" h="137266">
                    <a:moveTo>
                      <a:pt x="4061" y="11534"/>
                    </a:moveTo>
                    <a:cubicBezTo>
                      <a:pt x="6624" y="14097"/>
                      <a:pt x="10469" y="17942"/>
                      <a:pt x="15595" y="19223"/>
                    </a:cubicBezTo>
                    <a:cubicBezTo>
                      <a:pt x="37381" y="51262"/>
                      <a:pt x="57886" y="83300"/>
                      <a:pt x="78391" y="116621"/>
                    </a:cubicBezTo>
                    <a:cubicBezTo>
                      <a:pt x="70702" y="121747"/>
                      <a:pt x="82236" y="135844"/>
                      <a:pt x="91207" y="137125"/>
                    </a:cubicBezTo>
                    <a:cubicBezTo>
                      <a:pt x="97614" y="138407"/>
                      <a:pt x="98896" y="130718"/>
                      <a:pt x="93770" y="124310"/>
                    </a:cubicBezTo>
                    <a:cubicBezTo>
                      <a:pt x="91207" y="121747"/>
                      <a:pt x="88644" y="117902"/>
                      <a:pt x="82236" y="116621"/>
                    </a:cubicBezTo>
                    <a:cubicBezTo>
                      <a:pt x="61731" y="83300"/>
                      <a:pt x="41226" y="49980"/>
                      <a:pt x="19440" y="19223"/>
                    </a:cubicBezTo>
                    <a:cubicBezTo>
                      <a:pt x="25847" y="14097"/>
                      <a:pt x="13032" y="1282"/>
                      <a:pt x="5343" y="0"/>
                    </a:cubicBezTo>
                    <a:cubicBezTo>
                      <a:pt x="5343" y="0"/>
                      <a:pt x="4061" y="0"/>
                      <a:pt x="4061" y="0"/>
                    </a:cubicBezTo>
                    <a:cubicBezTo>
                      <a:pt x="-3628" y="0"/>
                      <a:pt x="1498" y="8971"/>
                      <a:pt x="4061"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1" name="Freeform: Shape 379589">
                <a:extLst>
                  <a:ext uri="{FF2B5EF4-FFF2-40B4-BE49-F238E27FC236}">
                    <a16:creationId xmlns:a16="http://schemas.microsoft.com/office/drawing/2014/main" id="{B79BF9A3-4048-426C-A843-FEA53196AFCE}"/>
                  </a:ext>
                </a:extLst>
              </p:cNvPr>
              <p:cNvSpPr/>
              <p:nvPr/>
            </p:nvSpPr>
            <p:spPr>
              <a:xfrm>
                <a:off x="6931270" y="2368161"/>
                <a:ext cx="127874" cy="153983"/>
              </a:xfrm>
              <a:custGeom>
                <a:avLst/>
                <a:gdLst>
                  <a:gd name="connsiteX0" fmla="*/ 5427 w 127874"/>
                  <a:gd name="connsiteY0" fmla="*/ 11534 h 153983"/>
                  <a:gd name="connsiteX1" fmla="*/ 16961 w 127874"/>
                  <a:gd name="connsiteY1" fmla="*/ 17942 h 153983"/>
                  <a:gd name="connsiteX2" fmla="*/ 109232 w 127874"/>
                  <a:gd name="connsiteY2" fmla="*/ 134562 h 153983"/>
                  <a:gd name="connsiteX3" fmla="*/ 123329 w 127874"/>
                  <a:gd name="connsiteY3" fmla="*/ 153785 h 153983"/>
                  <a:gd name="connsiteX4" fmla="*/ 124611 w 127874"/>
                  <a:gd name="connsiteY4" fmla="*/ 143533 h 153983"/>
                  <a:gd name="connsiteX5" fmla="*/ 111795 w 127874"/>
                  <a:gd name="connsiteY5" fmla="*/ 134562 h 153983"/>
                  <a:gd name="connsiteX6" fmla="*/ 18242 w 127874"/>
                  <a:gd name="connsiteY6" fmla="*/ 17942 h 153983"/>
                  <a:gd name="connsiteX7" fmla="*/ 2864 w 127874"/>
                  <a:gd name="connsiteY7" fmla="*/ 0 h 153983"/>
                  <a:gd name="connsiteX8" fmla="*/ 1582 w 127874"/>
                  <a:gd name="connsiteY8" fmla="*/ 0 h 153983"/>
                  <a:gd name="connsiteX9" fmla="*/ 5427 w 127874"/>
                  <a:gd name="connsiteY9" fmla="*/ 11534 h 153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874" h="153983">
                    <a:moveTo>
                      <a:pt x="5427" y="11534"/>
                    </a:moveTo>
                    <a:cubicBezTo>
                      <a:pt x="7990" y="14097"/>
                      <a:pt x="11835" y="16660"/>
                      <a:pt x="16961" y="17942"/>
                    </a:cubicBezTo>
                    <a:cubicBezTo>
                      <a:pt x="49000" y="55106"/>
                      <a:pt x="79757" y="93553"/>
                      <a:pt x="109232" y="134562"/>
                    </a:cubicBezTo>
                    <a:cubicBezTo>
                      <a:pt x="102825" y="139688"/>
                      <a:pt x="115640" y="152504"/>
                      <a:pt x="123329" y="153785"/>
                    </a:cubicBezTo>
                    <a:cubicBezTo>
                      <a:pt x="128456" y="155067"/>
                      <a:pt x="129737" y="149941"/>
                      <a:pt x="124611" y="143533"/>
                    </a:cubicBezTo>
                    <a:cubicBezTo>
                      <a:pt x="123329" y="140970"/>
                      <a:pt x="118203" y="135844"/>
                      <a:pt x="111795" y="134562"/>
                    </a:cubicBezTo>
                    <a:cubicBezTo>
                      <a:pt x="82320" y="93553"/>
                      <a:pt x="51562" y="55106"/>
                      <a:pt x="18242" y="17942"/>
                    </a:cubicBezTo>
                    <a:cubicBezTo>
                      <a:pt x="23369" y="14097"/>
                      <a:pt x="9271" y="1282"/>
                      <a:pt x="2864" y="0"/>
                    </a:cubicBezTo>
                    <a:cubicBezTo>
                      <a:pt x="2864" y="0"/>
                      <a:pt x="1582" y="0"/>
                      <a:pt x="1582" y="0"/>
                    </a:cubicBezTo>
                    <a:cubicBezTo>
                      <a:pt x="-3544" y="2563"/>
                      <a:pt x="5427" y="11534"/>
                      <a:pt x="5427"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2" name="Freeform: Shape 379590">
                <a:extLst>
                  <a:ext uri="{FF2B5EF4-FFF2-40B4-BE49-F238E27FC236}">
                    <a16:creationId xmlns:a16="http://schemas.microsoft.com/office/drawing/2014/main" id="{CB653CE3-7804-4DCB-845A-891C832098C7}"/>
                  </a:ext>
                </a:extLst>
              </p:cNvPr>
              <p:cNvSpPr/>
              <p:nvPr/>
            </p:nvSpPr>
            <p:spPr>
              <a:xfrm>
                <a:off x="7349355" y="2515539"/>
                <a:ext cx="147378" cy="199921"/>
              </a:xfrm>
              <a:custGeom>
                <a:avLst/>
                <a:gdLst>
                  <a:gd name="connsiteX0" fmla="*/ 8971 w 147378"/>
                  <a:gd name="connsiteY0" fmla="*/ 10252 h 199921"/>
                  <a:gd name="connsiteX1" fmla="*/ 16660 w 147378"/>
                  <a:gd name="connsiteY1" fmla="*/ 19223 h 199921"/>
                  <a:gd name="connsiteX2" fmla="*/ 133281 w 147378"/>
                  <a:gd name="connsiteY2" fmla="*/ 178135 h 199921"/>
                  <a:gd name="connsiteX3" fmla="*/ 147378 w 147378"/>
                  <a:gd name="connsiteY3" fmla="*/ 199921 h 199921"/>
                  <a:gd name="connsiteX4" fmla="*/ 133281 w 147378"/>
                  <a:gd name="connsiteY4" fmla="*/ 178135 h 199921"/>
                  <a:gd name="connsiteX5" fmla="*/ 16660 w 147378"/>
                  <a:gd name="connsiteY5" fmla="*/ 19223 h 199921"/>
                  <a:gd name="connsiteX6" fmla="*/ 0 w 147378"/>
                  <a:gd name="connsiteY6" fmla="*/ 0 h 199921"/>
                  <a:gd name="connsiteX7" fmla="*/ 8971 w 147378"/>
                  <a:gd name="connsiteY7" fmla="*/ 10252 h 199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378" h="199921">
                    <a:moveTo>
                      <a:pt x="8971" y="10252"/>
                    </a:moveTo>
                    <a:cubicBezTo>
                      <a:pt x="11534" y="12815"/>
                      <a:pt x="14097" y="16660"/>
                      <a:pt x="16660" y="19223"/>
                    </a:cubicBezTo>
                    <a:cubicBezTo>
                      <a:pt x="57670" y="70485"/>
                      <a:pt x="97398" y="123028"/>
                      <a:pt x="133281" y="178135"/>
                    </a:cubicBezTo>
                    <a:cubicBezTo>
                      <a:pt x="134563" y="181979"/>
                      <a:pt x="143534" y="196076"/>
                      <a:pt x="147378" y="199921"/>
                    </a:cubicBezTo>
                    <a:cubicBezTo>
                      <a:pt x="146097" y="196076"/>
                      <a:pt x="135845" y="180698"/>
                      <a:pt x="133281" y="178135"/>
                    </a:cubicBezTo>
                    <a:cubicBezTo>
                      <a:pt x="97398" y="123028"/>
                      <a:pt x="58952" y="69203"/>
                      <a:pt x="16660" y="19223"/>
                    </a:cubicBezTo>
                    <a:cubicBezTo>
                      <a:pt x="14097" y="16660"/>
                      <a:pt x="3845" y="3845"/>
                      <a:pt x="0" y="0"/>
                    </a:cubicBezTo>
                    <a:cubicBezTo>
                      <a:pt x="1282" y="1282"/>
                      <a:pt x="2563" y="2563"/>
                      <a:pt x="8971"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3" name="Freeform: Shape 379591">
                <a:extLst>
                  <a:ext uri="{FF2B5EF4-FFF2-40B4-BE49-F238E27FC236}">
                    <a16:creationId xmlns:a16="http://schemas.microsoft.com/office/drawing/2014/main" id="{E484550B-CE0C-49F2-A2D5-0CD50DB84FE7}"/>
                  </a:ext>
                </a:extLst>
              </p:cNvPr>
              <p:cNvSpPr/>
              <p:nvPr/>
            </p:nvSpPr>
            <p:spPr>
              <a:xfrm>
                <a:off x="4163422" y="3208855"/>
                <a:ext cx="23067" cy="96115"/>
              </a:xfrm>
              <a:custGeom>
                <a:avLst/>
                <a:gdLst>
                  <a:gd name="connsiteX0" fmla="*/ 17942 w 23067"/>
                  <a:gd name="connsiteY0" fmla="*/ 15379 h 96115"/>
                  <a:gd name="connsiteX1" fmla="*/ 16660 w 23067"/>
                  <a:gd name="connsiteY1" fmla="*/ 24349 h 96115"/>
                  <a:gd name="connsiteX2" fmla="*/ 5126 w 23067"/>
                  <a:gd name="connsiteY2" fmla="*/ 71766 h 96115"/>
                  <a:gd name="connsiteX3" fmla="*/ 0 w 23067"/>
                  <a:gd name="connsiteY3" fmla="*/ 96116 h 96115"/>
                  <a:gd name="connsiteX4" fmla="*/ 0 w 23067"/>
                  <a:gd name="connsiteY4" fmla="*/ 96116 h 96115"/>
                  <a:gd name="connsiteX5" fmla="*/ 5126 w 23067"/>
                  <a:gd name="connsiteY5" fmla="*/ 70485 h 96115"/>
                  <a:gd name="connsiteX6" fmla="*/ 16660 w 23067"/>
                  <a:gd name="connsiteY6" fmla="*/ 23068 h 96115"/>
                  <a:gd name="connsiteX7" fmla="*/ 23068 w 23067"/>
                  <a:gd name="connsiteY7" fmla="*/ 0 h 96115"/>
                  <a:gd name="connsiteX8" fmla="*/ 23068 w 23067"/>
                  <a:gd name="connsiteY8" fmla="*/ 0 h 96115"/>
                  <a:gd name="connsiteX9" fmla="*/ 17942 w 23067"/>
                  <a:gd name="connsiteY9" fmla="*/ 15379 h 9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67" h="96115">
                    <a:moveTo>
                      <a:pt x="17942" y="15379"/>
                    </a:moveTo>
                    <a:cubicBezTo>
                      <a:pt x="16660" y="19223"/>
                      <a:pt x="16660" y="23068"/>
                      <a:pt x="16660" y="24349"/>
                    </a:cubicBezTo>
                    <a:cubicBezTo>
                      <a:pt x="12816" y="39728"/>
                      <a:pt x="8971" y="56388"/>
                      <a:pt x="5126" y="71766"/>
                    </a:cubicBezTo>
                    <a:cubicBezTo>
                      <a:pt x="2563" y="76893"/>
                      <a:pt x="0" y="90990"/>
                      <a:pt x="0" y="96116"/>
                    </a:cubicBezTo>
                    <a:cubicBezTo>
                      <a:pt x="0" y="96116"/>
                      <a:pt x="0" y="96116"/>
                      <a:pt x="0" y="96116"/>
                    </a:cubicBezTo>
                    <a:cubicBezTo>
                      <a:pt x="2563" y="92271"/>
                      <a:pt x="6408" y="74330"/>
                      <a:pt x="5126" y="70485"/>
                    </a:cubicBezTo>
                    <a:cubicBezTo>
                      <a:pt x="8971" y="55106"/>
                      <a:pt x="12816" y="38446"/>
                      <a:pt x="16660" y="23068"/>
                    </a:cubicBezTo>
                    <a:cubicBezTo>
                      <a:pt x="19223" y="17942"/>
                      <a:pt x="23068" y="3845"/>
                      <a:pt x="23068" y="0"/>
                    </a:cubicBezTo>
                    <a:cubicBezTo>
                      <a:pt x="23068" y="0"/>
                      <a:pt x="23068" y="0"/>
                      <a:pt x="23068" y="0"/>
                    </a:cubicBezTo>
                    <a:cubicBezTo>
                      <a:pt x="21786" y="1281"/>
                      <a:pt x="19223" y="11534"/>
                      <a:pt x="1794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4" name="Freeform: Shape 379592">
                <a:extLst>
                  <a:ext uri="{FF2B5EF4-FFF2-40B4-BE49-F238E27FC236}">
                    <a16:creationId xmlns:a16="http://schemas.microsoft.com/office/drawing/2014/main" id="{C913304F-3479-4049-AB37-A7AE752F2197}"/>
                  </a:ext>
                </a:extLst>
              </p:cNvPr>
              <p:cNvSpPr/>
              <p:nvPr/>
            </p:nvSpPr>
            <p:spPr>
              <a:xfrm>
                <a:off x="6501315" y="2609092"/>
                <a:ext cx="168630" cy="268331"/>
              </a:xfrm>
              <a:custGeom>
                <a:avLst/>
                <a:gdLst>
                  <a:gd name="connsiteX0" fmla="*/ 2217 w 168630"/>
                  <a:gd name="connsiteY0" fmla="*/ 14097 h 268331"/>
                  <a:gd name="connsiteX1" fmla="*/ 15032 w 168630"/>
                  <a:gd name="connsiteY1" fmla="*/ 20505 h 268331"/>
                  <a:gd name="connsiteX2" fmla="*/ 107304 w 168630"/>
                  <a:gd name="connsiteY2" fmla="*/ 230678 h 268331"/>
                  <a:gd name="connsiteX3" fmla="*/ 144469 w 168630"/>
                  <a:gd name="connsiteY3" fmla="*/ 252464 h 268331"/>
                  <a:gd name="connsiteX4" fmla="*/ 164974 w 168630"/>
                  <a:gd name="connsiteY4" fmla="*/ 266561 h 268331"/>
                  <a:gd name="connsiteX5" fmla="*/ 156003 w 168630"/>
                  <a:gd name="connsiteY5" fmla="*/ 244775 h 268331"/>
                  <a:gd name="connsiteX6" fmla="*/ 145751 w 168630"/>
                  <a:gd name="connsiteY6" fmla="*/ 247338 h 268331"/>
                  <a:gd name="connsiteX7" fmla="*/ 109867 w 168630"/>
                  <a:gd name="connsiteY7" fmla="*/ 226833 h 268331"/>
                  <a:gd name="connsiteX8" fmla="*/ 17596 w 168630"/>
                  <a:gd name="connsiteY8" fmla="*/ 19223 h 268331"/>
                  <a:gd name="connsiteX9" fmla="*/ 9907 w 168630"/>
                  <a:gd name="connsiteY9" fmla="*/ 0 h 268331"/>
                  <a:gd name="connsiteX10" fmla="*/ 4780 w 168630"/>
                  <a:gd name="connsiteY10" fmla="*/ 0 h 268331"/>
                  <a:gd name="connsiteX11" fmla="*/ 2217 w 168630"/>
                  <a:gd name="connsiteY11" fmla="*/ 14097 h 268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630" h="268331">
                    <a:moveTo>
                      <a:pt x="2217" y="14097"/>
                    </a:moveTo>
                    <a:cubicBezTo>
                      <a:pt x="3498" y="16660"/>
                      <a:pt x="7343" y="20505"/>
                      <a:pt x="15032" y="20505"/>
                    </a:cubicBezTo>
                    <a:cubicBezTo>
                      <a:pt x="47071" y="87145"/>
                      <a:pt x="79110" y="156349"/>
                      <a:pt x="107304" y="230678"/>
                    </a:cubicBezTo>
                    <a:cubicBezTo>
                      <a:pt x="118838" y="237086"/>
                      <a:pt x="132935" y="246057"/>
                      <a:pt x="144469" y="252464"/>
                    </a:cubicBezTo>
                    <a:cubicBezTo>
                      <a:pt x="143187" y="265280"/>
                      <a:pt x="158566" y="271688"/>
                      <a:pt x="164974" y="266561"/>
                    </a:cubicBezTo>
                    <a:cubicBezTo>
                      <a:pt x="172663" y="261435"/>
                      <a:pt x="167537" y="247338"/>
                      <a:pt x="156003" y="244775"/>
                    </a:cubicBezTo>
                    <a:cubicBezTo>
                      <a:pt x="149596" y="243494"/>
                      <a:pt x="147032" y="246057"/>
                      <a:pt x="145751" y="247338"/>
                    </a:cubicBezTo>
                    <a:lnTo>
                      <a:pt x="109867" y="226833"/>
                    </a:lnTo>
                    <a:cubicBezTo>
                      <a:pt x="80392" y="153785"/>
                      <a:pt x="49634" y="84582"/>
                      <a:pt x="17596" y="19223"/>
                    </a:cubicBezTo>
                    <a:cubicBezTo>
                      <a:pt x="27848" y="12816"/>
                      <a:pt x="18877" y="1282"/>
                      <a:pt x="9907" y="0"/>
                    </a:cubicBezTo>
                    <a:cubicBezTo>
                      <a:pt x="8625" y="0"/>
                      <a:pt x="7343" y="0"/>
                      <a:pt x="4780" y="0"/>
                    </a:cubicBezTo>
                    <a:cubicBezTo>
                      <a:pt x="-4190" y="3845"/>
                      <a:pt x="2217" y="14097"/>
                      <a:pt x="221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5" name="Freeform: Shape 379593">
                <a:extLst>
                  <a:ext uri="{FF2B5EF4-FFF2-40B4-BE49-F238E27FC236}">
                    <a16:creationId xmlns:a16="http://schemas.microsoft.com/office/drawing/2014/main" id="{44A98135-DB23-492A-81C7-3069245F42EF}"/>
                  </a:ext>
                </a:extLst>
              </p:cNvPr>
              <p:cNvSpPr/>
              <p:nvPr/>
            </p:nvSpPr>
            <p:spPr>
              <a:xfrm>
                <a:off x="6596765" y="2529636"/>
                <a:ext cx="55726" cy="78315"/>
              </a:xfrm>
              <a:custGeom>
                <a:avLst/>
                <a:gdLst>
                  <a:gd name="connsiteX0" fmla="*/ 2883 w 55726"/>
                  <a:gd name="connsiteY0" fmla="*/ 14097 h 78315"/>
                  <a:gd name="connsiteX1" fmla="*/ 14417 w 55726"/>
                  <a:gd name="connsiteY1" fmla="*/ 20505 h 78315"/>
                  <a:gd name="connsiteX2" fmla="*/ 36204 w 55726"/>
                  <a:gd name="connsiteY2" fmla="*/ 58951 h 78315"/>
                  <a:gd name="connsiteX3" fmla="*/ 45174 w 55726"/>
                  <a:gd name="connsiteY3" fmla="*/ 78174 h 78315"/>
                  <a:gd name="connsiteX4" fmla="*/ 52864 w 55726"/>
                  <a:gd name="connsiteY4" fmla="*/ 64077 h 78315"/>
                  <a:gd name="connsiteX5" fmla="*/ 41330 w 55726"/>
                  <a:gd name="connsiteY5" fmla="*/ 57670 h 78315"/>
                  <a:gd name="connsiteX6" fmla="*/ 19544 w 55726"/>
                  <a:gd name="connsiteY6" fmla="*/ 19223 h 78315"/>
                  <a:gd name="connsiteX7" fmla="*/ 10573 w 55726"/>
                  <a:gd name="connsiteY7" fmla="*/ 0 h 78315"/>
                  <a:gd name="connsiteX8" fmla="*/ 6728 w 55726"/>
                  <a:gd name="connsiteY8" fmla="*/ 0 h 78315"/>
                  <a:gd name="connsiteX9" fmla="*/ 2883 w 55726"/>
                  <a:gd name="connsiteY9" fmla="*/ 14097 h 7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726" h="78315">
                    <a:moveTo>
                      <a:pt x="2883" y="14097"/>
                    </a:moveTo>
                    <a:cubicBezTo>
                      <a:pt x="5447" y="16660"/>
                      <a:pt x="8010" y="20505"/>
                      <a:pt x="14417" y="20505"/>
                    </a:cubicBezTo>
                    <a:cubicBezTo>
                      <a:pt x="22107" y="33320"/>
                      <a:pt x="28515" y="46136"/>
                      <a:pt x="36204" y="58951"/>
                    </a:cubicBezTo>
                    <a:cubicBezTo>
                      <a:pt x="27233" y="64077"/>
                      <a:pt x="36204" y="76893"/>
                      <a:pt x="45174" y="78174"/>
                    </a:cubicBezTo>
                    <a:cubicBezTo>
                      <a:pt x="54146" y="79456"/>
                      <a:pt x="59272" y="71767"/>
                      <a:pt x="52864" y="64077"/>
                    </a:cubicBezTo>
                    <a:cubicBezTo>
                      <a:pt x="50301" y="61514"/>
                      <a:pt x="47738" y="57670"/>
                      <a:pt x="41330" y="57670"/>
                    </a:cubicBezTo>
                    <a:cubicBezTo>
                      <a:pt x="33640" y="44854"/>
                      <a:pt x="27233" y="32039"/>
                      <a:pt x="19544" y="19223"/>
                    </a:cubicBezTo>
                    <a:cubicBezTo>
                      <a:pt x="28515" y="14097"/>
                      <a:pt x="19544" y="2563"/>
                      <a:pt x="10573" y="0"/>
                    </a:cubicBezTo>
                    <a:cubicBezTo>
                      <a:pt x="9291" y="0"/>
                      <a:pt x="8010" y="0"/>
                      <a:pt x="6728" y="0"/>
                    </a:cubicBezTo>
                    <a:cubicBezTo>
                      <a:pt x="-3524" y="2563"/>
                      <a:pt x="320" y="11534"/>
                      <a:pt x="288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6" name="Freeform: Shape 379594">
                <a:extLst>
                  <a:ext uri="{FF2B5EF4-FFF2-40B4-BE49-F238E27FC236}">
                    <a16:creationId xmlns:a16="http://schemas.microsoft.com/office/drawing/2014/main" id="{CB204C71-6704-4541-BCBD-CA25C80B1BC3}"/>
                  </a:ext>
                </a:extLst>
              </p:cNvPr>
              <p:cNvSpPr/>
              <p:nvPr/>
            </p:nvSpPr>
            <p:spPr>
              <a:xfrm>
                <a:off x="6966045" y="2541170"/>
                <a:ext cx="58396" cy="78315"/>
              </a:xfrm>
              <a:custGeom>
                <a:avLst/>
                <a:gdLst>
                  <a:gd name="connsiteX0" fmla="*/ 3971 w 58396"/>
                  <a:gd name="connsiteY0" fmla="*/ 11534 h 78315"/>
                  <a:gd name="connsiteX1" fmla="*/ 15505 w 58396"/>
                  <a:gd name="connsiteY1" fmla="*/ 19223 h 78315"/>
                  <a:gd name="connsiteX2" fmla="*/ 39855 w 58396"/>
                  <a:gd name="connsiteY2" fmla="*/ 57670 h 78315"/>
                  <a:gd name="connsiteX3" fmla="*/ 52670 w 58396"/>
                  <a:gd name="connsiteY3" fmla="*/ 78174 h 78315"/>
                  <a:gd name="connsiteX4" fmla="*/ 55234 w 58396"/>
                  <a:gd name="connsiteY4" fmla="*/ 65359 h 78315"/>
                  <a:gd name="connsiteX5" fmla="*/ 43700 w 58396"/>
                  <a:gd name="connsiteY5" fmla="*/ 57670 h 78315"/>
                  <a:gd name="connsiteX6" fmla="*/ 19350 w 58396"/>
                  <a:gd name="connsiteY6" fmla="*/ 19223 h 78315"/>
                  <a:gd name="connsiteX7" fmla="*/ 6534 w 58396"/>
                  <a:gd name="connsiteY7" fmla="*/ 0 h 78315"/>
                  <a:gd name="connsiteX8" fmla="*/ 5253 w 58396"/>
                  <a:gd name="connsiteY8" fmla="*/ 0 h 78315"/>
                  <a:gd name="connsiteX9" fmla="*/ 3971 w 58396"/>
                  <a:gd name="connsiteY9" fmla="*/ 11534 h 7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396" h="78315">
                    <a:moveTo>
                      <a:pt x="3971" y="11534"/>
                    </a:moveTo>
                    <a:cubicBezTo>
                      <a:pt x="6534" y="14097"/>
                      <a:pt x="10379" y="17942"/>
                      <a:pt x="15505" y="19223"/>
                    </a:cubicBezTo>
                    <a:cubicBezTo>
                      <a:pt x="24476" y="32039"/>
                      <a:pt x="32166" y="44854"/>
                      <a:pt x="39855" y="57670"/>
                    </a:cubicBezTo>
                    <a:cubicBezTo>
                      <a:pt x="32166" y="62796"/>
                      <a:pt x="43700" y="76893"/>
                      <a:pt x="52670" y="78174"/>
                    </a:cubicBezTo>
                    <a:cubicBezTo>
                      <a:pt x="59078" y="79456"/>
                      <a:pt x="60359" y="71767"/>
                      <a:pt x="55234" y="65359"/>
                    </a:cubicBezTo>
                    <a:cubicBezTo>
                      <a:pt x="52670" y="62796"/>
                      <a:pt x="48825" y="58951"/>
                      <a:pt x="43700" y="57670"/>
                    </a:cubicBezTo>
                    <a:cubicBezTo>
                      <a:pt x="36010" y="44854"/>
                      <a:pt x="27039" y="32039"/>
                      <a:pt x="19350" y="19223"/>
                    </a:cubicBezTo>
                    <a:cubicBezTo>
                      <a:pt x="27039" y="14097"/>
                      <a:pt x="14224" y="0"/>
                      <a:pt x="6534" y="0"/>
                    </a:cubicBezTo>
                    <a:cubicBezTo>
                      <a:pt x="6534" y="0"/>
                      <a:pt x="5253" y="0"/>
                      <a:pt x="5253" y="0"/>
                    </a:cubicBezTo>
                    <a:cubicBezTo>
                      <a:pt x="-4999" y="1282"/>
                      <a:pt x="2690" y="11534"/>
                      <a:pt x="3971"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7" name="Freeform: Shape 379595">
                <a:extLst>
                  <a:ext uri="{FF2B5EF4-FFF2-40B4-BE49-F238E27FC236}">
                    <a16:creationId xmlns:a16="http://schemas.microsoft.com/office/drawing/2014/main" id="{9C24A8AE-F46A-4A6B-A864-94C338DE55E7}"/>
                  </a:ext>
                </a:extLst>
              </p:cNvPr>
              <p:cNvSpPr/>
              <p:nvPr/>
            </p:nvSpPr>
            <p:spPr>
              <a:xfrm>
                <a:off x="7015621" y="2388666"/>
                <a:ext cx="127582" cy="156546"/>
              </a:xfrm>
              <a:custGeom>
                <a:avLst/>
                <a:gdLst>
                  <a:gd name="connsiteX0" fmla="*/ 4376 w 127582"/>
                  <a:gd name="connsiteY0" fmla="*/ 11534 h 156546"/>
                  <a:gd name="connsiteX1" fmla="*/ 15910 w 127582"/>
                  <a:gd name="connsiteY1" fmla="*/ 17942 h 156546"/>
                  <a:gd name="connsiteX2" fmla="*/ 109463 w 127582"/>
                  <a:gd name="connsiteY2" fmla="*/ 137125 h 156546"/>
                  <a:gd name="connsiteX3" fmla="*/ 123560 w 127582"/>
                  <a:gd name="connsiteY3" fmla="*/ 156349 h 156546"/>
                  <a:gd name="connsiteX4" fmla="*/ 124842 w 127582"/>
                  <a:gd name="connsiteY4" fmla="*/ 146096 h 156546"/>
                  <a:gd name="connsiteX5" fmla="*/ 113308 w 127582"/>
                  <a:gd name="connsiteY5" fmla="*/ 137125 h 156546"/>
                  <a:gd name="connsiteX6" fmla="*/ 19755 w 127582"/>
                  <a:gd name="connsiteY6" fmla="*/ 17942 h 156546"/>
                  <a:gd name="connsiteX7" fmla="*/ 3094 w 127582"/>
                  <a:gd name="connsiteY7" fmla="*/ 0 h 156546"/>
                  <a:gd name="connsiteX8" fmla="*/ 4376 w 127582"/>
                  <a:gd name="connsiteY8" fmla="*/ 11534 h 15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7582" h="156546">
                    <a:moveTo>
                      <a:pt x="4376" y="11534"/>
                    </a:moveTo>
                    <a:cubicBezTo>
                      <a:pt x="6939" y="14097"/>
                      <a:pt x="10783" y="16660"/>
                      <a:pt x="15910" y="17942"/>
                    </a:cubicBezTo>
                    <a:cubicBezTo>
                      <a:pt x="47948" y="56388"/>
                      <a:pt x="79987" y="94834"/>
                      <a:pt x="109463" y="137125"/>
                    </a:cubicBezTo>
                    <a:cubicBezTo>
                      <a:pt x="104337" y="140970"/>
                      <a:pt x="117152" y="155067"/>
                      <a:pt x="123560" y="156349"/>
                    </a:cubicBezTo>
                    <a:cubicBezTo>
                      <a:pt x="128686" y="157630"/>
                      <a:pt x="128686" y="152504"/>
                      <a:pt x="124842" y="146096"/>
                    </a:cubicBezTo>
                    <a:cubicBezTo>
                      <a:pt x="123560" y="143533"/>
                      <a:pt x="118434" y="138407"/>
                      <a:pt x="113308" y="137125"/>
                    </a:cubicBezTo>
                    <a:cubicBezTo>
                      <a:pt x="83832" y="96116"/>
                      <a:pt x="51793" y="56388"/>
                      <a:pt x="19755" y="17942"/>
                    </a:cubicBezTo>
                    <a:cubicBezTo>
                      <a:pt x="23599" y="12816"/>
                      <a:pt x="9502" y="0"/>
                      <a:pt x="3094" y="0"/>
                    </a:cubicBezTo>
                    <a:cubicBezTo>
                      <a:pt x="-3313" y="2563"/>
                      <a:pt x="1812" y="8971"/>
                      <a:pt x="4376"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8" name="Freeform: Shape 379596">
                <a:extLst>
                  <a:ext uri="{FF2B5EF4-FFF2-40B4-BE49-F238E27FC236}">
                    <a16:creationId xmlns:a16="http://schemas.microsoft.com/office/drawing/2014/main" id="{A48BAE3B-A36E-44D9-8CAE-1579C662E358}"/>
                  </a:ext>
                </a:extLst>
              </p:cNvPr>
              <p:cNvSpPr/>
              <p:nvPr/>
            </p:nvSpPr>
            <p:spPr>
              <a:xfrm>
                <a:off x="7117395" y="2386103"/>
                <a:ext cx="132366" cy="155148"/>
              </a:xfrm>
              <a:custGeom>
                <a:avLst/>
                <a:gdLst>
                  <a:gd name="connsiteX0" fmla="*/ 6408 w 132366"/>
                  <a:gd name="connsiteY0" fmla="*/ 10252 h 155148"/>
                  <a:gd name="connsiteX1" fmla="*/ 16660 w 132366"/>
                  <a:gd name="connsiteY1" fmla="*/ 17942 h 155148"/>
                  <a:gd name="connsiteX2" fmla="*/ 115339 w 132366"/>
                  <a:gd name="connsiteY2" fmla="*/ 135844 h 155148"/>
                  <a:gd name="connsiteX3" fmla="*/ 132000 w 132366"/>
                  <a:gd name="connsiteY3" fmla="*/ 155067 h 155148"/>
                  <a:gd name="connsiteX4" fmla="*/ 117902 w 132366"/>
                  <a:gd name="connsiteY4" fmla="*/ 135844 h 155148"/>
                  <a:gd name="connsiteX5" fmla="*/ 19223 w 132366"/>
                  <a:gd name="connsiteY5" fmla="*/ 17942 h 155148"/>
                  <a:gd name="connsiteX6" fmla="*/ 1281 w 132366"/>
                  <a:gd name="connsiteY6" fmla="*/ 0 h 155148"/>
                  <a:gd name="connsiteX7" fmla="*/ 0 w 132366"/>
                  <a:gd name="connsiteY7" fmla="*/ 1282 h 155148"/>
                  <a:gd name="connsiteX8" fmla="*/ 6408 w 132366"/>
                  <a:gd name="connsiteY8" fmla="*/ 10252 h 155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66" h="155148">
                    <a:moveTo>
                      <a:pt x="6408" y="10252"/>
                    </a:moveTo>
                    <a:cubicBezTo>
                      <a:pt x="8971" y="12816"/>
                      <a:pt x="12815" y="15379"/>
                      <a:pt x="16660" y="17942"/>
                    </a:cubicBezTo>
                    <a:cubicBezTo>
                      <a:pt x="51262" y="55106"/>
                      <a:pt x="84582" y="94834"/>
                      <a:pt x="115339" y="135844"/>
                    </a:cubicBezTo>
                    <a:cubicBezTo>
                      <a:pt x="112776" y="142252"/>
                      <a:pt x="126873" y="156349"/>
                      <a:pt x="132000" y="155067"/>
                    </a:cubicBezTo>
                    <a:cubicBezTo>
                      <a:pt x="134563" y="149941"/>
                      <a:pt x="123029" y="138407"/>
                      <a:pt x="117902" y="135844"/>
                    </a:cubicBezTo>
                    <a:cubicBezTo>
                      <a:pt x="85864" y="94834"/>
                      <a:pt x="53825" y="55106"/>
                      <a:pt x="19223" y="17942"/>
                    </a:cubicBezTo>
                    <a:cubicBezTo>
                      <a:pt x="21786" y="12816"/>
                      <a:pt x="7689" y="1282"/>
                      <a:pt x="1281" y="0"/>
                    </a:cubicBezTo>
                    <a:cubicBezTo>
                      <a:pt x="1281" y="0"/>
                      <a:pt x="0" y="0"/>
                      <a:pt x="0" y="1282"/>
                    </a:cubicBezTo>
                    <a:cubicBezTo>
                      <a:pt x="1281" y="1282"/>
                      <a:pt x="1281" y="3845"/>
                      <a:pt x="6408"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69" name="Freeform: Shape 379597">
                <a:extLst>
                  <a:ext uri="{FF2B5EF4-FFF2-40B4-BE49-F238E27FC236}">
                    <a16:creationId xmlns:a16="http://schemas.microsoft.com/office/drawing/2014/main" id="{33391287-A16E-475B-92F9-76030354060F}"/>
                  </a:ext>
                </a:extLst>
              </p:cNvPr>
              <p:cNvSpPr/>
              <p:nvPr/>
            </p:nvSpPr>
            <p:spPr>
              <a:xfrm>
                <a:off x="7364734" y="2537325"/>
                <a:ext cx="60232" cy="79455"/>
              </a:xfrm>
              <a:custGeom>
                <a:avLst/>
                <a:gdLst>
                  <a:gd name="connsiteX0" fmla="*/ 7689 w 60232"/>
                  <a:gd name="connsiteY0" fmla="*/ 11534 h 79455"/>
                  <a:gd name="connsiteX1" fmla="*/ 15378 w 60232"/>
                  <a:gd name="connsiteY1" fmla="*/ 20505 h 79455"/>
                  <a:gd name="connsiteX2" fmla="*/ 44854 w 60232"/>
                  <a:gd name="connsiteY2" fmla="*/ 58951 h 79455"/>
                  <a:gd name="connsiteX3" fmla="*/ 60233 w 60232"/>
                  <a:gd name="connsiteY3" fmla="*/ 79456 h 79455"/>
                  <a:gd name="connsiteX4" fmla="*/ 46135 w 60232"/>
                  <a:gd name="connsiteY4" fmla="*/ 58951 h 79455"/>
                  <a:gd name="connsiteX5" fmla="*/ 16660 w 60232"/>
                  <a:gd name="connsiteY5" fmla="*/ 20505 h 79455"/>
                  <a:gd name="connsiteX6" fmla="*/ 0 w 60232"/>
                  <a:gd name="connsiteY6" fmla="*/ 0 h 79455"/>
                  <a:gd name="connsiteX7" fmla="*/ 7689 w 60232"/>
                  <a:gd name="connsiteY7" fmla="*/ 11534 h 7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32" h="79455">
                    <a:moveTo>
                      <a:pt x="7689" y="11534"/>
                    </a:moveTo>
                    <a:cubicBezTo>
                      <a:pt x="10252" y="14097"/>
                      <a:pt x="12815" y="17942"/>
                      <a:pt x="15378" y="20505"/>
                    </a:cubicBezTo>
                    <a:cubicBezTo>
                      <a:pt x="25631" y="33320"/>
                      <a:pt x="35883" y="46136"/>
                      <a:pt x="44854" y="58951"/>
                    </a:cubicBezTo>
                    <a:cubicBezTo>
                      <a:pt x="46135" y="62796"/>
                      <a:pt x="57669" y="78174"/>
                      <a:pt x="60233" y="79456"/>
                    </a:cubicBezTo>
                    <a:cubicBezTo>
                      <a:pt x="60233" y="78174"/>
                      <a:pt x="48699" y="62796"/>
                      <a:pt x="46135" y="58951"/>
                    </a:cubicBezTo>
                    <a:cubicBezTo>
                      <a:pt x="35883" y="46136"/>
                      <a:pt x="26912" y="33320"/>
                      <a:pt x="16660" y="20505"/>
                    </a:cubicBezTo>
                    <a:cubicBezTo>
                      <a:pt x="14097" y="16660"/>
                      <a:pt x="2563" y="2563"/>
                      <a:pt x="0" y="0"/>
                    </a:cubicBezTo>
                    <a:cubicBezTo>
                      <a:pt x="0" y="2563"/>
                      <a:pt x="0" y="3845"/>
                      <a:pt x="7689"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0" name="Freeform: Shape 379598">
                <a:extLst>
                  <a:ext uri="{FF2B5EF4-FFF2-40B4-BE49-F238E27FC236}">
                    <a16:creationId xmlns:a16="http://schemas.microsoft.com/office/drawing/2014/main" id="{DF653D54-E3FD-4E81-87DD-F6F60BAABDBE}"/>
                  </a:ext>
                </a:extLst>
              </p:cNvPr>
              <p:cNvSpPr/>
              <p:nvPr/>
            </p:nvSpPr>
            <p:spPr>
              <a:xfrm>
                <a:off x="4145480" y="3153749"/>
                <a:ext cx="51261" cy="205047"/>
              </a:xfrm>
              <a:custGeom>
                <a:avLst/>
                <a:gdLst>
                  <a:gd name="connsiteX0" fmla="*/ 1282 w 51261"/>
                  <a:gd name="connsiteY0" fmla="*/ 196076 h 205047"/>
                  <a:gd name="connsiteX1" fmla="*/ 0 w 51261"/>
                  <a:gd name="connsiteY1" fmla="*/ 205047 h 205047"/>
                  <a:gd name="connsiteX2" fmla="*/ 5126 w 51261"/>
                  <a:gd name="connsiteY2" fmla="*/ 179416 h 205047"/>
                  <a:gd name="connsiteX3" fmla="*/ 43573 w 51261"/>
                  <a:gd name="connsiteY3" fmla="*/ 24349 h 205047"/>
                  <a:gd name="connsiteX4" fmla="*/ 51262 w 51261"/>
                  <a:gd name="connsiteY4" fmla="*/ 0 h 205047"/>
                  <a:gd name="connsiteX5" fmla="*/ 38446 w 51261"/>
                  <a:gd name="connsiteY5" fmla="*/ 44854 h 205047"/>
                  <a:gd name="connsiteX6" fmla="*/ 6408 w 51261"/>
                  <a:gd name="connsiteY6" fmla="*/ 179416 h 205047"/>
                  <a:gd name="connsiteX7" fmla="*/ 1282 w 51261"/>
                  <a:gd name="connsiteY7" fmla="*/ 196076 h 20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61" h="205047">
                    <a:moveTo>
                      <a:pt x="1282" y="196076"/>
                    </a:moveTo>
                    <a:cubicBezTo>
                      <a:pt x="0" y="202484"/>
                      <a:pt x="0" y="203766"/>
                      <a:pt x="0" y="205047"/>
                    </a:cubicBezTo>
                    <a:cubicBezTo>
                      <a:pt x="1282" y="199921"/>
                      <a:pt x="3844" y="183261"/>
                      <a:pt x="5126" y="179416"/>
                    </a:cubicBezTo>
                    <a:cubicBezTo>
                      <a:pt x="15378" y="126873"/>
                      <a:pt x="28194" y="75611"/>
                      <a:pt x="43573" y="24349"/>
                    </a:cubicBezTo>
                    <a:cubicBezTo>
                      <a:pt x="46136" y="16660"/>
                      <a:pt x="48699" y="8971"/>
                      <a:pt x="51262" y="0"/>
                    </a:cubicBezTo>
                    <a:lnTo>
                      <a:pt x="38446" y="44854"/>
                    </a:lnTo>
                    <a:cubicBezTo>
                      <a:pt x="25631" y="88427"/>
                      <a:pt x="15378" y="133281"/>
                      <a:pt x="6408" y="179416"/>
                    </a:cubicBezTo>
                    <a:cubicBezTo>
                      <a:pt x="3844" y="181979"/>
                      <a:pt x="2563" y="187106"/>
                      <a:pt x="1282" y="19607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1" name="Freeform: Shape 379599">
                <a:extLst>
                  <a:ext uri="{FF2B5EF4-FFF2-40B4-BE49-F238E27FC236}">
                    <a16:creationId xmlns:a16="http://schemas.microsoft.com/office/drawing/2014/main" id="{C638278B-3379-4CC9-B9FD-41D3924EF990}"/>
                  </a:ext>
                </a:extLst>
              </p:cNvPr>
              <p:cNvSpPr/>
              <p:nvPr/>
            </p:nvSpPr>
            <p:spPr>
              <a:xfrm>
                <a:off x="4374066" y="3189632"/>
                <a:ext cx="29686" cy="203765"/>
              </a:xfrm>
              <a:custGeom>
                <a:avLst/>
                <a:gdLst>
                  <a:gd name="connsiteX0" fmla="*/ 16190 w 29686"/>
                  <a:gd name="connsiteY0" fmla="*/ 17942 h 203765"/>
                  <a:gd name="connsiteX1" fmla="*/ 20035 w 29686"/>
                  <a:gd name="connsiteY1" fmla="*/ 25631 h 203765"/>
                  <a:gd name="connsiteX2" fmla="*/ 5938 w 29686"/>
                  <a:gd name="connsiteY2" fmla="*/ 179416 h 203765"/>
                  <a:gd name="connsiteX3" fmla="*/ 4656 w 29686"/>
                  <a:gd name="connsiteY3" fmla="*/ 203766 h 203765"/>
                  <a:gd name="connsiteX4" fmla="*/ 11064 w 29686"/>
                  <a:gd name="connsiteY4" fmla="*/ 179416 h 203765"/>
                  <a:gd name="connsiteX5" fmla="*/ 8501 w 29686"/>
                  <a:gd name="connsiteY5" fmla="*/ 178135 h 203765"/>
                  <a:gd name="connsiteX6" fmla="*/ 22598 w 29686"/>
                  <a:gd name="connsiteY6" fmla="*/ 24349 h 203765"/>
                  <a:gd name="connsiteX7" fmla="*/ 25161 w 29686"/>
                  <a:gd name="connsiteY7" fmla="*/ 0 h 203765"/>
                  <a:gd name="connsiteX8" fmla="*/ 23880 w 29686"/>
                  <a:gd name="connsiteY8" fmla="*/ 0 h 203765"/>
                  <a:gd name="connsiteX9" fmla="*/ 16190 w 29686"/>
                  <a:gd name="connsiteY9" fmla="*/ 17942 h 20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686" h="203765">
                    <a:moveTo>
                      <a:pt x="16190" y="17942"/>
                    </a:moveTo>
                    <a:cubicBezTo>
                      <a:pt x="16190" y="20505"/>
                      <a:pt x="16190" y="25631"/>
                      <a:pt x="20035" y="25631"/>
                    </a:cubicBezTo>
                    <a:cubicBezTo>
                      <a:pt x="13627" y="76893"/>
                      <a:pt x="8501" y="128155"/>
                      <a:pt x="5938" y="179416"/>
                    </a:cubicBezTo>
                    <a:cubicBezTo>
                      <a:pt x="-3033" y="187106"/>
                      <a:pt x="-470" y="203766"/>
                      <a:pt x="4656" y="203766"/>
                    </a:cubicBezTo>
                    <a:cubicBezTo>
                      <a:pt x="12346" y="203766"/>
                      <a:pt x="16190" y="183261"/>
                      <a:pt x="11064" y="179416"/>
                    </a:cubicBezTo>
                    <a:cubicBezTo>
                      <a:pt x="11064" y="179416"/>
                      <a:pt x="9783" y="178135"/>
                      <a:pt x="8501" y="178135"/>
                    </a:cubicBezTo>
                    <a:cubicBezTo>
                      <a:pt x="11064" y="125592"/>
                      <a:pt x="16190" y="74330"/>
                      <a:pt x="22598" y="24349"/>
                    </a:cubicBezTo>
                    <a:cubicBezTo>
                      <a:pt x="31569" y="16660"/>
                      <a:pt x="31569" y="0"/>
                      <a:pt x="25161" y="0"/>
                    </a:cubicBezTo>
                    <a:cubicBezTo>
                      <a:pt x="25161" y="0"/>
                      <a:pt x="23880" y="0"/>
                      <a:pt x="23880" y="0"/>
                    </a:cubicBezTo>
                    <a:cubicBezTo>
                      <a:pt x="17472" y="5126"/>
                      <a:pt x="16190" y="15379"/>
                      <a:pt x="1619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2" name="Freeform: Shape 379600">
                <a:extLst>
                  <a:ext uri="{FF2B5EF4-FFF2-40B4-BE49-F238E27FC236}">
                    <a16:creationId xmlns:a16="http://schemas.microsoft.com/office/drawing/2014/main" id="{6653AE66-0260-4286-9F20-459C0C8FE20C}"/>
                  </a:ext>
                </a:extLst>
              </p:cNvPr>
              <p:cNvSpPr/>
              <p:nvPr/>
            </p:nvSpPr>
            <p:spPr>
              <a:xfrm>
                <a:off x="4542912" y="3099924"/>
                <a:ext cx="18921" cy="58951"/>
              </a:xfrm>
              <a:custGeom>
                <a:avLst/>
                <a:gdLst>
                  <a:gd name="connsiteX0" fmla="*/ 3694 w 18921"/>
                  <a:gd name="connsiteY0" fmla="*/ 16660 h 58951"/>
                  <a:gd name="connsiteX1" fmla="*/ 8820 w 18921"/>
                  <a:gd name="connsiteY1" fmla="*/ 24349 h 58951"/>
                  <a:gd name="connsiteX2" fmla="*/ 7538 w 18921"/>
                  <a:gd name="connsiteY2" fmla="*/ 35883 h 58951"/>
                  <a:gd name="connsiteX3" fmla="*/ 4975 w 18921"/>
                  <a:gd name="connsiteY3" fmla="*/ 58951 h 58951"/>
                  <a:gd name="connsiteX4" fmla="*/ 13946 w 18921"/>
                  <a:gd name="connsiteY4" fmla="*/ 35883 h 58951"/>
                  <a:gd name="connsiteX5" fmla="*/ 10101 w 18921"/>
                  <a:gd name="connsiteY5" fmla="*/ 34602 h 58951"/>
                  <a:gd name="connsiteX6" fmla="*/ 11383 w 18921"/>
                  <a:gd name="connsiteY6" fmla="*/ 23068 h 58951"/>
                  <a:gd name="connsiteX7" fmla="*/ 13946 w 18921"/>
                  <a:gd name="connsiteY7" fmla="*/ 0 h 58951"/>
                  <a:gd name="connsiteX8" fmla="*/ 12664 w 18921"/>
                  <a:gd name="connsiteY8" fmla="*/ 0 h 58951"/>
                  <a:gd name="connsiteX9" fmla="*/ 3694 w 18921"/>
                  <a:gd name="connsiteY9" fmla="*/ 16660 h 5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921" h="58951">
                    <a:moveTo>
                      <a:pt x="3694" y="16660"/>
                    </a:moveTo>
                    <a:cubicBezTo>
                      <a:pt x="3694" y="19223"/>
                      <a:pt x="4975" y="23068"/>
                      <a:pt x="8820" y="24349"/>
                    </a:cubicBezTo>
                    <a:cubicBezTo>
                      <a:pt x="8820" y="28194"/>
                      <a:pt x="7538" y="32039"/>
                      <a:pt x="7538" y="35883"/>
                    </a:cubicBezTo>
                    <a:cubicBezTo>
                      <a:pt x="-2714" y="43573"/>
                      <a:pt x="-1432" y="58951"/>
                      <a:pt x="4975" y="58951"/>
                    </a:cubicBezTo>
                    <a:cubicBezTo>
                      <a:pt x="12664" y="58951"/>
                      <a:pt x="19072" y="42291"/>
                      <a:pt x="13946" y="35883"/>
                    </a:cubicBezTo>
                    <a:cubicBezTo>
                      <a:pt x="12664" y="34602"/>
                      <a:pt x="11383" y="34602"/>
                      <a:pt x="10101" y="34602"/>
                    </a:cubicBezTo>
                    <a:cubicBezTo>
                      <a:pt x="10101" y="30757"/>
                      <a:pt x="11383" y="26912"/>
                      <a:pt x="11383" y="23068"/>
                    </a:cubicBezTo>
                    <a:cubicBezTo>
                      <a:pt x="21635" y="15379"/>
                      <a:pt x="20354" y="0"/>
                      <a:pt x="13946" y="0"/>
                    </a:cubicBezTo>
                    <a:cubicBezTo>
                      <a:pt x="13946" y="0"/>
                      <a:pt x="12664" y="0"/>
                      <a:pt x="12664" y="0"/>
                    </a:cubicBezTo>
                    <a:cubicBezTo>
                      <a:pt x="4975" y="3845"/>
                      <a:pt x="3694" y="12816"/>
                      <a:pt x="3694"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3" name="Freeform: Shape 379601">
                <a:extLst>
                  <a:ext uri="{FF2B5EF4-FFF2-40B4-BE49-F238E27FC236}">
                    <a16:creationId xmlns:a16="http://schemas.microsoft.com/office/drawing/2014/main" id="{9390A293-4873-4FA1-8C95-B0980EFF881D}"/>
                  </a:ext>
                </a:extLst>
              </p:cNvPr>
              <p:cNvSpPr/>
              <p:nvPr/>
            </p:nvSpPr>
            <p:spPr>
              <a:xfrm>
                <a:off x="4567491" y="2957672"/>
                <a:ext cx="38500" cy="192497"/>
              </a:xfrm>
              <a:custGeom>
                <a:avLst/>
                <a:gdLst>
                  <a:gd name="connsiteX0" fmla="*/ 22687 w 38500"/>
                  <a:gd name="connsiteY0" fmla="*/ 15379 h 192497"/>
                  <a:gd name="connsiteX1" fmla="*/ 26532 w 38500"/>
                  <a:gd name="connsiteY1" fmla="*/ 23068 h 192497"/>
                  <a:gd name="connsiteX2" fmla="*/ 7308 w 38500"/>
                  <a:gd name="connsiteY2" fmla="*/ 169164 h 192497"/>
                  <a:gd name="connsiteX3" fmla="*/ 3464 w 38500"/>
                  <a:gd name="connsiteY3" fmla="*/ 192232 h 192497"/>
                  <a:gd name="connsiteX4" fmla="*/ 14998 w 38500"/>
                  <a:gd name="connsiteY4" fmla="*/ 170446 h 192497"/>
                  <a:gd name="connsiteX5" fmla="*/ 11153 w 38500"/>
                  <a:gd name="connsiteY5" fmla="*/ 167882 h 192497"/>
                  <a:gd name="connsiteX6" fmla="*/ 30376 w 38500"/>
                  <a:gd name="connsiteY6" fmla="*/ 21786 h 192497"/>
                  <a:gd name="connsiteX7" fmla="*/ 35502 w 38500"/>
                  <a:gd name="connsiteY7" fmla="*/ 0 h 192497"/>
                  <a:gd name="connsiteX8" fmla="*/ 32939 w 38500"/>
                  <a:gd name="connsiteY8" fmla="*/ 0 h 192497"/>
                  <a:gd name="connsiteX9" fmla="*/ 22687 w 38500"/>
                  <a:gd name="connsiteY9" fmla="*/ 15379 h 192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00" h="192497">
                    <a:moveTo>
                      <a:pt x="22687" y="15379"/>
                    </a:moveTo>
                    <a:cubicBezTo>
                      <a:pt x="22687" y="17942"/>
                      <a:pt x="22687" y="21786"/>
                      <a:pt x="26532" y="23068"/>
                    </a:cubicBezTo>
                    <a:cubicBezTo>
                      <a:pt x="17561" y="70485"/>
                      <a:pt x="11153" y="119184"/>
                      <a:pt x="7308" y="169164"/>
                    </a:cubicBezTo>
                    <a:cubicBezTo>
                      <a:pt x="-1663" y="176853"/>
                      <a:pt x="-1663" y="190950"/>
                      <a:pt x="3464" y="192232"/>
                    </a:cubicBezTo>
                    <a:cubicBezTo>
                      <a:pt x="11153" y="194795"/>
                      <a:pt x="18842" y="178135"/>
                      <a:pt x="14998" y="170446"/>
                    </a:cubicBezTo>
                    <a:cubicBezTo>
                      <a:pt x="13716" y="167882"/>
                      <a:pt x="12435" y="167882"/>
                      <a:pt x="11153" y="167882"/>
                    </a:cubicBezTo>
                    <a:cubicBezTo>
                      <a:pt x="16279" y="117902"/>
                      <a:pt x="22687" y="69203"/>
                      <a:pt x="30376" y="21786"/>
                    </a:cubicBezTo>
                    <a:cubicBezTo>
                      <a:pt x="39347" y="15379"/>
                      <a:pt x="40629" y="1281"/>
                      <a:pt x="35502" y="0"/>
                    </a:cubicBezTo>
                    <a:cubicBezTo>
                      <a:pt x="34221" y="0"/>
                      <a:pt x="32939" y="0"/>
                      <a:pt x="32939" y="0"/>
                    </a:cubicBezTo>
                    <a:cubicBezTo>
                      <a:pt x="25250" y="3845"/>
                      <a:pt x="22687" y="12815"/>
                      <a:pt x="22687"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4" name="Freeform: Shape 379602">
                <a:extLst>
                  <a:ext uri="{FF2B5EF4-FFF2-40B4-BE49-F238E27FC236}">
                    <a16:creationId xmlns:a16="http://schemas.microsoft.com/office/drawing/2014/main" id="{8CE99BE6-E94C-45E8-9321-FBA159664217}"/>
                  </a:ext>
                </a:extLst>
              </p:cNvPr>
              <p:cNvSpPr/>
              <p:nvPr/>
            </p:nvSpPr>
            <p:spPr>
              <a:xfrm>
                <a:off x="4593122" y="2949983"/>
                <a:ext cx="37219" cy="191215"/>
              </a:xfrm>
              <a:custGeom>
                <a:avLst/>
                <a:gdLst>
                  <a:gd name="connsiteX0" fmla="*/ 21405 w 37219"/>
                  <a:gd name="connsiteY0" fmla="*/ 15379 h 191215"/>
                  <a:gd name="connsiteX1" fmla="*/ 26531 w 37219"/>
                  <a:gd name="connsiteY1" fmla="*/ 23068 h 191215"/>
                  <a:gd name="connsiteX2" fmla="*/ 7308 w 37219"/>
                  <a:gd name="connsiteY2" fmla="*/ 167883 h 191215"/>
                  <a:gd name="connsiteX3" fmla="*/ 3464 w 37219"/>
                  <a:gd name="connsiteY3" fmla="*/ 190950 h 191215"/>
                  <a:gd name="connsiteX4" fmla="*/ 14997 w 37219"/>
                  <a:gd name="connsiteY4" fmla="*/ 169164 h 191215"/>
                  <a:gd name="connsiteX5" fmla="*/ 11153 w 37219"/>
                  <a:gd name="connsiteY5" fmla="*/ 166601 h 191215"/>
                  <a:gd name="connsiteX6" fmla="*/ 29095 w 37219"/>
                  <a:gd name="connsiteY6" fmla="*/ 21786 h 191215"/>
                  <a:gd name="connsiteX7" fmla="*/ 34221 w 37219"/>
                  <a:gd name="connsiteY7" fmla="*/ 0 h 191215"/>
                  <a:gd name="connsiteX8" fmla="*/ 31658 w 37219"/>
                  <a:gd name="connsiteY8" fmla="*/ 0 h 191215"/>
                  <a:gd name="connsiteX9" fmla="*/ 21405 w 37219"/>
                  <a:gd name="connsiteY9" fmla="*/ 15379 h 191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219" h="191215">
                    <a:moveTo>
                      <a:pt x="21405" y="15379"/>
                    </a:moveTo>
                    <a:cubicBezTo>
                      <a:pt x="21405" y="17942"/>
                      <a:pt x="21405" y="21786"/>
                      <a:pt x="26531" y="23068"/>
                    </a:cubicBezTo>
                    <a:cubicBezTo>
                      <a:pt x="18842" y="70485"/>
                      <a:pt x="12435" y="119184"/>
                      <a:pt x="7308" y="167883"/>
                    </a:cubicBezTo>
                    <a:cubicBezTo>
                      <a:pt x="-1663" y="175572"/>
                      <a:pt x="-1663" y="189669"/>
                      <a:pt x="3464" y="190950"/>
                    </a:cubicBezTo>
                    <a:cubicBezTo>
                      <a:pt x="11153" y="193513"/>
                      <a:pt x="20124" y="176853"/>
                      <a:pt x="14997" y="169164"/>
                    </a:cubicBezTo>
                    <a:cubicBezTo>
                      <a:pt x="13716" y="166601"/>
                      <a:pt x="12435" y="166601"/>
                      <a:pt x="11153" y="166601"/>
                    </a:cubicBezTo>
                    <a:cubicBezTo>
                      <a:pt x="14997" y="116621"/>
                      <a:pt x="21405" y="69203"/>
                      <a:pt x="29095" y="21786"/>
                    </a:cubicBezTo>
                    <a:cubicBezTo>
                      <a:pt x="38065" y="15379"/>
                      <a:pt x="39347" y="1282"/>
                      <a:pt x="34221" y="0"/>
                    </a:cubicBezTo>
                    <a:cubicBezTo>
                      <a:pt x="32939" y="0"/>
                      <a:pt x="31658" y="0"/>
                      <a:pt x="31658" y="0"/>
                    </a:cubicBezTo>
                    <a:cubicBezTo>
                      <a:pt x="23968" y="2563"/>
                      <a:pt x="21405" y="11534"/>
                      <a:pt x="21405"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5" name="Freeform: Shape 379603">
                <a:extLst>
                  <a:ext uri="{FF2B5EF4-FFF2-40B4-BE49-F238E27FC236}">
                    <a16:creationId xmlns:a16="http://schemas.microsoft.com/office/drawing/2014/main" id="{9226598C-78FE-402F-8DB7-C22C2A077CFB}"/>
                  </a:ext>
                </a:extLst>
              </p:cNvPr>
              <p:cNvSpPr/>
              <p:nvPr/>
            </p:nvSpPr>
            <p:spPr>
              <a:xfrm>
                <a:off x="4618331" y="3074293"/>
                <a:ext cx="21109" cy="59216"/>
              </a:xfrm>
              <a:custGeom>
                <a:avLst/>
                <a:gdLst>
                  <a:gd name="connsiteX0" fmla="*/ 3885 w 21109"/>
                  <a:gd name="connsiteY0" fmla="*/ 16660 h 59216"/>
                  <a:gd name="connsiteX1" fmla="*/ 9012 w 21109"/>
                  <a:gd name="connsiteY1" fmla="*/ 24349 h 59216"/>
                  <a:gd name="connsiteX2" fmla="*/ 7730 w 21109"/>
                  <a:gd name="connsiteY2" fmla="*/ 35883 h 59216"/>
                  <a:gd name="connsiteX3" fmla="*/ 3885 w 21109"/>
                  <a:gd name="connsiteY3" fmla="*/ 58951 h 59216"/>
                  <a:gd name="connsiteX4" fmla="*/ 15419 w 21109"/>
                  <a:gd name="connsiteY4" fmla="*/ 37165 h 59216"/>
                  <a:gd name="connsiteX5" fmla="*/ 11575 w 21109"/>
                  <a:gd name="connsiteY5" fmla="*/ 34602 h 59216"/>
                  <a:gd name="connsiteX6" fmla="*/ 12856 w 21109"/>
                  <a:gd name="connsiteY6" fmla="*/ 23068 h 59216"/>
                  <a:gd name="connsiteX7" fmla="*/ 16701 w 21109"/>
                  <a:gd name="connsiteY7" fmla="*/ 0 h 59216"/>
                  <a:gd name="connsiteX8" fmla="*/ 12856 w 21109"/>
                  <a:gd name="connsiteY8" fmla="*/ 0 h 59216"/>
                  <a:gd name="connsiteX9" fmla="*/ 3885 w 21109"/>
                  <a:gd name="connsiteY9" fmla="*/ 16660 h 5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09" h="59216">
                    <a:moveTo>
                      <a:pt x="3885" y="16660"/>
                    </a:moveTo>
                    <a:cubicBezTo>
                      <a:pt x="3885" y="19223"/>
                      <a:pt x="5167" y="23068"/>
                      <a:pt x="9012" y="24349"/>
                    </a:cubicBezTo>
                    <a:cubicBezTo>
                      <a:pt x="9012" y="28194"/>
                      <a:pt x="7730" y="32039"/>
                      <a:pt x="7730" y="35883"/>
                    </a:cubicBezTo>
                    <a:cubicBezTo>
                      <a:pt x="-2522" y="43573"/>
                      <a:pt x="-1241" y="57670"/>
                      <a:pt x="3885" y="58951"/>
                    </a:cubicBezTo>
                    <a:cubicBezTo>
                      <a:pt x="11575" y="61514"/>
                      <a:pt x="20545" y="44854"/>
                      <a:pt x="15419" y="37165"/>
                    </a:cubicBezTo>
                    <a:cubicBezTo>
                      <a:pt x="14138" y="34602"/>
                      <a:pt x="12856" y="34602"/>
                      <a:pt x="11575" y="34602"/>
                    </a:cubicBezTo>
                    <a:cubicBezTo>
                      <a:pt x="11575" y="30757"/>
                      <a:pt x="11575" y="26912"/>
                      <a:pt x="12856" y="23068"/>
                    </a:cubicBezTo>
                    <a:cubicBezTo>
                      <a:pt x="23108" y="15379"/>
                      <a:pt x="23108" y="1282"/>
                      <a:pt x="16701" y="0"/>
                    </a:cubicBezTo>
                    <a:cubicBezTo>
                      <a:pt x="15419" y="0"/>
                      <a:pt x="14138" y="0"/>
                      <a:pt x="12856" y="0"/>
                    </a:cubicBezTo>
                    <a:cubicBezTo>
                      <a:pt x="5167" y="3845"/>
                      <a:pt x="2604" y="12815"/>
                      <a:pt x="388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6" name="Freeform: Shape 379604">
                <a:extLst>
                  <a:ext uri="{FF2B5EF4-FFF2-40B4-BE49-F238E27FC236}">
                    <a16:creationId xmlns:a16="http://schemas.microsoft.com/office/drawing/2014/main" id="{0D15ED2D-1B39-4B0C-A42C-A6E8A7185A0D}"/>
                  </a:ext>
                </a:extLst>
              </p:cNvPr>
              <p:cNvSpPr/>
              <p:nvPr/>
            </p:nvSpPr>
            <p:spPr>
              <a:xfrm>
                <a:off x="6088623" y="2504005"/>
                <a:ext cx="258716" cy="366631"/>
              </a:xfrm>
              <a:custGeom>
                <a:avLst/>
                <a:gdLst>
                  <a:gd name="connsiteX0" fmla="*/ 969 w 258716"/>
                  <a:gd name="connsiteY0" fmla="*/ 12815 h 366631"/>
                  <a:gd name="connsiteX1" fmla="*/ 12503 w 258716"/>
                  <a:gd name="connsiteY1" fmla="*/ 19223 h 366631"/>
                  <a:gd name="connsiteX2" fmla="*/ 100930 w 258716"/>
                  <a:gd name="connsiteY2" fmla="*/ 244775 h 366631"/>
                  <a:gd name="connsiteX3" fmla="*/ 148347 w 258716"/>
                  <a:gd name="connsiteY3" fmla="*/ 269125 h 366631"/>
                  <a:gd name="connsiteX4" fmla="*/ 166289 w 258716"/>
                  <a:gd name="connsiteY4" fmla="*/ 320386 h 366631"/>
                  <a:gd name="connsiteX5" fmla="*/ 171415 w 258716"/>
                  <a:gd name="connsiteY5" fmla="*/ 342173 h 366631"/>
                  <a:gd name="connsiteX6" fmla="*/ 182949 w 258716"/>
                  <a:gd name="connsiteY6" fmla="*/ 324231 h 366631"/>
                  <a:gd name="connsiteX7" fmla="*/ 171415 w 258716"/>
                  <a:gd name="connsiteY7" fmla="*/ 319105 h 366631"/>
                  <a:gd name="connsiteX8" fmla="*/ 154755 w 258716"/>
                  <a:gd name="connsiteY8" fmla="*/ 271688 h 366631"/>
                  <a:gd name="connsiteX9" fmla="*/ 195765 w 258716"/>
                  <a:gd name="connsiteY9" fmla="*/ 292192 h 366631"/>
                  <a:gd name="connsiteX10" fmla="*/ 214988 w 258716"/>
                  <a:gd name="connsiteY10" fmla="*/ 344736 h 366631"/>
                  <a:gd name="connsiteX11" fmla="*/ 220114 w 258716"/>
                  <a:gd name="connsiteY11" fmla="*/ 366522 h 366631"/>
                  <a:gd name="connsiteX12" fmla="*/ 231648 w 258716"/>
                  <a:gd name="connsiteY12" fmla="*/ 348580 h 366631"/>
                  <a:gd name="connsiteX13" fmla="*/ 220114 w 258716"/>
                  <a:gd name="connsiteY13" fmla="*/ 343454 h 366631"/>
                  <a:gd name="connsiteX14" fmla="*/ 203454 w 258716"/>
                  <a:gd name="connsiteY14" fmla="*/ 296037 h 366631"/>
                  <a:gd name="connsiteX15" fmla="*/ 234211 w 258716"/>
                  <a:gd name="connsiteY15" fmla="*/ 312697 h 366631"/>
                  <a:gd name="connsiteX16" fmla="*/ 254716 w 258716"/>
                  <a:gd name="connsiteY16" fmla="*/ 325513 h 366631"/>
                  <a:gd name="connsiteX17" fmla="*/ 247026 w 258716"/>
                  <a:gd name="connsiteY17" fmla="*/ 305008 h 366631"/>
                  <a:gd name="connsiteX18" fmla="*/ 235492 w 258716"/>
                  <a:gd name="connsiteY18" fmla="*/ 308853 h 366631"/>
                  <a:gd name="connsiteX19" fmla="*/ 202172 w 258716"/>
                  <a:gd name="connsiteY19" fmla="*/ 289629 h 366631"/>
                  <a:gd name="connsiteX20" fmla="*/ 194483 w 258716"/>
                  <a:gd name="connsiteY20" fmla="*/ 269125 h 366631"/>
                  <a:gd name="connsiteX21" fmla="*/ 188075 w 258716"/>
                  <a:gd name="connsiteY21" fmla="*/ 248620 h 366631"/>
                  <a:gd name="connsiteX22" fmla="*/ 177823 w 258716"/>
                  <a:gd name="connsiteY22" fmla="*/ 265280 h 366631"/>
                  <a:gd name="connsiteX23" fmla="*/ 189356 w 258716"/>
                  <a:gd name="connsiteY23" fmla="*/ 270406 h 366631"/>
                  <a:gd name="connsiteX24" fmla="*/ 194483 w 258716"/>
                  <a:gd name="connsiteY24" fmla="*/ 285785 h 366631"/>
                  <a:gd name="connsiteX25" fmla="*/ 153473 w 258716"/>
                  <a:gd name="connsiteY25" fmla="*/ 265280 h 366631"/>
                  <a:gd name="connsiteX26" fmla="*/ 134250 w 258716"/>
                  <a:gd name="connsiteY26" fmla="*/ 214018 h 366631"/>
                  <a:gd name="connsiteX27" fmla="*/ 129124 w 258716"/>
                  <a:gd name="connsiteY27" fmla="*/ 193513 h 366631"/>
                  <a:gd name="connsiteX28" fmla="*/ 118871 w 258716"/>
                  <a:gd name="connsiteY28" fmla="*/ 210173 h 366631"/>
                  <a:gd name="connsiteX29" fmla="*/ 130405 w 258716"/>
                  <a:gd name="connsiteY29" fmla="*/ 215300 h 366631"/>
                  <a:gd name="connsiteX30" fmla="*/ 147066 w 258716"/>
                  <a:gd name="connsiteY30" fmla="*/ 261435 h 366631"/>
                  <a:gd name="connsiteX31" fmla="*/ 106056 w 258716"/>
                  <a:gd name="connsiteY31" fmla="*/ 240931 h 366631"/>
                  <a:gd name="connsiteX32" fmla="*/ 17629 w 258716"/>
                  <a:gd name="connsiteY32" fmla="*/ 17942 h 366631"/>
                  <a:gd name="connsiteX33" fmla="*/ 11221 w 258716"/>
                  <a:gd name="connsiteY33" fmla="*/ 0 h 366631"/>
                  <a:gd name="connsiteX34" fmla="*/ 6095 w 258716"/>
                  <a:gd name="connsiteY34" fmla="*/ 0 h 366631"/>
                  <a:gd name="connsiteX35" fmla="*/ 969 w 258716"/>
                  <a:gd name="connsiteY35" fmla="*/ 12815 h 36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8716" h="366631">
                    <a:moveTo>
                      <a:pt x="969" y="12815"/>
                    </a:moveTo>
                    <a:cubicBezTo>
                      <a:pt x="4813" y="17942"/>
                      <a:pt x="8658" y="17942"/>
                      <a:pt x="12503" y="19223"/>
                    </a:cubicBezTo>
                    <a:cubicBezTo>
                      <a:pt x="43260" y="89708"/>
                      <a:pt x="72735" y="165319"/>
                      <a:pt x="100930" y="244775"/>
                    </a:cubicBezTo>
                    <a:lnTo>
                      <a:pt x="148347" y="269125"/>
                    </a:lnTo>
                    <a:cubicBezTo>
                      <a:pt x="154755" y="285785"/>
                      <a:pt x="161163" y="303726"/>
                      <a:pt x="166289" y="320386"/>
                    </a:cubicBezTo>
                    <a:cubicBezTo>
                      <a:pt x="153473" y="329357"/>
                      <a:pt x="165007" y="340891"/>
                      <a:pt x="171415" y="342173"/>
                    </a:cubicBezTo>
                    <a:cubicBezTo>
                      <a:pt x="182949" y="343454"/>
                      <a:pt x="189356" y="333202"/>
                      <a:pt x="182949" y="324231"/>
                    </a:cubicBezTo>
                    <a:cubicBezTo>
                      <a:pt x="179104" y="319105"/>
                      <a:pt x="173978" y="319105"/>
                      <a:pt x="171415" y="319105"/>
                    </a:cubicBezTo>
                    <a:cubicBezTo>
                      <a:pt x="166289" y="303726"/>
                      <a:pt x="159881" y="287066"/>
                      <a:pt x="154755" y="271688"/>
                    </a:cubicBezTo>
                    <a:lnTo>
                      <a:pt x="195765" y="292192"/>
                    </a:lnTo>
                    <a:cubicBezTo>
                      <a:pt x="202172" y="310134"/>
                      <a:pt x="208580" y="326794"/>
                      <a:pt x="214988" y="344736"/>
                    </a:cubicBezTo>
                    <a:cubicBezTo>
                      <a:pt x="202172" y="353707"/>
                      <a:pt x="213706" y="365240"/>
                      <a:pt x="220114" y="366522"/>
                    </a:cubicBezTo>
                    <a:cubicBezTo>
                      <a:pt x="231648" y="367804"/>
                      <a:pt x="238055" y="357551"/>
                      <a:pt x="231648" y="348580"/>
                    </a:cubicBezTo>
                    <a:cubicBezTo>
                      <a:pt x="227803" y="343454"/>
                      <a:pt x="222677" y="343454"/>
                      <a:pt x="220114" y="343454"/>
                    </a:cubicBezTo>
                    <a:cubicBezTo>
                      <a:pt x="214988" y="326794"/>
                      <a:pt x="208580" y="311416"/>
                      <a:pt x="203454" y="296037"/>
                    </a:cubicBezTo>
                    <a:cubicBezTo>
                      <a:pt x="212424" y="301163"/>
                      <a:pt x="225240" y="307571"/>
                      <a:pt x="234211" y="312697"/>
                    </a:cubicBezTo>
                    <a:cubicBezTo>
                      <a:pt x="232929" y="325513"/>
                      <a:pt x="247026" y="330639"/>
                      <a:pt x="254716" y="325513"/>
                    </a:cubicBezTo>
                    <a:cubicBezTo>
                      <a:pt x="262405" y="319105"/>
                      <a:pt x="258560" y="306289"/>
                      <a:pt x="247026" y="305008"/>
                    </a:cubicBezTo>
                    <a:cubicBezTo>
                      <a:pt x="243182" y="303726"/>
                      <a:pt x="239337" y="305008"/>
                      <a:pt x="235492" y="308853"/>
                    </a:cubicBezTo>
                    <a:lnTo>
                      <a:pt x="202172" y="289629"/>
                    </a:lnTo>
                    <a:cubicBezTo>
                      <a:pt x="199609" y="283222"/>
                      <a:pt x="197046" y="276814"/>
                      <a:pt x="194483" y="269125"/>
                    </a:cubicBezTo>
                    <a:cubicBezTo>
                      <a:pt x="207299" y="260154"/>
                      <a:pt x="195765" y="248620"/>
                      <a:pt x="188075" y="248620"/>
                    </a:cubicBezTo>
                    <a:cubicBezTo>
                      <a:pt x="176541" y="247338"/>
                      <a:pt x="170133" y="257591"/>
                      <a:pt x="177823" y="265280"/>
                    </a:cubicBezTo>
                    <a:cubicBezTo>
                      <a:pt x="181667" y="270406"/>
                      <a:pt x="186794" y="270406"/>
                      <a:pt x="189356" y="270406"/>
                    </a:cubicBezTo>
                    <a:cubicBezTo>
                      <a:pt x="190638" y="275532"/>
                      <a:pt x="193201" y="280658"/>
                      <a:pt x="194483" y="285785"/>
                    </a:cubicBezTo>
                    <a:lnTo>
                      <a:pt x="153473" y="265280"/>
                    </a:lnTo>
                    <a:cubicBezTo>
                      <a:pt x="147066" y="248620"/>
                      <a:pt x="140658" y="230678"/>
                      <a:pt x="134250" y="214018"/>
                    </a:cubicBezTo>
                    <a:cubicBezTo>
                      <a:pt x="147066" y="205047"/>
                      <a:pt x="135532" y="194795"/>
                      <a:pt x="129124" y="193513"/>
                    </a:cubicBezTo>
                    <a:cubicBezTo>
                      <a:pt x="118871" y="192232"/>
                      <a:pt x="111182" y="202484"/>
                      <a:pt x="118871" y="210173"/>
                    </a:cubicBezTo>
                    <a:cubicBezTo>
                      <a:pt x="122716" y="214018"/>
                      <a:pt x="127842" y="215300"/>
                      <a:pt x="130405" y="215300"/>
                    </a:cubicBezTo>
                    <a:cubicBezTo>
                      <a:pt x="135532" y="230678"/>
                      <a:pt x="141939" y="246057"/>
                      <a:pt x="147066" y="261435"/>
                    </a:cubicBezTo>
                    <a:lnTo>
                      <a:pt x="106056" y="240931"/>
                    </a:lnTo>
                    <a:cubicBezTo>
                      <a:pt x="77862" y="161475"/>
                      <a:pt x="48386" y="87145"/>
                      <a:pt x="17629" y="17942"/>
                    </a:cubicBezTo>
                    <a:cubicBezTo>
                      <a:pt x="29163" y="10252"/>
                      <a:pt x="18911" y="0"/>
                      <a:pt x="11221" y="0"/>
                    </a:cubicBezTo>
                    <a:cubicBezTo>
                      <a:pt x="9940" y="0"/>
                      <a:pt x="7377" y="0"/>
                      <a:pt x="6095" y="0"/>
                    </a:cubicBezTo>
                    <a:cubicBezTo>
                      <a:pt x="-1594" y="1282"/>
                      <a:pt x="-313" y="8971"/>
                      <a:pt x="969"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7" name="Freeform: Shape 379605">
                <a:extLst>
                  <a:ext uri="{FF2B5EF4-FFF2-40B4-BE49-F238E27FC236}">
                    <a16:creationId xmlns:a16="http://schemas.microsoft.com/office/drawing/2014/main" id="{F7FEC403-0007-43F3-919E-357236DFE8A0}"/>
                  </a:ext>
                </a:extLst>
              </p:cNvPr>
              <p:cNvSpPr/>
              <p:nvPr/>
            </p:nvSpPr>
            <p:spPr>
              <a:xfrm>
                <a:off x="6909054" y="2455306"/>
                <a:ext cx="72659" cy="136912"/>
              </a:xfrm>
              <a:custGeom>
                <a:avLst/>
                <a:gdLst>
                  <a:gd name="connsiteX0" fmla="*/ 54555 w 72659"/>
                  <a:gd name="connsiteY0" fmla="*/ 129436 h 136912"/>
                  <a:gd name="connsiteX1" fmla="*/ 72497 w 72659"/>
                  <a:gd name="connsiteY1" fmla="*/ 133281 h 136912"/>
                  <a:gd name="connsiteX2" fmla="*/ 57118 w 72659"/>
                  <a:gd name="connsiteY2" fmla="*/ 116621 h 136912"/>
                  <a:gd name="connsiteX3" fmla="*/ 7138 w 72659"/>
                  <a:gd name="connsiteY3" fmla="*/ 41009 h 136912"/>
                  <a:gd name="connsiteX4" fmla="*/ 10982 w 72659"/>
                  <a:gd name="connsiteY4" fmla="*/ 17942 h 136912"/>
                  <a:gd name="connsiteX5" fmla="*/ 19953 w 72659"/>
                  <a:gd name="connsiteY5" fmla="*/ 12815 h 136912"/>
                  <a:gd name="connsiteX6" fmla="*/ 3293 w 72659"/>
                  <a:gd name="connsiteY6" fmla="*/ 0 h 136912"/>
                  <a:gd name="connsiteX7" fmla="*/ 7138 w 72659"/>
                  <a:gd name="connsiteY7" fmla="*/ 15379 h 136912"/>
                  <a:gd name="connsiteX8" fmla="*/ 3293 w 72659"/>
                  <a:gd name="connsiteY8" fmla="*/ 39728 h 136912"/>
                  <a:gd name="connsiteX9" fmla="*/ 54555 w 72659"/>
                  <a:gd name="connsiteY9" fmla="*/ 116621 h 136912"/>
                  <a:gd name="connsiteX10" fmla="*/ 54555 w 72659"/>
                  <a:gd name="connsiteY10" fmla="*/ 129436 h 13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659" h="136912">
                    <a:moveTo>
                      <a:pt x="54555" y="129436"/>
                    </a:moveTo>
                    <a:cubicBezTo>
                      <a:pt x="60963" y="137125"/>
                      <a:pt x="71215" y="139688"/>
                      <a:pt x="72497" y="133281"/>
                    </a:cubicBezTo>
                    <a:cubicBezTo>
                      <a:pt x="73778" y="128155"/>
                      <a:pt x="67371" y="119184"/>
                      <a:pt x="57118" y="116621"/>
                    </a:cubicBezTo>
                    <a:cubicBezTo>
                      <a:pt x="40458" y="90990"/>
                      <a:pt x="23798" y="65359"/>
                      <a:pt x="7138" y="41009"/>
                    </a:cubicBezTo>
                    <a:cubicBezTo>
                      <a:pt x="8419" y="34602"/>
                      <a:pt x="9701" y="25631"/>
                      <a:pt x="10982" y="17942"/>
                    </a:cubicBezTo>
                    <a:cubicBezTo>
                      <a:pt x="18672" y="20505"/>
                      <a:pt x="21235" y="17942"/>
                      <a:pt x="19953" y="12815"/>
                    </a:cubicBezTo>
                    <a:cubicBezTo>
                      <a:pt x="18672" y="8971"/>
                      <a:pt x="12264" y="0"/>
                      <a:pt x="3293" y="0"/>
                    </a:cubicBezTo>
                    <a:cubicBezTo>
                      <a:pt x="-3115" y="1282"/>
                      <a:pt x="730" y="10252"/>
                      <a:pt x="7138" y="15379"/>
                    </a:cubicBezTo>
                    <a:lnTo>
                      <a:pt x="3293" y="39728"/>
                    </a:lnTo>
                    <a:cubicBezTo>
                      <a:pt x="21235" y="65359"/>
                      <a:pt x="37895" y="90990"/>
                      <a:pt x="54555" y="116621"/>
                    </a:cubicBezTo>
                    <a:cubicBezTo>
                      <a:pt x="46866" y="121747"/>
                      <a:pt x="53273" y="129436"/>
                      <a:pt x="54555" y="12943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8" name="Freeform: Shape 379606">
                <a:extLst>
                  <a:ext uri="{FF2B5EF4-FFF2-40B4-BE49-F238E27FC236}">
                    <a16:creationId xmlns:a16="http://schemas.microsoft.com/office/drawing/2014/main" id="{529B2778-4D6B-4461-9D54-A6E8B9C0305F}"/>
                  </a:ext>
                </a:extLst>
              </p:cNvPr>
              <p:cNvSpPr/>
              <p:nvPr/>
            </p:nvSpPr>
            <p:spPr>
              <a:xfrm>
                <a:off x="7271181" y="2548859"/>
                <a:ext cx="100065" cy="240237"/>
              </a:xfrm>
              <a:custGeom>
                <a:avLst/>
                <a:gdLst>
                  <a:gd name="connsiteX0" fmla="*/ 87145 w 100065"/>
                  <a:gd name="connsiteY0" fmla="*/ 231960 h 240237"/>
                  <a:gd name="connsiteX1" fmla="*/ 99961 w 100065"/>
                  <a:gd name="connsiteY1" fmla="*/ 239649 h 240237"/>
                  <a:gd name="connsiteX2" fmla="*/ 94835 w 100065"/>
                  <a:gd name="connsiteY2" fmla="*/ 222989 h 240237"/>
                  <a:gd name="connsiteX3" fmla="*/ 90990 w 100065"/>
                  <a:gd name="connsiteY3" fmla="*/ 133281 h 240237"/>
                  <a:gd name="connsiteX4" fmla="*/ 16660 w 100065"/>
                  <a:gd name="connsiteY4" fmla="*/ 20505 h 240237"/>
                  <a:gd name="connsiteX5" fmla="*/ 1282 w 100065"/>
                  <a:gd name="connsiteY5" fmla="*/ 0 h 240237"/>
                  <a:gd name="connsiteX6" fmla="*/ 0 w 100065"/>
                  <a:gd name="connsiteY6" fmla="*/ 1282 h 240237"/>
                  <a:gd name="connsiteX7" fmla="*/ 15379 w 100065"/>
                  <a:gd name="connsiteY7" fmla="*/ 20505 h 240237"/>
                  <a:gd name="connsiteX8" fmla="*/ 88427 w 100065"/>
                  <a:gd name="connsiteY8" fmla="*/ 130718 h 240237"/>
                  <a:gd name="connsiteX9" fmla="*/ 89709 w 100065"/>
                  <a:gd name="connsiteY9" fmla="*/ 219144 h 240237"/>
                  <a:gd name="connsiteX10" fmla="*/ 84583 w 100065"/>
                  <a:gd name="connsiteY10" fmla="*/ 217863 h 240237"/>
                  <a:gd name="connsiteX11" fmla="*/ 87145 w 100065"/>
                  <a:gd name="connsiteY11" fmla="*/ 231960 h 24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065" h="240237">
                    <a:moveTo>
                      <a:pt x="87145" y="231960"/>
                    </a:moveTo>
                    <a:cubicBezTo>
                      <a:pt x="89709" y="235804"/>
                      <a:pt x="94835" y="242212"/>
                      <a:pt x="99961" y="239649"/>
                    </a:cubicBezTo>
                    <a:cubicBezTo>
                      <a:pt x="99961" y="237086"/>
                      <a:pt x="101243" y="233241"/>
                      <a:pt x="94835" y="222989"/>
                    </a:cubicBezTo>
                    <a:cubicBezTo>
                      <a:pt x="93554" y="196077"/>
                      <a:pt x="93554" y="160193"/>
                      <a:pt x="90990" y="133281"/>
                    </a:cubicBezTo>
                    <a:cubicBezTo>
                      <a:pt x="67922" y="94834"/>
                      <a:pt x="42291" y="57670"/>
                      <a:pt x="16660" y="20505"/>
                    </a:cubicBezTo>
                    <a:cubicBezTo>
                      <a:pt x="19223" y="15379"/>
                      <a:pt x="6408" y="1282"/>
                      <a:pt x="1282" y="0"/>
                    </a:cubicBezTo>
                    <a:cubicBezTo>
                      <a:pt x="1282" y="0"/>
                      <a:pt x="0" y="0"/>
                      <a:pt x="0" y="1282"/>
                    </a:cubicBezTo>
                    <a:cubicBezTo>
                      <a:pt x="0" y="8971"/>
                      <a:pt x="10253" y="17942"/>
                      <a:pt x="15379" y="20505"/>
                    </a:cubicBezTo>
                    <a:cubicBezTo>
                      <a:pt x="41010" y="56388"/>
                      <a:pt x="65359" y="92271"/>
                      <a:pt x="88427" y="130718"/>
                    </a:cubicBezTo>
                    <a:cubicBezTo>
                      <a:pt x="88427" y="157630"/>
                      <a:pt x="90990" y="193513"/>
                      <a:pt x="89709" y="219144"/>
                    </a:cubicBezTo>
                    <a:cubicBezTo>
                      <a:pt x="87145" y="216581"/>
                      <a:pt x="85864" y="217863"/>
                      <a:pt x="84583" y="217863"/>
                    </a:cubicBezTo>
                    <a:cubicBezTo>
                      <a:pt x="83301" y="219144"/>
                      <a:pt x="82020" y="222989"/>
                      <a:pt x="87145" y="2319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79" name="Freeform: Shape 379607">
                <a:extLst>
                  <a:ext uri="{FF2B5EF4-FFF2-40B4-BE49-F238E27FC236}">
                    <a16:creationId xmlns:a16="http://schemas.microsoft.com/office/drawing/2014/main" id="{1FB6369F-5BFB-421F-AB8B-1E728A32F4B1}"/>
                  </a:ext>
                </a:extLst>
              </p:cNvPr>
              <p:cNvSpPr/>
              <p:nvPr/>
            </p:nvSpPr>
            <p:spPr>
              <a:xfrm>
                <a:off x="7284320" y="2550141"/>
                <a:ext cx="78077" cy="110212"/>
              </a:xfrm>
              <a:custGeom>
                <a:avLst/>
                <a:gdLst>
                  <a:gd name="connsiteX0" fmla="*/ 6084 w 78077"/>
                  <a:gd name="connsiteY0" fmla="*/ 12815 h 110212"/>
                  <a:gd name="connsiteX1" fmla="*/ 15055 w 78077"/>
                  <a:gd name="connsiteY1" fmla="*/ 20505 h 110212"/>
                  <a:gd name="connsiteX2" fmla="*/ 62472 w 78077"/>
                  <a:gd name="connsiteY2" fmla="*/ 89708 h 110212"/>
                  <a:gd name="connsiteX3" fmla="*/ 76569 w 78077"/>
                  <a:gd name="connsiteY3" fmla="*/ 110213 h 110212"/>
                  <a:gd name="connsiteX4" fmla="*/ 68880 w 78077"/>
                  <a:gd name="connsiteY4" fmla="*/ 93553 h 110212"/>
                  <a:gd name="connsiteX5" fmla="*/ 63754 w 78077"/>
                  <a:gd name="connsiteY5" fmla="*/ 89708 h 110212"/>
                  <a:gd name="connsiteX6" fmla="*/ 16337 w 78077"/>
                  <a:gd name="connsiteY6" fmla="*/ 20505 h 110212"/>
                  <a:gd name="connsiteX7" fmla="*/ 958 w 78077"/>
                  <a:gd name="connsiteY7" fmla="*/ 0 h 110212"/>
                  <a:gd name="connsiteX8" fmla="*/ 6084 w 78077"/>
                  <a:gd name="connsiteY8" fmla="*/ 12815 h 11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77" h="110212">
                    <a:moveTo>
                      <a:pt x="6084" y="12815"/>
                    </a:moveTo>
                    <a:cubicBezTo>
                      <a:pt x="8647" y="15379"/>
                      <a:pt x="11210" y="19223"/>
                      <a:pt x="15055" y="20505"/>
                    </a:cubicBezTo>
                    <a:cubicBezTo>
                      <a:pt x="31715" y="43573"/>
                      <a:pt x="47094" y="66640"/>
                      <a:pt x="62472" y="89708"/>
                    </a:cubicBezTo>
                    <a:cubicBezTo>
                      <a:pt x="58628" y="93553"/>
                      <a:pt x="72725" y="110213"/>
                      <a:pt x="76569" y="110213"/>
                    </a:cubicBezTo>
                    <a:cubicBezTo>
                      <a:pt x="80414" y="110213"/>
                      <a:pt x="76569" y="99961"/>
                      <a:pt x="68880" y="93553"/>
                    </a:cubicBezTo>
                    <a:cubicBezTo>
                      <a:pt x="66317" y="90990"/>
                      <a:pt x="65035" y="90990"/>
                      <a:pt x="63754" y="89708"/>
                    </a:cubicBezTo>
                    <a:cubicBezTo>
                      <a:pt x="48375" y="66640"/>
                      <a:pt x="31715" y="42291"/>
                      <a:pt x="16337" y="20505"/>
                    </a:cubicBezTo>
                    <a:cubicBezTo>
                      <a:pt x="18899" y="16660"/>
                      <a:pt x="7366" y="1282"/>
                      <a:pt x="958" y="0"/>
                    </a:cubicBezTo>
                    <a:cubicBezTo>
                      <a:pt x="-2887" y="1282"/>
                      <a:pt x="6084" y="12815"/>
                      <a:pt x="6084"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0" name="Freeform: Shape 379608">
                <a:extLst>
                  <a:ext uri="{FF2B5EF4-FFF2-40B4-BE49-F238E27FC236}">
                    <a16:creationId xmlns:a16="http://schemas.microsoft.com/office/drawing/2014/main" id="{81802E36-10A9-409E-A3A0-06B93D45DAE3}"/>
                  </a:ext>
                </a:extLst>
              </p:cNvPr>
              <p:cNvSpPr/>
              <p:nvPr/>
            </p:nvSpPr>
            <p:spPr>
              <a:xfrm>
                <a:off x="4184363" y="3146059"/>
                <a:ext cx="45901" cy="203765"/>
              </a:xfrm>
              <a:custGeom>
                <a:avLst/>
                <a:gdLst>
                  <a:gd name="connsiteX0" fmla="*/ 38010 w 45901"/>
                  <a:gd name="connsiteY0" fmla="*/ 16660 h 203765"/>
                  <a:gd name="connsiteX1" fmla="*/ 38010 w 45901"/>
                  <a:gd name="connsiteY1" fmla="*/ 25631 h 203765"/>
                  <a:gd name="connsiteX2" fmla="*/ 4690 w 45901"/>
                  <a:gd name="connsiteY2" fmla="*/ 179416 h 203765"/>
                  <a:gd name="connsiteX3" fmla="*/ 845 w 45901"/>
                  <a:gd name="connsiteY3" fmla="*/ 203766 h 203765"/>
                  <a:gd name="connsiteX4" fmla="*/ 5971 w 45901"/>
                  <a:gd name="connsiteY4" fmla="*/ 178135 h 203765"/>
                  <a:gd name="connsiteX5" fmla="*/ 39292 w 45901"/>
                  <a:gd name="connsiteY5" fmla="*/ 24349 h 203765"/>
                  <a:gd name="connsiteX6" fmla="*/ 45700 w 45901"/>
                  <a:gd name="connsiteY6" fmla="*/ 0 h 203765"/>
                  <a:gd name="connsiteX7" fmla="*/ 45700 w 45901"/>
                  <a:gd name="connsiteY7" fmla="*/ 0 h 203765"/>
                  <a:gd name="connsiteX8" fmla="*/ 38010 w 45901"/>
                  <a:gd name="connsiteY8" fmla="*/ 16660 h 20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01" h="203765">
                    <a:moveTo>
                      <a:pt x="38010" y="16660"/>
                    </a:moveTo>
                    <a:cubicBezTo>
                      <a:pt x="36729" y="23068"/>
                      <a:pt x="36729" y="24349"/>
                      <a:pt x="38010" y="25631"/>
                    </a:cubicBezTo>
                    <a:cubicBezTo>
                      <a:pt x="25195" y="75611"/>
                      <a:pt x="13661" y="128155"/>
                      <a:pt x="4690" y="179416"/>
                    </a:cubicBezTo>
                    <a:cubicBezTo>
                      <a:pt x="2127" y="184543"/>
                      <a:pt x="-1718" y="199921"/>
                      <a:pt x="845" y="203766"/>
                    </a:cubicBezTo>
                    <a:cubicBezTo>
                      <a:pt x="4690" y="201203"/>
                      <a:pt x="8535" y="181979"/>
                      <a:pt x="5971" y="178135"/>
                    </a:cubicBezTo>
                    <a:cubicBezTo>
                      <a:pt x="14942" y="125592"/>
                      <a:pt x="26476" y="74330"/>
                      <a:pt x="39292" y="24349"/>
                    </a:cubicBezTo>
                    <a:cubicBezTo>
                      <a:pt x="41855" y="19223"/>
                      <a:pt x="46981" y="5126"/>
                      <a:pt x="45700" y="0"/>
                    </a:cubicBezTo>
                    <a:cubicBezTo>
                      <a:pt x="45700" y="0"/>
                      <a:pt x="45700" y="0"/>
                      <a:pt x="45700" y="0"/>
                    </a:cubicBezTo>
                    <a:cubicBezTo>
                      <a:pt x="41855" y="5126"/>
                      <a:pt x="39292" y="12816"/>
                      <a:pt x="38010"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1" name="Freeform: Shape 379609">
                <a:extLst>
                  <a:ext uri="{FF2B5EF4-FFF2-40B4-BE49-F238E27FC236}">
                    <a16:creationId xmlns:a16="http://schemas.microsoft.com/office/drawing/2014/main" id="{12809169-05E5-468A-8A0A-24D94CFE887C}"/>
                  </a:ext>
                </a:extLst>
              </p:cNvPr>
              <p:cNvSpPr/>
              <p:nvPr/>
            </p:nvSpPr>
            <p:spPr>
              <a:xfrm>
                <a:off x="4405464" y="3148622"/>
                <a:ext cx="24139" cy="94834"/>
              </a:xfrm>
              <a:custGeom>
                <a:avLst/>
                <a:gdLst>
                  <a:gd name="connsiteX0" fmla="*/ 9142 w 24139"/>
                  <a:gd name="connsiteY0" fmla="*/ 16660 h 94834"/>
                  <a:gd name="connsiteX1" fmla="*/ 12987 w 24139"/>
                  <a:gd name="connsiteY1" fmla="*/ 24349 h 94834"/>
                  <a:gd name="connsiteX2" fmla="*/ 6579 w 24139"/>
                  <a:gd name="connsiteY2" fmla="*/ 70485 h 94834"/>
                  <a:gd name="connsiteX3" fmla="*/ 4016 w 24139"/>
                  <a:gd name="connsiteY3" fmla="*/ 94834 h 94834"/>
                  <a:gd name="connsiteX4" fmla="*/ 11705 w 24139"/>
                  <a:gd name="connsiteY4" fmla="*/ 70485 h 94834"/>
                  <a:gd name="connsiteX5" fmla="*/ 10424 w 24139"/>
                  <a:gd name="connsiteY5" fmla="*/ 69203 h 94834"/>
                  <a:gd name="connsiteX6" fmla="*/ 16831 w 24139"/>
                  <a:gd name="connsiteY6" fmla="*/ 23068 h 94834"/>
                  <a:gd name="connsiteX7" fmla="*/ 20676 w 24139"/>
                  <a:gd name="connsiteY7" fmla="*/ 0 h 94834"/>
                  <a:gd name="connsiteX8" fmla="*/ 19394 w 24139"/>
                  <a:gd name="connsiteY8" fmla="*/ 0 h 94834"/>
                  <a:gd name="connsiteX9" fmla="*/ 9142 w 24139"/>
                  <a:gd name="connsiteY9" fmla="*/ 16660 h 9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9" h="94834">
                    <a:moveTo>
                      <a:pt x="9142" y="16660"/>
                    </a:moveTo>
                    <a:cubicBezTo>
                      <a:pt x="9142" y="19223"/>
                      <a:pt x="9142" y="23068"/>
                      <a:pt x="12987" y="24349"/>
                    </a:cubicBezTo>
                    <a:cubicBezTo>
                      <a:pt x="10424" y="39728"/>
                      <a:pt x="9142" y="55106"/>
                      <a:pt x="6579" y="70485"/>
                    </a:cubicBezTo>
                    <a:cubicBezTo>
                      <a:pt x="-2392" y="78174"/>
                      <a:pt x="-1110" y="94834"/>
                      <a:pt x="4016" y="94834"/>
                    </a:cubicBezTo>
                    <a:cubicBezTo>
                      <a:pt x="10424" y="94834"/>
                      <a:pt x="16831" y="75611"/>
                      <a:pt x="11705" y="70485"/>
                    </a:cubicBezTo>
                    <a:cubicBezTo>
                      <a:pt x="11705" y="70485"/>
                      <a:pt x="10424" y="70485"/>
                      <a:pt x="10424" y="69203"/>
                    </a:cubicBezTo>
                    <a:cubicBezTo>
                      <a:pt x="11705" y="53825"/>
                      <a:pt x="14268" y="38446"/>
                      <a:pt x="16831" y="23068"/>
                    </a:cubicBezTo>
                    <a:cubicBezTo>
                      <a:pt x="25802" y="15379"/>
                      <a:pt x="25802" y="0"/>
                      <a:pt x="20676" y="0"/>
                    </a:cubicBezTo>
                    <a:cubicBezTo>
                      <a:pt x="20676" y="0"/>
                      <a:pt x="19394" y="0"/>
                      <a:pt x="19394" y="0"/>
                    </a:cubicBezTo>
                    <a:cubicBezTo>
                      <a:pt x="11705" y="3845"/>
                      <a:pt x="9142" y="14097"/>
                      <a:pt x="914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2" name="Freeform: Shape 379610">
                <a:extLst>
                  <a:ext uri="{FF2B5EF4-FFF2-40B4-BE49-F238E27FC236}">
                    <a16:creationId xmlns:a16="http://schemas.microsoft.com/office/drawing/2014/main" id="{AB9511AD-6FE9-4866-B739-90FD21D07919}"/>
                  </a:ext>
                </a:extLst>
              </p:cNvPr>
              <p:cNvSpPr/>
              <p:nvPr/>
            </p:nvSpPr>
            <p:spPr>
              <a:xfrm>
                <a:off x="4425968" y="3140933"/>
                <a:ext cx="22858" cy="94834"/>
              </a:xfrm>
              <a:custGeom>
                <a:avLst/>
                <a:gdLst>
                  <a:gd name="connsiteX0" fmla="*/ 9142 w 22858"/>
                  <a:gd name="connsiteY0" fmla="*/ 16660 h 94834"/>
                  <a:gd name="connsiteX1" fmla="*/ 12987 w 22858"/>
                  <a:gd name="connsiteY1" fmla="*/ 24349 h 94834"/>
                  <a:gd name="connsiteX2" fmla="*/ 6579 w 22858"/>
                  <a:gd name="connsiteY2" fmla="*/ 70485 h 94834"/>
                  <a:gd name="connsiteX3" fmla="*/ 4016 w 22858"/>
                  <a:gd name="connsiteY3" fmla="*/ 94834 h 94834"/>
                  <a:gd name="connsiteX4" fmla="*/ 11705 w 22858"/>
                  <a:gd name="connsiteY4" fmla="*/ 70485 h 94834"/>
                  <a:gd name="connsiteX5" fmla="*/ 9142 w 22858"/>
                  <a:gd name="connsiteY5" fmla="*/ 69203 h 94834"/>
                  <a:gd name="connsiteX6" fmla="*/ 15550 w 22858"/>
                  <a:gd name="connsiteY6" fmla="*/ 23068 h 94834"/>
                  <a:gd name="connsiteX7" fmla="*/ 19395 w 22858"/>
                  <a:gd name="connsiteY7" fmla="*/ 0 h 94834"/>
                  <a:gd name="connsiteX8" fmla="*/ 18113 w 22858"/>
                  <a:gd name="connsiteY8" fmla="*/ 0 h 94834"/>
                  <a:gd name="connsiteX9" fmla="*/ 9142 w 22858"/>
                  <a:gd name="connsiteY9" fmla="*/ 16660 h 9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8" h="94834">
                    <a:moveTo>
                      <a:pt x="9142" y="16660"/>
                    </a:moveTo>
                    <a:cubicBezTo>
                      <a:pt x="9142" y="19223"/>
                      <a:pt x="9142" y="23068"/>
                      <a:pt x="12987" y="24349"/>
                    </a:cubicBezTo>
                    <a:cubicBezTo>
                      <a:pt x="10424" y="39728"/>
                      <a:pt x="9142" y="55106"/>
                      <a:pt x="6579" y="70485"/>
                    </a:cubicBezTo>
                    <a:cubicBezTo>
                      <a:pt x="-2392" y="78174"/>
                      <a:pt x="-1110" y="94834"/>
                      <a:pt x="4016" y="94834"/>
                    </a:cubicBezTo>
                    <a:cubicBezTo>
                      <a:pt x="11705" y="94834"/>
                      <a:pt x="16831" y="75611"/>
                      <a:pt x="11705" y="70485"/>
                    </a:cubicBezTo>
                    <a:cubicBezTo>
                      <a:pt x="11705" y="70485"/>
                      <a:pt x="10424" y="70485"/>
                      <a:pt x="9142" y="69203"/>
                    </a:cubicBezTo>
                    <a:cubicBezTo>
                      <a:pt x="10424" y="53825"/>
                      <a:pt x="12987" y="38446"/>
                      <a:pt x="15550" y="23068"/>
                    </a:cubicBezTo>
                    <a:cubicBezTo>
                      <a:pt x="24521" y="15379"/>
                      <a:pt x="24521" y="0"/>
                      <a:pt x="19395" y="0"/>
                    </a:cubicBezTo>
                    <a:cubicBezTo>
                      <a:pt x="19395" y="0"/>
                      <a:pt x="18113" y="0"/>
                      <a:pt x="18113" y="0"/>
                    </a:cubicBezTo>
                    <a:cubicBezTo>
                      <a:pt x="10424" y="3845"/>
                      <a:pt x="9142" y="12816"/>
                      <a:pt x="914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3" name="Freeform: Shape 379611">
                <a:extLst>
                  <a:ext uri="{FF2B5EF4-FFF2-40B4-BE49-F238E27FC236}">
                    <a16:creationId xmlns:a16="http://schemas.microsoft.com/office/drawing/2014/main" id="{17BAA1D0-89A6-4598-923E-BEF4E109487A}"/>
                  </a:ext>
                </a:extLst>
              </p:cNvPr>
              <p:cNvSpPr/>
              <p:nvPr/>
            </p:nvSpPr>
            <p:spPr>
              <a:xfrm>
                <a:off x="5609731" y="2862268"/>
                <a:ext cx="52579" cy="155181"/>
              </a:xfrm>
              <a:custGeom>
                <a:avLst/>
                <a:gdLst>
                  <a:gd name="connsiteX0" fmla="*/ 561 w 52579"/>
                  <a:gd name="connsiteY0" fmla="*/ 15948 h 155181"/>
                  <a:gd name="connsiteX1" fmla="*/ 12095 w 52579"/>
                  <a:gd name="connsiteY1" fmla="*/ 22356 h 155181"/>
                  <a:gd name="connsiteX2" fmla="*/ 33881 w 52579"/>
                  <a:gd name="connsiteY2" fmla="*/ 132569 h 155181"/>
                  <a:gd name="connsiteX3" fmla="*/ 33881 w 52579"/>
                  <a:gd name="connsiteY3" fmla="*/ 154355 h 155181"/>
                  <a:gd name="connsiteX4" fmla="*/ 51823 w 52579"/>
                  <a:gd name="connsiteY4" fmla="*/ 137695 h 155181"/>
                  <a:gd name="connsiteX5" fmla="*/ 40289 w 52579"/>
                  <a:gd name="connsiteY5" fmla="*/ 131287 h 155181"/>
                  <a:gd name="connsiteX6" fmla="*/ 18502 w 52579"/>
                  <a:gd name="connsiteY6" fmla="*/ 22356 h 155181"/>
                  <a:gd name="connsiteX7" fmla="*/ 18502 w 52579"/>
                  <a:gd name="connsiteY7" fmla="*/ 570 h 155181"/>
                  <a:gd name="connsiteX8" fmla="*/ 10813 w 52579"/>
                  <a:gd name="connsiteY8" fmla="*/ 570 h 155181"/>
                  <a:gd name="connsiteX9" fmla="*/ 561 w 52579"/>
                  <a:gd name="connsiteY9" fmla="*/ 15948 h 15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79" h="155181">
                    <a:moveTo>
                      <a:pt x="561" y="15948"/>
                    </a:moveTo>
                    <a:cubicBezTo>
                      <a:pt x="1842" y="18511"/>
                      <a:pt x="4406" y="22356"/>
                      <a:pt x="12095" y="22356"/>
                    </a:cubicBezTo>
                    <a:cubicBezTo>
                      <a:pt x="19784" y="58239"/>
                      <a:pt x="26192" y="94122"/>
                      <a:pt x="33881" y="132569"/>
                    </a:cubicBezTo>
                    <a:cubicBezTo>
                      <a:pt x="21065" y="138977"/>
                      <a:pt x="24910" y="151792"/>
                      <a:pt x="33881" y="154355"/>
                    </a:cubicBezTo>
                    <a:cubicBezTo>
                      <a:pt x="44133" y="158200"/>
                      <a:pt x="55667" y="147947"/>
                      <a:pt x="51823" y="137695"/>
                    </a:cubicBezTo>
                    <a:cubicBezTo>
                      <a:pt x="50541" y="135132"/>
                      <a:pt x="47978" y="131287"/>
                      <a:pt x="40289" y="131287"/>
                    </a:cubicBezTo>
                    <a:cubicBezTo>
                      <a:pt x="32599" y="94122"/>
                      <a:pt x="24910" y="56958"/>
                      <a:pt x="18502" y="22356"/>
                    </a:cubicBezTo>
                    <a:cubicBezTo>
                      <a:pt x="30036" y="15948"/>
                      <a:pt x="27473" y="4414"/>
                      <a:pt x="18502" y="570"/>
                    </a:cubicBezTo>
                    <a:cubicBezTo>
                      <a:pt x="15940" y="-712"/>
                      <a:pt x="13376" y="570"/>
                      <a:pt x="10813" y="570"/>
                    </a:cubicBezTo>
                    <a:cubicBezTo>
                      <a:pt x="-721" y="4414"/>
                      <a:pt x="-721" y="13385"/>
                      <a:pt x="561" y="1594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4" name="Freeform: Shape 379612">
                <a:extLst>
                  <a:ext uri="{FF2B5EF4-FFF2-40B4-BE49-F238E27FC236}">
                    <a16:creationId xmlns:a16="http://schemas.microsoft.com/office/drawing/2014/main" id="{2F5307D6-23CE-49B1-A372-DF49B2E057CA}"/>
                  </a:ext>
                </a:extLst>
              </p:cNvPr>
              <p:cNvSpPr/>
              <p:nvPr/>
            </p:nvSpPr>
            <p:spPr>
              <a:xfrm>
                <a:off x="5984651" y="2743084"/>
                <a:ext cx="33256" cy="53943"/>
              </a:xfrm>
              <a:custGeom>
                <a:avLst/>
                <a:gdLst>
                  <a:gd name="connsiteX0" fmla="*/ 1135 w 33256"/>
                  <a:gd name="connsiteY0" fmla="*/ 15948 h 53943"/>
                  <a:gd name="connsiteX1" fmla="*/ 12669 w 33256"/>
                  <a:gd name="connsiteY1" fmla="*/ 22356 h 53943"/>
                  <a:gd name="connsiteX2" fmla="*/ 15232 w 33256"/>
                  <a:gd name="connsiteY2" fmla="*/ 32608 h 53943"/>
                  <a:gd name="connsiteX3" fmla="*/ 16514 w 33256"/>
                  <a:gd name="connsiteY3" fmla="*/ 53113 h 53943"/>
                  <a:gd name="connsiteX4" fmla="*/ 31893 w 33256"/>
                  <a:gd name="connsiteY4" fmla="*/ 37734 h 53943"/>
                  <a:gd name="connsiteX5" fmla="*/ 20359 w 33256"/>
                  <a:gd name="connsiteY5" fmla="*/ 31327 h 53943"/>
                  <a:gd name="connsiteX6" fmla="*/ 17796 w 33256"/>
                  <a:gd name="connsiteY6" fmla="*/ 21074 h 53943"/>
                  <a:gd name="connsiteX7" fmla="*/ 15232 w 33256"/>
                  <a:gd name="connsiteY7" fmla="*/ 570 h 53943"/>
                  <a:gd name="connsiteX8" fmla="*/ 7543 w 33256"/>
                  <a:gd name="connsiteY8" fmla="*/ 570 h 53943"/>
                  <a:gd name="connsiteX9" fmla="*/ 1135 w 33256"/>
                  <a:gd name="connsiteY9" fmla="*/ 15948 h 53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256" h="53943">
                    <a:moveTo>
                      <a:pt x="1135" y="15948"/>
                    </a:moveTo>
                    <a:cubicBezTo>
                      <a:pt x="2417" y="18511"/>
                      <a:pt x="6262" y="22356"/>
                      <a:pt x="12669" y="22356"/>
                    </a:cubicBezTo>
                    <a:cubicBezTo>
                      <a:pt x="13951" y="26200"/>
                      <a:pt x="15232" y="28764"/>
                      <a:pt x="15232" y="32608"/>
                    </a:cubicBezTo>
                    <a:cubicBezTo>
                      <a:pt x="3698" y="39016"/>
                      <a:pt x="8825" y="50550"/>
                      <a:pt x="16514" y="53113"/>
                    </a:cubicBezTo>
                    <a:cubicBezTo>
                      <a:pt x="26766" y="56958"/>
                      <a:pt x="37019" y="46705"/>
                      <a:pt x="31893" y="37734"/>
                    </a:cubicBezTo>
                    <a:cubicBezTo>
                      <a:pt x="30611" y="35171"/>
                      <a:pt x="26766" y="31327"/>
                      <a:pt x="20359" y="31327"/>
                    </a:cubicBezTo>
                    <a:cubicBezTo>
                      <a:pt x="19077" y="27482"/>
                      <a:pt x="17796" y="24919"/>
                      <a:pt x="17796" y="21074"/>
                    </a:cubicBezTo>
                    <a:cubicBezTo>
                      <a:pt x="29330" y="14667"/>
                      <a:pt x="24203" y="3133"/>
                      <a:pt x="15232" y="570"/>
                    </a:cubicBezTo>
                    <a:cubicBezTo>
                      <a:pt x="12669" y="-712"/>
                      <a:pt x="10106" y="570"/>
                      <a:pt x="7543" y="570"/>
                    </a:cubicBezTo>
                    <a:cubicBezTo>
                      <a:pt x="-3991" y="4414"/>
                      <a:pt x="1135" y="15948"/>
                      <a:pt x="1135" y="1594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5" name="Freeform: Shape 379613">
                <a:extLst>
                  <a:ext uri="{FF2B5EF4-FFF2-40B4-BE49-F238E27FC236}">
                    <a16:creationId xmlns:a16="http://schemas.microsoft.com/office/drawing/2014/main" id="{25FF3783-1BF5-4FBF-8B07-75FB27B1507E}"/>
                  </a:ext>
                </a:extLst>
              </p:cNvPr>
              <p:cNvSpPr/>
              <p:nvPr/>
            </p:nvSpPr>
            <p:spPr>
              <a:xfrm>
                <a:off x="6610542" y="2497597"/>
                <a:ext cx="103464" cy="165765"/>
              </a:xfrm>
              <a:custGeom>
                <a:avLst/>
                <a:gdLst>
                  <a:gd name="connsiteX0" fmla="*/ 1922 w 103464"/>
                  <a:gd name="connsiteY0" fmla="*/ 12815 h 165765"/>
                  <a:gd name="connsiteX1" fmla="*/ 13456 w 103464"/>
                  <a:gd name="connsiteY1" fmla="*/ 19223 h 165765"/>
                  <a:gd name="connsiteX2" fmla="*/ 83941 w 103464"/>
                  <a:gd name="connsiteY2" fmla="*/ 144815 h 165765"/>
                  <a:gd name="connsiteX3" fmla="*/ 92913 w 103464"/>
                  <a:gd name="connsiteY3" fmla="*/ 165319 h 165765"/>
                  <a:gd name="connsiteX4" fmla="*/ 100601 w 103464"/>
                  <a:gd name="connsiteY4" fmla="*/ 151222 h 165765"/>
                  <a:gd name="connsiteX5" fmla="*/ 89068 w 103464"/>
                  <a:gd name="connsiteY5" fmla="*/ 143533 h 165765"/>
                  <a:gd name="connsiteX6" fmla="*/ 18582 w 103464"/>
                  <a:gd name="connsiteY6" fmla="*/ 17942 h 165765"/>
                  <a:gd name="connsiteX7" fmla="*/ 9612 w 103464"/>
                  <a:gd name="connsiteY7" fmla="*/ 0 h 165765"/>
                  <a:gd name="connsiteX8" fmla="*/ 5767 w 103464"/>
                  <a:gd name="connsiteY8" fmla="*/ 0 h 165765"/>
                  <a:gd name="connsiteX9" fmla="*/ 1922 w 103464"/>
                  <a:gd name="connsiteY9" fmla="*/ 12815 h 16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464" h="165765">
                    <a:moveTo>
                      <a:pt x="1922" y="12815"/>
                    </a:moveTo>
                    <a:cubicBezTo>
                      <a:pt x="4485" y="15379"/>
                      <a:pt x="8330" y="17942"/>
                      <a:pt x="13456" y="19223"/>
                    </a:cubicBezTo>
                    <a:cubicBezTo>
                      <a:pt x="37806" y="58951"/>
                      <a:pt x="60874" y="101242"/>
                      <a:pt x="83941" y="144815"/>
                    </a:cubicBezTo>
                    <a:cubicBezTo>
                      <a:pt x="74970" y="149941"/>
                      <a:pt x="82660" y="162756"/>
                      <a:pt x="92913" y="165319"/>
                    </a:cubicBezTo>
                    <a:cubicBezTo>
                      <a:pt x="101883" y="167882"/>
                      <a:pt x="107009" y="158912"/>
                      <a:pt x="100601" y="151222"/>
                    </a:cubicBezTo>
                    <a:cubicBezTo>
                      <a:pt x="98038" y="148659"/>
                      <a:pt x="95475" y="144815"/>
                      <a:pt x="89068" y="143533"/>
                    </a:cubicBezTo>
                    <a:cubicBezTo>
                      <a:pt x="66000" y="99961"/>
                      <a:pt x="42932" y="57670"/>
                      <a:pt x="18582" y="17942"/>
                    </a:cubicBezTo>
                    <a:cubicBezTo>
                      <a:pt x="27553" y="12815"/>
                      <a:pt x="18582" y="1282"/>
                      <a:pt x="9612" y="0"/>
                    </a:cubicBezTo>
                    <a:cubicBezTo>
                      <a:pt x="8330" y="0"/>
                      <a:pt x="7048" y="0"/>
                      <a:pt x="5767" y="0"/>
                    </a:cubicBezTo>
                    <a:cubicBezTo>
                      <a:pt x="-3204" y="2563"/>
                      <a:pt x="641" y="10252"/>
                      <a:pt x="1922"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6" name="Freeform: Shape 379614">
                <a:extLst>
                  <a:ext uri="{FF2B5EF4-FFF2-40B4-BE49-F238E27FC236}">
                    <a16:creationId xmlns:a16="http://schemas.microsoft.com/office/drawing/2014/main" id="{792AA6C1-2879-45B9-843F-20B9D81C86E2}"/>
                  </a:ext>
                </a:extLst>
              </p:cNvPr>
              <p:cNvSpPr/>
              <p:nvPr/>
            </p:nvSpPr>
            <p:spPr>
              <a:xfrm>
                <a:off x="6951377" y="2605247"/>
                <a:ext cx="165805" cy="311524"/>
              </a:xfrm>
              <a:custGeom>
                <a:avLst/>
                <a:gdLst>
                  <a:gd name="connsiteX0" fmla="*/ 3261 w 165805"/>
                  <a:gd name="connsiteY0" fmla="*/ 12815 h 311524"/>
                  <a:gd name="connsiteX1" fmla="*/ 14795 w 165805"/>
                  <a:gd name="connsiteY1" fmla="*/ 20505 h 311524"/>
                  <a:gd name="connsiteX2" fmla="*/ 148076 w 165805"/>
                  <a:gd name="connsiteY2" fmla="*/ 288348 h 311524"/>
                  <a:gd name="connsiteX3" fmla="*/ 158329 w 165805"/>
                  <a:gd name="connsiteY3" fmla="*/ 311416 h 311524"/>
                  <a:gd name="connsiteX4" fmla="*/ 162173 w 165805"/>
                  <a:gd name="connsiteY4" fmla="*/ 294755 h 311524"/>
                  <a:gd name="connsiteX5" fmla="*/ 151921 w 165805"/>
                  <a:gd name="connsiteY5" fmla="*/ 288348 h 311524"/>
                  <a:gd name="connsiteX6" fmla="*/ 18640 w 165805"/>
                  <a:gd name="connsiteY6" fmla="*/ 20505 h 311524"/>
                  <a:gd name="connsiteX7" fmla="*/ 5824 w 165805"/>
                  <a:gd name="connsiteY7" fmla="*/ 0 h 311524"/>
                  <a:gd name="connsiteX8" fmla="*/ 4542 w 165805"/>
                  <a:gd name="connsiteY8" fmla="*/ 0 h 311524"/>
                  <a:gd name="connsiteX9" fmla="*/ 3261 w 165805"/>
                  <a:gd name="connsiteY9" fmla="*/ 12815 h 31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805" h="311524">
                    <a:moveTo>
                      <a:pt x="3261" y="12815"/>
                    </a:moveTo>
                    <a:cubicBezTo>
                      <a:pt x="5824" y="15379"/>
                      <a:pt x="8387" y="19223"/>
                      <a:pt x="14795" y="20505"/>
                    </a:cubicBezTo>
                    <a:cubicBezTo>
                      <a:pt x="63494" y="103805"/>
                      <a:pt x="108348" y="193513"/>
                      <a:pt x="148076" y="288348"/>
                    </a:cubicBezTo>
                    <a:cubicBezTo>
                      <a:pt x="137824" y="296037"/>
                      <a:pt x="150639" y="311416"/>
                      <a:pt x="158329" y="311416"/>
                    </a:cubicBezTo>
                    <a:cubicBezTo>
                      <a:pt x="166018" y="312697"/>
                      <a:pt x="168581" y="302445"/>
                      <a:pt x="162173" y="294755"/>
                    </a:cubicBezTo>
                    <a:cubicBezTo>
                      <a:pt x="158329" y="289629"/>
                      <a:pt x="154484" y="288348"/>
                      <a:pt x="151921" y="288348"/>
                    </a:cubicBezTo>
                    <a:cubicBezTo>
                      <a:pt x="112193" y="193513"/>
                      <a:pt x="67339" y="103805"/>
                      <a:pt x="18640" y="20505"/>
                    </a:cubicBezTo>
                    <a:cubicBezTo>
                      <a:pt x="26329" y="12815"/>
                      <a:pt x="12232" y="1282"/>
                      <a:pt x="5824" y="0"/>
                    </a:cubicBezTo>
                    <a:cubicBezTo>
                      <a:pt x="5824" y="0"/>
                      <a:pt x="4542" y="0"/>
                      <a:pt x="4542" y="0"/>
                    </a:cubicBezTo>
                    <a:cubicBezTo>
                      <a:pt x="-3146" y="2563"/>
                      <a:pt x="698" y="8971"/>
                      <a:pt x="3261"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7" name="Freeform: Shape 379615">
                <a:extLst>
                  <a:ext uri="{FF2B5EF4-FFF2-40B4-BE49-F238E27FC236}">
                    <a16:creationId xmlns:a16="http://schemas.microsoft.com/office/drawing/2014/main" id="{03D07ADC-7F83-4C34-877A-99111A01CE7B}"/>
                  </a:ext>
                </a:extLst>
              </p:cNvPr>
              <p:cNvSpPr/>
              <p:nvPr/>
            </p:nvSpPr>
            <p:spPr>
              <a:xfrm>
                <a:off x="7415996" y="2598839"/>
                <a:ext cx="151222" cy="243493"/>
              </a:xfrm>
              <a:custGeom>
                <a:avLst/>
                <a:gdLst>
                  <a:gd name="connsiteX0" fmla="*/ 6408 w 151222"/>
                  <a:gd name="connsiteY0" fmla="*/ 11534 h 243493"/>
                  <a:gd name="connsiteX1" fmla="*/ 14097 w 151222"/>
                  <a:gd name="connsiteY1" fmla="*/ 20505 h 243493"/>
                  <a:gd name="connsiteX2" fmla="*/ 138408 w 151222"/>
                  <a:gd name="connsiteY2" fmla="*/ 220426 h 243493"/>
                  <a:gd name="connsiteX3" fmla="*/ 151223 w 151222"/>
                  <a:gd name="connsiteY3" fmla="*/ 243494 h 243493"/>
                  <a:gd name="connsiteX4" fmla="*/ 139689 w 151222"/>
                  <a:gd name="connsiteY4" fmla="*/ 220426 h 243493"/>
                  <a:gd name="connsiteX5" fmla="*/ 15378 w 151222"/>
                  <a:gd name="connsiteY5" fmla="*/ 20505 h 243493"/>
                  <a:gd name="connsiteX6" fmla="*/ 0 w 151222"/>
                  <a:gd name="connsiteY6" fmla="*/ 0 h 243493"/>
                  <a:gd name="connsiteX7" fmla="*/ 6408 w 151222"/>
                  <a:gd name="connsiteY7" fmla="*/ 11534 h 24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1222" h="243493">
                    <a:moveTo>
                      <a:pt x="6408" y="11534"/>
                    </a:moveTo>
                    <a:cubicBezTo>
                      <a:pt x="10253" y="16660"/>
                      <a:pt x="12816" y="19223"/>
                      <a:pt x="14097" y="20505"/>
                    </a:cubicBezTo>
                    <a:cubicBezTo>
                      <a:pt x="60233" y="84582"/>
                      <a:pt x="101243" y="151222"/>
                      <a:pt x="138408" y="220426"/>
                    </a:cubicBezTo>
                    <a:cubicBezTo>
                      <a:pt x="140971" y="226833"/>
                      <a:pt x="147378" y="239649"/>
                      <a:pt x="151223" y="243494"/>
                    </a:cubicBezTo>
                    <a:cubicBezTo>
                      <a:pt x="151223" y="239649"/>
                      <a:pt x="142252" y="225552"/>
                      <a:pt x="139689" y="220426"/>
                    </a:cubicBezTo>
                    <a:cubicBezTo>
                      <a:pt x="102524" y="149941"/>
                      <a:pt x="60233" y="83300"/>
                      <a:pt x="15378" y="20505"/>
                    </a:cubicBezTo>
                    <a:cubicBezTo>
                      <a:pt x="12816" y="15379"/>
                      <a:pt x="2563" y="2563"/>
                      <a:pt x="0" y="0"/>
                    </a:cubicBezTo>
                    <a:cubicBezTo>
                      <a:pt x="0" y="3845"/>
                      <a:pt x="0" y="5126"/>
                      <a:pt x="6408"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8" name="Freeform: Shape 379616">
                <a:extLst>
                  <a:ext uri="{FF2B5EF4-FFF2-40B4-BE49-F238E27FC236}">
                    <a16:creationId xmlns:a16="http://schemas.microsoft.com/office/drawing/2014/main" id="{7DF836C5-025E-4957-ABA3-385E34A36FD1}"/>
                  </a:ext>
                </a:extLst>
              </p:cNvPr>
              <p:cNvSpPr/>
              <p:nvPr/>
            </p:nvSpPr>
            <p:spPr>
              <a:xfrm>
                <a:off x="7419841" y="2606529"/>
                <a:ext cx="58951" cy="80737"/>
              </a:xfrm>
              <a:custGeom>
                <a:avLst/>
                <a:gdLst>
                  <a:gd name="connsiteX0" fmla="*/ 10252 w 58951"/>
                  <a:gd name="connsiteY0" fmla="*/ 10252 h 80737"/>
                  <a:gd name="connsiteX1" fmla="*/ 16660 w 58951"/>
                  <a:gd name="connsiteY1" fmla="*/ 19223 h 80737"/>
                  <a:gd name="connsiteX2" fmla="*/ 44854 w 58951"/>
                  <a:gd name="connsiteY2" fmla="*/ 58951 h 80737"/>
                  <a:gd name="connsiteX3" fmla="*/ 58951 w 58951"/>
                  <a:gd name="connsiteY3" fmla="*/ 80737 h 80737"/>
                  <a:gd name="connsiteX4" fmla="*/ 44854 w 58951"/>
                  <a:gd name="connsiteY4" fmla="*/ 60233 h 80737"/>
                  <a:gd name="connsiteX5" fmla="*/ 16660 w 58951"/>
                  <a:gd name="connsiteY5" fmla="*/ 20505 h 80737"/>
                  <a:gd name="connsiteX6" fmla="*/ 15378 w 58951"/>
                  <a:gd name="connsiteY6" fmla="*/ 19223 h 80737"/>
                  <a:gd name="connsiteX7" fmla="*/ 1281 w 58951"/>
                  <a:gd name="connsiteY7" fmla="*/ 1282 h 80737"/>
                  <a:gd name="connsiteX8" fmla="*/ 0 w 58951"/>
                  <a:gd name="connsiteY8" fmla="*/ 0 h 80737"/>
                  <a:gd name="connsiteX9" fmla="*/ 10252 w 58951"/>
                  <a:gd name="connsiteY9" fmla="*/ 10252 h 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51" h="80737">
                    <a:moveTo>
                      <a:pt x="10252" y="10252"/>
                    </a:moveTo>
                    <a:cubicBezTo>
                      <a:pt x="12815" y="12815"/>
                      <a:pt x="15378" y="16660"/>
                      <a:pt x="16660" y="19223"/>
                    </a:cubicBezTo>
                    <a:cubicBezTo>
                      <a:pt x="25631" y="32039"/>
                      <a:pt x="35883" y="46136"/>
                      <a:pt x="44854" y="58951"/>
                    </a:cubicBezTo>
                    <a:cubicBezTo>
                      <a:pt x="47417" y="62796"/>
                      <a:pt x="57669" y="78174"/>
                      <a:pt x="58951" y="80737"/>
                    </a:cubicBezTo>
                    <a:cubicBezTo>
                      <a:pt x="56388" y="76893"/>
                      <a:pt x="46135" y="62796"/>
                      <a:pt x="44854" y="60233"/>
                    </a:cubicBezTo>
                    <a:cubicBezTo>
                      <a:pt x="35883" y="46136"/>
                      <a:pt x="25631" y="33320"/>
                      <a:pt x="16660" y="20505"/>
                    </a:cubicBezTo>
                    <a:cubicBezTo>
                      <a:pt x="16660" y="20505"/>
                      <a:pt x="16660" y="19223"/>
                      <a:pt x="15378" y="19223"/>
                    </a:cubicBezTo>
                    <a:lnTo>
                      <a:pt x="1281" y="1282"/>
                    </a:lnTo>
                    <a:cubicBezTo>
                      <a:pt x="1281" y="1282"/>
                      <a:pt x="1281" y="0"/>
                      <a:pt x="0" y="0"/>
                    </a:cubicBezTo>
                    <a:cubicBezTo>
                      <a:pt x="2563" y="0"/>
                      <a:pt x="3844" y="2563"/>
                      <a:pt x="10252"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89" name="Freeform: Shape 379617">
                <a:extLst>
                  <a:ext uri="{FF2B5EF4-FFF2-40B4-BE49-F238E27FC236}">
                    <a16:creationId xmlns:a16="http://schemas.microsoft.com/office/drawing/2014/main" id="{4B81B61F-04EF-4C63-B711-A23BC40DFEDE}"/>
                  </a:ext>
                </a:extLst>
              </p:cNvPr>
              <p:cNvSpPr/>
              <p:nvPr/>
            </p:nvSpPr>
            <p:spPr>
              <a:xfrm>
                <a:off x="4144199" y="3354951"/>
                <a:ext cx="49730" cy="301163"/>
              </a:xfrm>
              <a:custGeom>
                <a:avLst/>
                <a:gdLst>
                  <a:gd name="connsiteX0" fmla="*/ 0 w 49730"/>
                  <a:gd name="connsiteY0" fmla="*/ 293474 h 301163"/>
                  <a:gd name="connsiteX1" fmla="*/ 1282 w 49730"/>
                  <a:gd name="connsiteY1" fmla="*/ 301163 h 301163"/>
                  <a:gd name="connsiteX2" fmla="*/ 2563 w 49730"/>
                  <a:gd name="connsiteY2" fmla="*/ 301163 h 301163"/>
                  <a:gd name="connsiteX3" fmla="*/ 3844 w 49730"/>
                  <a:gd name="connsiteY3" fmla="*/ 281940 h 301163"/>
                  <a:gd name="connsiteX4" fmla="*/ 32039 w 49730"/>
                  <a:gd name="connsiteY4" fmla="*/ 161475 h 301163"/>
                  <a:gd name="connsiteX5" fmla="*/ 44854 w 49730"/>
                  <a:gd name="connsiteY5" fmla="*/ 24349 h 301163"/>
                  <a:gd name="connsiteX6" fmla="*/ 48699 w 49730"/>
                  <a:gd name="connsiteY6" fmla="*/ 0 h 301163"/>
                  <a:gd name="connsiteX7" fmla="*/ 47417 w 49730"/>
                  <a:gd name="connsiteY7" fmla="*/ 0 h 301163"/>
                  <a:gd name="connsiteX8" fmla="*/ 43573 w 49730"/>
                  <a:gd name="connsiteY8" fmla="*/ 25631 h 301163"/>
                  <a:gd name="connsiteX9" fmla="*/ 30757 w 49730"/>
                  <a:gd name="connsiteY9" fmla="*/ 160193 h 301163"/>
                  <a:gd name="connsiteX10" fmla="*/ 2563 w 49730"/>
                  <a:gd name="connsiteY10" fmla="*/ 278095 h 301163"/>
                  <a:gd name="connsiteX11" fmla="*/ 1282 w 49730"/>
                  <a:gd name="connsiteY11" fmla="*/ 276814 h 301163"/>
                  <a:gd name="connsiteX12" fmla="*/ 0 w 49730"/>
                  <a:gd name="connsiteY12" fmla="*/ 276814 h 301163"/>
                  <a:gd name="connsiteX13" fmla="*/ 0 w 49730"/>
                  <a:gd name="connsiteY13" fmla="*/ 293474 h 301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730" h="301163">
                    <a:moveTo>
                      <a:pt x="0" y="293474"/>
                    </a:moveTo>
                    <a:cubicBezTo>
                      <a:pt x="0" y="298600"/>
                      <a:pt x="1282" y="299882"/>
                      <a:pt x="1282" y="301163"/>
                    </a:cubicBezTo>
                    <a:cubicBezTo>
                      <a:pt x="1282" y="301163"/>
                      <a:pt x="2563" y="301163"/>
                      <a:pt x="2563" y="301163"/>
                    </a:cubicBezTo>
                    <a:cubicBezTo>
                      <a:pt x="5126" y="294755"/>
                      <a:pt x="5126" y="287066"/>
                      <a:pt x="3844" y="281940"/>
                    </a:cubicBezTo>
                    <a:cubicBezTo>
                      <a:pt x="12816" y="246057"/>
                      <a:pt x="21786" y="197358"/>
                      <a:pt x="32039" y="161475"/>
                    </a:cubicBezTo>
                    <a:cubicBezTo>
                      <a:pt x="34602" y="115339"/>
                      <a:pt x="38446" y="69203"/>
                      <a:pt x="44854" y="24349"/>
                    </a:cubicBezTo>
                    <a:cubicBezTo>
                      <a:pt x="48699" y="17942"/>
                      <a:pt x="51262" y="6408"/>
                      <a:pt x="48699" y="0"/>
                    </a:cubicBezTo>
                    <a:cubicBezTo>
                      <a:pt x="48699" y="0"/>
                      <a:pt x="47417" y="0"/>
                      <a:pt x="47417" y="0"/>
                    </a:cubicBezTo>
                    <a:cubicBezTo>
                      <a:pt x="42291" y="6408"/>
                      <a:pt x="41010" y="21786"/>
                      <a:pt x="43573" y="25631"/>
                    </a:cubicBezTo>
                    <a:cubicBezTo>
                      <a:pt x="37165" y="70485"/>
                      <a:pt x="33320" y="115339"/>
                      <a:pt x="30757" y="160193"/>
                    </a:cubicBezTo>
                    <a:cubicBezTo>
                      <a:pt x="21786" y="196077"/>
                      <a:pt x="10252" y="242212"/>
                      <a:pt x="2563" y="278095"/>
                    </a:cubicBezTo>
                    <a:cubicBezTo>
                      <a:pt x="2563" y="278095"/>
                      <a:pt x="2563" y="276814"/>
                      <a:pt x="1282" y="276814"/>
                    </a:cubicBezTo>
                    <a:cubicBezTo>
                      <a:pt x="1282" y="276814"/>
                      <a:pt x="0" y="276814"/>
                      <a:pt x="0" y="276814"/>
                    </a:cubicBezTo>
                    <a:cubicBezTo>
                      <a:pt x="1282" y="278095"/>
                      <a:pt x="0" y="283222"/>
                      <a:pt x="0" y="29347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0" name="Freeform: Shape 379618">
                <a:extLst>
                  <a:ext uri="{FF2B5EF4-FFF2-40B4-BE49-F238E27FC236}">
                    <a16:creationId xmlns:a16="http://schemas.microsoft.com/office/drawing/2014/main" id="{0E9DE92E-D7F1-4970-BCBB-0C5090F8CC62}"/>
                  </a:ext>
                </a:extLst>
              </p:cNvPr>
              <p:cNvSpPr/>
              <p:nvPr/>
            </p:nvSpPr>
            <p:spPr>
              <a:xfrm>
                <a:off x="4186312" y="3348543"/>
                <a:ext cx="20682" cy="134562"/>
              </a:xfrm>
              <a:custGeom>
                <a:avLst/>
                <a:gdLst>
                  <a:gd name="connsiteX0" fmla="*/ 11711 w 20682"/>
                  <a:gd name="connsiteY0" fmla="*/ 16660 h 134562"/>
                  <a:gd name="connsiteX1" fmla="*/ 12993 w 20682"/>
                  <a:gd name="connsiteY1" fmla="*/ 25631 h 134562"/>
                  <a:gd name="connsiteX2" fmla="*/ 4022 w 20682"/>
                  <a:gd name="connsiteY2" fmla="*/ 110213 h 134562"/>
                  <a:gd name="connsiteX3" fmla="*/ 2741 w 20682"/>
                  <a:gd name="connsiteY3" fmla="*/ 134562 h 134562"/>
                  <a:gd name="connsiteX4" fmla="*/ 6585 w 20682"/>
                  <a:gd name="connsiteY4" fmla="*/ 108931 h 134562"/>
                  <a:gd name="connsiteX5" fmla="*/ 6585 w 20682"/>
                  <a:gd name="connsiteY5" fmla="*/ 108931 h 134562"/>
                  <a:gd name="connsiteX6" fmla="*/ 15556 w 20682"/>
                  <a:gd name="connsiteY6" fmla="*/ 24349 h 134562"/>
                  <a:gd name="connsiteX7" fmla="*/ 19401 w 20682"/>
                  <a:gd name="connsiteY7" fmla="*/ 0 h 134562"/>
                  <a:gd name="connsiteX8" fmla="*/ 18119 w 20682"/>
                  <a:gd name="connsiteY8" fmla="*/ 0 h 134562"/>
                  <a:gd name="connsiteX9" fmla="*/ 11711 w 20682"/>
                  <a:gd name="connsiteY9" fmla="*/ 16660 h 13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82" h="134562">
                    <a:moveTo>
                      <a:pt x="11711" y="16660"/>
                    </a:moveTo>
                    <a:cubicBezTo>
                      <a:pt x="11711" y="20505"/>
                      <a:pt x="11711" y="24349"/>
                      <a:pt x="12993" y="25631"/>
                    </a:cubicBezTo>
                    <a:cubicBezTo>
                      <a:pt x="9148" y="53825"/>
                      <a:pt x="6585" y="82019"/>
                      <a:pt x="4022" y="110213"/>
                    </a:cubicBezTo>
                    <a:cubicBezTo>
                      <a:pt x="-1104" y="117902"/>
                      <a:pt x="-1104" y="134562"/>
                      <a:pt x="2741" y="134562"/>
                    </a:cubicBezTo>
                    <a:cubicBezTo>
                      <a:pt x="6585" y="134562"/>
                      <a:pt x="10430" y="112776"/>
                      <a:pt x="6585" y="108931"/>
                    </a:cubicBezTo>
                    <a:cubicBezTo>
                      <a:pt x="6585" y="108931"/>
                      <a:pt x="6585" y="108931"/>
                      <a:pt x="6585" y="108931"/>
                    </a:cubicBezTo>
                    <a:cubicBezTo>
                      <a:pt x="9148" y="80737"/>
                      <a:pt x="11711" y="52543"/>
                      <a:pt x="15556" y="24349"/>
                    </a:cubicBezTo>
                    <a:cubicBezTo>
                      <a:pt x="20682" y="16660"/>
                      <a:pt x="21964" y="0"/>
                      <a:pt x="19401" y="0"/>
                    </a:cubicBezTo>
                    <a:cubicBezTo>
                      <a:pt x="19401" y="0"/>
                      <a:pt x="19401" y="0"/>
                      <a:pt x="18119" y="0"/>
                    </a:cubicBezTo>
                    <a:cubicBezTo>
                      <a:pt x="14274" y="2563"/>
                      <a:pt x="11711" y="12816"/>
                      <a:pt x="1171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1" name="Freeform: Shape 379619">
                <a:extLst>
                  <a:ext uri="{FF2B5EF4-FFF2-40B4-BE49-F238E27FC236}">
                    <a16:creationId xmlns:a16="http://schemas.microsoft.com/office/drawing/2014/main" id="{855BA336-2F50-42E0-9F2D-1D45AEAF8D2E}"/>
                  </a:ext>
                </a:extLst>
              </p:cNvPr>
              <p:cNvSpPr/>
              <p:nvPr/>
            </p:nvSpPr>
            <p:spPr>
              <a:xfrm>
                <a:off x="4260820" y="3023031"/>
                <a:ext cx="96798" cy="316541"/>
              </a:xfrm>
              <a:custGeom>
                <a:avLst/>
                <a:gdLst>
                  <a:gd name="connsiteX0" fmla="*/ 0 w 96798"/>
                  <a:gd name="connsiteY0" fmla="*/ 308853 h 316541"/>
                  <a:gd name="connsiteX1" fmla="*/ 1282 w 96798"/>
                  <a:gd name="connsiteY1" fmla="*/ 316542 h 316541"/>
                  <a:gd name="connsiteX2" fmla="*/ 2563 w 96798"/>
                  <a:gd name="connsiteY2" fmla="*/ 316542 h 316541"/>
                  <a:gd name="connsiteX3" fmla="*/ 8971 w 96798"/>
                  <a:gd name="connsiteY3" fmla="*/ 297319 h 316541"/>
                  <a:gd name="connsiteX4" fmla="*/ 46136 w 96798"/>
                  <a:gd name="connsiteY4" fmla="*/ 221707 h 316541"/>
                  <a:gd name="connsiteX5" fmla="*/ 88427 w 96798"/>
                  <a:gd name="connsiteY5" fmla="*/ 23068 h 316541"/>
                  <a:gd name="connsiteX6" fmla="*/ 96116 w 96798"/>
                  <a:gd name="connsiteY6" fmla="*/ 0 h 316541"/>
                  <a:gd name="connsiteX7" fmla="*/ 94835 w 96798"/>
                  <a:gd name="connsiteY7" fmla="*/ 0 h 316541"/>
                  <a:gd name="connsiteX8" fmla="*/ 87145 w 96798"/>
                  <a:gd name="connsiteY8" fmla="*/ 23068 h 316541"/>
                  <a:gd name="connsiteX9" fmla="*/ 44854 w 96798"/>
                  <a:gd name="connsiteY9" fmla="*/ 219144 h 316541"/>
                  <a:gd name="connsiteX10" fmla="*/ 8971 w 96798"/>
                  <a:gd name="connsiteY10" fmla="*/ 293474 h 316541"/>
                  <a:gd name="connsiteX11" fmla="*/ 7689 w 96798"/>
                  <a:gd name="connsiteY11" fmla="*/ 292192 h 316541"/>
                  <a:gd name="connsiteX12" fmla="*/ 0 w 96798"/>
                  <a:gd name="connsiteY12" fmla="*/ 308853 h 31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798" h="316541">
                    <a:moveTo>
                      <a:pt x="0" y="308853"/>
                    </a:moveTo>
                    <a:cubicBezTo>
                      <a:pt x="0" y="313979"/>
                      <a:pt x="0" y="313979"/>
                      <a:pt x="1282" y="316542"/>
                    </a:cubicBezTo>
                    <a:cubicBezTo>
                      <a:pt x="1282" y="316542"/>
                      <a:pt x="2563" y="316542"/>
                      <a:pt x="2563" y="316542"/>
                    </a:cubicBezTo>
                    <a:cubicBezTo>
                      <a:pt x="8971" y="310134"/>
                      <a:pt x="8971" y="298600"/>
                      <a:pt x="8971" y="297319"/>
                    </a:cubicBezTo>
                    <a:lnTo>
                      <a:pt x="46136" y="221707"/>
                    </a:lnTo>
                    <a:cubicBezTo>
                      <a:pt x="56388" y="153786"/>
                      <a:pt x="70485" y="87145"/>
                      <a:pt x="88427" y="23068"/>
                    </a:cubicBezTo>
                    <a:cubicBezTo>
                      <a:pt x="93553" y="16660"/>
                      <a:pt x="98679" y="6408"/>
                      <a:pt x="96116" y="0"/>
                    </a:cubicBezTo>
                    <a:cubicBezTo>
                      <a:pt x="96116" y="0"/>
                      <a:pt x="94835" y="0"/>
                      <a:pt x="94835" y="0"/>
                    </a:cubicBezTo>
                    <a:cubicBezTo>
                      <a:pt x="85864" y="6408"/>
                      <a:pt x="83301" y="21786"/>
                      <a:pt x="87145" y="23068"/>
                    </a:cubicBezTo>
                    <a:cubicBezTo>
                      <a:pt x="69204" y="87145"/>
                      <a:pt x="55107" y="152504"/>
                      <a:pt x="44854" y="219144"/>
                    </a:cubicBezTo>
                    <a:cubicBezTo>
                      <a:pt x="34602" y="240931"/>
                      <a:pt x="20505" y="270406"/>
                      <a:pt x="8971" y="293474"/>
                    </a:cubicBezTo>
                    <a:cubicBezTo>
                      <a:pt x="8971" y="293474"/>
                      <a:pt x="7689" y="292192"/>
                      <a:pt x="7689" y="292192"/>
                    </a:cubicBezTo>
                    <a:cubicBezTo>
                      <a:pt x="2563" y="290911"/>
                      <a:pt x="0" y="306289"/>
                      <a:pt x="0" y="30885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2" name="Freeform: Shape 379620">
                <a:extLst>
                  <a:ext uri="{FF2B5EF4-FFF2-40B4-BE49-F238E27FC236}">
                    <a16:creationId xmlns:a16="http://schemas.microsoft.com/office/drawing/2014/main" id="{C05A4EAE-150A-4496-BB72-D3AFA6E04600}"/>
                  </a:ext>
                </a:extLst>
              </p:cNvPr>
              <p:cNvSpPr/>
              <p:nvPr/>
            </p:nvSpPr>
            <p:spPr>
              <a:xfrm>
                <a:off x="4444081" y="3167776"/>
                <a:ext cx="22467" cy="94904"/>
              </a:xfrm>
              <a:custGeom>
                <a:avLst/>
                <a:gdLst>
                  <a:gd name="connsiteX0" fmla="*/ 7689 w 22467"/>
                  <a:gd name="connsiteY0" fmla="*/ 16730 h 94904"/>
                  <a:gd name="connsiteX1" fmla="*/ 11534 w 22467"/>
                  <a:gd name="connsiteY1" fmla="*/ 24419 h 94904"/>
                  <a:gd name="connsiteX2" fmla="*/ 6408 w 22467"/>
                  <a:gd name="connsiteY2" fmla="*/ 70555 h 94904"/>
                  <a:gd name="connsiteX3" fmla="*/ 5126 w 22467"/>
                  <a:gd name="connsiteY3" fmla="*/ 94904 h 94904"/>
                  <a:gd name="connsiteX4" fmla="*/ 12815 w 22467"/>
                  <a:gd name="connsiteY4" fmla="*/ 70555 h 94904"/>
                  <a:gd name="connsiteX5" fmla="*/ 10252 w 22467"/>
                  <a:gd name="connsiteY5" fmla="*/ 69273 h 94904"/>
                  <a:gd name="connsiteX6" fmla="*/ 15379 w 22467"/>
                  <a:gd name="connsiteY6" fmla="*/ 23138 h 94904"/>
                  <a:gd name="connsiteX7" fmla="*/ 17942 w 22467"/>
                  <a:gd name="connsiteY7" fmla="*/ 70 h 94904"/>
                  <a:gd name="connsiteX8" fmla="*/ 16660 w 22467"/>
                  <a:gd name="connsiteY8" fmla="*/ 70 h 94904"/>
                  <a:gd name="connsiteX9" fmla="*/ 7689 w 22467"/>
                  <a:gd name="connsiteY9" fmla="*/ 16730 h 9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7" h="94904">
                    <a:moveTo>
                      <a:pt x="7689" y="16730"/>
                    </a:moveTo>
                    <a:cubicBezTo>
                      <a:pt x="7689" y="19293"/>
                      <a:pt x="8971" y="23138"/>
                      <a:pt x="11534" y="24419"/>
                    </a:cubicBezTo>
                    <a:cubicBezTo>
                      <a:pt x="10252" y="39798"/>
                      <a:pt x="7689" y="55176"/>
                      <a:pt x="6408" y="70555"/>
                    </a:cubicBezTo>
                    <a:cubicBezTo>
                      <a:pt x="-2563" y="78244"/>
                      <a:pt x="-1282" y="94904"/>
                      <a:pt x="5126" y="94904"/>
                    </a:cubicBezTo>
                    <a:cubicBezTo>
                      <a:pt x="12815" y="94904"/>
                      <a:pt x="17942" y="75681"/>
                      <a:pt x="12815" y="70555"/>
                    </a:cubicBezTo>
                    <a:cubicBezTo>
                      <a:pt x="12815" y="70555"/>
                      <a:pt x="11534" y="70555"/>
                      <a:pt x="10252" y="69273"/>
                    </a:cubicBezTo>
                    <a:cubicBezTo>
                      <a:pt x="11534" y="53895"/>
                      <a:pt x="12815" y="38516"/>
                      <a:pt x="15379" y="23138"/>
                    </a:cubicBezTo>
                    <a:cubicBezTo>
                      <a:pt x="24349" y="15448"/>
                      <a:pt x="24349" y="-1212"/>
                      <a:pt x="17942" y="70"/>
                    </a:cubicBezTo>
                    <a:cubicBezTo>
                      <a:pt x="17942" y="70"/>
                      <a:pt x="16660" y="70"/>
                      <a:pt x="16660" y="70"/>
                    </a:cubicBezTo>
                    <a:cubicBezTo>
                      <a:pt x="8971" y="3915"/>
                      <a:pt x="7689" y="12885"/>
                      <a:pt x="7689" y="1673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3" name="Freeform: Shape 379621">
                <a:extLst>
                  <a:ext uri="{FF2B5EF4-FFF2-40B4-BE49-F238E27FC236}">
                    <a16:creationId xmlns:a16="http://schemas.microsoft.com/office/drawing/2014/main" id="{1D65B4A3-C53E-4482-82DD-AB974D0662E2}"/>
                  </a:ext>
                </a:extLst>
              </p:cNvPr>
              <p:cNvSpPr/>
              <p:nvPr/>
            </p:nvSpPr>
            <p:spPr>
              <a:xfrm>
                <a:off x="6191433" y="2765761"/>
                <a:ext cx="37929" cy="54413"/>
              </a:xfrm>
              <a:custGeom>
                <a:avLst/>
                <a:gdLst>
                  <a:gd name="connsiteX0" fmla="*/ 1964 w 37929"/>
                  <a:gd name="connsiteY0" fmla="*/ 16340 h 54413"/>
                  <a:gd name="connsiteX1" fmla="*/ 14780 w 37929"/>
                  <a:gd name="connsiteY1" fmla="*/ 22747 h 54413"/>
                  <a:gd name="connsiteX2" fmla="*/ 18624 w 37929"/>
                  <a:gd name="connsiteY2" fmla="*/ 33000 h 54413"/>
                  <a:gd name="connsiteX3" fmla="*/ 21188 w 37929"/>
                  <a:gd name="connsiteY3" fmla="*/ 53505 h 54413"/>
                  <a:gd name="connsiteX4" fmla="*/ 36566 w 37929"/>
                  <a:gd name="connsiteY4" fmla="*/ 38126 h 54413"/>
                  <a:gd name="connsiteX5" fmla="*/ 23751 w 37929"/>
                  <a:gd name="connsiteY5" fmla="*/ 31718 h 54413"/>
                  <a:gd name="connsiteX6" fmla="*/ 19906 w 37929"/>
                  <a:gd name="connsiteY6" fmla="*/ 21466 h 54413"/>
                  <a:gd name="connsiteX7" fmla="*/ 17343 w 37929"/>
                  <a:gd name="connsiteY7" fmla="*/ 961 h 54413"/>
                  <a:gd name="connsiteX8" fmla="*/ 9654 w 37929"/>
                  <a:gd name="connsiteY8" fmla="*/ 961 h 54413"/>
                  <a:gd name="connsiteX9" fmla="*/ 1964 w 37929"/>
                  <a:gd name="connsiteY9" fmla="*/ 16340 h 5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929" h="54413">
                    <a:moveTo>
                      <a:pt x="1964" y="16340"/>
                    </a:moveTo>
                    <a:cubicBezTo>
                      <a:pt x="3246" y="18903"/>
                      <a:pt x="7090" y="22747"/>
                      <a:pt x="14780" y="22747"/>
                    </a:cubicBezTo>
                    <a:cubicBezTo>
                      <a:pt x="16061" y="26592"/>
                      <a:pt x="17343" y="29155"/>
                      <a:pt x="18624" y="33000"/>
                    </a:cubicBezTo>
                    <a:cubicBezTo>
                      <a:pt x="8372" y="39407"/>
                      <a:pt x="12217" y="50941"/>
                      <a:pt x="21188" y="53505"/>
                    </a:cubicBezTo>
                    <a:cubicBezTo>
                      <a:pt x="31440" y="57349"/>
                      <a:pt x="41692" y="48378"/>
                      <a:pt x="36566" y="38126"/>
                    </a:cubicBezTo>
                    <a:cubicBezTo>
                      <a:pt x="35285" y="35563"/>
                      <a:pt x="31440" y="31718"/>
                      <a:pt x="23751" y="31718"/>
                    </a:cubicBezTo>
                    <a:cubicBezTo>
                      <a:pt x="22469" y="27874"/>
                      <a:pt x="21188" y="25311"/>
                      <a:pt x="19906" y="21466"/>
                    </a:cubicBezTo>
                    <a:cubicBezTo>
                      <a:pt x="31440" y="15058"/>
                      <a:pt x="26314" y="3524"/>
                      <a:pt x="17343" y="961"/>
                    </a:cubicBezTo>
                    <a:cubicBezTo>
                      <a:pt x="14780" y="-320"/>
                      <a:pt x="12217" y="-320"/>
                      <a:pt x="9654" y="961"/>
                    </a:cubicBezTo>
                    <a:cubicBezTo>
                      <a:pt x="-4444" y="4806"/>
                      <a:pt x="683" y="16340"/>
                      <a:pt x="1964" y="163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4" name="Freeform: Shape 379622">
                <a:extLst>
                  <a:ext uri="{FF2B5EF4-FFF2-40B4-BE49-F238E27FC236}">
                    <a16:creationId xmlns:a16="http://schemas.microsoft.com/office/drawing/2014/main" id="{2D82CFBF-DB2F-4764-96F8-11287F66D596}"/>
                  </a:ext>
                </a:extLst>
              </p:cNvPr>
              <p:cNvSpPr/>
              <p:nvPr/>
            </p:nvSpPr>
            <p:spPr>
              <a:xfrm>
                <a:off x="6246856" y="2531238"/>
                <a:ext cx="150165" cy="222069"/>
              </a:xfrm>
              <a:custGeom>
                <a:avLst/>
                <a:gdLst>
                  <a:gd name="connsiteX0" fmla="*/ 2929 w 150165"/>
                  <a:gd name="connsiteY0" fmla="*/ 13777 h 222069"/>
                  <a:gd name="connsiteX1" fmla="*/ 14463 w 150165"/>
                  <a:gd name="connsiteY1" fmla="*/ 20184 h 222069"/>
                  <a:gd name="connsiteX2" fmla="*/ 87511 w 150165"/>
                  <a:gd name="connsiteY2" fmla="*/ 188067 h 222069"/>
                  <a:gd name="connsiteX3" fmla="*/ 125958 w 150165"/>
                  <a:gd name="connsiteY3" fmla="*/ 207290 h 222069"/>
                  <a:gd name="connsiteX4" fmla="*/ 146463 w 150165"/>
                  <a:gd name="connsiteY4" fmla="*/ 220105 h 222069"/>
                  <a:gd name="connsiteX5" fmla="*/ 138773 w 150165"/>
                  <a:gd name="connsiteY5" fmla="*/ 199601 h 222069"/>
                  <a:gd name="connsiteX6" fmla="*/ 128521 w 150165"/>
                  <a:gd name="connsiteY6" fmla="*/ 202164 h 222069"/>
                  <a:gd name="connsiteX7" fmla="*/ 91356 w 150165"/>
                  <a:gd name="connsiteY7" fmla="*/ 185504 h 222069"/>
                  <a:gd name="connsiteX8" fmla="*/ 18308 w 150165"/>
                  <a:gd name="connsiteY8" fmla="*/ 18903 h 222069"/>
                  <a:gd name="connsiteX9" fmla="*/ 13181 w 150165"/>
                  <a:gd name="connsiteY9" fmla="*/ 961 h 222069"/>
                  <a:gd name="connsiteX10" fmla="*/ 6774 w 150165"/>
                  <a:gd name="connsiteY10" fmla="*/ 961 h 222069"/>
                  <a:gd name="connsiteX11" fmla="*/ 2929 w 150165"/>
                  <a:gd name="connsiteY11" fmla="*/ 13777 h 222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165" h="222069">
                    <a:moveTo>
                      <a:pt x="2929" y="13777"/>
                    </a:moveTo>
                    <a:cubicBezTo>
                      <a:pt x="4211" y="16340"/>
                      <a:pt x="8056" y="18903"/>
                      <a:pt x="14463" y="20184"/>
                    </a:cubicBezTo>
                    <a:cubicBezTo>
                      <a:pt x="40094" y="74009"/>
                      <a:pt x="64444" y="129116"/>
                      <a:pt x="87511" y="188067"/>
                    </a:cubicBezTo>
                    <a:cubicBezTo>
                      <a:pt x="99045" y="193193"/>
                      <a:pt x="114424" y="200882"/>
                      <a:pt x="125958" y="207290"/>
                    </a:cubicBezTo>
                    <a:cubicBezTo>
                      <a:pt x="124677" y="220105"/>
                      <a:pt x="140055" y="225232"/>
                      <a:pt x="146463" y="220105"/>
                    </a:cubicBezTo>
                    <a:cubicBezTo>
                      <a:pt x="154152" y="214979"/>
                      <a:pt x="149026" y="202164"/>
                      <a:pt x="138773" y="199601"/>
                    </a:cubicBezTo>
                    <a:cubicBezTo>
                      <a:pt x="132366" y="198319"/>
                      <a:pt x="129802" y="202164"/>
                      <a:pt x="128521" y="202164"/>
                    </a:cubicBezTo>
                    <a:lnTo>
                      <a:pt x="91356" y="185504"/>
                    </a:lnTo>
                    <a:cubicBezTo>
                      <a:pt x="68288" y="127834"/>
                      <a:pt x="43939" y="72728"/>
                      <a:pt x="18308" y="18903"/>
                    </a:cubicBezTo>
                    <a:cubicBezTo>
                      <a:pt x="27278" y="13777"/>
                      <a:pt x="22152" y="3524"/>
                      <a:pt x="13181" y="961"/>
                    </a:cubicBezTo>
                    <a:cubicBezTo>
                      <a:pt x="10618" y="-320"/>
                      <a:pt x="8056" y="-320"/>
                      <a:pt x="6774" y="961"/>
                    </a:cubicBezTo>
                    <a:cubicBezTo>
                      <a:pt x="-4760" y="3524"/>
                      <a:pt x="1647" y="13777"/>
                      <a:pt x="2929" y="1377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5" name="Freeform: Shape 379623">
                <a:extLst>
                  <a:ext uri="{FF2B5EF4-FFF2-40B4-BE49-F238E27FC236}">
                    <a16:creationId xmlns:a16="http://schemas.microsoft.com/office/drawing/2014/main" id="{58DBAB06-BFBD-4ACF-8C84-EDCB3796FFF5}"/>
                  </a:ext>
                </a:extLst>
              </p:cNvPr>
              <p:cNvSpPr/>
              <p:nvPr/>
            </p:nvSpPr>
            <p:spPr>
              <a:xfrm>
                <a:off x="6476672" y="2711615"/>
                <a:ext cx="221513" cy="233729"/>
              </a:xfrm>
              <a:custGeom>
                <a:avLst/>
                <a:gdLst>
                  <a:gd name="connsiteX0" fmla="*/ 2511 w 221513"/>
                  <a:gd name="connsiteY0" fmla="*/ 15379 h 233729"/>
                  <a:gd name="connsiteX1" fmla="*/ 15326 w 221513"/>
                  <a:gd name="connsiteY1" fmla="*/ 23068 h 233729"/>
                  <a:gd name="connsiteX2" fmla="*/ 64025 w 221513"/>
                  <a:gd name="connsiteY2" fmla="*/ 142252 h 233729"/>
                  <a:gd name="connsiteX3" fmla="*/ 197306 w 221513"/>
                  <a:gd name="connsiteY3" fmla="*/ 217863 h 233729"/>
                  <a:gd name="connsiteX4" fmla="*/ 217811 w 221513"/>
                  <a:gd name="connsiteY4" fmla="*/ 231960 h 233729"/>
                  <a:gd name="connsiteX5" fmla="*/ 210122 w 221513"/>
                  <a:gd name="connsiteY5" fmla="*/ 210173 h 233729"/>
                  <a:gd name="connsiteX6" fmla="*/ 199869 w 221513"/>
                  <a:gd name="connsiteY6" fmla="*/ 212737 h 233729"/>
                  <a:gd name="connsiteX7" fmla="*/ 66588 w 221513"/>
                  <a:gd name="connsiteY7" fmla="*/ 137125 h 233729"/>
                  <a:gd name="connsiteX8" fmla="*/ 19171 w 221513"/>
                  <a:gd name="connsiteY8" fmla="*/ 20505 h 233729"/>
                  <a:gd name="connsiteX9" fmla="*/ 11482 w 221513"/>
                  <a:gd name="connsiteY9" fmla="*/ 0 h 233729"/>
                  <a:gd name="connsiteX10" fmla="*/ 6355 w 221513"/>
                  <a:gd name="connsiteY10" fmla="*/ 0 h 233729"/>
                  <a:gd name="connsiteX11" fmla="*/ 2511 w 221513"/>
                  <a:gd name="connsiteY11" fmla="*/ 15379 h 23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513" h="233729">
                    <a:moveTo>
                      <a:pt x="2511" y="15379"/>
                    </a:moveTo>
                    <a:cubicBezTo>
                      <a:pt x="3792" y="17942"/>
                      <a:pt x="7637" y="21786"/>
                      <a:pt x="15326" y="23068"/>
                    </a:cubicBezTo>
                    <a:cubicBezTo>
                      <a:pt x="31986" y="61514"/>
                      <a:pt x="47365" y="101242"/>
                      <a:pt x="64025" y="142252"/>
                    </a:cubicBezTo>
                    <a:cubicBezTo>
                      <a:pt x="103753" y="165319"/>
                      <a:pt x="157578" y="194795"/>
                      <a:pt x="197306" y="217863"/>
                    </a:cubicBezTo>
                    <a:cubicBezTo>
                      <a:pt x="196025" y="230678"/>
                      <a:pt x="210122" y="237086"/>
                      <a:pt x="217811" y="231960"/>
                    </a:cubicBezTo>
                    <a:cubicBezTo>
                      <a:pt x="225500" y="226833"/>
                      <a:pt x="220374" y="212737"/>
                      <a:pt x="210122" y="210173"/>
                    </a:cubicBezTo>
                    <a:cubicBezTo>
                      <a:pt x="203714" y="208892"/>
                      <a:pt x="201151" y="211455"/>
                      <a:pt x="199869" y="212737"/>
                    </a:cubicBezTo>
                    <a:cubicBezTo>
                      <a:pt x="157578" y="189669"/>
                      <a:pt x="106316" y="158912"/>
                      <a:pt x="66588" y="137125"/>
                    </a:cubicBezTo>
                    <a:cubicBezTo>
                      <a:pt x="51209" y="97397"/>
                      <a:pt x="35831" y="58951"/>
                      <a:pt x="19171" y="20505"/>
                    </a:cubicBezTo>
                    <a:cubicBezTo>
                      <a:pt x="29423" y="14097"/>
                      <a:pt x="21734" y="1282"/>
                      <a:pt x="11482" y="0"/>
                    </a:cubicBezTo>
                    <a:cubicBezTo>
                      <a:pt x="10200" y="0"/>
                      <a:pt x="7637" y="0"/>
                      <a:pt x="6355" y="0"/>
                    </a:cubicBezTo>
                    <a:cubicBezTo>
                      <a:pt x="-5179" y="3845"/>
                      <a:pt x="2511" y="15379"/>
                      <a:pt x="251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6" name="Freeform: Shape 379624">
                <a:extLst>
                  <a:ext uri="{FF2B5EF4-FFF2-40B4-BE49-F238E27FC236}">
                    <a16:creationId xmlns:a16="http://schemas.microsoft.com/office/drawing/2014/main" id="{9C56948B-7C8B-45CF-9486-616DA0E93095}"/>
                  </a:ext>
                </a:extLst>
              </p:cNvPr>
              <p:cNvSpPr/>
              <p:nvPr/>
            </p:nvSpPr>
            <p:spPr>
              <a:xfrm>
                <a:off x="6510728" y="2705208"/>
                <a:ext cx="219495" cy="233729"/>
              </a:xfrm>
              <a:custGeom>
                <a:avLst/>
                <a:gdLst>
                  <a:gd name="connsiteX0" fmla="*/ 1775 w 219495"/>
                  <a:gd name="connsiteY0" fmla="*/ 15379 h 233729"/>
                  <a:gd name="connsiteX1" fmla="*/ 14590 w 219495"/>
                  <a:gd name="connsiteY1" fmla="*/ 23068 h 233729"/>
                  <a:gd name="connsiteX2" fmla="*/ 63289 w 219495"/>
                  <a:gd name="connsiteY2" fmla="*/ 140970 h 233729"/>
                  <a:gd name="connsiteX3" fmla="*/ 195289 w 219495"/>
                  <a:gd name="connsiteY3" fmla="*/ 217863 h 233729"/>
                  <a:gd name="connsiteX4" fmla="*/ 215794 w 219495"/>
                  <a:gd name="connsiteY4" fmla="*/ 231960 h 233729"/>
                  <a:gd name="connsiteX5" fmla="*/ 208105 w 219495"/>
                  <a:gd name="connsiteY5" fmla="*/ 210174 h 233729"/>
                  <a:gd name="connsiteX6" fmla="*/ 197852 w 219495"/>
                  <a:gd name="connsiteY6" fmla="*/ 212737 h 233729"/>
                  <a:gd name="connsiteX7" fmla="*/ 68416 w 219495"/>
                  <a:gd name="connsiteY7" fmla="*/ 137125 h 233729"/>
                  <a:gd name="connsiteX8" fmla="*/ 19717 w 219495"/>
                  <a:gd name="connsiteY8" fmla="*/ 20505 h 233729"/>
                  <a:gd name="connsiteX9" fmla="*/ 12028 w 219495"/>
                  <a:gd name="connsiteY9" fmla="*/ 0 h 233729"/>
                  <a:gd name="connsiteX10" fmla="*/ 6901 w 219495"/>
                  <a:gd name="connsiteY10" fmla="*/ 0 h 233729"/>
                  <a:gd name="connsiteX11" fmla="*/ 1775 w 219495"/>
                  <a:gd name="connsiteY11" fmla="*/ 15379 h 23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495" h="233729">
                    <a:moveTo>
                      <a:pt x="1775" y="15379"/>
                    </a:moveTo>
                    <a:cubicBezTo>
                      <a:pt x="3056" y="17942"/>
                      <a:pt x="6901" y="21786"/>
                      <a:pt x="14590" y="23068"/>
                    </a:cubicBezTo>
                    <a:cubicBezTo>
                      <a:pt x="31251" y="61514"/>
                      <a:pt x="47911" y="101242"/>
                      <a:pt x="63289" y="140970"/>
                    </a:cubicBezTo>
                    <a:cubicBezTo>
                      <a:pt x="103018" y="164038"/>
                      <a:pt x="155561" y="193513"/>
                      <a:pt x="195289" y="217863"/>
                    </a:cubicBezTo>
                    <a:cubicBezTo>
                      <a:pt x="194007" y="230678"/>
                      <a:pt x="208105" y="237086"/>
                      <a:pt x="215794" y="231960"/>
                    </a:cubicBezTo>
                    <a:cubicBezTo>
                      <a:pt x="223483" y="226833"/>
                      <a:pt x="218357" y="212737"/>
                      <a:pt x="208105" y="210174"/>
                    </a:cubicBezTo>
                    <a:cubicBezTo>
                      <a:pt x="201697" y="208892"/>
                      <a:pt x="199134" y="211455"/>
                      <a:pt x="197852" y="212737"/>
                    </a:cubicBezTo>
                    <a:cubicBezTo>
                      <a:pt x="159406" y="189669"/>
                      <a:pt x="106862" y="160193"/>
                      <a:pt x="68416" y="137125"/>
                    </a:cubicBezTo>
                    <a:cubicBezTo>
                      <a:pt x="53037" y="97397"/>
                      <a:pt x="36377" y="58951"/>
                      <a:pt x="19717" y="20505"/>
                    </a:cubicBezTo>
                    <a:cubicBezTo>
                      <a:pt x="29969" y="14097"/>
                      <a:pt x="22280" y="1282"/>
                      <a:pt x="12028" y="0"/>
                    </a:cubicBezTo>
                    <a:cubicBezTo>
                      <a:pt x="10746" y="0"/>
                      <a:pt x="8183" y="0"/>
                      <a:pt x="6901" y="0"/>
                    </a:cubicBezTo>
                    <a:cubicBezTo>
                      <a:pt x="-4633" y="3845"/>
                      <a:pt x="1775" y="15379"/>
                      <a:pt x="1775"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7" name="Freeform: Shape 379625">
                <a:extLst>
                  <a:ext uri="{FF2B5EF4-FFF2-40B4-BE49-F238E27FC236}">
                    <a16:creationId xmlns:a16="http://schemas.microsoft.com/office/drawing/2014/main" id="{82CC5842-4209-4B27-896E-A1060ACFEFAB}"/>
                  </a:ext>
                </a:extLst>
              </p:cNvPr>
              <p:cNvSpPr/>
              <p:nvPr/>
            </p:nvSpPr>
            <p:spPr>
              <a:xfrm>
                <a:off x="7022056" y="2630878"/>
                <a:ext cx="135325" cy="246179"/>
              </a:xfrm>
              <a:custGeom>
                <a:avLst/>
                <a:gdLst>
                  <a:gd name="connsiteX0" fmla="*/ 3067 w 135325"/>
                  <a:gd name="connsiteY0" fmla="*/ 11534 h 246179"/>
                  <a:gd name="connsiteX1" fmla="*/ 14601 w 135325"/>
                  <a:gd name="connsiteY1" fmla="*/ 19223 h 246179"/>
                  <a:gd name="connsiteX2" fmla="*/ 118407 w 135325"/>
                  <a:gd name="connsiteY2" fmla="*/ 222989 h 246179"/>
                  <a:gd name="connsiteX3" fmla="*/ 128659 w 135325"/>
                  <a:gd name="connsiteY3" fmla="*/ 246057 h 246179"/>
                  <a:gd name="connsiteX4" fmla="*/ 131222 w 135325"/>
                  <a:gd name="connsiteY4" fmla="*/ 229397 h 246179"/>
                  <a:gd name="connsiteX5" fmla="*/ 122252 w 135325"/>
                  <a:gd name="connsiteY5" fmla="*/ 222989 h 246179"/>
                  <a:gd name="connsiteX6" fmla="*/ 18446 w 135325"/>
                  <a:gd name="connsiteY6" fmla="*/ 20505 h 246179"/>
                  <a:gd name="connsiteX7" fmla="*/ 5630 w 135325"/>
                  <a:gd name="connsiteY7" fmla="*/ 0 h 246179"/>
                  <a:gd name="connsiteX8" fmla="*/ 4349 w 135325"/>
                  <a:gd name="connsiteY8" fmla="*/ 0 h 246179"/>
                  <a:gd name="connsiteX9" fmla="*/ 3067 w 135325"/>
                  <a:gd name="connsiteY9" fmla="*/ 11534 h 246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5325" h="246179">
                    <a:moveTo>
                      <a:pt x="3067" y="11534"/>
                    </a:moveTo>
                    <a:cubicBezTo>
                      <a:pt x="5630" y="14097"/>
                      <a:pt x="8194" y="17942"/>
                      <a:pt x="14601" y="19223"/>
                    </a:cubicBezTo>
                    <a:cubicBezTo>
                      <a:pt x="51766" y="83300"/>
                      <a:pt x="86368" y="151222"/>
                      <a:pt x="118407" y="222989"/>
                    </a:cubicBezTo>
                    <a:cubicBezTo>
                      <a:pt x="109436" y="229397"/>
                      <a:pt x="119688" y="244775"/>
                      <a:pt x="128659" y="246057"/>
                    </a:cubicBezTo>
                    <a:cubicBezTo>
                      <a:pt x="136349" y="247338"/>
                      <a:pt x="137630" y="238367"/>
                      <a:pt x="131222" y="229397"/>
                    </a:cubicBezTo>
                    <a:cubicBezTo>
                      <a:pt x="127378" y="224270"/>
                      <a:pt x="123533" y="222989"/>
                      <a:pt x="122252" y="222989"/>
                    </a:cubicBezTo>
                    <a:cubicBezTo>
                      <a:pt x="90213" y="152504"/>
                      <a:pt x="55611" y="84582"/>
                      <a:pt x="18446" y="20505"/>
                    </a:cubicBezTo>
                    <a:cubicBezTo>
                      <a:pt x="26135" y="12815"/>
                      <a:pt x="12038" y="0"/>
                      <a:pt x="5630" y="0"/>
                    </a:cubicBezTo>
                    <a:cubicBezTo>
                      <a:pt x="5630" y="0"/>
                      <a:pt x="4349" y="0"/>
                      <a:pt x="4349" y="0"/>
                    </a:cubicBezTo>
                    <a:cubicBezTo>
                      <a:pt x="-4622" y="0"/>
                      <a:pt x="3067" y="11534"/>
                      <a:pt x="3067"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8" name="Freeform: Shape 379626">
                <a:extLst>
                  <a:ext uri="{FF2B5EF4-FFF2-40B4-BE49-F238E27FC236}">
                    <a16:creationId xmlns:a16="http://schemas.microsoft.com/office/drawing/2014/main" id="{2C68F204-E6B4-4EBF-8837-477CBF90EDBB}"/>
                  </a:ext>
                </a:extLst>
              </p:cNvPr>
              <p:cNvSpPr/>
              <p:nvPr/>
            </p:nvSpPr>
            <p:spPr>
              <a:xfrm>
                <a:off x="7381394" y="2564238"/>
                <a:ext cx="57669" cy="80737"/>
              </a:xfrm>
              <a:custGeom>
                <a:avLst/>
                <a:gdLst>
                  <a:gd name="connsiteX0" fmla="*/ 6408 w 57669"/>
                  <a:gd name="connsiteY0" fmla="*/ 11534 h 80737"/>
                  <a:gd name="connsiteX1" fmla="*/ 14097 w 57669"/>
                  <a:gd name="connsiteY1" fmla="*/ 20505 h 80737"/>
                  <a:gd name="connsiteX2" fmla="*/ 42291 w 57669"/>
                  <a:gd name="connsiteY2" fmla="*/ 60233 h 80737"/>
                  <a:gd name="connsiteX3" fmla="*/ 57670 w 57669"/>
                  <a:gd name="connsiteY3" fmla="*/ 80737 h 80737"/>
                  <a:gd name="connsiteX4" fmla="*/ 57670 w 57669"/>
                  <a:gd name="connsiteY4" fmla="*/ 80737 h 80737"/>
                  <a:gd name="connsiteX5" fmla="*/ 43573 w 57669"/>
                  <a:gd name="connsiteY5" fmla="*/ 60233 h 80737"/>
                  <a:gd name="connsiteX6" fmla="*/ 15379 w 57669"/>
                  <a:gd name="connsiteY6" fmla="*/ 20505 h 80737"/>
                  <a:gd name="connsiteX7" fmla="*/ 0 w 57669"/>
                  <a:gd name="connsiteY7" fmla="*/ 0 h 80737"/>
                  <a:gd name="connsiteX8" fmla="*/ 0 w 57669"/>
                  <a:gd name="connsiteY8" fmla="*/ 0 h 80737"/>
                  <a:gd name="connsiteX9" fmla="*/ 6408 w 57669"/>
                  <a:gd name="connsiteY9" fmla="*/ 11534 h 8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669" h="80737">
                    <a:moveTo>
                      <a:pt x="6408" y="11534"/>
                    </a:moveTo>
                    <a:cubicBezTo>
                      <a:pt x="8971" y="14097"/>
                      <a:pt x="11534" y="17942"/>
                      <a:pt x="14097" y="20505"/>
                    </a:cubicBezTo>
                    <a:cubicBezTo>
                      <a:pt x="24350" y="33320"/>
                      <a:pt x="33321" y="46136"/>
                      <a:pt x="42291" y="60233"/>
                    </a:cubicBezTo>
                    <a:cubicBezTo>
                      <a:pt x="43573" y="65359"/>
                      <a:pt x="53825" y="79456"/>
                      <a:pt x="57670" y="80737"/>
                    </a:cubicBezTo>
                    <a:cubicBezTo>
                      <a:pt x="57670" y="80737"/>
                      <a:pt x="57670" y="80737"/>
                      <a:pt x="57670" y="80737"/>
                    </a:cubicBezTo>
                    <a:cubicBezTo>
                      <a:pt x="56389" y="75611"/>
                      <a:pt x="47418" y="64077"/>
                      <a:pt x="43573" y="60233"/>
                    </a:cubicBezTo>
                    <a:cubicBezTo>
                      <a:pt x="34602" y="47417"/>
                      <a:pt x="24350" y="33320"/>
                      <a:pt x="15379" y="20505"/>
                    </a:cubicBezTo>
                    <a:cubicBezTo>
                      <a:pt x="14097" y="15379"/>
                      <a:pt x="2563" y="2563"/>
                      <a:pt x="0" y="0"/>
                    </a:cubicBezTo>
                    <a:cubicBezTo>
                      <a:pt x="0" y="0"/>
                      <a:pt x="0" y="0"/>
                      <a:pt x="0" y="0"/>
                    </a:cubicBezTo>
                    <a:cubicBezTo>
                      <a:pt x="1282" y="3845"/>
                      <a:pt x="5126" y="8971"/>
                      <a:pt x="6408"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499" name="Freeform: Shape 379627">
                <a:extLst>
                  <a:ext uri="{FF2B5EF4-FFF2-40B4-BE49-F238E27FC236}">
                    <a16:creationId xmlns:a16="http://schemas.microsoft.com/office/drawing/2014/main" id="{2D14359E-72C6-4612-92F6-FF3EFE5805ED}"/>
                  </a:ext>
                </a:extLst>
              </p:cNvPr>
              <p:cNvSpPr/>
              <p:nvPr/>
            </p:nvSpPr>
            <p:spPr>
              <a:xfrm>
                <a:off x="7431375" y="2627033"/>
                <a:ext cx="156349" cy="278095"/>
              </a:xfrm>
              <a:custGeom>
                <a:avLst/>
                <a:gdLst>
                  <a:gd name="connsiteX0" fmla="*/ 149942 w 156349"/>
                  <a:gd name="connsiteY0" fmla="*/ 267843 h 278095"/>
                  <a:gd name="connsiteX1" fmla="*/ 156349 w 156349"/>
                  <a:gd name="connsiteY1" fmla="*/ 278095 h 278095"/>
                  <a:gd name="connsiteX2" fmla="*/ 149942 w 156349"/>
                  <a:gd name="connsiteY2" fmla="*/ 261435 h 278095"/>
                  <a:gd name="connsiteX3" fmla="*/ 142252 w 156349"/>
                  <a:gd name="connsiteY3" fmla="*/ 237086 h 278095"/>
                  <a:gd name="connsiteX4" fmla="*/ 35884 w 156349"/>
                  <a:gd name="connsiteY4" fmla="*/ 51262 h 278095"/>
                  <a:gd name="connsiteX5" fmla="*/ 21787 w 156349"/>
                  <a:gd name="connsiteY5" fmla="*/ 30757 h 278095"/>
                  <a:gd name="connsiteX6" fmla="*/ 15379 w 156349"/>
                  <a:gd name="connsiteY6" fmla="*/ 20505 h 278095"/>
                  <a:gd name="connsiteX7" fmla="*/ 0 w 156349"/>
                  <a:gd name="connsiteY7" fmla="*/ 0 h 278095"/>
                  <a:gd name="connsiteX8" fmla="*/ 14097 w 156349"/>
                  <a:gd name="connsiteY8" fmla="*/ 20505 h 278095"/>
                  <a:gd name="connsiteX9" fmla="*/ 20505 w 156349"/>
                  <a:gd name="connsiteY9" fmla="*/ 30757 h 278095"/>
                  <a:gd name="connsiteX10" fmla="*/ 34602 w 156349"/>
                  <a:gd name="connsiteY10" fmla="*/ 51262 h 278095"/>
                  <a:gd name="connsiteX11" fmla="*/ 139689 w 156349"/>
                  <a:gd name="connsiteY11" fmla="*/ 233241 h 278095"/>
                  <a:gd name="connsiteX12" fmla="*/ 147378 w 156349"/>
                  <a:gd name="connsiteY12" fmla="*/ 256309 h 278095"/>
                  <a:gd name="connsiteX13" fmla="*/ 144815 w 156349"/>
                  <a:gd name="connsiteY13" fmla="*/ 253746 h 278095"/>
                  <a:gd name="connsiteX14" fmla="*/ 149942 w 156349"/>
                  <a:gd name="connsiteY14" fmla="*/ 267843 h 278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349" h="278095">
                    <a:moveTo>
                      <a:pt x="149942" y="267843"/>
                    </a:moveTo>
                    <a:cubicBezTo>
                      <a:pt x="153786" y="275532"/>
                      <a:pt x="155068" y="276814"/>
                      <a:pt x="156349" y="278095"/>
                    </a:cubicBezTo>
                    <a:cubicBezTo>
                      <a:pt x="156349" y="275532"/>
                      <a:pt x="155068" y="270406"/>
                      <a:pt x="149942" y="261435"/>
                    </a:cubicBezTo>
                    <a:lnTo>
                      <a:pt x="142252" y="237086"/>
                    </a:lnTo>
                    <a:cubicBezTo>
                      <a:pt x="110213" y="171727"/>
                      <a:pt x="74330" y="110213"/>
                      <a:pt x="35884" y="51262"/>
                    </a:cubicBezTo>
                    <a:cubicBezTo>
                      <a:pt x="33321" y="44854"/>
                      <a:pt x="24350" y="33320"/>
                      <a:pt x="21787" y="30757"/>
                    </a:cubicBezTo>
                    <a:cubicBezTo>
                      <a:pt x="19223" y="26912"/>
                      <a:pt x="16660" y="24349"/>
                      <a:pt x="15379" y="20505"/>
                    </a:cubicBezTo>
                    <a:cubicBezTo>
                      <a:pt x="12816" y="14097"/>
                      <a:pt x="2563" y="1281"/>
                      <a:pt x="0" y="0"/>
                    </a:cubicBezTo>
                    <a:cubicBezTo>
                      <a:pt x="2563" y="7689"/>
                      <a:pt x="14097" y="20505"/>
                      <a:pt x="14097" y="20505"/>
                    </a:cubicBezTo>
                    <a:cubicBezTo>
                      <a:pt x="16660" y="24349"/>
                      <a:pt x="19223" y="26912"/>
                      <a:pt x="20505" y="30757"/>
                    </a:cubicBezTo>
                    <a:cubicBezTo>
                      <a:pt x="23068" y="37165"/>
                      <a:pt x="30757" y="47417"/>
                      <a:pt x="34602" y="51262"/>
                    </a:cubicBezTo>
                    <a:cubicBezTo>
                      <a:pt x="73049" y="108931"/>
                      <a:pt x="107650" y="170446"/>
                      <a:pt x="139689" y="233241"/>
                    </a:cubicBezTo>
                    <a:cubicBezTo>
                      <a:pt x="142252" y="239649"/>
                      <a:pt x="144815" y="249901"/>
                      <a:pt x="147378" y="256309"/>
                    </a:cubicBezTo>
                    <a:cubicBezTo>
                      <a:pt x="147378" y="255028"/>
                      <a:pt x="146097" y="255028"/>
                      <a:pt x="144815" y="253746"/>
                    </a:cubicBezTo>
                    <a:cubicBezTo>
                      <a:pt x="144815" y="255028"/>
                      <a:pt x="144815" y="257591"/>
                      <a:pt x="149942" y="26784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0" name="Freeform: Shape 379628">
                <a:extLst>
                  <a:ext uri="{FF2B5EF4-FFF2-40B4-BE49-F238E27FC236}">
                    <a16:creationId xmlns:a16="http://schemas.microsoft.com/office/drawing/2014/main" id="{F90A719E-02D4-439C-9BDE-5B0965A76F94}"/>
                  </a:ext>
                </a:extLst>
              </p:cNvPr>
              <p:cNvSpPr/>
              <p:nvPr/>
            </p:nvSpPr>
            <p:spPr>
              <a:xfrm>
                <a:off x="4340548" y="3240894"/>
                <a:ext cx="19960" cy="97397"/>
              </a:xfrm>
              <a:custGeom>
                <a:avLst/>
                <a:gdLst>
                  <a:gd name="connsiteX0" fmla="*/ 7417 w 19960"/>
                  <a:gd name="connsiteY0" fmla="*/ 17942 h 97397"/>
                  <a:gd name="connsiteX1" fmla="*/ 11262 w 19960"/>
                  <a:gd name="connsiteY1" fmla="*/ 25631 h 97397"/>
                  <a:gd name="connsiteX2" fmla="*/ 6136 w 19960"/>
                  <a:gd name="connsiteY2" fmla="*/ 73048 h 97397"/>
                  <a:gd name="connsiteX3" fmla="*/ 3573 w 19960"/>
                  <a:gd name="connsiteY3" fmla="*/ 97397 h 97397"/>
                  <a:gd name="connsiteX4" fmla="*/ 9980 w 19960"/>
                  <a:gd name="connsiteY4" fmla="*/ 73048 h 97397"/>
                  <a:gd name="connsiteX5" fmla="*/ 8699 w 19960"/>
                  <a:gd name="connsiteY5" fmla="*/ 71766 h 97397"/>
                  <a:gd name="connsiteX6" fmla="*/ 13825 w 19960"/>
                  <a:gd name="connsiteY6" fmla="*/ 24349 h 97397"/>
                  <a:gd name="connsiteX7" fmla="*/ 16388 w 19960"/>
                  <a:gd name="connsiteY7" fmla="*/ 0 h 97397"/>
                  <a:gd name="connsiteX8" fmla="*/ 15107 w 19960"/>
                  <a:gd name="connsiteY8" fmla="*/ 0 h 97397"/>
                  <a:gd name="connsiteX9" fmla="*/ 7417 w 19960"/>
                  <a:gd name="connsiteY9" fmla="*/ 17942 h 9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960" h="97397">
                    <a:moveTo>
                      <a:pt x="7417" y="17942"/>
                    </a:moveTo>
                    <a:cubicBezTo>
                      <a:pt x="7417" y="20505"/>
                      <a:pt x="7417" y="25631"/>
                      <a:pt x="11262" y="25631"/>
                    </a:cubicBezTo>
                    <a:cubicBezTo>
                      <a:pt x="9980" y="41009"/>
                      <a:pt x="7417" y="57670"/>
                      <a:pt x="6136" y="73048"/>
                    </a:cubicBezTo>
                    <a:cubicBezTo>
                      <a:pt x="-1554" y="80737"/>
                      <a:pt x="-1554" y="97397"/>
                      <a:pt x="3573" y="97397"/>
                    </a:cubicBezTo>
                    <a:cubicBezTo>
                      <a:pt x="9980" y="97397"/>
                      <a:pt x="15107" y="78174"/>
                      <a:pt x="9980" y="73048"/>
                    </a:cubicBezTo>
                    <a:cubicBezTo>
                      <a:pt x="9980" y="73048"/>
                      <a:pt x="8699" y="71766"/>
                      <a:pt x="8699" y="71766"/>
                    </a:cubicBezTo>
                    <a:cubicBezTo>
                      <a:pt x="9980" y="56388"/>
                      <a:pt x="11262" y="39728"/>
                      <a:pt x="13825" y="24349"/>
                    </a:cubicBezTo>
                    <a:cubicBezTo>
                      <a:pt x="21514" y="16660"/>
                      <a:pt x="21514" y="0"/>
                      <a:pt x="16388" y="0"/>
                    </a:cubicBezTo>
                    <a:cubicBezTo>
                      <a:pt x="16388" y="0"/>
                      <a:pt x="15107" y="0"/>
                      <a:pt x="15107" y="0"/>
                    </a:cubicBezTo>
                    <a:cubicBezTo>
                      <a:pt x="8699" y="5126"/>
                      <a:pt x="7417" y="15379"/>
                      <a:pt x="7417"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1" name="Freeform: Shape 379629">
                <a:extLst>
                  <a:ext uri="{FF2B5EF4-FFF2-40B4-BE49-F238E27FC236}">
                    <a16:creationId xmlns:a16="http://schemas.microsoft.com/office/drawing/2014/main" id="{3619407A-6E6C-4C78-9A66-F3C20E5C4197}"/>
                  </a:ext>
                </a:extLst>
              </p:cNvPr>
              <p:cNvSpPr/>
              <p:nvPr/>
            </p:nvSpPr>
            <p:spPr>
              <a:xfrm>
                <a:off x="4352083" y="3303689"/>
                <a:ext cx="18480" cy="171727"/>
              </a:xfrm>
              <a:custGeom>
                <a:avLst/>
                <a:gdLst>
                  <a:gd name="connsiteX0" fmla="*/ 6135 w 18480"/>
                  <a:gd name="connsiteY0" fmla="*/ 19223 h 171727"/>
                  <a:gd name="connsiteX1" fmla="*/ 9979 w 18480"/>
                  <a:gd name="connsiteY1" fmla="*/ 26912 h 171727"/>
                  <a:gd name="connsiteX2" fmla="*/ 4853 w 18480"/>
                  <a:gd name="connsiteY2" fmla="*/ 147378 h 171727"/>
                  <a:gd name="connsiteX3" fmla="*/ 4853 w 18480"/>
                  <a:gd name="connsiteY3" fmla="*/ 171727 h 171727"/>
                  <a:gd name="connsiteX4" fmla="*/ 9979 w 18480"/>
                  <a:gd name="connsiteY4" fmla="*/ 146096 h 171727"/>
                  <a:gd name="connsiteX5" fmla="*/ 7416 w 18480"/>
                  <a:gd name="connsiteY5" fmla="*/ 144815 h 171727"/>
                  <a:gd name="connsiteX6" fmla="*/ 12542 w 18480"/>
                  <a:gd name="connsiteY6" fmla="*/ 24349 h 171727"/>
                  <a:gd name="connsiteX7" fmla="*/ 13824 w 18480"/>
                  <a:gd name="connsiteY7" fmla="*/ 0 h 171727"/>
                  <a:gd name="connsiteX8" fmla="*/ 12542 w 18480"/>
                  <a:gd name="connsiteY8" fmla="*/ 0 h 171727"/>
                  <a:gd name="connsiteX9" fmla="*/ 6135 w 18480"/>
                  <a:gd name="connsiteY9" fmla="*/ 19223 h 1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80" h="171727">
                    <a:moveTo>
                      <a:pt x="6135" y="19223"/>
                    </a:moveTo>
                    <a:cubicBezTo>
                      <a:pt x="6135" y="23068"/>
                      <a:pt x="7416" y="26912"/>
                      <a:pt x="9979" y="26912"/>
                    </a:cubicBezTo>
                    <a:cubicBezTo>
                      <a:pt x="7416" y="66640"/>
                      <a:pt x="4853" y="106368"/>
                      <a:pt x="4853" y="147378"/>
                    </a:cubicBezTo>
                    <a:cubicBezTo>
                      <a:pt x="-2836" y="155067"/>
                      <a:pt x="-273" y="171727"/>
                      <a:pt x="4853" y="171727"/>
                    </a:cubicBezTo>
                    <a:cubicBezTo>
                      <a:pt x="12542" y="171727"/>
                      <a:pt x="16387" y="151222"/>
                      <a:pt x="9979" y="146096"/>
                    </a:cubicBezTo>
                    <a:cubicBezTo>
                      <a:pt x="9979" y="146096"/>
                      <a:pt x="8697" y="144815"/>
                      <a:pt x="7416" y="144815"/>
                    </a:cubicBezTo>
                    <a:cubicBezTo>
                      <a:pt x="7416" y="103805"/>
                      <a:pt x="9979" y="64077"/>
                      <a:pt x="12542" y="24349"/>
                    </a:cubicBezTo>
                    <a:cubicBezTo>
                      <a:pt x="20231" y="16660"/>
                      <a:pt x="20231" y="0"/>
                      <a:pt x="13824" y="0"/>
                    </a:cubicBezTo>
                    <a:cubicBezTo>
                      <a:pt x="13824" y="0"/>
                      <a:pt x="12542" y="0"/>
                      <a:pt x="12542" y="0"/>
                    </a:cubicBezTo>
                    <a:cubicBezTo>
                      <a:pt x="7416" y="5126"/>
                      <a:pt x="6135" y="15379"/>
                      <a:pt x="6135"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2" name="Freeform: Shape 379630">
                <a:extLst>
                  <a:ext uri="{FF2B5EF4-FFF2-40B4-BE49-F238E27FC236}">
                    <a16:creationId xmlns:a16="http://schemas.microsoft.com/office/drawing/2014/main" id="{9F3BD7AC-3CE8-47B7-ABE2-B7DE225FCDDC}"/>
                  </a:ext>
                </a:extLst>
              </p:cNvPr>
              <p:cNvSpPr/>
              <p:nvPr/>
            </p:nvSpPr>
            <p:spPr>
              <a:xfrm>
                <a:off x="4418450" y="3244738"/>
                <a:ext cx="16831" cy="61514"/>
              </a:xfrm>
              <a:custGeom>
                <a:avLst/>
                <a:gdLst>
                  <a:gd name="connsiteX0" fmla="*/ 3845 w 16831"/>
                  <a:gd name="connsiteY0" fmla="*/ 17942 h 61514"/>
                  <a:gd name="connsiteX1" fmla="*/ 7689 w 16831"/>
                  <a:gd name="connsiteY1" fmla="*/ 25631 h 61514"/>
                  <a:gd name="connsiteX2" fmla="*/ 6408 w 16831"/>
                  <a:gd name="connsiteY2" fmla="*/ 37165 h 61514"/>
                  <a:gd name="connsiteX3" fmla="*/ 5126 w 16831"/>
                  <a:gd name="connsiteY3" fmla="*/ 61514 h 61514"/>
                  <a:gd name="connsiteX4" fmla="*/ 11534 w 16831"/>
                  <a:gd name="connsiteY4" fmla="*/ 37165 h 61514"/>
                  <a:gd name="connsiteX5" fmla="*/ 8971 w 16831"/>
                  <a:gd name="connsiteY5" fmla="*/ 35883 h 61514"/>
                  <a:gd name="connsiteX6" fmla="*/ 10252 w 16831"/>
                  <a:gd name="connsiteY6" fmla="*/ 24349 h 61514"/>
                  <a:gd name="connsiteX7" fmla="*/ 12816 w 16831"/>
                  <a:gd name="connsiteY7" fmla="*/ 0 h 61514"/>
                  <a:gd name="connsiteX8" fmla="*/ 11534 w 16831"/>
                  <a:gd name="connsiteY8" fmla="*/ 0 h 61514"/>
                  <a:gd name="connsiteX9" fmla="*/ 3845 w 16831"/>
                  <a:gd name="connsiteY9" fmla="*/ 17942 h 6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31" h="61514">
                    <a:moveTo>
                      <a:pt x="3845" y="17942"/>
                    </a:moveTo>
                    <a:cubicBezTo>
                      <a:pt x="3845" y="20505"/>
                      <a:pt x="5126" y="25631"/>
                      <a:pt x="7689" y="25631"/>
                    </a:cubicBezTo>
                    <a:cubicBezTo>
                      <a:pt x="7689" y="29475"/>
                      <a:pt x="7689" y="33320"/>
                      <a:pt x="6408" y="37165"/>
                    </a:cubicBezTo>
                    <a:cubicBezTo>
                      <a:pt x="-2563" y="44854"/>
                      <a:pt x="-1282" y="61514"/>
                      <a:pt x="5126" y="61514"/>
                    </a:cubicBezTo>
                    <a:cubicBezTo>
                      <a:pt x="12816" y="61514"/>
                      <a:pt x="17942" y="41009"/>
                      <a:pt x="11534" y="37165"/>
                    </a:cubicBezTo>
                    <a:cubicBezTo>
                      <a:pt x="11534" y="37165"/>
                      <a:pt x="10252" y="37165"/>
                      <a:pt x="8971" y="35883"/>
                    </a:cubicBezTo>
                    <a:cubicBezTo>
                      <a:pt x="8971" y="32039"/>
                      <a:pt x="8971" y="28194"/>
                      <a:pt x="10252" y="24349"/>
                    </a:cubicBezTo>
                    <a:cubicBezTo>
                      <a:pt x="19223" y="15379"/>
                      <a:pt x="17942" y="0"/>
                      <a:pt x="12816" y="0"/>
                    </a:cubicBezTo>
                    <a:cubicBezTo>
                      <a:pt x="12816" y="0"/>
                      <a:pt x="11534" y="0"/>
                      <a:pt x="11534" y="0"/>
                    </a:cubicBezTo>
                    <a:cubicBezTo>
                      <a:pt x="5126" y="5126"/>
                      <a:pt x="3845" y="15379"/>
                      <a:pt x="3845"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3" name="Freeform: Shape 379631">
                <a:extLst>
                  <a:ext uri="{FF2B5EF4-FFF2-40B4-BE49-F238E27FC236}">
                    <a16:creationId xmlns:a16="http://schemas.microsoft.com/office/drawing/2014/main" id="{BCA5CB18-E3E3-41F5-900B-14A09978F8B6}"/>
                  </a:ext>
                </a:extLst>
              </p:cNvPr>
              <p:cNvSpPr/>
              <p:nvPr/>
            </p:nvSpPr>
            <p:spPr>
              <a:xfrm>
                <a:off x="7262961" y="2642412"/>
                <a:ext cx="72637" cy="115339"/>
              </a:xfrm>
              <a:custGeom>
                <a:avLst/>
                <a:gdLst>
                  <a:gd name="connsiteX0" fmla="*/ 4376 w 72637"/>
                  <a:gd name="connsiteY0" fmla="*/ 11534 h 115339"/>
                  <a:gd name="connsiteX1" fmla="*/ 14628 w 72637"/>
                  <a:gd name="connsiteY1" fmla="*/ 20505 h 115339"/>
                  <a:gd name="connsiteX2" fmla="*/ 56919 w 72637"/>
                  <a:gd name="connsiteY2" fmla="*/ 93553 h 115339"/>
                  <a:gd name="connsiteX3" fmla="*/ 69735 w 72637"/>
                  <a:gd name="connsiteY3" fmla="*/ 115339 h 115339"/>
                  <a:gd name="connsiteX4" fmla="*/ 63327 w 72637"/>
                  <a:gd name="connsiteY4" fmla="*/ 96116 h 115339"/>
                  <a:gd name="connsiteX5" fmla="*/ 59482 w 72637"/>
                  <a:gd name="connsiteY5" fmla="*/ 93553 h 115339"/>
                  <a:gd name="connsiteX6" fmla="*/ 17191 w 72637"/>
                  <a:gd name="connsiteY6" fmla="*/ 20505 h 115339"/>
                  <a:gd name="connsiteX7" fmla="*/ 3094 w 72637"/>
                  <a:gd name="connsiteY7" fmla="*/ 0 h 115339"/>
                  <a:gd name="connsiteX8" fmla="*/ 4376 w 72637"/>
                  <a:gd name="connsiteY8" fmla="*/ 11534 h 11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637" h="115339">
                    <a:moveTo>
                      <a:pt x="4376" y="11534"/>
                    </a:moveTo>
                    <a:cubicBezTo>
                      <a:pt x="6939" y="14097"/>
                      <a:pt x="9502" y="17942"/>
                      <a:pt x="14628" y="20505"/>
                    </a:cubicBezTo>
                    <a:cubicBezTo>
                      <a:pt x="28725" y="44854"/>
                      <a:pt x="44104" y="69203"/>
                      <a:pt x="56919" y="93553"/>
                    </a:cubicBezTo>
                    <a:cubicBezTo>
                      <a:pt x="51793" y="98679"/>
                      <a:pt x="64609" y="115339"/>
                      <a:pt x="69735" y="115339"/>
                    </a:cubicBezTo>
                    <a:cubicBezTo>
                      <a:pt x="76143" y="115339"/>
                      <a:pt x="71016" y="102524"/>
                      <a:pt x="63327" y="96116"/>
                    </a:cubicBezTo>
                    <a:cubicBezTo>
                      <a:pt x="62045" y="94834"/>
                      <a:pt x="60764" y="93553"/>
                      <a:pt x="59482" y="93553"/>
                    </a:cubicBezTo>
                    <a:cubicBezTo>
                      <a:pt x="45385" y="69203"/>
                      <a:pt x="31288" y="44854"/>
                      <a:pt x="17191" y="20505"/>
                    </a:cubicBezTo>
                    <a:cubicBezTo>
                      <a:pt x="22317" y="16660"/>
                      <a:pt x="10783" y="0"/>
                      <a:pt x="3094" y="0"/>
                    </a:cubicBezTo>
                    <a:cubicBezTo>
                      <a:pt x="-3313" y="0"/>
                      <a:pt x="1812" y="8971"/>
                      <a:pt x="4376"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4" name="Freeform: Shape 379632">
                <a:extLst>
                  <a:ext uri="{FF2B5EF4-FFF2-40B4-BE49-F238E27FC236}">
                    <a16:creationId xmlns:a16="http://schemas.microsoft.com/office/drawing/2014/main" id="{AECBAFA0-105B-46E2-9B73-D35A8DC78A5F}"/>
                  </a:ext>
                </a:extLst>
              </p:cNvPr>
              <p:cNvSpPr/>
              <p:nvPr/>
            </p:nvSpPr>
            <p:spPr>
              <a:xfrm>
                <a:off x="7439676" y="2652664"/>
                <a:ext cx="157161" cy="284503"/>
              </a:xfrm>
              <a:custGeom>
                <a:avLst/>
                <a:gdLst>
                  <a:gd name="connsiteX0" fmla="*/ 5796 w 157161"/>
                  <a:gd name="connsiteY0" fmla="*/ 11534 h 284503"/>
                  <a:gd name="connsiteX1" fmla="*/ 13485 w 157161"/>
                  <a:gd name="connsiteY1" fmla="*/ 20505 h 284503"/>
                  <a:gd name="connsiteX2" fmla="*/ 145485 w 157161"/>
                  <a:gd name="connsiteY2" fmla="*/ 260154 h 284503"/>
                  <a:gd name="connsiteX3" fmla="*/ 157019 w 157161"/>
                  <a:gd name="connsiteY3" fmla="*/ 284503 h 284503"/>
                  <a:gd name="connsiteX4" fmla="*/ 146767 w 157161"/>
                  <a:gd name="connsiteY4" fmla="*/ 261435 h 284503"/>
                  <a:gd name="connsiteX5" fmla="*/ 14766 w 157161"/>
                  <a:gd name="connsiteY5" fmla="*/ 21786 h 284503"/>
                  <a:gd name="connsiteX6" fmla="*/ 670 w 157161"/>
                  <a:gd name="connsiteY6" fmla="*/ 0 h 284503"/>
                  <a:gd name="connsiteX7" fmla="*/ 5796 w 157161"/>
                  <a:gd name="connsiteY7" fmla="*/ 11534 h 284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161" h="284503">
                    <a:moveTo>
                      <a:pt x="5796" y="11534"/>
                    </a:moveTo>
                    <a:cubicBezTo>
                      <a:pt x="9641" y="16660"/>
                      <a:pt x="12204" y="19223"/>
                      <a:pt x="13485" y="20505"/>
                    </a:cubicBezTo>
                    <a:cubicBezTo>
                      <a:pt x="63466" y="96116"/>
                      <a:pt x="107038" y="176853"/>
                      <a:pt x="145485" y="260154"/>
                    </a:cubicBezTo>
                    <a:cubicBezTo>
                      <a:pt x="145485" y="266561"/>
                      <a:pt x="153174" y="280658"/>
                      <a:pt x="157019" y="284503"/>
                    </a:cubicBezTo>
                    <a:cubicBezTo>
                      <a:pt x="158300" y="280658"/>
                      <a:pt x="150611" y="265280"/>
                      <a:pt x="146767" y="261435"/>
                    </a:cubicBezTo>
                    <a:cubicBezTo>
                      <a:pt x="108320" y="176853"/>
                      <a:pt x="64747" y="97397"/>
                      <a:pt x="14766" y="21786"/>
                    </a:cubicBezTo>
                    <a:cubicBezTo>
                      <a:pt x="13485" y="15379"/>
                      <a:pt x="4514" y="3845"/>
                      <a:pt x="670" y="0"/>
                    </a:cubicBezTo>
                    <a:cubicBezTo>
                      <a:pt x="-612" y="2563"/>
                      <a:pt x="-612" y="3845"/>
                      <a:pt x="5796"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505" name="Graphic 379285">
                <a:extLst>
                  <a:ext uri="{FF2B5EF4-FFF2-40B4-BE49-F238E27FC236}">
                    <a16:creationId xmlns:a16="http://schemas.microsoft.com/office/drawing/2014/main" id="{D973D960-FBCD-4D6F-9AA8-88935B4C1FE3}"/>
                  </a:ext>
                </a:extLst>
              </p:cNvPr>
              <p:cNvGrpSpPr/>
              <p:nvPr/>
            </p:nvGrpSpPr>
            <p:grpSpPr>
              <a:xfrm>
                <a:off x="7485200" y="2701363"/>
                <a:ext cx="152269" cy="343454"/>
                <a:chOff x="7485200" y="2701363"/>
                <a:chExt cx="152269" cy="343454"/>
              </a:xfrm>
              <a:grpFill/>
            </p:grpSpPr>
            <p:sp>
              <p:nvSpPr>
                <p:cNvPr id="987" name="Freeform: Shape 379634">
                  <a:extLst>
                    <a:ext uri="{FF2B5EF4-FFF2-40B4-BE49-F238E27FC236}">
                      <a16:creationId xmlns:a16="http://schemas.microsoft.com/office/drawing/2014/main" id="{00A6191B-4FD8-4793-B17C-B08878980C01}"/>
                    </a:ext>
                  </a:extLst>
                </p:cNvPr>
                <p:cNvSpPr/>
                <p:nvPr/>
              </p:nvSpPr>
              <p:spPr>
                <a:xfrm>
                  <a:off x="7551841" y="2810294"/>
                  <a:ext cx="26912" cy="52543"/>
                </a:xfrm>
                <a:custGeom>
                  <a:avLst/>
                  <a:gdLst>
                    <a:gd name="connsiteX0" fmla="*/ 26912 w 26912"/>
                    <a:gd name="connsiteY0" fmla="*/ 52543 h 52543"/>
                    <a:gd name="connsiteX1" fmla="*/ 12815 w 26912"/>
                    <a:gd name="connsiteY1" fmla="*/ 25631 h 52543"/>
                    <a:gd name="connsiteX2" fmla="*/ 0 w 26912"/>
                    <a:gd name="connsiteY2" fmla="*/ 0 h 52543"/>
                    <a:gd name="connsiteX3" fmla="*/ 14097 w 26912"/>
                    <a:gd name="connsiteY3" fmla="*/ 25631 h 52543"/>
                    <a:gd name="connsiteX4" fmla="*/ 26912 w 26912"/>
                    <a:gd name="connsiteY4" fmla="*/ 52543 h 525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12" h="52543">
                      <a:moveTo>
                        <a:pt x="26912" y="52543"/>
                      </a:moveTo>
                      <a:cubicBezTo>
                        <a:pt x="23068" y="43573"/>
                        <a:pt x="17942" y="34602"/>
                        <a:pt x="12815" y="25631"/>
                      </a:cubicBezTo>
                      <a:lnTo>
                        <a:pt x="0" y="0"/>
                      </a:lnTo>
                      <a:cubicBezTo>
                        <a:pt x="5126" y="8971"/>
                        <a:pt x="8971" y="17942"/>
                        <a:pt x="14097" y="25631"/>
                      </a:cubicBezTo>
                      <a:lnTo>
                        <a:pt x="26912" y="52543"/>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88" name="Freeform: Shape 379635">
                  <a:extLst>
                    <a:ext uri="{FF2B5EF4-FFF2-40B4-BE49-F238E27FC236}">
                      <a16:creationId xmlns:a16="http://schemas.microsoft.com/office/drawing/2014/main" id="{89EBD485-3003-46B4-9BED-7CD8FE66B944}"/>
                    </a:ext>
                  </a:extLst>
                </p:cNvPr>
                <p:cNvSpPr/>
                <p:nvPr/>
              </p:nvSpPr>
              <p:spPr>
                <a:xfrm>
                  <a:off x="7485200" y="2701363"/>
                  <a:ext cx="152269" cy="343454"/>
                </a:xfrm>
                <a:custGeom>
                  <a:avLst/>
                  <a:gdLst>
                    <a:gd name="connsiteX0" fmla="*/ 119184 w 152269"/>
                    <a:gd name="connsiteY0" fmla="*/ 260154 h 343454"/>
                    <a:gd name="connsiteX1" fmla="*/ 125592 w 152269"/>
                    <a:gd name="connsiteY1" fmla="*/ 270406 h 343454"/>
                    <a:gd name="connsiteX2" fmla="*/ 120466 w 152269"/>
                    <a:gd name="connsiteY2" fmla="*/ 253746 h 343454"/>
                    <a:gd name="connsiteX3" fmla="*/ 82019 w 152269"/>
                    <a:gd name="connsiteY3" fmla="*/ 139688 h 343454"/>
                    <a:gd name="connsiteX4" fmla="*/ 96116 w 152269"/>
                    <a:gd name="connsiteY4" fmla="*/ 166601 h 343454"/>
                    <a:gd name="connsiteX5" fmla="*/ 132000 w 152269"/>
                    <a:gd name="connsiteY5" fmla="*/ 284503 h 343454"/>
                    <a:gd name="connsiteX6" fmla="*/ 130718 w 152269"/>
                    <a:gd name="connsiteY6" fmla="*/ 283222 h 343454"/>
                    <a:gd name="connsiteX7" fmla="*/ 129436 w 152269"/>
                    <a:gd name="connsiteY7" fmla="*/ 285785 h 343454"/>
                    <a:gd name="connsiteX8" fmla="*/ 138407 w 152269"/>
                    <a:gd name="connsiteY8" fmla="*/ 307571 h 343454"/>
                    <a:gd name="connsiteX9" fmla="*/ 134563 w 152269"/>
                    <a:gd name="connsiteY9" fmla="*/ 289629 h 343454"/>
                    <a:gd name="connsiteX10" fmla="*/ 98679 w 152269"/>
                    <a:gd name="connsiteY10" fmla="*/ 174290 h 343454"/>
                    <a:gd name="connsiteX11" fmla="*/ 111495 w 152269"/>
                    <a:gd name="connsiteY11" fmla="*/ 201203 h 343454"/>
                    <a:gd name="connsiteX12" fmla="*/ 144815 w 152269"/>
                    <a:gd name="connsiteY12" fmla="*/ 320386 h 343454"/>
                    <a:gd name="connsiteX13" fmla="*/ 143533 w 152269"/>
                    <a:gd name="connsiteY13" fmla="*/ 319105 h 343454"/>
                    <a:gd name="connsiteX14" fmla="*/ 142252 w 152269"/>
                    <a:gd name="connsiteY14" fmla="*/ 320386 h 343454"/>
                    <a:gd name="connsiteX15" fmla="*/ 151223 w 152269"/>
                    <a:gd name="connsiteY15" fmla="*/ 343454 h 343454"/>
                    <a:gd name="connsiteX16" fmla="*/ 147378 w 152269"/>
                    <a:gd name="connsiteY16" fmla="*/ 325513 h 343454"/>
                    <a:gd name="connsiteX17" fmla="*/ 112777 w 152269"/>
                    <a:gd name="connsiteY17" fmla="*/ 203766 h 343454"/>
                    <a:gd name="connsiteX18" fmla="*/ 96116 w 152269"/>
                    <a:gd name="connsiteY18" fmla="*/ 169164 h 343454"/>
                    <a:gd name="connsiteX19" fmla="*/ 82019 w 152269"/>
                    <a:gd name="connsiteY19" fmla="*/ 139688 h 343454"/>
                    <a:gd name="connsiteX20" fmla="*/ 64078 w 152269"/>
                    <a:gd name="connsiteY20" fmla="*/ 106368 h 343454"/>
                    <a:gd name="connsiteX21" fmla="*/ 53825 w 152269"/>
                    <a:gd name="connsiteY21" fmla="*/ 88427 h 343454"/>
                    <a:gd name="connsiteX22" fmla="*/ 49980 w 152269"/>
                    <a:gd name="connsiteY22" fmla="*/ 82019 h 343454"/>
                    <a:gd name="connsiteX23" fmla="*/ 60233 w 152269"/>
                    <a:gd name="connsiteY23" fmla="*/ 99961 h 343454"/>
                    <a:gd name="connsiteX24" fmla="*/ 12815 w 152269"/>
                    <a:gd name="connsiteY24" fmla="*/ 20505 h 343454"/>
                    <a:gd name="connsiteX25" fmla="*/ 0 w 152269"/>
                    <a:gd name="connsiteY25" fmla="*/ 0 h 343454"/>
                    <a:gd name="connsiteX26" fmla="*/ 12815 w 152269"/>
                    <a:gd name="connsiteY26" fmla="*/ 20505 h 343454"/>
                    <a:gd name="connsiteX27" fmla="*/ 62796 w 152269"/>
                    <a:gd name="connsiteY27" fmla="*/ 105087 h 343454"/>
                    <a:gd name="connsiteX28" fmla="*/ 75611 w 152269"/>
                    <a:gd name="connsiteY28" fmla="*/ 130718 h 343454"/>
                    <a:gd name="connsiteX29" fmla="*/ 29476 w 152269"/>
                    <a:gd name="connsiteY29" fmla="*/ 49980 h 343454"/>
                    <a:gd name="connsiteX30" fmla="*/ 16660 w 152269"/>
                    <a:gd name="connsiteY30" fmla="*/ 29475 h 343454"/>
                    <a:gd name="connsiteX31" fmla="*/ 28194 w 152269"/>
                    <a:gd name="connsiteY31" fmla="*/ 49980 h 343454"/>
                    <a:gd name="connsiteX32" fmla="*/ 76893 w 152269"/>
                    <a:gd name="connsiteY32" fmla="*/ 135844 h 343454"/>
                    <a:gd name="connsiteX33" fmla="*/ 115340 w 152269"/>
                    <a:gd name="connsiteY33" fmla="*/ 252464 h 343454"/>
                    <a:gd name="connsiteX34" fmla="*/ 114058 w 152269"/>
                    <a:gd name="connsiteY34" fmla="*/ 251183 h 343454"/>
                    <a:gd name="connsiteX35" fmla="*/ 112777 w 152269"/>
                    <a:gd name="connsiteY35" fmla="*/ 253746 h 343454"/>
                    <a:gd name="connsiteX36" fmla="*/ 119184 w 152269"/>
                    <a:gd name="connsiteY36" fmla="*/ 260154 h 343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2269" h="343454">
                      <a:moveTo>
                        <a:pt x="119184" y="260154"/>
                      </a:moveTo>
                      <a:cubicBezTo>
                        <a:pt x="121747" y="266561"/>
                        <a:pt x="123029" y="267843"/>
                        <a:pt x="125592" y="270406"/>
                      </a:cubicBezTo>
                      <a:cubicBezTo>
                        <a:pt x="126874" y="267843"/>
                        <a:pt x="126874" y="266561"/>
                        <a:pt x="120466" y="253746"/>
                      </a:cubicBezTo>
                      <a:cubicBezTo>
                        <a:pt x="110213" y="219144"/>
                        <a:pt x="96116" y="173009"/>
                        <a:pt x="82019" y="139688"/>
                      </a:cubicBezTo>
                      <a:cubicBezTo>
                        <a:pt x="87145" y="148659"/>
                        <a:pt x="90990" y="157630"/>
                        <a:pt x="96116" y="166601"/>
                      </a:cubicBezTo>
                      <a:cubicBezTo>
                        <a:pt x="107650" y="201203"/>
                        <a:pt x="124311" y="248620"/>
                        <a:pt x="132000" y="284503"/>
                      </a:cubicBezTo>
                      <a:cubicBezTo>
                        <a:pt x="132000" y="284503"/>
                        <a:pt x="130718" y="283222"/>
                        <a:pt x="130718" y="283222"/>
                      </a:cubicBezTo>
                      <a:cubicBezTo>
                        <a:pt x="130718" y="284503"/>
                        <a:pt x="129436" y="284503"/>
                        <a:pt x="129436" y="285785"/>
                      </a:cubicBezTo>
                      <a:cubicBezTo>
                        <a:pt x="132000" y="294755"/>
                        <a:pt x="134563" y="302445"/>
                        <a:pt x="138407" y="307571"/>
                      </a:cubicBezTo>
                      <a:cubicBezTo>
                        <a:pt x="139689" y="305008"/>
                        <a:pt x="139689" y="302445"/>
                        <a:pt x="134563" y="289629"/>
                      </a:cubicBezTo>
                      <a:cubicBezTo>
                        <a:pt x="125592" y="255028"/>
                        <a:pt x="112777" y="207610"/>
                        <a:pt x="98679" y="174290"/>
                      </a:cubicBezTo>
                      <a:cubicBezTo>
                        <a:pt x="102524" y="183261"/>
                        <a:pt x="107650" y="192232"/>
                        <a:pt x="111495" y="201203"/>
                      </a:cubicBezTo>
                      <a:cubicBezTo>
                        <a:pt x="123029" y="237086"/>
                        <a:pt x="137126" y="284503"/>
                        <a:pt x="144815" y="320386"/>
                      </a:cubicBezTo>
                      <a:cubicBezTo>
                        <a:pt x="144815" y="320386"/>
                        <a:pt x="143533" y="319105"/>
                        <a:pt x="143533" y="319105"/>
                      </a:cubicBezTo>
                      <a:cubicBezTo>
                        <a:pt x="143533" y="319105"/>
                        <a:pt x="142252" y="319105"/>
                        <a:pt x="142252" y="320386"/>
                      </a:cubicBezTo>
                      <a:cubicBezTo>
                        <a:pt x="143533" y="328076"/>
                        <a:pt x="147378" y="338328"/>
                        <a:pt x="151223" y="343454"/>
                      </a:cubicBezTo>
                      <a:cubicBezTo>
                        <a:pt x="152504" y="340891"/>
                        <a:pt x="153786" y="338328"/>
                        <a:pt x="147378" y="325513"/>
                      </a:cubicBezTo>
                      <a:cubicBezTo>
                        <a:pt x="138407" y="288348"/>
                        <a:pt x="125592" y="239649"/>
                        <a:pt x="112777" y="203766"/>
                      </a:cubicBezTo>
                      <a:cubicBezTo>
                        <a:pt x="107650" y="192232"/>
                        <a:pt x="101243" y="180698"/>
                        <a:pt x="96116" y="169164"/>
                      </a:cubicBezTo>
                      <a:lnTo>
                        <a:pt x="82019" y="139688"/>
                      </a:lnTo>
                      <a:cubicBezTo>
                        <a:pt x="75611" y="128155"/>
                        <a:pt x="70485" y="117902"/>
                        <a:pt x="64078" y="106368"/>
                      </a:cubicBezTo>
                      <a:lnTo>
                        <a:pt x="53825" y="88427"/>
                      </a:lnTo>
                      <a:lnTo>
                        <a:pt x="49980" y="82019"/>
                      </a:lnTo>
                      <a:lnTo>
                        <a:pt x="60233" y="99961"/>
                      </a:lnTo>
                      <a:cubicBezTo>
                        <a:pt x="44854" y="73048"/>
                        <a:pt x="29476" y="46136"/>
                        <a:pt x="12815" y="20505"/>
                      </a:cubicBezTo>
                      <a:cubicBezTo>
                        <a:pt x="8971" y="15379"/>
                        <a:pt x="2563" y="5126"/>
                        <a:pt x="0" y="0"/>
                      </a:cubicBezTo>
                      <a:cubicBezTo>
                        <a:pt x="3844" y="6408"/>
                        <a:pt x="12815" y="20505"/>
                        <a:pt x="12815" y="20505"/>
                      </a:cubicBezTo>
                      <a:cubicBezTo>
                        <a:pt x="30757" y="48699"/>
                        <a:pt x="47417" y="76893"/>
                        <a:pt x="62796" y="105087"/>
                      </a:cubicBezTo>
                      <a:lnTo>
                        <a:pt x="75611" y="130718"/>
                      </a:lnTo>
                      <a:cubicBezTo>
                        <a:pt x="61514" y="103805"/>
                        <a:pt x="46136" y="75611"/>
                        <a:pt x="29476" y="49980"/>
                      </a:cubicBezTo>
                      <a:cubicBezTo>
                        <a:pt x="26912" y="44854"/>
                        <a:pt x="20505" y="34602"/>
                        <a:pt x="16660" y="29475"/>
                      </a:cubicBezTo>
                      <a:cubicBezTo>
                        <a:pt x="19223" y="35883"/>
                        <a:pt x="28194" y="49980"/>
                        <a:pt x="28194" y="49980"/>
                      </a:cubicBezTo>
                      <a:cubicBezTo>
                        <a:pt x="44854" y="78174"/>
                        <a:pt x="61514" y="106368"/>
                        <a:pt x="76893" y="135844"/>
                      </a:cubicBezTo>
                      <a:cubicBezTo>
                        <a:pt x="89709" y="170446"/>
                        <a:pt x="106368" y="216581"/>
                        <a:pt x="115340" y="252464"/>
                      </a:cubicBezTo>
                      <a:cubicBezTo>
                        <a:pt x="115340" y="252464"/>
                        <a:pt x="114058" y="251183"/>
                        <a:pt x="114058" y="251183"/>
                      </a:cubicBezTo>
                      <a:cubicBezTo>
                        <a:pt x="114058" y="252464"/>
                        <a:pt x="112777" y="252464"/>
                        <a:pt x="112777" y="253746"/>
                      </a:cubicBezTo>
                      <a:cubicBezTo>
                        <a:pt x="115340" y="252464"/>
                        <a:pt x="116621" y="255028"/>
                        <a:pt x="119184" y="2601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506" name="Freeform: Shape 379636">
                <a:extLst>
                  <a:ext uri="{FF2B5EF4-FFF2-40B4-BE49-F238E27FC236}">
                    <a16:creationId xmlns:a16="http://schemas.microsoft.com/office/drawing/2014/main" id="{0987151D-235A-49D0-BEE8-C7D857648314}"/>
                  </a:ext>
                </a:extLst>
              </p:cNvPr>
              <p:cNvSpPr/>
              <p:nvPr/>
            </p:nvSpPr>
            <p:spPr>
              <a:xfrm>
                <a:off x="4319450" y="3284466"/>
                <a:ext cx="19271" cy="97397"/>
              </a:xfrm>
              <a:custGeom>
                <a:avLst/>
                <a:gdLst>
                  <a:gd name="connsiteX0" fmla="*/ 5447 w 19271"/>
                  <a:gd name="connsiteY0" fmla="*/ 17942 h 97397"/>
                  <a:gd name="connsiteX1" fmla="*/ 9291 w 19271"/>
                  <a:gd name="connsiteY1" fmla="*/ 25631 h 97397"/>
                  <a:gd name="connsiteX2" fmla="*/ 5447 w 19271"/>
                  <a:gd name="connsiteY2" fmla="*/ 73048 h 97397"/>
                  <a:gd name="connsiteX3" fmla="*/ 4165 w 19271"/>
                  <a:gd name="connsiteY3" fmla="*/ 97397 h 97397"/>
                  <a:gd name="connsiteX4" fmla="*/ 10573 w 19271"/>
                  <a:gd name="connsiteY4" fmla="*/ 73048 h 97397"/>
                  <a:gd name="connsiteX5" fmla="*/ 9291 w 19271"/>
                  <a:gd name="connsiteY5" fmla="*/ 71767 h 97397"/>
                  <a:gd name="connsiteX6" fmla="*/ 13136 w 19271"/>
                  <a:gd name="connsiteY6" fmla="*/ 24349 h 97397"/>
                  <a:gd name="connsiteX7" fmla="*/ 15699 w 19271"/>
                  <a:gd name="connsiteY7" fmla="*/ 0 h 97397"/>
                  <a:gd name="connsiteX8" fmla="*/ 14417 w 19271"/>
                  <a:gd name="connsiteY8" fmla="*/ 0 h 97397"/>
                  <a:gd name="connsiteX9" fmla="*/ 5447 w 19271"/>
                  <a:gd name="connsiteY9" fmla="*/ 17942 h 9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71" h="97397">
                    <a:moveTo>
                      <a:pt x="5447" y="17942"/>
                    </a:moveTo>
                    <a:cubicBezTo>
                      <a:pt x="5447" y="21786"/>
                      <a:pt x="5447" y="25631"/>
                      <a:pt x="9291" y="25631"/>
                    </a:cubicBezTo>
                    <a:cubicBezTo>
                      <a:pt x="8010" y="41010"/>
                      <a:pt x="6728" y="57670"/>
                      <a:pt x="5447" y="73048"/>
                    </a:cubicBezTo>
                    <a:cubicBezTo>
                      <a:pt x="-2243" y="80737"/>
                      <a:pt x="-961" y="97397"/>
                      <a:pt x="4165" y="97397"/>
                    </a:cubicBezTo>
                    <a:cubicBezTo>
                      <a:pt x="10573" y="97397"/>
                      <a:pt x="15699" y="76893"/>
                      <a:pt x="10573" y="73048"/>
                    </a:cubicBezTo>
                    <a:cubicBezTo>
                      <a:pt x="10573" y="73048"/>
                      <a:pt x="9291" y="71767"/>
                      <a:pt x="9291" y="71767"/>
                    </a:cubicBezTo>
                    <a:cubicBezTo>
                      <a:pt x="10573" y="56388"/>
                      <a:pt x="11854" y="39728"/>
                      <a:pt x="13136" y="24349"/>
                    </a:cubicBezTo>
                    <a:cubicBezTo>
                      <a:pt x="20825" y="16660"/>
                      <a:pt x="20825" y="0"/>
                      <a:pt x="15699" y="0"/>
                    </a:cubicBezTo>
                    <a:cubicBezTo>
                      <a:pt x="15699" y="0"/>
                      <a:pt x="14417" y="0"/>
                      <a:pt x="14417" y="0"/>
                    </a:cubicBezTo>
                    <a:cubicBezTo>
                      <a:pt x="8010" y="3845"/>
                      <a:pt x="5447" y="14097"/>
                      <a:pt x="5447"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7" name="Freeform: Shape 379637">
                <a:extLst>
                  <a:ext uri="{FF2B5EF4-FFF2-40B4-BE49-F238E27FC236}">
                    <a16:creationId xmlns:a16="http://schemas.microsoft.com/office/drawing/2014/main" id="{A7E2A013-F987-42C9-A0F2-3B92B02CA13C}"/>
                  </a:ext>
                </a:extLst>
              </p:cNvPr>
              <p:cNvSpPr/>
              <p:nvPr/>
            </p:nvSpPr>
            <p:spPr>
              <a:xfrm>
                <a:off x="4395382" y="3252427"/>
                <a:ext cx="19394" cy="97397"/>
              </a:xfrm>
              <a:custGeom>
                <a:avLst/>
                <a:gdLst>
                  <a:gd name="connsiteX0" fmla="*/ 6408 w 19394"/>
                  <a:gd name="connsiteY0" fmla="*/ 17942 h 97397"/>
                  <a:gd name="connsiteX1" fmla="*/ 10252 w 19394"/>
                  <a:gd name="connsiteY1" fmla="*/ 25631 h 97397"/>
                  <a:gd name="connsiteX2" fmla="*/ 6408 w 19394"/>
                  <a:gd name="connsiteY2" fmla="*/ 73048 h 97397"/>
                  <a:gd name="connsiteX3" fmla="*/ 5126 w 19394"/>
                  <a:gd name="connsiteY3" fmla="*/ 97397 h 97397"/>
                  <a:gd name="connsiteX4" fmla="*/ 11534 w 19394"/>
                  <a:gd name="connsiteY4" fmla="*/ 73048 h 97397"/>
                  <a:gd name="connsiteX5" fmla="*/ 8971 w 19394"/>
                  <a:gd name="connsiteY5" fmla="*/ 71767 h 97397"/>
                  <a:gd name="connsiteX6" fmla="*/ 12816 w 19394"/>
                  <a:gd name="connsiteY6" fmla="*/ 24349 h 97397"/>
                  <a:gd name="connsiteX7" fmla="*/ 15379 w 19394"/>
                  <a:gd name="connsiteY7" fmla="*/ 0 h 97397"/>
                  <a:gd name="connsiteX8" fmla="*/ 14097 w 19394"/>
                  <a:gd name="connsiteY8" fmla="*/ 0 h 97397"/>
                  <a:gd name="connsiteX9" fmla="*/ 6408 w 19394"/>
                  <a:gd name="connsiteY9" fmla="*/ 17942 h 97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94" h="97397">
                    <a:moveTo>
                      <a:pt x="6408" y="17942"/>
                    </a:moveTo>
                    <a:cubicBezTo>
                      <a:pt x="6408" y="20505"/>
                      <a:pt x="7689" y="25631"/>
                      <a:pt x="10252" y="25631"/>
                    </a:cubicBezTo>
                    <a:cubicBezTo>
                      <a:pt x="8971" y="41010"/>
                      <a:pt x="7689" y="57670"/>
                      <a:pt x="6408" y="73048"/>
                    </a:cubicBezTo>
                    <a:cubicBezTo>
                      <a:pt x="-2563" y="80737"/>
                      <a:pt x="-1282" y="97397"/>
                      <a:pt x="5126" y="97397"/>
                    </a:cubicBezTo>
                    <a:cubicBezTo>
                      <a:pt x="12816" y="97397"/>
                      <a:pt x="17942" y="76893"/>
                      <a:pt x="11534" y="73048"/>
                    </a:cubicBezTo>
                    <a:cubicBezTo>
                      <a:pt x="11534" y="73048"/>
                      <a:pt x="10252" y="73048"/>
                      <a:pt x="8971" y="71767"/>
                    </a:cubicBezTo>
                    <a:cubicBezTo>
                      <a:pt x="10252" y="56388"/>
                      <a:pt x="11534" y="39728"/>
                      <a:pt x="12816" y="24349"/>
                    </a:cubicBezTo>
                    <a:cubicBezTo>
                      <a:pt x="21786" y="16660"/>
                      <a:pt x="20505" y="0"/>
                      <a:pt x="15379" y="0"/>
                    </a:cubicBezTo>
                    <a:cubicBezTo>
                      <a:pt x="15379" y="0"/>
                      <a:pt x="14097" y="0"/>
                      <a:pt x="14097" y="0"/>
                    </a:cubicBezTo>
                    <a:cubicBezTo>
                      <a:pt x="7689" y="5126"/>
                      <a:pt x="6408" y="15379"/>
                      <a:pt x="6408"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8" name="Freeform: Shape 379638">
                <a:extLst>
                  <a:ext uri="{FF2B5EF4-FFF2-40B4-BE49-F238E27FC236}">
                    <a16:creationId xmlns:a16="http://schemas.microsoft.com/office/drawing/2014/main" id="{A3C3D1E4-4117-4E43-9914-01A5733B9E7F}"/>
                  </a:ext>
                </a:extLst>
              </p:cNvPr>
              <p:cNvSpPr/>
              <p:nvPr/>
            </p:nvSpPr>
            <p:spPr>
              <a:xfrm>
                <a:off x="6948025" y="2703926"/>
                <a:ext cx="125223" cy="253844"/>
              </a:xfrm>
              <a:custGeom>
                <a:avLst/>
                <a:gdLst>
                  <a:gd name="connsiteX0" fmla="*/ 2768 w 125223"/>
                  <a:gd name="connsiteY0" fmla="*/ 14097 h 253844"/>
                  <a:gd name="connsiteX1" fmla="*/ 14302 w 125223"/>
                  <a:gd name="connsiteY1" fmla="*/ 21786 h 253844"/>
                  <a:gd name="connsiteX2" fmla="*/ 107856 w 125223"/>
                  <a:gd name="connsiteY2" fmla="*/ 230678 h 253844"/>
                  <a:gd name="connsiteX3" fmla="*/ 116826 w 125223"/>
                  <a:gd name="connsiteY3" fmla="*/ 253746 h 253844"/>
                  <a:gd name="connsiteX4" fmla="*/ 120671 w 125223"/>
                  <a:gd name="connsiteY4" fmla="*/ 234523 h 253844"/>
                  <a:gd name="connsiteX5" fmla="*/ 111700 w 125223"/>
                  <a:gd name="connsiteY5" fmla="*/ 229397 h 253844"/>
                  <a:gd name="connsiteX6" fmla="*/ 18147 w 125223"/>
                  <a:gd name="connsiteY6" fmla="*/ 20505 h 253844"/>
                  <a:gd name="connsiteX7" fmla="*/ 9176 w 125223"/>
                  <a:gd name="connsiteY7" fmla="*/ 0 h 253844"/>
                  <a:gd name="connsiteX8" fmla="*/ 5331 w 125223"/>
                  <a:gd name="connsiteY8" fmla="*/ 0 h 253844"/>
                  <a:gd name="connsiteX9" fmla="*/ 2768 w 125223"/>
                  <a:gd name="connsiteY9" fmla="*/ 14097 h 25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223" h="253844">
                    <a:moveTo>
                      <a:pt x="2768" y="14097"/>
                    </a:moveTo>
                    <a:cubicBezTo>
                      <a:pt x="5331" y="16660"/>
                      <a:pt x="7894" y="20505"/>
                      <a:pt x="14302" y="21786"/>
                    </a:cubicBezTo>
                    <a:cubicBezTo>
                      <a:pt x="47623" y="88427"/>
                      <a:pt x="79661" y="158912"/>
                      <a:pt x="107856" y="230678"/>
                    </a:cubicBezTo>
                    <a:cubicBezTo>
                      <a:pt x="97603" y="237086"/>
                      <a:pt x="107856" y="253746"/>
                      <a:pt x="116826" y="253746"/>
                    </a:cubicBezTo>
                    <a:cubicBezTo>
                      <a:pt x="125797" y="255028"/>
                      <a:pt x="128360" y="243494"/>
                      <a:pt x="120671" y="234523"/>
                    </a:cubicBezTo>
                    <a:cubicBezTo>
                      <a:pt x="116826" y="230678"/>
                      <a:pt x="114263" y="229397"/>
                      <a:pt x="111700" y="229397"/>
                    </a:cubicBezTo>
                    <a:cubicBezTo>
                      <a:pt x="83506" y="156349"/>
                      <a:pt x="51467" y="87145"/>
                      <a:pt x="18147" y="20505"/>
                    </a:cubicBezTo>
                    <a:cubicBezTo>
                      <a:pt x="25836" y="15379"/>
                      <a:pt x="18147" y="2563"/>
                      <a:pt x="9176" y="0"/>
                    </a:cubicBezTo>
                    <a:cubicBezTo>
                      <a:pt x="7894" y="0"/>
                      <a:pt x="6613" y="0"/>
                      <a:pt x="5331" y="0"/>
                    </a:cubicBezTo>
                    <a:cubicBezTo>
                      <a:pt x="-4921" y="2563"/>
                      <a:pt x="2768" y="14097"/>
                      <a:pt x="276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09" name="Freeform: Shape 379639">
                <a:extLst>
                  <a:ext uri="{FF2B5EF4-FFF2-40B4-BE49-F238E27FC236}">
                    <a16:creationId xmlns:a16="http://schemas.microsoft.com/office/drawing/2014/main" id="{66A8E794-42A9-4B43-B9E7-8C91EC49981E}"/>
                  </a:ext>
                </a:extLst>
              </p:cNvPr>
              <p:cNvSpPr/>
              <p:nvPr/>
            </p:nvSpPr>
            <p:spPr>
              <a:xfrm>
                <a:off x="7221058" y="2674451"/>
                <a:ext cx="166385" cy="289629"/>
              </a:xfrm>
              <a:custGeom>
                <a:avLst/>
                <a:gdLst>
                  <a:gd name="connsiteX0" fmla="*/ 3987 w 166385"/>
                  <a:gd name="connsiteY0" fmla="*/ 14097 h 289629"/>
                  <a:gd name="connsiteX1" fmla="*/ 14239 w 166385"/>
                  <a:gd name="connsiteY1" fmla="*/ 23068 h 289629"/>
                  <a:gd name="connsiteX2" fmla="*/ 60375 w 166385"/>
                  <a:gd name="connsiteY2" fmla="*/ 110213 h 289629"/>
                  <a:gd name="connsiteX3" fmla="*/ 97540 w 166385"/>
                  <a:gd name="connsiteY3" fmla="*/ 142252 h 289629"/>
                  <a:gd name="connsiteX4" fmla="*/ 152647 w 166385"/>
                  <a:gd name="connsiteY4" fmla="*/ 265280 h 289629"/>
                  <a:gd name="connsiteX5" fmla="*/ 161618 w 166385"/>
                  <a:gd name="connsiteY5" fmla="*/ 289629 h 289629"/>
                  <a:gd name="connsiteX6" fmla="*/ 164181 w 166385"/>
                  <a:gd name="connsiteY6" fmla="*/ 289629 h 289629"/>
                  <a:gd name="connsiteX7" fmla="*/ 155210 w 166385"/>
                  <a:gd name="connsiteY7" fmla="*/ 265280 h 289629"/>
                  <a:gd name="connsiteX8" fmla="*/ 98822 w 166385"/>
                  <a:gd name="connsiteY8" fmla="*/ 139688 h 289629"/>
                  <a:gd name="connsiteX9" fmla="*/ 62939 w 166385"/>
                  <a:gd name="connsiteY9" fmla="*/ 106368 h 289629"/>
                  <a:gd name="connsiteX10" fmla="*/ 16803 w 166385"/>
                  <a:gd name="connsiteY10" fmla="*/ 21786 h 289629"/>
                  <a:gd name="connsiteX11" fmla="*/ 2705 w 166385"/>
                  <a:gd name="connsiteY11" fmla="*/ 0 h 289629"/>
                  <a:gd name="connsiteX12" fmla="*/ 142 w 166385"/>
                  <a:gd name="connsiteY12" fmla="*/ 1281 h 289629"/>
                  <a:gd name="connsiteX13" fmla="*/ 3987 w 166385"/>
                  <a:gd name="connsiteY13" fmla="*/ 14097 h 28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6385" h="289629">
                    <a:moveTo>
                      <a:pt x="3987" y="14097"/>
                    </a:moveTo>
                    <a:cubicBezTo>
                      <a:pt x="6550" y="16660"/>
                      <a:pt x="9113" y="20505"/>
                      <a:pt x="14239" y="23068"/>
                    </a:cubicBezTo>
                    <a:cubicBezTo>
                      <a:pt x="30900" y="51262"/>
                      <a:pt x="46278" y="80737"/>
                      <a:pt x="60375" y="110213"/>
                    </a:cubicBezTo>
                    <a:lnTo>
                      <a:pt x="97540" y="142252"/>
                    </a:lnTo>
                    <a:cubicBezTo>
                      <a:pt x="116763" y="181979"/>
                      <a:pt x="135987" y="224270"/>
                      <a:pt x="152647" y="265280"/>
                    </a:cubicBezTo>
                    <a:cubicBezTo>
                      <a:pt x="144958" y="272969"/>
                      <a:pt x="157773" y="288348"/>
                      <a:pt x="161618" y="289629"/>
                    </a:cubicBezTo>
                    <a:cubicBezTo>
                      <a:pt x="162899" y="289629"/>
                      <a:pt x="164181" y="289629"/>
                      <a:pt x="164181" y="289629"/>
                    </a:cubicBezTo>
                    <a:cubicBezTo>
                      <a:pt x="170589" y="281940"/>
                      <a:pt x="161618" y="269124"/>
                      <a:pt x="155210" y="265280"/>
                    </a:cubicBezTo>
                    <a:cubicBezTo>
                      <a:pt x="137268" y="221707"/>
                      <a:pt x="119327" y="180698"/>
                      <a:pt x="98822" y="139688"/>
                    </a:cubicBezTo>
                    <a:lnTo>
                      <a:pt x="62939" y="106368"/>
                    </a:lnTo>
                    <a:cubicBezTo>
                      <a:pt x="48841" y="78174"/>
                      <a:pt x="33463" y="49980"/>
                      <a:pt x="16803" y="21786"/>
                    </a:cubicBezTo>
                    <a:cubicBezTo>
                      <a:pt x="21929" y="15379"/>
                      <a:pt x="10395" y="1281"/>
                      <a:pt x="2705" y="0"/>
                    </a:cubicBezTo>
                    <a:cubicBezTo>
                      <a:pt x="1424" y="0"/>
                      <a:pt x="1424" y="1281"/>
                      <a:pt x="142" y="1281"/>
                    </a:cubicBezTo>
                    <a:cubicBezTo>
                      <a:pt x="142" y="3845"/>
                      <a:pt x="-1139" y="6408"/>
                      <a:pt x="398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0" name="Freeform: Shape 379640">
                <a:extLst>
                  <a:ext uri="{FF2B5EF4-FFF2-40B4-BE49-F238E27FC236}">
                    <a16:creationId xmlns:a16="http://schemas.microsoft.com/office/drawing/2014/main" id="{F2AF45A8-7091-49AC-A747-67A565074C1A}"/>
                  </a:ext>
                </a:extLst>
              </p:cNvPr>
              <p:cNvSpPr/>
              <p:nvPr/>
            </p:nvSpPr>
            <p:spPr>
              <a:xfrm>
                <a:off x="7110318" y="2411734"/>
                <a:ext cx="207838" cy="280728"/>
              </a:xfrm>
              <a:custGeom>
                <a:avLst/>
                <a:gdLst>
                  <a:gd name="connsiteX0" fmla="*/ 5796 w 207838"/>
                  <a:gd name="connsiteY0" fmla="*/ 11534 h 280728"/>
                  <a:gd name="connsiteX1" fmla="*/ 16048 w 207838"/>
                  <a:gd name="connsiteY1" fmla="*/ 19223 h 280728"/>
                  <a:gd name="connsiteX2" fmla="*/ 191621 w 207838"/>
                  <a:gd name="connsiteY2" fmla="*/ 260154 h 280728"/>
                  <a:gd name="connsiteX3" fmla="*/ 206999 w 207838"/>
                  <a:gd name="connsiteY3" fmla="*/ 280658 h 280728"/>
                  <a:gd name="connsiteX4" fmla="*/ 194184 w 207838"/>
                  <a:gd name="connsiteY4" fmla="*/ 258872 h 280728"/>
                  <a:gd name="connsiteX5" fmla="*/ 18612 w 207838"/>
                  <a:gd name="connsiteY5" fmla="*/ 17942 h 280728"/>
                  <a:gd name="connsiteX6" fmla="*/ 1951 w 207838"/>
                  <a:gd name="connsiteY6" fmla="*/ 0 h 280728"/>
                  <a:gd name="connsiteX7" fmla="*/ 670 w 207838"/>
                  <a:gd name="connsiteY7" fmla="*/ 1282 h 280728"/>
                  <a:gd name="connsiteX8" fmla="*/ 5796 w 207838"/>
                  <a:gd name="connsiteY8" fmla="*/ 11534 h 28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838" h="280728">
                    <a:moveTo>
                      <a:pt x="5796" y="11534"/>
                    </a:moveTo>
                    <a:cubicBezTo>
                      <a:pt x="8359" y="14097"/>
                      <a:pt x="12203" y="17942"/>
                      <a:pt x="16048" y="19223"/>
                    </a:cubicBezTo>
                    <a:cubicBezTo>
                      <a:pt x="80126" y="93553"/>
                      <a:pt x="139077" y="174290"/>
                      <a:pt x="191621" y="260154"/>
                    </a:cubicBezTo>
                    <a:cubicBezTo>
                      <a:pt x="187776" y="265280"/>
                      <a:pt x="198028" y="281940"/>
                      <a:pt x="206999" y="280658"/>
                    </a:cubicBezTo>
                    <a:cubicBezTo>
                      <a:pt x="210844" y="274251"/>
                      <a:pt x="200592" y="261435"/>
                      <a:pt x="194184" y="258872"/>
                    </a:cubicBezTo>
                    <a:cubicBezTo>
                      <a:pt x="141640" y="173009"/>
                      <a:pt x="82689" y="92271"/>
                      <a:pt x="18612" y="17942"/>
                    </a:cubicBezTo>
                    <a:cubicBezTo>
                      <a:pt x="19893" y="11534"/>
                      <a:pt x="8359" y="1282"/>
                      <a:pt x="1951" y="0"/>
                    </a:cubicBezTo>
                    <a:cubicBezTo>
                      <a:pt x="1951" y="0"/>
                      <a:pt x="670" y="0"/>
                      <a:pt x="670" y="1282"/>
                    </a:cubicBezTo>
                    <a:cubicBezTo>
                      <a:pt x="-612" y="2563"/>
                      <a:pt x="-612" y="5126"/>
                      <a:pt x="5796"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1" name="Freeform: Shape 379641">
                <a:extLst>
                  <a:ext uri="{FF2B5EF4-FFF2-40B4-BE49-F238E27FC236}">
                    <a16:creationId xmlns:a16="http://schemas.microsoft.com/office/drawing/2014/main" id="{035ED6A4-E8B7-41D6-8276-CCE121644B0A}"/>
                  </a:ext>
                </a:extLst>
              </p:cNvPr>
              <p:cNvSpPr/>
              <p:nvPr/>
            </p:nvSpPr>
            <p:spPr>
              <a:xfrm>
                <a:off x="7366677" y="2671887"/>
                <a:ext cx="17389" cy="21812"/>
              </a:xfrm>
              <a:custGeom>
                <a:avLst/>
                <a:gdLst>
                  <a:gd name="connsiteX0" fmla="*/ 4465 w 17389"/>
                  <a:gd name="connsiteY0" fmla="*/ 11534 h 21812"/>
                  <a:gd name="connsiteX1" fmla="*/ 17280 w 17389"/>
                  <a:gd name="connsiteY1" fmla="*/ 20505 h 21812"/>
                  <a:gd name="connsiteX2" fmla="*/ 1902 w 17389"/>
                  <a:gd name="connsiteY2" fmla="*/ 0 h 21812"/>
                  <a:gd name="connsiteX3" fmla="*/ 4465 w 17389"/>
                  <a:gd name="connsiteY3" fmla="*/ 11534 h 21812"/>
                </a:gdLst>
                <a:ahLst/>
                <a:cxnLst>
                  <a:cxn ang="0">
                    <a:pos x="connsiteX0" y="connsiteY0"/>
                  </a:cxn>
                  <a:cxn ang="0">
                    <a:pos x="connsiteX1" y="connsiteY1"/>
                  </a:cxn>
                  <a:cxn ang="0">
                    <a:pos x="connsiteX2" y="connsiteY2"/>
                  </a:cxn>
                  <a:cxn ang="0">
                    <a:pos x="connsiteX3" y="connsiteY3"/>
                  </a:cxn>
                </a:cxnLst>
                <a:rect l="l" t="t" r="r" b="b"/>
                <a:pathLst>
                  <a:path w="17389" h="21812">
                    <a:moveTo>
                      <a:pt x="4465" y="11534"/>
                    </a:moveTo>
                    <a:cubicBezTo>
                      <a:pt x="9591" y="19223"/>
                      <a:pt x="15999" y="24349"/>
                      <a:pt x="17280" y="20505"/>
                    </a:cubicBezTo>
                    <a:cubicBezTo>
                      <a:pt x="18562" y="15379"/>
                      <a:pt x="8309" y="1282"/>
                      <a:pt x="1902" y="0"/>
                    </a:cubicBezTo>
                    <a:cubicBezTo>
                      <a:pt x="-1943" y="0"/>
                      <a:pt x="620" y="6408"/>
                      <a:pt x="4465"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2" name="Freeform: Shape 379642">
                <a:extLst>
                  <a:ext uri="{FF2B5EF4-FFF2-40B4-BE49-F238E27FC236}">
                    <a16:creationId xmlns:a16="http://schemas.microsoft.com/office/drawing/2014/main" id="{EA9D6C76-08DC-41B5-912E-A47D1E33227C}"/>
                  </a:ext>
                </a:extLst>
              </p:cNvPr>
              <p:cNvSpPr/>
              <p:nvPr/>
            </p:nvSpPr>
            <p:spPr>
              <a:xfrm>
                <a:off x="4136949" y="3488232"/>
                <a:ext cx="11596" cy="137125"/>
              </a:xfrm>
              <a:custGeom>
                <a:avLst/>
                <a:gdLst>
                  <a:gd name="connsiteX0" fmla="*/ 5968 w 11596"/>
                  <a:gd name="connsiteY0" fmla="*/ 16660 h 137125"/>
                  <a:gd name="connsiteX1" fmla="*/ 7250 w 11596"/>
                  <a:gd name="connsiteY1" fmla="*/ 25631 h 137125"/>
                  <a:gd name="connsiteX2" fmla="*/ 2123 w 11596"/>
                  <a:gd name="connsiteY2" fmla="*/ 112776 h 137125"/>
                  <a:gd name="connsiteX3" fmla="*/ 842 w 11596"/>
                  <a:gd name="connsiteY3" fmla="*/ 137125 h 137125"/>
                  <a:gd name="connsiteX4" fmla="*/ 2123 w 11596"/>
                  <a:gd name="connsiteY4" fmla="*/ 137125 h 137125"/>
                  <a:gd name="connsiteX5" fmla="*/ 3405 w 11596"/>
                  <a:gd name="connsiteY5" fmla="*/ 111494 h 137125"/>
                  <a:gd name="connsiteX6" fmla="*/ 8531 w 11596"/>
                  <a:gd name="connsiteY6" fmla="*/ 24349 h 137125"/>
                  <a:gd name="connsiteX7" fmla="*/ 11094 w 11596"/>
                  <a:gd name="connsiteY7" fmla="*/ 0 h 137125"/>
                  <a:gd name="connsiteX8" fmla="*/ 9813 w 11596"/>
                  <a:gd name="connsiteY8" fmla="*/ 0 h 137125"/>
                  <a:gd name="connsiteX9" fmla="*/ 5968 w 11596"/>
                  <a:gd name="connsiteY9" fmla="*/ 16660 h 13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96" h="137125">
                    <a:moveTo>
                      <a:pt x="5968" y="16660"/>
                    </a:moveTo>
                    <a:cubicBezTo>
                      <a:pt x="5968" y="20505"/>
                      <a:pt x="5968" y="24349"/>
                      <a:pt x="7250" y="25631"/>
                    </a:cubicBezTo>
                    <a:cubicBezTo>
                      <a:pt x="4687" y="53825"/>
                      <a:pt x="3405" y="83301"/>
                      <a:pt x="2123" y="112776"/>
                    </a:cubicBezTo>
                    <a:cubicBezTo>
                      <a:pt x="-440" y="117902"/>
                      <a:pt x="-440" y="133281"/>
                      <a:pt x="842" y="137125"/>
                    </a:cubicBezTo>
                    <a:cubicBezTo>
                      <a:pt x="842" y="137125"/>
                      <a:pt x="842" y="137125"/>
                      <a:pt x="2123" y="137125"/>
                    </a:cubicBezTo>
                    <a:cubicBezTo>
                      <a:pt x="4687" y="133281"/>
                      <a:pt x="5968" y="114058"/>
                      <a:pt x="3405" y="111494"/>
                    </a:cubicBezTo>
                    <a:cubicBezTo>
                      <a:pt x="4687" y="82019"/>
                      <a:pt x="5968" y="53825"/>
                      <a:pt x="8531" y="24349"/>
                    </a:cubicBezTo>
                    <a:cubicBezTo>
                      <a:pt x="11094" y="19223"/>
                      <a:pt x="12376" y="3845"/>
                      <a:pt x="11094" y="0"/>
                    </a:cubicBezTo>
                    <a:cubicBezTo>
                      <a:pt x="11094" y="0"/>
                      <a:pt x="11094" y="0"/>
                      <a:pt x="9813" y="0"/>
                    </a:cubicBezTo>
                    <a:cubicBezTo>
                      <a:pt x="7250" y="2563"/>
                      <a:pt x="5968" y="12816"/>
                      <a:pt x="596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3" name="Freeform: Shape 379643">
                <a:extLst>
                  <a:ext uri="{FF2B5EF4-FFF2-40B4-BE49-F238E27FC236}">
                    <a16:creationId xmlns:a16="http://schemas.microsoft.com/office/drawing/2014/main" id="{0C5238A5-EE87-40D9-9688-871CF8BF2C34}"/>
                  </a:ext>
                </a:extLst>
              </p:cNvPr>
              <p:cNvSpPr/>
              <p:nvPr/>
            </p:nvSpPr>
            <p:spPr>
              <a:xfrm>
                <a:off x="5787655" y="2754618"/>
                <a:ext cx="115099" cy="208130"/>
              </a:xfrm>
              <a:custGeom>
                <a:avLst/>
                <a:gdLst>
                  <a:gd name="connsiteX0" fmla="*/ 773 w 115099"/>
                  <a:gd name="connsiteY0" fmla="*/ 15948 h 208130"/>
                  <a:gd name="connsiteX1" fmla="*/ 12307 w 115099"/>
                  <a:gd name="connsiteY1" fmla="*/ 22356 h 208130"/>
                  <a:gd name="connsiteX2" fmla="*/ 50753 w 115099"/>
                  <a:gd name="connsiteY2" fmla="*/ 173578 h 208130"/>
                  <a:gd name="connsiteX3" fmla="*/ 89200 w 115099"/>
                  <a:gd name="connsiteY3" fmla="*/ 192801 h 208130"/>
                  <a:gd name="connsiteX4" fmla="*/ 109705 w 115099"/>
                  <a:gd name="connsiteY4" fmla="*/ 205617 h 208130"/>
                  <a:gd name="connsiteX5" fmla="*/ 104578 w 115099"/>
                  <a:gd name="connsiteY5" fmla="*/ 183831 h 208130"/>
                  <a:gd name="connsiteX6" fmla="*/ 93044 w 115099"/>
                  <a:gd name="connsiteY6" fmla="*/ 187675 h 208130"/>
                  <a:gd name="connsiteX7" fmla="*/ 57161 w 115099"/>
                  <a:gd name="connsiteY7" fmla="*/ 169734 h 208130"/>
                  <a:gd name="connsiteX8" fmla="*/ 19996 w 115099"/>
                  <a:gd name="connsiteY8" fmla="*/ 21074 h 208130"/>
                  <a:gd name="connsiteX9" fmla="*/ 18715 w 115099"/>
                  <a:gd name="connsiteY9" fmla="*/ 570 h 208130"/>
                  <a:gd name="connsiteX10" fmla="*/ 11025 w 115099"/>
                  <a:gd name="connsiteY10" fmla="*/ 570 h 208130"/>
                  <a:gd name="connsiteX11" fmla="*/ 773 w 115099"/>
                  <a:gd name="connsiteY11" fmla="*/ 15948 h 20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099" h="208130">
                    <a:moveTo>
                      <a:pt x="773" y="15948"/>
                    </a:moveTo>
                    <a:cubicBezTo>
                      <a:pt x="2054" y="18511"/>
                      <a:pt x="4618" y="22356"/>
                      <a:pt x="12307" y="22356"/>
                    </a:cubicBezTo>
                    <a:cubicBezTo>
                      <a:pt x="25122" y="71054"/>
                      <a:pt x="37938" y="121035"/>
                      <a:pt x="50753" y="173578"/>
                    </a:cubicBezTo>
                    <a:cubicBezTo>
                      <a:pt x="62287" y="178704"/>
                      <a:pt x="77666" y="186394"/>
                      <a:pt x="89200" y="192801"/>
                    </a:cubicBezTo>
                    <a:cubicBezTo>
                      <a:pt x="85355" y="205617"/>
                      <a:pt x="100734" y="212025"/>
                      <a:pt x="109705" y="205617"/>
                    </a:cubicBezTo>
                    <a:cubicBezTo>
                      <a:pt x="118676" y="199209"/>
                      <a:pt x="116112" y="186394"/>
                      <a:pt x="104578" y="183831"/>
                    </a:cubicBezTo>
                    <a:cubicBezTo>
                      <a:pt x="98171" y="182549"/>
                      <a:pt x="94326" y="186394"/>
                      <a:pt x="93044" y="187675"/>
                    </a:cubicBezTo>
                    <a:lnTo>
                      <a:pt x="57161" y="169734"/>
                    </a:lnTo>
                    <a:cubicBezTo>
                      <a:pt x="44345" y="118472"/>
                      <a:pt x="31530" y="69773"/>
                      <a:pt x="19996" y="21074"/>
                    </a:cubicBezTo>
                    <a:cubicBezTo>
                      <a:pt x="31530" y="14667"/>
                      <a:pt x="27686" y="3133"/>
                      <a:pt x="18715" y="570"/>
                    </a:cubicBezTo>
                    <a:cubicBezTo>
                      <a:pt x="16152" y="-712"/>
                      <a:pt x="13588" y="570"/>
                      <a:pt x="11025" y="570"/>
                    </a:cubicBezTo>
                    <a:cubicBezTo>
                      <a:pt x="-1790" y="3133"/>
                      <a:pt x="-509" y="12103"/>
                      <a:pt x="773" y="1594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4" name="Freeform: Shape 379644">
                <a:extLst>
                  <a:ext uri="{FF2B5EF4-FFF2-40B4-BE49-F238E27FC236}">
                    <a16:creationId xmlns:a16="http://schemas.microsoft.com/office/drawing/2014/main" id="{E2A82C6D-D4E7-41B9-A633-690516F8E658}"/>
                  </a:ext>
                </a:extLst>
              </p:cNvPr>
              <p:cNvSpPr/>
              <p:nvPr/>
            </p:nvSpPr>
            <p:spPr>
              <a:xfrm>
                <a:off x="5993937" y="2911413"/>
                <a:ext cx="172378" cy="99463"/>
              </a:xfrm>
              <a:custGeom>
                <a:avLst/>
                <a:gdLst>
                  <a:gd name="connsiteX0" fmla="*/ 820 w 172378"/>
                  <a:gd name="connsiteY0" fmla="*/ 16783 h 99463"/>
                  <a:gd name="connsiteX1" fmla="*/ 22607 w 172378"/>
                  <a:gd name="connsiteY1" fmla="*/ 19346 h 99463"/>
                  <a:gd name="connsiteX2" fmla="*/ 146917 w 172378"/>
                  <a:gd name="connsiteY2" fmla="*/ 83424 h 99463"/>
                  <a:gd name="connsiteX3" fmla="*/ 167422 w 172378"/>
                  <a:gd name="connsiteY3" fmla="*/ 97521 h 99463"/>
                  <a:gd name="connsiteX4" fmla="*/ 161014 w 172378"/>
                  <a:gd name="connsiteY4" fmla="*/ 75734 h 99463"/>
                  <a:gd name="connsiteX5" fmla="*/ 149480 w 172378"/>
                  <a:gd name="connsiteY5" fmla="*/ 79579 h 99463"/>
                  <a:gd name="connsiteX6" fmla="*/ 26451 w 172378"/>
                  <a:gd name="connsiteY6" fmla="*/ 15502 h 99463"/>
                  <a:gd name="connsiteX7" fmla="*/ 11073 w 172378"/>
                  <a:gd name="connsiteY7" fmla="*/ 123 h 99463"/>
                  <a:gd name="connsiteX8" fmla="*/ 820 w 172378"/>
                  <a:gd name="connsiteY8" fmla="*/ 16783 h 99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78" h="99463">
                    <a:moveTo>
                      <a:pt x="820" y="16783"/>
                    </a:moveTo>
                    <a:cubicBezTo>
                      <a:pt x="4665" y="23191"/>
                      <a:pt x="14917" y="25754"/>
                      <a:pt x="22607" y="19346"/>
                    </a:cubicBezTo>
                    <a:cubicBezTo>
                      <a:pt x="59771" y="38569"/>
                      <a:pt x="109752" y="64200"/>
                      <a:pt x="146917" y="83424"/>
                    </a:cubicBezTo>
                    <a:cubicBezTo>
                      <a:pt x="144354" y="97521"/>
                      <a:pt x="159733" y="102647"/>
                      <a:pt x="167422" y="97521"/>
                    </a:cubicBezTo>
                    <a:cubicBezTo>
                      <a:pt x="176393" y="91113"/>
                      <a:pt x="172548" y="77016"/>
                      <a:pt x="161014" y="75734"/>
                    </a:cubicBezTo>
                    <a:cubicBezTo>
                      <a:pt x="158451" y="75734"/>
                      <a:pt x="153325" y="75734"/>
                      <a:pt x="149480" y="79579"/>
                    </a:cubicBezTo>
                    <a:cubicBezTo>
                      <a:pt x="112315" y="60356"/>
                      <a:pt x="62335" y="34725"/>
                      <a:pt x="26451" y="15502"/>
                    </a:cubicBezTo>
                    <a:cubicBezTo>
                      <a:pt x="27733" y="7812"/>
                      <a:pt x="22607" y="-1158"/>
                      <a:pt x="11073" y="123"/>
                    </a:cubicBezTo>
                    <a:cubicBezTo>
                      <a:pt x="-4306" y="5249"/>
                      <a:pt x="820" y="16783"/>
                      <a:pt x="820" y="1678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5" name="Freeform: Shape 379645">
                <a:extLst>
                  <a:ext uri="{FF2B5EF4-FFF2-40B4-BE49-F238E27FC236}">
                    <a16:creationId xmlns:a16="http://schemas.microsoft.com/office/drawing/2014/main" id="{4125FF80-C106-4CB8-976F-23F67BDFD647}"/>
                  </a:ext>
                </a:extLst>
              </p:cNvPr>
              <p:cNvSpPr/>
              <p:nvPr/>
            </p:nvSpPr>
            <p:spPr>
              <a:xfrm>
                <a:off x="6032783" y="2903446"/>
                <a:ext cx="25331" cy="23469"/>
              </a:xfrm>
              <a:custGeom>
                <a:avLst/>
                <a:gdLst>
                  <a:gd name="connsiteX0" fmla="*/ 421 w 25331"/>
                  <a:gd name="connsiteY0" fmla="*/ 15780 h 23469"/>
                  <a:gd name="connsiteX1" fmla="*/ 24771 w 25331"/>
                  <a:gd name="connsiteY1" fmla="*/ 15780 h 23469"/>
                  <a:gd name="connsiteX2" fmla="*/ 9392 w 25331"/>
                  <a:gd name="connsiteY2" fmla="*/ 401 h 23469"/>
                  <a:gd name="connsiteX3" fmla="*/ 421 w 25331"/>
                  <a:gd name="connsiteY3" fmla="*/ 15780 h 23469"/>
                </a:gdLst>
                <a:ahLst/>
                <a:cxnLst>
                  <a:cxn ang="0">
                    <a:pos x="connsiteX0" y="connsiteY0"/>
                  </a:cxn>
                  <a:cxn ang="0">
                    <a:pos x="connsiteX1" y="connsiteY1"/>
                  </a:cxn>
                  <a:cxn ang="0">
                    <a:pos x="connsiteX2" y="connsiteY2"/>
                  </a:cxn>
                  <a:cxn ang="0">
                    <a:pos x="connsiteX3" y="connsiteY3"/>
                  </a:cxn>
                </a:cxnLst>
                <a:rect l="l" t="t" r="r" b="b"/>
                <a:pathLst>
                  <a:path w="25331" h="23469">
                    <a:moveTo>
                      <a:pt x="421" y="15780"/>
                    </a:moveTo>
                    <a:cubicBezTo>
                      <a:pt x="4266" y="26032"/>
                      <a:pt x="20926" y="26032"/>
                      <a:pt x="24771" y="15780"/>
                    </a:cubicBezTo>
                    <a:cubicBezTo>
                      <a:pt x="27334" y="8091"/>
                      <a:pt x="20926" y="-2162"/>
                      <a:pt x="9392" y="401"/>
                    </a:cubicBezTo>
                    <a:cubicBezTo>
                      <a:pt x="421" y="2964"/>
                      <a:pt x="-861" y="10654"/>
                      <a:pt x="421" y="1578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6" name="Freeform: Shape 379646">
                <a:extLst>
                  <a:ext uri="{FF2B5EF4-FFF2-40B4-BE49-F238E27FC236}">
                    <a16:creationId xmlns:a16="http://schemas.microsoft.com/office/drawing/2014/main" id="{DCDFC661-1BE0-4FF1-846B-B37454388754}"/>
                  </a:ext>
                </a:extLst>
              </p:cNvPr>
              <p:cNvSpPr/>
              <p:nvPr/>
            </p:nvSpPr>
            <p:spPr>
              <a:xfrm>
                <a:off x="6071795" y="2894475"/>
                <a:ext cx="26046" cy="23469"/>
              </a:xfrm>
              <a:custGeom>
                <a:avLst/>
                <a:gdLst>
                  <a:gd name="connsiteX0" fmla="*/ 1136 w 26046"/>
                  <a:gd name="connsiteY0" fmla="*/ 15780 h 23469"/>
                  <a:gd name="connsiteX1" fmla="*/ 25485 w 26046"/>
                  <a:gd name="connsiteY1" fmla="*/ 15780 h 23469"/>
                  <a:gd name="connsiteX2" fmla="*/ 10107 w 26046"/>
                  <a:gd name="connsiteY2" fmla="*/ 401 h 23469"/>
                  <a:gd name="connsiteX3" fmla="*/ 1136 w 26046"/>
                  <a:gd name="connsiteY3" fmla="*/ 15780 h 23469"/>
                </a:gdLst>
                <a:ahLst/>
                <a:cxnLst>
                  <a:cxn ang="0">
                    <a:pos x="connsiteX0" y="connsiteY0"/>
                  </a:cxn>
                  <a:cxn ang="0">
                    <a:pos x="connsiteX1" y="connsiteY1"/>
                  </a:cxn>
                  <a:cxn ang="0">
                    <a:pos x="connsiteX2" y="connsiteY2"/>
                  </a:cxn>
                  <a:cxn ang="0">
                    <a:pos x="connsiteX3" y="connsiteY3"/>
                  </a:cxn>
                </a:cxnLst>
                <a:rect l="l" t="t" r="r" b="b"/>
                <a:pathLst>
                  <a:path w="26046" h="23469">
                    <a:moveTo>
                      <a:pt x="1136" y="15780"/>
                    </a:moveTo>
                    <a:cubicBezTo>
                      <a:pt x="4981" y="26032"/>
                      <a:pt x="21641" y="26032"/>
                      <a:pt x="25485" y="15780"/>
                    </a:cubicBezTo>
                    <a:cubicBezTo>
                      <a:pt x="28049" y="8091"/>
                      <a:pt x="21641" y="-2162"/>
                      <a:pt x="10107" y="401"/>
                    </a:cubicBezTo>
                    <a:cubicBezTo>
                      <a:pt x="-145" y="2965"/>
                      <a:pt x="-1427" y="10654"/>
                      <a:pt x="1136" y="1578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7" name="Freeform: Shape 379647">
                <a:extLst>
                  <a:ext uri="{FF2B5EF4-FFF2-40B4-BE49-F238E27FC236}">
                    <a16:creationId xmlns:a16="http://schemas.microsoft.com/office/drawing/2014/main" id="{9CAD36DF-13DF-4A66-9493-B3C9D2CDA1FE}"/>
                  </a:ext>
                </a:extLst>
              </p:cNvPr>
              <p:cNvSpPr/>
              <p:nvPr/>
            </p:nvSpPr>
            <p:spPr>
              <a:xfrm>
                <a:off x="6442488" y="2718023"/>
                <a:ext cx="64129" cy="119323"/>
              </a:xfrm>
              <a:custGeom>
                <a:avLst/>
                <a:gdLst>
                  <a:gd name="connsiteX0" fmla="*/ 2093 w 64129"/>
                  <a:gd name="connsiteY0" fmla="*/ 15379 h 119323"/>
                  <a:gd name="connsiteX1" fmla="*/ 14909 w 64129"/>
                  <a:gd name="connsiteY1" fmla="*/ 23068 h 119323"/>
                  <a:gd name="connsiteX2" fmla="*/ 44384 w 64129"/>
                  <a:gd name="connsiteY2" fmla="*/ 97397 h 119323"/>
                  <a:gd name="connsiteX3" fmla="*/ 50792 w 64129"/>
                  <a:gd name="connsiteY3" fmla="*/ 119184 h 119323"/>
                  <a:gd name="connsiteX4" fmla="*/ 62326 w 64129"/>
                  <a:gd name="connsiteY4" fmla="*/ 103805 h 119323"/>
                  <a:gd name="connsiteX5" fmla="*/ 49510 w 64129"/>
                  <a:gd name="connsiteY5" fmla="*/ 96116 h 119323"/>
                  <a:gd name="connsiteX6" fmla="*/ 20035 w 64129"/>
                  <a:gd name="connsiteY6" fmla="*/ 21786 h 119323"/>
                  <a:gd name="connsiteX7" fmla="*/ 16190 w 64129"/>
                  <a:gd name="connsiteY7" fmla="*/ 1281 h 119323"/>
                  <a:gd name="connsiteX8" fmla="*/ 8501 w 64129"/>
                  <a:gd name="connsiteY8" fmla="*/ 0 h 119323"/>
                  <a:gd name="connsiteX9" fmla="*/ 2093 w 64129"/>
                  <a:gd name="connsiteY9" fmla="*/ 15379 h 11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29" h="119323">
                    <a:moveTo>
                      <a:pt x="2093" y="15379"/>
                    </a:moveTo>
                    <a:cubicBezTo>
                      <a:pt x="3375" y="17942"/>
                      <a:pt x="7219" y="21786"/>
                      <a:pt x="14909" y="23068"/>
                    </a:cubicBezTo>
                    <a:cubicBezTo>
                      <a:pt x="25161" y="47417"/>
                      <a:pt x="35413" y="71766"/>
                      <a:pt x="44384" y="97397"/>
                    </a:cubicBezTo>
                    <a:cubicBezTo>
                      <a:pt x="32850" y="103805"/>
                      <a:pt x="40540" y="116621"/>
                      <a:pt x="50792" y="119184"/>
                    </a:cubicBezTo>
                    <a:cubicBezTo>
                      <a:pt x="61044" y="120465"/>
                      <a:pt x="67452" y="112776"/>
                      <a:pt x="62326" y="103805"/>
                    </a:cubicBezTo>
                    <a:cubicBezTo>
                      <a:pt x="61044" y="101242"/>
                      <a:pt x="57200" y="97397"/>
                      <a:pt x="49510" y="96116"/>
                    </a:cubicBezTo>
                    <a:cubicBezTo>
                      <a:pt x="39258" y="70485"/>
                      <a:pt x="29006" y="46136"/>
                      <a:pt x="20035" y="21786"/>
                    </a:cubicBezTo>
                    <a:cubicBezTo>
                      <a:pt x="30287" y="16660"/>
                      <a:pt x="23879" y="5126"/>
                      <a:pt x="16190" y="1281"/>
                    </a:cubicBezTo>
                    <a:cubicBezTo>
                      <a:pt x="13627" y="0"/>
                      <a:pt x="11064" y="0"/>
                      <a:pt x="8501" y="0"/>
                    </a:cubicBezTo>
                    <a:cubicBezTo>
                      <a:pt x="-5596" y="3845"/>
                      <a:pt x="2093" y="15379"/>
                      <a:pt x="2093"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8" name="Freeform: Shape 379648">
                <a:extLst>
                  <a:ext uri="{FF2B5EF4-FFF2-40B4-BE49-F238E27FC236}">
                    <a16:creationId xmlns:a16="http://schemas.microsoft.com/office/drawing/2014/main" id="{0C783643-E60A-4036-89CE-47FB472F514B}"/>
                  </a:ext>
                </a:extLst>
              </p:cNvPr>
              <p:cNvSpPr/>
              <p:nvPr/>
            </p:nvSpPr>
            <p:spPr>
              <a:xfrm>
                <a:off x="6616210" y="2407889"/>
                <a:ext cx="410011" cy="594726"/>
              </a:xfrm>
              <a:custGeom>
                <a:avLst/>
                <a:gdLst>
                  <a:gd name="connsiteX0" fmla="*/ 9070 w 410011"/>
                  <a:gd name="connsiteY0" fmla="*/ 70485 h 594726"/>
                  <a:gd name="connsiteX1" fmla="*/ 20604 w 410011"/>
                  <a:gd name="connsiteY1" fmla="*/ 76893 h 594726"/>
                  <a:gd name="connsiteX2" fmla="*/ 147477 w 410011"/>
                  <a:gd name="connsiteY2" fmla="*/ 302445 h 594726"/>
                  <a:gd name="connsiteX3" fmla="*/ 239749 w 410011"/>
                  <a:gd name="connsiteY3" fmla="*/ 356270 h 594726"/>
                  <a:gd name="connsiteX4" fmla="*/ 269224 w 410011"/>
                  <a:gd name="connsiteY4" fmla="*/ 421629 h 594726"/>
                  <a:gd name="connsiteX5" fmla="*/ 314078 w 410011"/>
                  <a:gd name="connsiteY5" fmla="*/ 449822 h 594726"/>
                  <a:gd name="connsiteX6" fmla="*/ 349962 w 410011"/>
                  <a:gd name="connsiteY6" fmla="*/ 539531 h 594726"/>
                  <a:gd name="connsiteX7" fmla="*/ 358933 w 410011"/>
                  <a:gd name="connsiteY7" fmla="*/ 562598 h 594726"/>
                  <a:gd name="connsiteX8" fmla="*/ 362777 w 410011"/>
                  <a:gd name="connsiteY8" fmla="*/ 543375 h 594726"/>
                  <a:gd name="connsiteX9" fmla="*/ 353807 w 410011"/>
                  <a:gd name="connsiteY9" fmla="*/ 538249 h 594726"/>
                  <a:gd name="connsiteX10" fmla="*/ 316641 w 410011"/>
                  <a:gd name="connsiteY10" fmla="*/ 445978 h 594726"/>
                  <a:gd name="connsiteX11" fmla="*/ 271787 w 410011"/>
                  <a:gd name="connsiteY11" fmla="*/ 417784 h 594726"/>
                  <a:gd name="connsiteX12" fmla="*/ 244875 w 410011"/>
                  <a:gd name="connsiteY12" fmla="*/ 360114 h 594726"/>
                  <a:gd name="connsiteX13" fmla="*/ 283321 w 410011"/>
                  <a:gd name="connsiteY13" fmla="*/ 384464 h 594726"/>
                  <a:gd name="connsiteX14" fmla="*/ 292292 w 410011"/>
                  <a:gd name="connsiteY14" fmla="*/ 404968 h 594726"/>
                  <a:gd name="connsiteX15" fmla="*/ 302544 w 410011"/>
                  <a:gd name="connsiteY15" fmla="*/ 426755 h 594726"/>
                  <a:gd name="connsiteX16" fmla="*/ 306389 w 410011"/>
                  <a:gd name="connsiteY16" fmla="*/ 408813 h 594726"/>
                  <a:gd name="connsiteX17" fmla="*/ 297419 w 410011"/>
                  <a:gd name="connsiteY17" fmla="*/ 403687 h 594726"/>
                  <a:gd name="connsiteX18" fmla="*/ 287166 w 410011"/>
                  <a:gd name="connsiteY18" fmla="*/ 380619 h 594726"/>
                  <a:gd name="connsiteX19" fmla="*/ 242312 w 410011"/>
                  <a:gd name="connsiteY19" fmla="*/ 352425 h 594726"/>
                  <a:gd name="connsiteX20" fmla="*/ 214118 w 410011"/>
                  <a:gd name="connsiteY20" fmla="*/ 296037 h 594726"/>
                  <a:gd name="connsiteX21" fmla="*/ 298700 w 410011"/>
                  <a:gd name="connsiteY21" fmla="*/ 347299 h 594726"/>
                  <a:gd name="connsiteX22" fmla="*/ 392253 w 410011"/>
                  <a:gd name="connsiteY22" fmla="*/ 570288 h 594726"/>
                  <a:gd name="connsiteX23" fmla="*/ 401224 w 410011"/>
                  <a:gd name="connsiteY23" fmla="*/ 594637 h 594726"/>
                  <a:gd name="connsiteX24" fmla="*/ 405069 w 410011"/>
                  <a:gd name="connsiteY24" fmla="*/ 575414 h 594726"/>
                  <a:gd name="connsiteX25" fmla="*/ 396098 w 410011"/>
                  <a:gd name="connsiteY25" fmla="*/ 570288 h 594726"/>
                  <a:gd name="connsiteX26" fmla="*/ 305108 w 410011"/>
                  <a:gd name="connsiteY26" fmla="*/ 352425 h 594726"/>
                  <a:gd name="connsiteX27" fmla="*/ 334583 w 410011"/>
                  <a:gd name="connsiteY27" fmla="*/ 370367 h 594726"/>
                  <a:gd name="connsiteX28" fmla="*/ 355088 w 410011"/>
                  <a:gd name="connsiteY28" fmla="*/ 383182 h 594726"/>
                  <a:gd name="connsiteX29" fmla="*/ 338428 w 410011"/>
                  <a:gd name="connsiteY29" fmla="*/ 363959 h 594726"/>
                  <a:gd name="connsiteX30" fmla="*/ 335865 w 410011"/>
                  <a:gd name="connsiteY30" fmla="*/ 366522 h 594726"/>
                  <a:gd name="connsiteX31" fmla="*/ 302544 w 410011"/>
                  <a:gd name="connsiteY31" fmla="*/ 346017 h 594726"/>
                  <a:gd name="connsiteX32" fmla="*/ 289729 w 410011"/>
                  <a:gd name="connsiteY32" fmla="*/ 320386 h 594726"/>
                  <a:gd name="connsiteX33" fmla="*/ 319205 w 410011"/>
                  <a:gd name="connsiteY33" fmla="*/ 338328 h 594726"/>
                  <a:gd name="connsiteX34" fmla="*/ 339709 w 410011"/>
                  <a:gd name="connsiteY34" fmla="*/ 351144 h 594726"/>
                  <a:gd name="connsiteX35" fmla="*/ 323050 w 410011"/>
                  <a:gd name="connsiteY35" fmla="*/ 331920 h 594726"/>
                  <a:gd name="connsiteX36" fmla="*/ 320486 w 410011"/>
                  <a:gd name="connsiteY36" fmla="*/ 334483 h 594726"/>
                  <a:gd name="connsiteX37" fmla="*/ 287166 w 410011"/>
                  <a:gd name="connsiteY37" fmla="*/ 312697 h 594726"/>
                  <a:gd name="connsiteX38" fmla="*/ 210273 w 410011"/>
                  <a:gd name="connsiteY38" fmla="*/ 171727 h 594726"/>
                  <a:gd name="connsiteX39" fmla="*/ 196176 w 410011"/>
                  <a:gd name="connsiteY39" fmla="*/ 152504 h 594726"/>
                  <a:gd name="connsiteX40" fmla="*/ 197457 w 410011"/>
                  <a:gd name="connsiteY40" fmla="*/ 169164 h 594726"/>
                  <a:gd name="connsiteX41" fmla="*/ 206428 w 410011"/>
                  <a:gd name="connsiteY41" fmla="*/ 173009 h 594726"/>
                  <a:gd name="connsiteX42" fmla="*/ 280758 w 410011"/>
                  <a:gd name="connsiteY42" fmla="*/ 308853 h 594726"/>
                  <a:gd name="connsiteX43" fmla="*/ 242312 w 410011"/>
                  <a:gd name="connsiteY43" fmla="*/ 285785 h 594726"/>
                  <a:gd name="connsiteX44" fmla="*/ 198739 w 410011"/>
                  <a:gd name="connsiteY44" fmla="*/ 206329 h 594726"/>
                  <a:gd name="connsiteX45" fmla="*/ 184642 w 410011"/>
                  <a:gd name="connsiteY45" fmla="*/ 185824 h 594726"/>
                  <a:gd name="connsiteX46" fmla="*/ 184642 w 410011"/>
                  <a:gd name="connsiteY46" fmla="*/ 202484 h 594726"/>
                  <a:gd name="connsiteX47" fmla="*/ 193613 w 410011"/>
                  <a:gd name="connsiteY47" fmla="*/ 206329 h 594726"/>
                  <a:gd name="connsiteX48" fmla="*/ 238467 w 410011"/>
                  <a:gd name="connsiteY48" fmla="*/ 288348 h 594726"/>
                  <a:gd name="connsiteX49" fmla="*/ 283321 w 410011"/>
                  <a:gd name="connsiteY49" fmla="*/ 315260 h 594726"/>
                  <a:gd name="connsiteX50" fmla="*/ 296137 w 410011"/>
                  <a:gd name="connsiteY50" fmla="*/ 340891 h 594726"/>
                  <a:gd name="connsiteX51" fmla="*/ 211554 w 410011"/>
                  <a:gd name="connsiteY51" fmla="*/ 290911 h 594726"/>
                  <a:gd name="connsiteX52" fmla="*/ 185923 w 410011"/>
                  <a:gd name="connsiteY52" fmla="*/ 240931 h 594726"/>
                  <a:gd name="connsiteX53" fmla="*/ 171827 w 410011"/>
                  <a:gd name="connsiteY53" fmla="*/ 220426 h 594726"/>
                  <a:gd name="connsiteX54" fmla="*/ 171827 w 410011"/>
                  <a:gd name="connsiteY54" fmla="*/ 237086 h 594726"/>
                  <a:gd name="connsiteX55" fmla="*/ 180797 w 410011"/>
                  <a:gd name="connsiteY55" fmla="*/ 240931 h 594726"/>
                  <a:gd name="connsiteX56" fmla="*/ 205147 w 410011"/>
                  <a:gd name="connsiteY56" fmla="*/ 287066 h 594726"/>
                  <a:gd name="connsiteX57" fmla="*/ 165419 w 410011"/>
                  <a:gd name="connsiteY57" fmla="*/ 263998 h 594726"/>
                  <a:gd name="connsiteX58" fmla="*/ 18041 w 410011"/>
                  <a:gd name="connsiteY58" fmla="*/ 17942 h 594726"/>
                  <a:gd name="connsiteX59" fmla="*/ 20604 w 410011"/>
                  <a:gd name="connsiteY59" fmla="*/ 15379 h 594726"/>
                  <a:gd name="connsiteX60" fmla="*/ 3943 w 410011"/>
                  <a:gd name="connsiteY60" fmla="*/ 0 h 594726"/>
                  <a:gd name="connsiteX61" fmla="*/ 99 w 410011"/>
                  <a:gd name="connsiteY61" fmla="*/ 2563 h 594726"/>
                  <a:gd name="connsiteX62" fmla="*/ 14196 w 410011"/>
                  <a:gd name="connsiteY62" fmla="*/ 17942 h 594726"/>
                  <a:gd name="connsiteX63" fmla="*/ 162856 w 410011"/>
                  <a:gd name="connsiteY63" fmla="*/ 266562 h 594726"/>
                  <a:gd name="connsiteX64" fmla="*/ 208991 w 410011"/>
                  <a:gd name="connsiteY64" fmla="*/ 293474 h 594726"/>
                  <a:gd name="connsiteX65" fmla="*/ 237185 w 410011"/>
                  <a:gd name="connsiteY65" fmla="*/ 349862 h 594726"/>
                  <a:gd name="connsiteX66" fmla="*/ 151322 w 410011"/>
                  <a:gd name="connsiteY66" fmla="*/ 299882 h 594726"/>
                  <a:gd name="connsiteX67" fmla="*/ 25730 w 410011"/>
                  <a:gd name="connsiteY67" fmla="*/ 75611 h 594726"/>
                  <a:gd name="connsiteX68" fmla="*/ 11633 w 410011"/>
                  <a:gd name="connsiteY68" fmla="*/ 57670 h 594726"/>
                  <a:gd name="connsiteX69" fmla="*/ 9070 w 410011"/>
                  <a:gd name="connsiteY69" fmla="*/ 70485 h 594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10011" h="594726">
                    <a:moveTo>
                      <a:pt x="9070" y="70485"/>
                    </a:moveTo>
                    <a:cubicBezTo>
                      <a:pt x="12914" y="75611"/>
                      <a:pt x="18041" y="76893"/>
                      <a:pt x="20604" y="76893"/>
                    </a:cubicBezTo>
                    <a:cubicBezTo>
                      <a:pt x="65458" y="147378"/>
                      <a:pt x="107749" y="222989"/>
                      <a:pt x="147477" y="302445"/>
                    </a:cubicBezTo>
                    <a:lnTo>
                      <a:pt x="239749" y="356270"/>
                    </a:lnTo>
                    <a:cubicBezTo>
                      <a:pt x="250001" y="378056"/>
                      <a:pt x="258972" y="399842"/>
                      <a:pt x="269224" y="421629"/>
                    </a:cubicBezTo>
                    <a:lnTo>
                      <a:pt x="314078" y="449822"/>
                    </a:lnTo>
                    <a:cubicBezTo>
                      <a:pt x="326894" y="479298"/>
                      <a:pt x="338428" y="508774"/>
                      <a:pt x="349962" y="539531"/>
                    </a:cubicBezTo>
                    <a:cubicBezTo>
                      <a:pt x="338428" y="551065"/>
                      <a:pt x="353807" y="562598"/>
                      <a:pt x="358933" y="562598"/>
                    </a:cubicBezTo>
                    <a:cubicBezTo>
                      <a:pt x="369185" y="563880"/>
                      <a:pt x="370467" y="551065"/>
                      <a:pt x="362777" y="543375"/>
                    </a:cubicBezTo>
                    <a:cubicBezTo>
                      <a:pt x="360214" y="540812"/>
                      <a:pt x="357651" y="539531"/>
                      <a:pt x="353807" y="538249"/>
                    </a:cubicBezTo>
                    <a:cubicBezTo>
                      <a:pt x="342273" y="507492"/>
                      <a:pt x="329457" y="476735"/>
                      <a:pt x="316641" y="445978"/>
                    </a:cubicBezTo>
                    <a:lnTo>
                      <a:pt x="271787" y="417784"/>
                    </a:lnTo>
                    <a:cubicBezTo>
                      <a:pt x="262817" y="398561"/>
                      <a:pt x="253846" y="378056"/>
                      <a:pt x="244875" y="360114"/>
                    </a:cubicBezTo>
                    <a:lnTo>
                      <a:pt x="283321" y="384464"/>
                    </a:lnTo>
                    <a:cubicBezTo>
                      <a:pt x="285885" y="390871"/>
                      <a:pt x="289729" y="398561"/>
                      <a:pt x="292292" y="404968"/>
                    </a:cubicBezTo>
                    <a:cubicBezTo>
                      <a:pt x="280758" y="416502"/>
                      <a:pt x="297419" y="426755"/>
                      <a:pt x="302544" y="426755"/>
                    </a:cubicBezTo>
                    <a:cubicBezTo>
                      <a:pt x="312797" y="428036"/>
                      <a:pt x="312797" y="415221"/>
                      <a:pt x="306389" y="408813"/>
                    </a:cubicBezTo>
                    <a:cubicBezTo>
                      <a:pt x="303826" y="406250"/>
                      <a:pt x="301263" y="404968"/>
                      <a:pt x="297419" y="403687"/>
                    </a:cubicBezTo>
                    <a:cubicBezTo>
                      <a:pt x="293574" y="395998"/>
                      <a:pt x="291011" y="388308"/>
                      <a:pt x="287166" y="380619"/>
                    </a:cubicBezTo>
                    <a:lnTo>
                      <a:pt x="242312" y="352425"/>
                    </a:lnTo>
                    <a:cubicBezTo>
                      <a:pt x="233341" y="333202"/>
                      <a:pt x="224370" y="313979"/>
                      <a:pt x="214118" y="296037"/>
                    </a:cubicBezTo>
                    <a:lnTo>
                      <a:pt x="298700" y="347299"/>
                    </a:lnTo>
                    <a:cubicBezTo>
                      <a:pt x="333302" y="417784"/>
                      <a:pt x="364059" y="492113"/>
                      <a:pt x="392253" y="570288"/>
                    </a:cubicBezTo>
                    <a:cubicBezTo>
                      <a:pt x="380719" y="581822"/>
                      <a:pt x="396098" y="593356"/>
                      <a:pt x="401224" y="594637"/>
                    </a:cubicBezTo>
                    <a:cubicBezTo>
                      <a:pt x="411476" y="595919"/>
                      <a:pt x="412758" y="583103"/>
                      <a:pt x="405069" y="575414"/>
                    </a:cubicBezTo>
                    <a:cubicBezTo>
                      <a:pt x="402506" y="572851"/>
                      <a:pt x="399942" y="571569"/>
                      <a:pt x="396098" y="570288"/>
                    </a:cubicBezTo>
                    <a:cubicBezTo>
                      <a:pt x="367904" y="494677"/>
                      <a:pt x="338428" y="421629"/>
                      <a:pt x="305108" y="352425"/>
                    </a:cubicBezTo>
                    <a:cubicBezTo>
                      <a:pt x="314078" y="357551"/>
                      <a:pt x="325612" y="365240"/>
                      <a:pt x="334583" y="370367"/>
                    </a:cubicBezTo>
                    <a:cubicBezTo>
                      <a:pt x="337146" y="385745"/>
                      <a:pt x="351243" y="389590"/>
                      <a:pt x="355088" y="383182"/>
                    </a:cubicBezTo>
                    <a:cubicBezTo>
                      <a:pt x="360214" y="375493"/>
                      <a:pt x="347399" y="360114"/>
                      <a:pt x="338428" y="363959"/>
                    </a:cubicBezTo>
                    <a:cubicBezTo>
                      <a:pt x="337146" y="363959"/>
                      <a:pt x="335865" y="365240"/>
                      <a:pt x="335865" y="366522"/>
                    </a:cubicBezTo>
                    <a:lnTo>
                      <a:pt x="302544" y="346017"/>
                    </a:lnTo>
                    <a:cubicBezTo>
                      <a:pt x="298700" y="337047"/>
                      <a:pt x="294855" y="329357"/>
                      <a:pt x="289729" y="320386"/>
                    </a:cubicBezTo>
                    <a:cubicBezTo>
                      <a:pt x="298700" y="325513"/>
                      <a:pt x="310234" y="333202"/>
                      <a:pt x="319205" y="338328"/>
                    </a:cubicBezTo>
                    <a:cubicBezTo>
                      <a:pt x="321768" y="352425"/>
                      <a:pt x="335865" y="357551"/>
                      <a:pt x="339709" y="351144"/>
                    </a:cubicBezTo>
                    <a:cubicBezTo>
                      <a:pt x="344836" y="343454"/>
                      <a:pt x="332020" y="328076"/>
                      <a:pt x="323050" y="331920"/>
                    </a:cubicBezTo>
                    <a:cubicBezTo>
                      <a:pt x="321768" y="331920"/>
                      <a:pt x="320486" y="333202"/>
                      <a:pt x="320486" y="334483"/>
                    </a:cubicBezTo>
                    <a:lnTo>
                      <a:pt x="287166" y="312697"/>
                    </a:lnTo>
                    <a:cubicBezTo>
                      <a:pt x="262817" y="263998"/>
                      <a:pt x="237185" y="216581"/>
                      <a:pt x="210273" y="171727"/>
                    </a:cubicBezTo>
                    <a:cubicBezTo>
                      <a:pt x="220525" y="161475"/>
                      <a:pt x="200020" y="151222"/>
                      <a:pt x="196176" y="152504"/>
                    </a:cubicBezTo>
                    <a:cubicBezTo>
                      <a:pt x="188486" y="153785"/>
                      <a:pt x="191050" y="162756"/>
                      <a:pt x="197457" y="169164"/>
                    </a:cubicBezTo>
                    <a:cubicBezTo>
                      <a:pt x="200020" y="171727"/>
                      <a:pt x="202584" y="173009"/>
                      <a:pt x="206428" y="173009"/>
                    </a:cubicBezTo>
                    <a:cubicBezTo>
                      <a:pt x="232059" y="216581"/>
                      <a:pt x="257690" y="262717"/>
                      <a:pt x="280758" y="308853"/>
                    </a:cubicBezTo>
                    <a:lnTo>
                      <a:pt x="242312" y="285785"/>
                    </a:lnTo>
                    <a:cubicBezTo>
                      <a:pt x="226933" y="258872"/>
                      <a:pt x="212836" y="231960"/>
                      <a:pt x="198739" y="206329"/>
                    </a:cubicBezTo>
                    <a:cubicBezTo>
                      <a:pt x="208991" y="196076"/>
                      <a:pt x="189768" y="185824"/>
                      <a:pt x="184642" y="185824"/>
                    </a:cubicBezTo>
                    <a:cubicBezTo>
                      <a:pt x="176952" y="187106"/>
                      <a:pt x="178234" y="196076"/>
                      <a:pt x="184642" y="202484"/>
                    </a:cubicBezTo>
                    <a:cubicBezTo>
                      <a:pt x="187205" y="205047"/>
                      <a:pt x="191050" y="206329"/>
                      <a:pt x="193613" y="206329"/>
                    </a:cubicBezTo>
                    <a:cubicBezTo>
                      <a:pt x="208991" y="233241"/>
                      <a:pt x="223088" y="260154"/>
                      <a:pt x="238467" y="288348"/>
                    </a:cubicBezTo>
                    <a:lnTo>
                      <a:pt x="283321" y="315260"/>
                    </a:lnTo>
                    <a:cubicBezTo>
                      <a:pt x="287166" y="322949"/>
                      <a:pt x="291011" y="331920"/>
                      <a:pt x="296137" y="340891"/>
                    </a:cubicBezTo>
                    <a:lnTo>
                      <a:pt x="211554" y="290911"/>
                    </a:lnTo>
                    <a:cubicBezTo>
                      <a:pt x="202584" y="274251"/>
                      <a:pt x="194895" y="257591"/>
                      <a:pt x="185923" y="240931"/>
                    </a:cubicBezTo>
                    <a:cubicBezTo>
                      <a:pt x="197457" y="229397"/>
                      <a:pt x="176952" y="219144"/>
                      <a:pt x="171827" y="220426"/>
                    </a:cubicBezTo>
                    <a:cubicBezTo>
                      <a:pt x="164137" y="221707"/>
                      <a:pt x="165419" y="231960"/>
                      <a:pt x="171827" y="237086"/>
                    </a:cubicBezTo>
                    <a:cubicBezTo>
                      <a:pt x="174389" y="239649"/>
                      <a:pt x="176952" y="240931"/>
                      <a:pt x="180797" y="240931"/>
                    </a:cubicBezTo>
                    <a:cubicBezTo>
                      <a:pt x="188486" y="256309"/>
                      <a:pt x="196176" y="271688"/>
                      <a:pt x="205147" y="287066"/>
                    </a:cubicBezTo>
                    <a:lnTo>
                      <a:pt x="165419" y="263998"/>
                    </a:lnTo>
                    <a:cubicBezTo>
                      <a:pt x="120564" y="175572"/>
                      <a:pt x="70584" y="93553"/>
                      <a:pt x="18041" y="17942"/>
                    </a:cubicBezTo>
                    <a:cubicBezTo>
                      <a:pt x="19322" y="16660"/>
                      <a:pt x="19322" y="16660"/>
                      <a:pt x="20604" y="15379"/>
                    </a:cubicBezTo>
                    <a:cubicBezTo>
                      <a:pt x="20604" y="1282"/>
                      <a:pt x="6507" y="0"/>
                      <a:pt x="3943" y="0"/>
                    </a:cubicBezTo>
                    <a:cubicBezTo>
                      <a:pt x="2662" y="1282"/>
                      <a:pt x="1380" y="1282"/>
                      <a:pt x="99" y="2563"/>
                    </a:cubicBezTo>
                    <a:cubicBezTo>
                      <a:pt x="-1183" y="14097"/>
                      <a:pt x="10351" y="17942"/>
                      <a:pt x="14196" y="17942"/>
                    </a:cubicBezTo>
                    <a:cubicBezTo>
                      <a:pt x="68021" y="93553"/>
                      <a:pt x="116720" y="176853"/>
                      <a:pt x="162856" y="266562"/>
                    </a:cubicBezTo>
                    <a:lnTo>
                      <a:pt x="208991" y="293474"/>
                    </a:lnTo>
                    <a:cubicBezTo>
                      <a:pt x="217962" y="312697"/>
                      <a:pt x="226933" y="330639"/>
                      <a:pt x="237185" y="349862"/>
                    </a:cubicBezTo>
                    <a:lnTo>
                      <a:pt x="151322" y="299882"/>
                    </a:lnTo>
                    <a:cubicBezTo>
                      <a:pt x="112875" y="220426"/>
                      <a:pt x="70584" y="146096"/>
                      <a:pt x="25730" y="75611"/>
                    </a:cubicBezTo>
                    <a:cubicBezTo>
                      <a:pt x="35982" y="65359"/>
                      <a:pt x="16759" y="56388"/>
                      <a:pt x="11633" y="57670"/>
                    </a:cubicBezTo>
                    <a:cubicBezTo>
                      <a:pt x="5225" y="58951"/>
                      <a:pt x="3943" y="64077"/>
                      <a:pt x="9070" y="704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19" name="Freeform: Shape 379649">
                <a:extLst>
                  <a:ext uri="{FF2B5EF4-FFF2-40B4-BE49-F238E27FC236}">
                    <a16:creationId xmlns:a16="http://schemas.microsoft.com/office/drawing/2014/main" id="{2EFEA671-DA9A-4089-9BC6-248CA759E602}"/>
                  </a:ext>
                </a:extLst>
              </p:cNvPr>
              <p:cNvSpPr/>
              <p:nvPr/>
            </p:nvSpPr>
            <p:spPr>
              <a:xfrm>
                <a:off x="7370463" y="2702644"/>
                <a:ext cx="16181" cy="21812"/>
              </a:xfrm>
              <a:custGeom>
                <a:avLst/>
                <a:gdLst>
                  <a:gd name="connsiteX0" fmla="*/ 3242 w 16181"/>
                  <a:gd name="connsiteY0" fmla="*/ 11534 h 21812"/>
                  <a:gd name="connsiteX1" fmla="*/ 16058 w 16181"/>
                  <a:gd name="connsiteY1" fmla="*/ 20505 h 21812"/>
                  <a:gd name="connsiteX2" fmla="*/ 1960 w 16181"/>
                  <a:gd name="connsiteY2" fmla="*/ 0 h 21812"/>
                  <a:gd name="connsiteX3" fmla="*/ 3242 w 16181"/>
                  <a:gd name="connsiteY3" fmla="*/ 11534 h 21812"/>
                </a:gdLst>
                <a:ahLst/>
                <a:cxnLst>
                  <a:cxn ang="0">
                    <a:pos x="connsiteX0" y="connsiteY0"/>
                  </a:cxn>
                  <a:cxn ang="0">
                    <a:pos x="connsiteX1" y="connsiteY1"/>
                  </a:cxn>
                  <a:cxn ang="0">
                    <a:pos x="connsiteX2" y="connsiteY2"/>
                  </a:cxn>
                  <a:cxn ang="0">
                    <a:pos x="connsiteX3" y="connsiteY3"/>
                  </a:cxn>
                </a:cxnLst>
                <a:rect l="l" t="t" r="r" b="b"/>
                <a:pathLst>
                  <a:path w="16181" h="21812">
                    <a:moveTo>
                      <a:pt x="3242" y="11534"/>
                    </a:moveTo>
                    <a:cubicBezTo>
                      <a:pt x="8368" y="19223"/>
                      <a:pt x="14776" y="24349"/>
                      <a:pt x="16058" y="20505"/>
                    </a:cubicBezTo>
                    <a:cubicBezTo>
                      <a:pt x="17339" y="15379"/>
                      <a:pt x="8368" y="0"/>
                      <a:pt x="1960" y="0"/>
                    </a:cubicBezTo>
                    <a:cubicBezTo>
                      <a:pt x="-1884" y="0"/>
                      <a:pt x="679" y="6408"/>
                      <a:pt x="3242"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0" name="Freeform: Shape 379650">
                <a:extLst>
                  <a:ext uri="{FF2B5EF4-FFF2-40B4-BE49-F238E27FC236}">
                    <a16:creationId xmlns:a16="http://schemas.microsoft.com/office/drawing/2014/main" id="{CA43D248-0A73-499D-A77E-EC5D03A464B1}"/>
                  </a:ext>
                </a:extLst>
              </p:cNvPr>
              <p:cNvSpPr/>
              <p:nvPr/>
            </p:nvSpPr>
            <p:spPr>
              <a:xfrm>
                <a:off x="4122412" y="3540775"/>
                <a:ext cx="16808" cy="321667"/>
              </a:xfrm>
              <a:custGeom>
                <a:avLst/>
                <a:gdLst>
                  <a:gd name="connsiteX0" fmla="*/ 2563 w 16808"/>
                  <a:gd name="connsiteY0" fmla="*/ 16660 h 321667"/>
                  <a:gd name="connsiteX1" fmla="*/ 2563 w 16808"/>
                  <a:gd name="connsiteY1" fmla="*/ 25631 h 321667"/>
                  <a:gd name="connsiteX2" fmla="*/ 0 w 16808"/>
                  <a:gd name="connsiteY2" fmla="*/ 128155 h 321667"/>
                  <a:gd name="connsiteX3" fmla="*/ 5126 w 16808"/>
                  <a:gd name="connsiteY3" fmla="*/ 160193 h 321667"/>
                  <a:gd name="connsiteX4" fmla="*/ 12816 w 16808"/>
                  <a:gd name="connsiteY4" fmla="*/ 296037 h 321667"/>
                  <a:gd name="connsiteX5" fmla="*/ 15378 w 16808"/>
                  <a:gd name="connsiteY5" fmla="*/ 321668 h 321667"/>
                  <a:gd name="connsiteX6" fmla="*/ 14097 w 16808"/>
                  <a:gd name="connsiteY6" fmla="*/ 296037 h 321667"/>
                  <a:gd name="connsiteX7" fmla="*/ 6408 w 16808"/>
                  <a:gd name="connsiteY7" fmla="*/ 157630 h 321667"/>
                  <a:gd name="connsiteX8" fmla="*/ 1282 w 16808"/>
                  <a:gd name="connsiteY8" fmla="*/ 125591 h 321667"/>
                  <a:gd name="connsiteX9" fmla="*/ 3844 w 16808"/>
                  <a:gd name="connsiteY9" fmla="*/ 25631 h 321667"/>
                  <a:gd name="connsiteX10" fmla="*/ 5126 w 16808"/>
                  <a:gd name="connsiteY10" fmla="*/ 0 h 321667"/>
                  <a:gd name="connsiteX11" fmla="*/ 2563 w 16808"/>
                  <a:gd name="connsiteY11" fmla="*/ 16660 h 32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08" h="321667">
                    <a:moveTo>
                      <a:pt x="2563" y="16660"/>
                    </a:moveTo>
                    <a:cubicBezTo>
                      <a:pt x="2563" y="23068"/>
                      <a:pt x="2563" y="24349"/>
                      <a:pt x="2563" y="25631"/>
                    </a:cubicBezTo>
                    <a:cubicBezTo>
                      <a:pt x="0" y="60233"/>
                      <a:pt x="0" y="93553"/>
                      <a:pt x="0" y="128155"/>
                    </a:cubicBezTo>
                    <a:lnTo>
                      <a:pt x="5126" y="160193"/>
                    </a:lnTo>
                    <a:cubicBezTo>
                      <a:pt x="6408" y="205047"/>
                      <a:pt x="8971" y="251183"/>
                      <a:pt x="12816" y="296037"/>
                    </a:cubicBezTo>
                    <a:cubicBezTo>
                      <a:pt x="11534" y="302445"/>
                      <a:pt x="12816" y="315260"/>
                      <a:pt x="15378" y="321668"/>
                    </a:cubicBezTo>
                    <a:cubicBezTo>
                      <a:pt x="19223" y="317823"/>
                      <a:pt x="14097" y="297319"/>
                      <a:pt x="14097" y="296037"/>
                    </a:cubicBezTo>
                    <a:cubicBezTo>
                      <a:pt x="10252" y="249901"/>
                      <a:pt x="6408" y="203766"/>
                      <a:pt x="6408" y="157630"/>
                    </a:cubicBezTo>
                    <a:lnTo>
                      <a:pt x="1282" y="125591"/>
                    </a:lnTo>
                    <a:cubicBezTo>
                      <a:pt x="1282" y="92271"/>
                      <a:pt x="2563" y="58951"/>
                      <a:pt x="3844" y="25631"/>
                    </a:cubicBezTo>
                    <a:cubicBezTo>
                      <a:pt x="6408" y="17942"/>
                      <a:pt x="6408" y="1282"/>
                      <a:pt x="5126" y="0"/>
                    </a:cubicBezTo>
                    <a:cubicBezTo>
                      <a:pt x="3844" y="3845"/>
                      <a:pt x="2563" y="12816"/>
                      <a:pt x="256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1" name="Freeform: Shape 379651">
                <a:extLst>
                  <a:ext uri="{FF2B5EF4-FFF2-40B4-BE49-F238E27FC236}">
                    <a16:creationId xmlns:a16="http://schemas.microsoft.com/office/drawing/2014/main" id="{809E31BF-B032-4602-B311-D6E5DA28412A}"/>
                  </a:ext>
                </a:extLst>
              </p:cNvPr>
              <p:cNvSpPr/>
              <p:nvPr/>
            </p:nvSpPr>
            <p:spPr>
              <a:xfrm>
                <a:off x="4146259" y="3192195"/>
                <a:ext cx="56307" cy="352425"/>
              </a:xfrm>
              <a:custGeom>
                <a:avLst/>
                <a:gdLst>
                  <a:gd name="connsiteX0" fmla="*/ 51765 w 56307"/>
                  <a:gd name="connsiteY0" fmla="*/ 16660 h 352425"/>
                  <a:gd name="connsiteX1" fmla="*/ 50483 w 56307"/>
                  <a:gd name="connsiteY1" fmla="*/ 25631 h 352425"/>
                  <a:gd name="connsiteX2" fmla="*/ 3066 w 56307"/>
                  <a:gd name="connsiteY2" fmla="*/ 328076 h 352425"/>
                  <a:gd name="connsiteX3" fmla="*/ 503 w 56307"/>
                  <a:gd name="connsiteY3" fmla="*/ 352425 h 352425"/>
                  <a:gd name="connsiteX4" fmla="*/ 3066 w 56307"/>
                  <a:gd name="connsiteY4" fmla="*/ 326794 h 352425"/>
                  <a:gd name="connsiteX5" fmla="*/ 50483 w 56307"/>
                  <a:gd name="connsiteY5" fmla="*/ 24349 h 352425"/>
                  <a:gd name="connsiteX6" fmla="*/ 55609 w 56307"/>
                  <a:gd name="connsiteY6" fmla="*/ 0 h 352425"/>
                  <a:gd name="connsiteX7" fmla="*/ 51765 w 56307"/>
                  <a:gd name="connsiteY7" fmla="*/ 1666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307" h="352425">
                    <a:moveTo>
                      <a:pt x="51765" y="16660"/>
                    </a:moveTo>
                    <a:cubicBezTo>
                      <a:pt x="50483" y="21786"/>
                      <a:pt x="50483" y="23068"/>
                      <a:pt x="50483" y="25631"/>
                    </a:cubicBezTo>
                    <a:cubicBezTo>
                      <a:pt x="26134" y="124310"/>
                      <a:pt x="10755" y="225552"/>
                      <a:pt x="3066" y="328076"/>
                    </a:cubicBezTo>
                    <a:cubicBezTo>
                      <a:pt x="503" y="334483"/>
                      <a:pt x="-779" y="346017"/>
                      <a:pt x="503" y="352425"/>
                    </a:cubicBezTo>
                    <a:cubicBezTo>
                      <a:pt x="6910" y="347299"/>
                      <a:pt x="3066" y="326794"/>
                      <a:pt x="3066" y="326794"/>
                    </a:cubicBezTo>
                    <a:cubicBezTo>
                      <a:pt x="10755" y="224270"/>
                      <a:pt x="26134" y="123028"/>
                      <a:pt x="50483" y="24349"/>
                    </a:cubicBezTo>
                    <a:cubicBezTo>
                      <a:pt x="53046" y="17942"/>
                      <a:pt x="58172" y="3845"/>
                      <a:pt x="55609" y="0"/>
                    </a:cubicBezTo>
                    <a:cubicBezTo>
                      <a:pt x="54328" y="5126"/>
                      <a:pt x="53046" y="12815"/>
                      <a:pt x="5176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2" name="Freeform: Shape 379652">
                <a:extLst>
                  <a:ext uri="{FF2B5EF4-FFF2-40B4-BE49-F238E27FC236}">
                    <a16:creationId xmlns:a16="http://schemas.microsoft.com/office/drawing/2014/main" id="{73427693-785F-4A77-AD82-8EBB85A3EBA3}"/>
                  </a:ext>
                </a:extLst>
              </p:cNvPr>
              <p:cNvSpPr/>
              <p:nvPr/>
            </p:nvSpPr>
            <p:spPr>
              <a:xfrm>
                <a:off x="4183927" y="3493358"/>
                <a:ext cx="7447" cy="26305"/>
              </a:xfrm>
              <a:custGeom>
                <a:avLst/>
                <a:gdLst>
                  <a:gd name="connsiteX0" fmla="*/ 0 w 7447"/>
                  <a:gd name="connsiteY0" fmla="*/ 16660 h 26305"/>
                  <a:gd name="connsiteX1" fmla="*/ 3845 w 7447"/>
                  <a:gd name="connsiteY1" fmla="*/ 25631 h 26305"/>
                  <a:gd name="connsiteX2" fmla="*/ 5126 w 7447"/>
                  <a:gd name="connsiteY2" fmla="*/ 0 h 26305"/>
                  <a:gd name="connsiteX3" fmla="*/ 3845 w 7447"/>
                  <a:gd name="connsiteY3" fmla="*/ 0 h 26305"/>
                  <a:gd name="connsiteX4" fmla="*/ 0 w 7447"/>
                  <a:gd name="connsiteY4" fmla="*/ 16660 h 26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7" h="26305">
                    <a:moveTo>
                      <a:pt x="0" y="16660"/>
                    </a:moveTo>
                    <a:cubicBezTo>
                      <a:pt x="0" y="23068"/>
                      <a:pt x="1282" y="28194"/>
                      <a:pt x="3845" y="25631"/>
                    </a:cubicBezTo>
                    <a:cubicBezTo>
                      <a:pt x="7689" y="21786"/>
                      <a:pt x="8971" y="0"/>
                      <a:pt x="5126" y="0"/>
                    </a:cubicBezTo>
                    <a:cubicBezTo>
                      <a:pt x="5126" y="0"/>
                      <a:pt x="5126" y="0"/>
                      <a:pt x="3845" y="0"/>
                    </a:cubicBezTo>
                    <a:cubicBezTo>
                      <a:pt x="1282" y="2563"/>
                      <a:pt x="0" y="11534"/>
                      <a:pt x="0"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3" name="Freeform: Shape 379653">
                <a:extLst>
                  <a:ext uri="{FF2B5EF4-FFF2-40B4-BE49-F238E27FC236}">
                    <a16:creationId xmlns:a16="http://schemas.microsoft.com/office/drawing/2014/main" id="{FC922782-E7FE-47DC-B161-49CC1AEB8F66}"/>
                  </a:ext>
                </a:extLst>
              </p:cNvPr>
              <p:cNvSpPr/>
              <p:nvPr/>
            </p:nvSpPr>
            <p:spPr>
              <a:xfrm>
                <a:off x="5735111" y="2703356"/>
                <a:ext cx="175332" cy="292926"/>
              </a:xfrm>
              <a:custGeom>
                <a:avLst/>
                <a:gdLst>
                  <a:gd name="connsiteX0" fmla="*/ 773 w 175332"/>
                  <a:gd name="connsiteY0" fmla="*/ 14667 h 292926"/>
                  <a:gd name="connsiteX1" fmla="*/ 12307 w 175332"/>
                  <a:gd name="connsiteY1" fmla="*/ 21074 h 292926"/>
                  <a:gd name="connsiteX2" fmla="*/ 63569 w 175332"/>
                  <a:gd name="connsiteY2" fmla="*/ 233811 h 292926"/>
                  <a:gd name="connsiteX3" fmla="*/ 149433 w 175332"/>
                  <a:gd name="connsiteY3" fmla="*/ 277383 h 292926"/>
                  <a:gd name="connsiteX4" fmla="*/ 169937 w 175332"/>
                  <a:gd name="connsiteY4" fmla="*/ 290199 h 292926"/>
                  <a:gd name="connsiteX5" fmla="*/ 164811 w 175332"/>
                  <a:gd name="connsiteY5" fmla="*/ 268413 h 292926"/>
                  <a:gd name="connsiteX6" fmla="*/ 153278 w 175332"/>
                  <a:gd name="connsiteY6" fmla="*/ 272257 h 292926"/>
                  <a:gd name="connsiteX7" fmla="*/ 69977 w 175332"/>
                  <a:gd name="connsiteY7" fmla="*/ 229966 h 292926"/>
                  <a:gd name="connsiteX8" fmla="*/ 18715 w 175332"/>
                  <a:gd name="connsiteY8" fmla="*/ 19793 h 292926"/>
                  <a:gd name="connsiteX9" fmla="*/ 18715 w 175332"/>
                  <a:gd name="connsiteY9" fmla="*/ 570 h 292926"/>
                  <a:gd name="connsiteX10" fmla="*/ 11025 w 175332"/>
                  <a:gd name="connsiteY10" fmla="*/ 570 h 292926"/>
                  <a:gd name="connsiteX11" fmla="*/ 773 w 175332"/>
                  <a:gd name="connsiteY11" fmla="*/ 14667 h 29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5332" h="292926">
                    <a:moveTo>
                      <a:pt x="773" y="14667"/>
                    </a:moveTo>
                    <a:cubicBezTo>
                      <a:pt x="2055" y="17230"/>
                      <a:pt x="4618" y="21074"/>
                      <a:pt x="12307" y="21074"/>
                    </a:cubicBezTo>
                    <a:cubicBezTo>
                      <a:pt x="28967" y="88996"/>
                      <a:pt x="45627" y="159481"/>
                      <a:pt x="63569" y="233811"/>
                    </a:cubicBezTo>
                    <a:cubicBezTo>
                      <a:pt x="89200" y="246626"/>
                      <a:pt x="123802" y="264568"/>
                      <a:pt x="149433" y="277383"/>
                    </a:cubicBezTo>
                    <a:cubicBezTo>
                      <a:pt x="146870" y="291480"/>
                      <a:pt x="160967" y="296607"/>
                      <a:pt x="169937" y="290199"/>
                    </a:cubicBezTo>
                    <a:cubicBezTo>
                      <a:pt x="178909" y="283791"/>
                      <a:pt x="176345" y="269694"/>
                      <a:pt x="164811" y="268413"/>
                    </a:cubicBezTo>
                    <a:cubicBezTo>
                      <a:pt x="158403" y="267131"/>
                      <a:pt x="154559" y="270976"/>
                      <a:pt x="153278" y="272257"/>
                    </a:cubicBezTo>
                    <a:lnTo>
                      <a:pt x="69977" y="229966"/>
                    </a:lnTo>
                    <a:cubicBezTo>
                      <a:pt x="52035" y="156918"/>
                      <a:pt x="35375" y="86433"/>
                      <a:pt x="18715" y="19793"/>
                    </a:cubicBezTo>
                    <a:cubicBezTo>
                      <a:pt x="30248" y="13385"/>
                      <a:pt x="26404" y="3133"/>
                      <a:pt x="18715" y="570"/>
                    </a:cubicBezTo>
                    <a:cubicBezTo>
                      <a:pt x="16152" y="-712"/>
                      <a:pt x="13589" y="570"/>
                      <a:pt x="11025" y="570"/>
                    </a:cubicBezTo>
                    <a:cubicBezTo>
                      <a:pt x="-1790" y="3133"/>
                      <a:pt x="-509" y="10822"/>
                      <a:pt x="773" y="1466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4" name="Freeform: Shape 379654">
                <a:extLst>
                  <a:ext uri="{FF2B5EF4-FFF2-40B4-BE49-F238E27FC236}">
                    <a16:creationId xmlns:a16="http://schemas.microsoft.com/office/drawing/2014/main" id="{D19BB271-BEB5-4648-9F43-1C7DD50A1FFB}"/>
                  </a:ext>
                </a:extLst>
              </p:cNvPr>
              <p:cNvSpPr/>
              <p:nvPr/>
            </p:nvSpPr>
            <p:spPr>
              <a:xfrm>
                <a:off x="6081482" y="2927795"/>
                <a:ext cx="25331" cy="23469"/>
              </a:xfrm>
              <a:custGeom>
                <a:avLst/>
                <a:gdLst>
                  <a:gd name="connsiteX0" fmla="*/ 421 w 25331"/>
                  <a:gd name="connsiteY0" fmla="*/ 15780 h 23469"/>
                  <a:gd name="connsiteX1" fmla="*/ 24771 w 25331"/>
                  <a:gd name="connsiteY1" fmla="*/ 15780 h 23469"/>
                  <a:gd name="connsiteX2" fmla="*/ 9392 w 25331"/>
                  <a:gd name="connsiteY2" fmla="*/ 401 h 23469"/>
                  <a:gd name="connsiteX3" fmla="*/ 421 w 25331"/>
                  <a:gd name="connsiteY3" fmla="*/ 15780 h 23469"/>
                </a:gdLst>
                <a:ahLst/>
                <a:cxnLst>
                  <a:cxn ang="0">
                    <a:pos x="connsiteX0" y="connsiteY0"/>
                  </a:cxn>
                  <a:cxn ang="0">
                    <a:pos x="connsiteX1" y="connsiteY1"/>
                  </a:cxn>
                  <a:cxn ang="0">
                    <a:pos x="connsiteX2" y="connsiteY2"/>
                  </a:cxn>
                  <a:cxn ang="0">
                    <a:pos x="connsiteX3" y="connsiteY3"/>
                  </a:cxn>
                </a:cxnLst>
                <a:rect l="l" t="t" r="r" b="b"/>
                <a:pathLst>
                  <a:path w="25331" h="23469">
                    <a:moveTo>
                      <a:pt x="421" y="15780"/>
                    </a:moveTo>
                    <a:cubicBezTo>
                      <a:pt x="4265" y="26032"/>
                      <a:pt x="20926" y="26032"/>
                      <a:pt x="24771" y="15780"/>
                    </a:cubicBezTo>
                    <a:cubicBezTo>
                      <a:pt x="27333" y="8091"/>
                      <a:pt x="20926" y="-2162"/>
                      <a:pt x="9392" y="401"/>
                    </a:cubicBezTo>
                    <a:cubicBezTo>
                      <a:pt x="421" y="2965"/>
                      <a:pt x="-861" y="10654"/>
                      <a:pt x="421" y="1578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5" name="Freeform: Shape 379655">
                <a:extLst>
                  <a:ext uri="{FF2B5EF4-FFF2-40B4-BE49-F238E27FC236}">
                    <a16:creationId xmlns:a16="http://schemas.microsoft.com/office/drawing/2014/main" id="{EEAB3450-66FD-45BF-A477-109F81E37C2D}"/>
                  </a:ext>
                </a:extLst>
              </p:cNvPr>
              <p:cNvSpPr/>
              <p:nvPr/>
            </p:nvSpPr>
            <p:spPr>
              <a:xfrm>
                <a:off x="6503679" y="2545014"/>
                <a:ext cx="154180" cy="297763"/>
              </a:xfrm>
              <a:custGeom>
                <a:avLst/>
                <a:gdLst>
                  <a:gd name="connsiteX0" fmla="*/ 2417 w 154180"/>
                  <a:gd name="connsiteY0" fmla="*/ 14097 h 297763"/>
                  <a:gd name="connsiteX1" fmla="*/ 15232 w 154180"/>
                  <a:gd name="connsiteY1" fmla="*/ 20505 h 297763"/>
                  <a:gd name="connsiteX2" fmla="*/ 135698 w 154180"/>
                  <a:gd name="connsiteY2" fmla="*/ 275532 h 297763"/>
                  <a:gd name="connsiteX3" fmla="*/ 142106 w 154180"/>
                  <a:gd name="connsiteY3" fmla="*/ 297319 h 297763"/>
                  <a:gd name="connsiteX4" fmla="*/ 152358 w 154180"/>
                  <a:gd name="connsiteY4" fmla="*/ 281940 h 297763"/>
                  <a:gd name="connsiteX5" fmla="*/ 139542 w 154180"/>
                  <a:gd name="connsiteY5" fmla="*/ 274251 h 297763"/>
                  <a:gd name="connsiteX6" fmla="*/ 19077 w 154180"/>
                  <a:gd name="connsiteY6" fmla="*/ 19223 h 297763"/>
                  <a:gd name="connsiteX7" fmla="*/ 12669 w 154180"/>
                  <a:gd name="connsiteY7" fmla="*/ 1282 h 297763"/>
                  <a:gd name="connsiteX8" fmla="*/ 6261 w 154180"/>
                  <a:gd name="connsiteY8" fmla="*/ 0 h 297763"/>
                  <a:gd name="connsiteX9" fmla="*/ 2417 w 154180"/>
                  <a:gd name="connsiteY9" fmla="*/ 14097 h 2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180" h="297763">
                    <a:moveTo>
                      <a:pt x="2417" y="14097"/>
                    </a:moveTo>
                    <a:cubicBezTo>
                      <a:pt x="3698" y="16660"/>
                      <a:pt x="7543" y="20505"/>
                      <a:pt x="15232" y="20505"/>
                    </a:cubicBezTo>
                    <a:cubicBezTo>
                      <a:pt x="57523" y="99961"/>
                      <a:pt x="98533" y="185824"/>
                      <a:pt x="135698" y="275532"/>
                    </a:cubicBezTo>
                    <a:cubicBezTo>
                      <a:pt x="125445" y="281940"/>
                      <a:pt x="133135" y="294755"/>
                      <a:pt x="142106" y="297319"/>
                    </a:cubicBezTo>
                    <a:cubicBezTo>
                      <a:pt x="151076" y="299882"/>
                      <a:pt x="157484" y="290911"/>
                      <a:pt x="152358" y="281940"/>
                    </a:cubicBezTo>
                    <a:cubicBezTo>
                      <a:pt x="151076" y="279377"/>
                      <a:pt x="147232" y="275532"/>
                      <a:pt x="139542" y="274251"/>
                    </a:cubicBezTo>
                    <a:cubicBezTo>
                      <a:pt x="102377" y="183261"/>
                      <a:pt x="62649" y="98679"/>
                      <a:pt x="19077" y="19223"/>
                    </a:cubicBezTo>
                    <a:cubicBezTo>
                      <a:pt x="28048" y="14097"/>
                      <a:pt x="21640" y="3845"/>
                      <a:pt x="12669" y="1282"/>
                    </a:cubicBezTo>
                    <a:cubicBezTo>
                      <a:pt x="10106" y="0"/>
                      <a:pt x="7543" y="0"/>
                      <a:pt x="6261" y="0"/>
                    </a:cubicBezTo>
                    <a:cubicBezTo>
                      <a:pt x="-2710" y="3845"/>
                      <a:pt x="-147" y="11534"/>
                      <a:pt x="241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6" name="Freeform: Shape 379656">
                <a:extLst>
                  <a:ext uri="{FF2B5EF4-FFF2-40B4-BE49-F238E27FC236}">
                    <a16:creationId xmlns:a16="http://schemas.microsoft.com/office/drawing/2014/main" id="{8395606F-006C-478D-8151-586BD3A7E420}"/>
                  </a:ext>
                </a:extLst>
              </p:cNvPr>
              <p:cNvSpPr/>
              <p:nvPr/>
            </p:nvSpPr>
            <p:spPr>
              <a:xfrm>
                <a:off x="6977263" y="2600121"/>
                <a:ext cx="107069" cy="178257"/>
              </a:xfrm>
              <a:custGeom>
                <a:avLst/>
                <a:gdLst>
                  <a:gd name="connsiteX0" fmla="*/ 4287 w 107069"/>
                  <a:gd name="connsiteY0" fmla="*/ 14097 h 178257"/>
                  <a:gd name="connsiteX1" fmla="*/ 15821 w 107069"/>
                  <a:gd name="connsiteY1" fmla="*/ 21786 h 178257"/>
                  <a:gd name="connsiteX2" fmla="*/ 88870 w 107069"/>
                  <a:gd name="connsiteY2" fmla="*/ 156349 h 178257"/>
                  <a:gd name="connsiteX3" fmla="*/ 100404 w 107069"/>
                  <a:gd name="connsiteY3" fmla="*/ 178135 h 178257"/>
                  <a:gd name="connsiteX4" fmla="*/ 102967 w 107069"/>
                  <a:gd name="connsiteY4" fmla="*/ 161475 h 178257"/>
                  <a:gd name="connsiteX5" fmla="*/ 92714 w 107069"/>
                  <a:gd name="connsiteY5" fmla="*/ 155067 h 178257"/>
                  <a:gd name="connsiteX6" fmla="*/ 18384 w 107069"/>
                  <a:gd name="connsiteY6" fmla="*/ 20505 h 178257"/>
                  <a:gd name="connsiteX7" fmla="*/ 5569 w 107069"/>
                  <a:gd name="connsiteY7" fmla="*/ 0 h 178257"/>
                  <a:gd name="connsiteX8" fmla="*/ 4287 w 107069"/>
                  <a:gd name="connsiteY8" fmla="*/ 0 h 178257"/>
                  <a:gd name="connsiteX9" fmla="*/ 4287 w 107069"/>
                  <a:gd name="connsiteY9" fmla="*/ 14097 h 178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069" h="178257">
                    <a:moveTo>
                      <a:pt x="4287" y="14097"/>
                    </a:moveTo>
                    <a:cubicBezTo>
                      <a:pt x="6851" y="16660"/>
                      <a:pt x="9414" y="20505"/>
                      <a:pt x="15821" y="21786"/>
                    </a:cubicBezTo>
                    <a:cubicBezTo>
                      <a:pt x="41452" y="65359"/>
                      <a:pt x="65802" y="110213"/>
                      <a:pt x="88870" y="156349"/>
                    </a:cubicBezTo>
                    <a:cubicBezTo>
                      <a:pt x="79899" y="161475"/>
                      <a:pt x="91433" y="176853"/>
                      <a:pt x="100404" y="178135"/>
                    </a:cubicBezTo>
                    <a:cubicBezTo>
                      <a:pt x="108093" y="179416"/>
                      <a:pt x="109374" y="170446"/>
                      <a:pt x="102967" y="161475"/>
                    </a:cubicBezTo>
                    <a:cubicBezTo>
                      <a:pt x="99122" y="156349"/>
                      <a:pt x="95277" y="155067"/>
                      <a:pt x="92714" y="155067"/>
                    </a:cubicBezTo>
                    <a:cubicBezTo>
                      <a:pt x="69646" y="108931"/>
                      <a:pt x="45297" y="64077"/>
                      <a:pt x="18384" y="20505"/>
                    </a:cubicBezTo>
                    <a:cubicBezTo>
                      <a:pt x="26074" y="15379"/>
                      <a:pt x="14540" y="1282"/>
                      <a:pt x="5569" y="0"/>
                    </a:cubicBezTo>
                    <a:cubicBezTo>
                      <a:pt x="5569" y="0"/>
                      <a:pt x="4287" y="0"/>
                      <a:pt x="4287" y="0"/>
                    </a:cubicBezTo>
                    <a:cubicBezTo>
                      <a:pt x="-4683" y="3845"/>
                      <a:pt x="3006" y="14097"/>
                      <a:pt x="428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7" name="Freeform: Shape 379657">
                <a:extLst>
                  <a:ext uri="{FF2B5EF4-FFF2-40B4-BE49-F238E27FC236}">
                    <a16:creationId xmlns:a16="http://schemas.microsoft.com/office/drawing/2014/main" id="{748B533D-6703-4966-8706-A50313A2E3CA}"/>
                  </a:ext>
                </a:extLst>
              </p:cNvPr>
              <p:cNvSpPr/>
              <p:nvPr/>
            </p:nvSpPr>
            <p:spPr>
              <a:xfrm>
                <a:off x="7371977" y="2732120"/>
                <a:ext cx="17106" cy="89479"/>
              </a:xfrm>
              <a:custGeom>
                <a:avLst/>
                <a:gdLst>
                  <a:gd name="connsiteX0" fmla="*/ 3010 w 17106"/>
                  <a:gd name="connsiteY0" fmla="*/ 80737 h 89479"/>
                  <a:gd name="connsiteX1" fmla="*/ 15825 w 17106"/>
                  <a:gd name="connsiteY1" fmla="*/ 87145 h 89479"/>
                  <a:gd name="connsiteX2" fmla="*/ 9417 w 17106"/>
                  <a:gd name="connsiteY2" fmla="*/ 71766 h 89479"/>
                  <a:gd name="connsiteX3" fmla="*/ 10699 w 17106"/>
                  <a:gd name="connsiteY3" fmla="*/ 20505 h 89479"/>
                  <a:gd name="connsiteX4" fmla="*/ 17107 w 17106"/>
                  <a:gd name="connsiteY4" fmla="*/ 17942 h 89479"/>
                  <a:gd name="connsiteX5" fmla="*/ 3010 w 17106"/>
                  <a:gd name="connsiteY5" fmla="*/ 0 h 89479"/>
                  <a:gd name="connsiteX6" fmla="*/ 8136 w 17106"/>
                  <a:gd name="connsiteY6" fmla="*/ 16660 h 89479"/>
                  <a:gd name="connsiteX7" fmla="*/ 6854 w 17106"/>
                  <a:gd name="connsiteY7" fmla="*/ 66640 h 89479"/>
                  <a:gd name="connsiteX8" fmla="*/ 446 w 17106"/>
                  <a:gd name="connsiteY8" fmla="*/ 70485 h 89479"/>
                  <a:gd name="connsiteX9" fmla="*/ 3010 w 17106"/>
                  <a:gd name="connsiteY9" fmla="*/ 80737 h 8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06" h="89479">
                    <a:moveTo>
                      <a:pt x="3010" y="80737"/>
                    </a:moveTo>
                    <a:cubicBezTo>
                      <a:pt x="8136" y="88427"/>
                      <a:pt x="14544" y="92271"/>
                      <a:pt x="15825" y="87145"/>
                    </a:cubicBezTo>
                    <a:cubicBezTo>
                      <a:pt x="15825" y="85864"/>
                      <a:pt x="15825" y="79456"/>
                      <a:pt x="9417" y="71766"/>
                    </a:cubicBezTo>
                    <a:cubicBezTo>
                      <a:pt x="9417" y="56388"/>
                      <a:pt x="9417" y="35883"/>
                      <a:pt x="10699" y="20505"/>
                    </a:cubicBezTo>
                    <a:cubicBezTo>
                      <a:pt x="15825" y="24349"/>
                      <a:pt x="17107" y="20505"/>
                      <a:pt x="17107" y="17942"/>
                    </a:cubicBezTo>
                    <a:cubicBezTo>
                      <a:pt x="15825" y="12816"/>
                      <a:pt x="9417" y="1282"/>
                      <a:pt x="3010" y="0"/>
                    </a:cubicBezTo>
                    <a:cubicBezTo>
                      <a:pt x="-2117" y="1282"/>
                      <a:pt x="3010" y="10252"/>
                      <a:pt x="8136" y="16660"/>
                    </a:cubicBezTo>
                    <a:cubicBezTo>
                      <a:pt x="8136" y="32039"/>
                      <a:pt x="8136" y="52543"/>
                      <a:pt x="6854" y="66640"/>
                    </a:cubicBezTo>
                    <a:cubicBezTo>
                      <a:pt x="446" y="62796"/>
                      <a:pt x="-835" y="66640"/>
                      <a:pt x="446" y="70485"/>
                    </a:cubicBezTo>
                    <a:cubicBezTo>
                      <a:pt x="446" y="74330"/>
                      <a:pt x="446" y="76893"/>
                      <a:pt x="3010" y="8073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8" name="Freeform: Shape 379658">
                <a:extLst>
                  <a:ext uri="{FF2B5EF4-FFF2-40B4-BE49-F238E27FC236}">
                    <a16:creationId xmlns:a16="http://schemas.microsoft.com/office/drawing/2014/main" id="{8053251F-A3B6-4026-8D7E-8CB58BC65A44}"/>
                  </a:ext>
                </a:extLst>
              </p:cNvPr>
              <p:cNvSpPr/>
              <p:nvPr/>
            </p:nvSpPr>
            <p:spPr>
              <a:xfrm>
                <a:off x="4172393" y="3536931"/>
                <a:ext cx="7447" cy="26304"/>
              </a:xfrm>
              <a:custGeom>
                <a:avLst/>
                <a:gdLst>
                  <a:gd name="connsiteX0" fmla="*/ 0 w 7447"/>
                  <a:gd name="connsiteY0" fmla="*/ 16660 h 26304"/>
                  <a:gd name="connsiteX1" fmla="*/ 3845 w 7447"/>
                  <a:gd name="connsiteY1" fmla="*/ 25631 h 26304"/>
                  <a:gd name="connsiteX2" fmla="*/ 5126 w 7447"/>
                  <a:gd name="connsiteY2" fmla="*/ 0 h 26304"/>
                  <a:gd name="connsiteX3" fmla="*/ 3845 w 7447"/>
                  <a:gd name="connsiteY3" fmla="*/ 0 h 26304"/>
                  <a:gd name="connsiteX4" fmla="*/ 0 w 7447"/>
                  <a:gd name="connsiteY4" fmla="*/ 16660 h 26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47" h="26304">
                    <a:moveTo>
                      <a:pt x="0" y="16660"/>
                    </a:moveTo>
                    <a:cubicBezTo>
                      <a:pt x="0" y="23068"/>
                      <a:pt x="1282" y="28194"/>
                      <a:pt x="3845" y="25631"/>
                    </a:cubicBezTo>
                    <a:cubicBezTo>
                      <a:pt x="7689" y="21786"/>
                      <a:pt x="8971" y="0"/>
                      <a:pt x="5126" y="0"/>
                    </a:cubicBezTo>
                    <a:cubicBezTo>
                      <a:pt x="5126" y="0"/>
                      <a:pt x="5126" y="0"/>
                      <a:pt x="3845" y="0"/>
                    </a:cubicBezTo>
                    <a:cubicBezTo>
                      <a:pt x="1282" y="2563"/>
                      <a:pt x="0" y="11534"/>
                      <a:pt x="0"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29" name="Freeform: Shape 379659">
                <a:extLst>
                  <a:ext uri="{FF2B5EF4-FFF2-40B4-BE49-F238E27FC236}">
                    <a16:creationId xmlns:a16="http://schemas.microsoft.com/office/drawing/2014/main" id="{581C8146-ACE9-415D-BF7D-1656434C1C15}"/>
                  </a:ext>
                </a:extLst>
              </p:cNvPr>
              <p:cNvSpPr/>
              <p:nvPr/>
            </p:nvSpPr>
            <p:spPr>
              <a:xfrm>
                <a:off x="4192590" y="3525397"/>
                <a:ext cx="10239" cy="101303"/>
              </a:xfrm>
              <a:custGeom>
                <a:avLst/>
                <a:gdLst>
                  <a:gd name="connsiteX0" fmla="*/ 1589 w 10239"/>
                  <a:gd name="connsiteY0" fmla="*/ 16660 h 101303"/>
                  <a:gd name="connsiteX1" fmla="*/ 4152 w 10239"/>
                  <a:gd name="connsiteY1" fmla="*/ 25631 h 101303"/>
                  <a:gd name="connsiteX2" fmla="*/ 2871 w 10239"/>
                  <a:gd name="connsiteY2" fmla="*/ 75611 h 101303"/>
                  <a:gd name="connsiteX3" fmla="*/ 4152 w 10239"/>
                  <a:gd name="connsiteY3" fmla="*/ 101242 h 101303"/>
                  <a:gd name="connsiteX4" fmla="*/ 5434 w 10239"/>
                  <a:gd name="connsiteY4" fmla="*/ 75611 h 101303"/>
                  <a:gd name="connsiteX5" fmla="*/ 6715 w 10239"/>
                  <a:gd name="connsiteY5" fmla="*/ 25631 h 101303"/>
                  <a:gd name="connsiteX6" fmla="*/ 7997 w 10239"/>
                  <a:gd name="connsiteY6" fmla="*/ 0 h 101303"/>
                  <a:gd name="connsiteX7" fmla="*/ 6715 w 10239"/>
                  <a:gd name="connsiteY7" fmla="*/ 0 h 101303"/>
                  <a:gd name="connsiteX8" fmla="*/ 1589 w 10239"/>
                  <a:gd name="connsiteY8" fmla="*/ 16660 h 10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9" h="101303">
                    <a:moveTo>
                      <a:pt x="1589" y="16660"/>
                    </a:moveTo>
                    <a:cubicBezTo>
                      <a:pt x="1589" y="20505"/>
                      <a:pt x="1589" y="24349"/>
                      <a:pt x="4152" y="25631"/>
                    </a:cubicBezTo>
                    <a:cubicBezTo>
                      <a:pt x="4152" y="42291"/>
                      <a:pt x="2871" y="58951"/>
                      <a:pt x="2871" y="75611"/>
                    </a:cubicBezTo>
                    <a:cubicBezTo>
                      <a:pt x="-2256" y="83301"/>
                      <a:pt x="308" y="102524"/>
                      <a:pt x="4152" y="101242"/>
                    </a:cubicBezTo>
                    <a:cubicBezTo>
                      <a:pt x="7997" y="98679"/>
                      <a:pt x="10560" y="78174"/>
                      <a:pt x="5434" y="75611"/>
                    </a:cubicBezTo>
                    <a:cubicBezTo>
                      <a:pt x="5434" y="58951"/>
                      <a:pt x="5434" y="42291"/>
                      <a:pt x="6715" y="25631"/>
                    </a:cubicBezTo>
                    <a:cubicBezTo>
                      <a:pt x="11842" y="17942"/>
                      <a:pt x="10560" y="1282"/>
                      <a:pt x="7997" y="0"/>
                    </a:cubicBezTo>
                    <a:cubicBezTo>
                      <a:pt x="7997" y="0"/>
                      <a:pt x="7997" y="0"/>
                      <a:pt x="6715" y="0"/>
                    </a:cubicBezTo>
                    <a:cubicBezTo>
                      <a:pt x="1589" y="2563"/>
                      <a:pt x="1589" y="12816"/>
                      <a:pt x="1589"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0" name="Freeform: Shape 379660">
                <a:extLst>
                  <a:ext uri="{FF2B5EF4-FFF2-40B4-BE49-F238E27FC236}">
                    <a16:creationId xmlns:a16="http://schemas.microsoft.com/office/drawing/2014/main" id="{6744BA82-5BC4-47AD-B3F1-D4FD3AB8BBB0}"/>
                  </a:ext>
                </a:extLst>
              </p:cNvPr>
              <p:cNvSpPr/>
              <p:nvPr/>
            </p:nvSpPr>
            <p:spPr>
              <a:xfrm>
                <a:off x="5772309" y="3031432"/>
                <a:ext cx="69913" cy="202529"/>
              </a:xfrm>
              <a:custGeom>
                <a:avLst/>
                <a:gdLst>
                  <a:gd name="connsiteX0" fmla="*/ 740 w 69913"/>
                  <a:gd name="connsiteY0" fmla="*/ 18511 h 202529"/>
                  <a:gd name="connsiteX1" fmla="*/ 13556 w 69913"/>
                  <a:gd name="connsiteY1" fmla="*/ 26200 h 202529"/>
                  <a:gd name="connsiteX2" fmla="*/ 49439 w 69913"/>
                  <a:gd name="connsiteY2" fmla="*/ 178704 h 202529"/>
                  <a:gd name="connsiteX3" fmla="*/ 50720 w 69913"/>
                  <a:gd name="connsiteY3" fmla="*/ 201772 h 202529"/>
                  <a:gd name="connsiteX4" fmla="*/ 68662 w 69913"/>
                  <a:gd name="connsiteY4" fmla="*/ 183831 h 202529"/>
                  <a:gd name="connsiteX5" fmla="*/ 55847 w 69913"/>
                  <a:gd name="connsiteY5" fmla="*/ 176141 h 202529"/>
                  <a:gd name="connsiteX6" fmla="*/ 19963 w 69913"/>
                  <a:gd name="connsiteY6" fmla="*/ 23637 h 202529"/>
                  <a:gd name="connsiteX7" fmla="*/ 19963 w 69913"/>
                  <a:gd name="connsiteY7" fmla="*/ 570 h 202529"/>
                  <a:gd name="connsiteX8" fmla="*/ 12274 w 69913"/>
                  <a:gd name="connsiteY8" fmla="*/ 570 h 202529"/>
                  <a:gd name="connsiteX9" fmla="*/ 740 w 69913"/>
                  <a:gd name="connsiteY9" fmla="*/ 18511 h 20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913" h="202529">
                    <a:moveTo>
                      <a:pt x="740" y="18511"/>
                    </a:moveTo>
                    <a:cubicBezTo>
                      <a:pt x="2022" y="21074"/>
                      <a:pt x="5866" y="24919"/>
                      <a:pt x="13556" y="26200"/>
                    </a:cubicBezTo>
                    <a:cubicBezTo>
                      <a:pt x="25089" y="76181"/>
                      <a:pt x="36623" y="126161"/>
                      <a:pt x="49439" y="178704"/>
                    </a:cubicBezTo>
                    <a:cubicBezTo>
                      <a:pt x="36623" y="186394"/>
                      <a:pt x="40468" y="199209"/>
                      <a:pt x="50720" y="201772"/>
                    </a:cubicBezTo>
                    <a:cubicBezTo>
                      <a:pt x="62254" y="205617"/>
                      <a:pt x="73788" y="194083"/>
                      <a:pt x="68662" y="183831"/>
                    </a:cubicBezTo>
                    <a:cubicBezTo>
                      <a:pt x="67380" y="181267"/>
                      <a:pt x="63536" y="176141"/>
                      <a:pt x="55847" y="176141"/>
                    </a:cubicBezTo>
                    <a:cubicBezTo>
                      <a:pt x="44313" y="124879"/>
                      <a:pt x="31497" y="73618"/>
                      <a:pt x="19963" y="23637"/>
                    </a:cubicBezTo>
                    <a:cubicBezTo>
                      <a:pt x="32779" y="17230"/>
                      <a:pt x="28934" y="4414"/>
                      <a:pt x="19963" y="570"/>
                    </a:cubicBezTo>
                    <a:cubicBezTo>
                      <a:pt x="17400" y="-712"/>
                      <a:pt x="14837" y="570"/>
                      <a:pt x="12274" y="570"/>
                    </a:cubicBezTo>
                    <a:cubicBezTo>
                      <a:pt x="-1823" y="5696"/>
                      <a:pt x="-542" y="15948"/>
                      <a:pt x="740" y="1851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1" name="Freeform: Shape 379661">
                <a:extLst>
                  <a:ext uri="{FF2B5EF4-FFF2-40B4-BE49-F238E27FC236}">
                    <a16:creationId xmlns:a16="http://schemas.microsoft.com/office/drawing/2014/main" id="{44890BA1-9F9B-483F-9BFA-3BEE5B42CB19}"/>
                  </a:ext>
                </a:extLst>
              </p:cNvPr>
              <p:cNvSpPr/>
              <p:nvPr/>
            </p:nvSpPr>
            <p:spPr>
              <a:xfrm>
                <a:off x="5892203" y="3005089"/>
                <a:ext cx="91913" cy="469392"/>
              </a:xfrm>
              <a:custGeom>
                <a:avLst/>
                <a:gdLst>
                  <a:gd name="connsiteX0" fmla="*/ 65389 w 91913"/>
                  <a:gd name="connsiteY0" fmla="*/ 461356 h 469392"/>
                  <a:gd name="connsiteX1" fmla="*/ 91020 w 91913"/>
                  <a:gd name="connsiteY1" fmla="*/ 460075 h 469392"/>
                  <a:gd name="connsiteX2" fmla="*/ 78205 w 91913"/>
                  <a:gd name="connsiteY2" fmla="*/ 442133 h 469392"/>
                  <a:gd name="connsiteX3" fmla="*/ 55137 w 91913"/>
                  <a:gd name="connsiteY3" fmla="*/ 343454 h 469392"/>
                  <a:gd name="connsiteX4" fmla="*/ 87176 w 91913"/>
                  <a:gd name="connsiteY4" fmla="*/ 297319 h 469392"/>
                  <a:gd name="connsiteX5" fmla="*/ 19254 w 91913"/>
                  <a:gd name="connsiteY5" fmla="*/ 23068 h 469392"/>
                  <a:gd name="connsiteX6" fmla="*/ 15409 w 91913"/>
                  <a:gd name="connsiteY6" fmla="*/ 0 h 469392"/>
                  <a:gd name="connsiteX7" fmla="*/ 10283 w 91913"/>
                  <a:gd name="connsiteY7" fmla="*/ 0 h 469392"/>
                  <a:gd name="connsiteX8" fmla="*/ 5157 w 91913"/>
                  <a:gd name="connsiteY8" fmla="*/ 21786 h 469392"/>
                  <a:gd name="connsiteX9" fmla="*/ 14127 w 91913"/>
                  <a:gd name="connsiteY9" fmla="*/ 24349 h 469392"/>
                  <a:gd name="connsiteX10" fmla="*/ 80768 w 91913"/>
                  <a:gd name="connsiteY10" fmla="*/ 296037 h 469392"/>
                  <a:gd name="connsiteX11" fmla="*/ 48729 w 91913"/>
                  <a:gd name="connsiteY11" fmla="*/ 342173 h 469392"/>
                  <a:gd name="connsiteX12" fmla="*/ 73079 w 91913"/>
                  <a:gd name="connsiteY12" fmla="*/ 443415 h 469392"/>
                  <a:gd name="connsiteX13" fmla="*/ 65389 w 91913"/>
                  <a:gd name="connsiteY13" fmla="*/ 461356 h 469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913" h="469392">
                    <a:moveTo>
                      <a:pt x="65389" y="461356"/>
                    </a:moveTo>
                    <a:cubicBezTo>
                      <a:pt x="70515" y="472890"/>
                      <a:pt x="87176" y="471609"/>
                      <a:pt x="91020" y="460075"/>
                    </a:cubicBezTo>
                    <a:cubicBezTo>
                      <a:pt x="93583" y="453667"/>
                      <a:pt x="91020" y="442133"/>
                      <a:pt x="78205" y="442133"/>
                    </a:cubicBezTo>
                    <a:cubicBezTo>
                      <a:pt x="70515" y="408813"/>
                      <a:pt x="62826" y="375493"/>
                      <a:pt x="55137" y="343454"/>
                    </a:cubicBezTo>
                    <a:lnTo>
                      <a:pt x="87176" y="297319"/>
                    </a:lnTo>
                    <a:cubicBezTo>
                      <a:pt x="64108" y="202484"/>
                      <a:pt x="42322" y="111494"/>
                      <a:pt x="19254" y="23068"/>
                    </a:cubicBezTo>
                    <a:cubicBezTo>
                      <a:pt x="34632" y="12815"/>
                      <a:pt x="23098" y="1282"/>
                      <a:pt x="15409" y="0"/>
                    </a:cubicBezTo>
                    <a:cubicBezTo>
                      <a:pt x="14127" y="0"/>
                      <a:pt x="11564" y="0"/>
                      <a:pt x="10283" y="0"/>
                    </a:cubicBezTo>
                    <a:cubicBezTo>
                      <a:pt x="-3814" y="5126"/>
                      <a:pt x="-1251" y="16660"/>
                      <a:pt x="5157" y="21786"/>
                    </a:cubicBezTo>
                    <a:cubicBezTo>
                      <a:pt x="7720" y="23068"/>
                      <a:pt x="10283" y="24349"/>
                      <a:pt x="14127" y="24349"/>
                    </a:cubicBezTo>
                    <a:cubicBezTo>
                      <a:pt x="35914" y="111494"/>
                      <a:pt x="58981" y="202484"/>
                      <a:pt x="80768" y="296037"/>
                    </a:cubicBezTo>
                    <a:lnTo>
                      <a:pt x="48729" y="342173"/>
                    </a:lnTo>
                    <a:cubicBezTo>
                      <a:pt x="56418" y="375493"/>
                      <a:pt x="64108" y="408813"/>
                      <a:pt x="73079" y="443415"/>
                    </a:cubicBezTo>
                    <a:cubicBezTo>
                      <a:pt x="62826" y="449822"/>
                      <a:pt x="62826" y="457512"/>
                      <a:pt x="65389" y="46135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2" name="Freeform: Shape 379662">
                <a:extLst>
                  <a:ext uri="{FF2B5EF4-FFF2-40B4-BE49-F238E27FC236}">
                    <a16:creationId xmlns:a16="http://schemas.microsoft.com/office/drawing/2014/main" id="{B0F8B580-C3DE-4B0E-A4A2-8EACA6AECAFC}"/>
                  </a:ext>
                </a:extLst>
              </p:cNvPr>
              <p:cNvSpPr/>
              <p:nvPr/>
            </p:nvSpPr>
            <p:spPr>
              <a:xfrm>
                <a:off x="5924644" y="2961837"/>
                <a:ext cx="35584" cy="59457"/>
              </a:xfrm>
              <a:custGeom>
                <a:avLst/>
                <a:gdLst>
                  <a:gd name="connsiteX0" fmla="*/ 909 w 35584"/>
                  <a:gd name="connsiteY0" fmla="*/ 17621 h 59457"/>
                  <a:gd name="connsiteX1" fmla="*/ 13724 w 35584"/>
                  <a:gd name="connsiteY1" fmla="*/ 25310 h 59457"/>
                  <a:gd name="connsiteX2" fmla="*/ 16288 w 35584"/>
                  <a:gd name="connsiteY2" fmla="*/ 36844 h 59457"/>
                  <a:gd name="connsiteX3" fmla="*/ 17569 w 35584"/>
                  <a:gd name="connsiteY3" fmla="*/ 58631 h 59457"/>
                  <a:gd name="connsiteX4" fmla="*/ 34229 w 35584"/>
                  <a:gd name="connsiteY4" fmla="*/ 41971 h 59457"/>
                  <a:gd name="connsiteX5" fmla="*/ 21414 w 35584"/>
                  <a:gd name="connsiteY5" fmla="*/ 34281 h 59457"/>
                  <a:gd name="connsiteX6" fmla="*/ 18851 w 35584"/>
                  <a:gd name="connsiteY6" fmla="*/ 22747 h 59457"/>
                  <a:gd name="connsiteX7" fmla="*/ 17569 w 35584"/>
                  <a:gd name="connsiteY7" fmla="*/ 961 h 59457"/>
                  <a:gd name="connsiteX8" fmla="*/ 9880 w 35584"/>
                  <a:gd name="connsiteY8" fmla="*/ 961 h 59457"/>
                  <a:gd name="connsiteX9" fmla="*/ 909 w 35584"/>
                  <a:gd name="connsiteY9" fmla="*/ 17621 h 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84" h="59457">
                    <a:moveTo>
                      <a:pt x="909" y="17621"/>
                    </a:moveTo>
                    <a:cubicBezTo>
                      <a:pt x="2190" y="20184"/>
                      <a:pt x="6035" y="24029"/>
                      <a:pt x="13724" y="25310"/>
                    </a:cubicBezTo>
                    <a:cubicBezTo>
                      <a:pt x="15006" y="29155"/>
                      <a:pt x="15006" y="33000"/>
                      <a:pt x="16288" y="36844"/>
                    </a:cubicBezTo>
                    <a:cubicBezTo>
                      <a:pt x="4754" y="43252"/>
                      <a:pt x="8598" y="56068"/>
                      <a:pt x="17569" y="58631"/>
                    </a:cubicBezTo>
                    <a:cubicBezTo>
                      <a:pt x="29103" y="62475"/>
                      <a:pt x="39356" y="52223"/>
                      <a:pt x="34229" y="41971"/>
                    </a:cubicBezTo>
                    <a:cubicBezTo>
                      <a:pt x="32947" y="39408"/>
                      <a:pt x="29103" y="35563"/>
                      <a:pt x="21414" y="34281"/>
                    </a:cubicBezTo>
                    <a:cubicBezTo>
                      <a:pt x="20132" y="30437"/>
                      <a:pt x="20132" y="26592"/>
                      <a:pt x="18851" y="22747"/>
                    </a:cubicBezTo>
                    <a:cubicBezTo>
                      <a:pt x="30385" y="16340"/>
                      <a:pt x="26540" y="3524"/>
                      <a:pt x="17569" y="961"/>
                    </a:cubicBezTo>
                    <a:cubicBezTo>
                      <a:pt x="15006" y="-320"/>
                      <a:pt x="12443" y="-320"/>
                      <a:pt x="9880" y="961"/>
                    </a:cubicBezTo>
                    <a:cubicBezTo>
                      <a:pt x="-4217" y="4806"/>
                      <a:pt x="909" y="17621"/>
                      <a:pt x="909" y="1762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3" name="Freeform: Shape 379663">
                <a:extLst>
                  <a:ext uri="{FF2B5EF4-FFF2-40B4-BE49-F238E27FC236}">
                    <a16:creationId xmlns:a16="http://schemas.microsoft.com/office/drawing/2014/main" id="{77DB9007-4561-4FC3-9A07-15A35B21848B}"/>
                  </a:ext>
                </a:extLst>
              </p:cNvPr>
              <p:cNvSpPr/>
              <p:nvPr/>
            </p:nvSpPr>
            <p:spPr>
              <a:xfrm>
                <a:off x="6110469" y="2887507"/>
                <a:ext cx="47118" cy="90218"/>
              </a:xfrm>
              <a:custGeom>
                <a:avLst/>
                <a:gdLst>
                  <a:gd name="connsiteX0" fmla="*/ 909 w 47118"/>
                  <a:gd name="connsiteY0" fmla="*/ 15058 h 90218"/>
                  <a:gd name="connsiteX1" fmla="*/ 13724 w 47118"/>
                  <a:gd name="connsiteY1" fmla="*/ 22747 h 90218"/>
                  <a:gd name="connsiteX2" fmla="*/ 26540 w 47118"/>
                  <a:gd name="connsiteY2" fmla="*/ 67601 h 90218"/>
                  <a:gd name="connsiteX3" fmla="*/ 29103 w 47118"/>
                  <a:gd name="connsiteY3" fmla="*/ 89388 h 90218"/>
                  <a:gd name="connsiteX4" fmla="*/ 45763 w 47118"/>
                  <a:gd name="connsiteY4" fmla="*/ 74009 h 90218"/>
                  <a:gd name="connsiteX5" fmla="*/ 32947 w 47118"/>
                  <a:gd name="connsiteY5" fmla="*/ 66320 h 90218"/>
                  <a:gd name="connsiteX6" fmla="*/ 20132 w 47118"/>
                  <a:gd name="connsiteY6" fmla="*/ 22747 h 90218"/>
                  <a:gd name="connsiteX7" fmla="*/ 17569 w 47118"/>
                  <a:gd name="connsiteY7" fmla="*/ 961 h 90218"/>
                  <a:gd name="connsiteX8" fmla="*/ 9880 w 47118"/>
                  <a:gd name="connsiteY8" fmla="*/ 961 h 90218"/>
                  <a:gd name="connsiteX9" fmla="*/ 909 w 47118"/>
                  <a:gd name="connsiteY9" fmla="*/ 15058 h 90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18" h="90218">
                    <a:moveTo>
                      <a:pt x="909" y="15058"/>
                    </a:moveTo>
                    <a:cubicBezTo>
                      <a:pt x="2191" y="17621"/>
                      <a:pt x="6035" y="21466"/>
                      <a:pt x="13724" y="22747"/>
                    </a:cubicBezTo>
                    <a:cubicBezTo>
                      <a:pt x="17569" y="36844"/>
                      <a:pt x="22695" y="52223"/>
                      <a:pt x="26540" y="67601"/>
                    </a:cubicBezTo>
                    <a:cubicBezTo>
                      <a:pt x="15006" y="74009"/>
                      <a:pt x="18850" y="86825"/>
                      <a:pt x="29103" y="89388"/>
                    </a:cubicBezTo>
                    <a:cubicBezTo>
                      <a:pt x="40637" y="93232"/>
                      <a:pt x="50889" y="82980"/>
                      <a:pt x="45763" y="74009"/>
                    </a:cubicBezTo>
                    <a:cubicBezTo>
                      <a:pt x="44481" y="71446"/>
                      <a:pt x="40637" y="67601"/>
                      <a:pt x="32947" y="66320"/>
                    </a:cubicBezTo>
                    <a:cubicBezTo>
                      <a:pt x="29103" y="50941"/>
                      <a:pt x="23977" y="36844"/>
                      <a:pt x="20132" y="22747"/>
                    </a:cubicBezTo>
                    <a:cubicBezTo>
                      <a:pt x="31666" y="16340"/>
                      <a:pt x="26540" y="4806"/>
                      <a:pt x="17569" y="961"/>
                    </a:cubicBezTo>
                    <a:cubicBezTo>
                      <a:pt x="15006" y="-320"/>
                      <a:pt x="12443" y="-320"/>
                      <a:pt x="9880" y="961"/>
                    </a:cubicBezTo>
                    <a:cubicBezTo>
                      <a:pt x="-4217" y="3524"/>
                      <a:pt x="909" y="15058"/>
                      <a:pt x="909" y="1505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534" name="Graphic 379285">
                <a:extLst>
                  <a:ext uri="{FF2B5EF4-FFF2-40B4-BE49-F238E27FC236}">
                    <a16:creationId xmlns:a16="http://schemas.microsoft.com/office/drawing/2014/main" id="{D973D960-FBCD-4D6F-9AA8-88935B4C1FE3}"/>
                  </a:ext>
                </a:extLst>
              </p:cNvPr>
              <p:cNvGrpSpPr/>
              <p:nvPr/>
            </p:nvGrpSpPr>
            <p:grpSpPr>
              <a:xfrm>
                <a:off x="7549277" y="2801324"/>
                <a:ext cx="166602" cy="408812"/>
                <a:chOff x="7549277" y="2801324"/>
                <a:chExt cx="166602" cy="408812"/>
              </a:xfrm>
              <a:grpFill/>
            </p:grpSpPr>
            <p:sp>
              <p:nvSpPr>
                <p:cNvPr id="985" name="Freeform: Shape 379665">
                  <a:extLst>
                    <a:ext uri="{FF2B5EF4-FFF2-40B4-BE49-F238E27FC236}">
                      <a16:creationId xmlns:a16="http://schemas.microsoft.com/office/drawing/2014/main" id="{3A7B1502-BD58-4592-8E08-641CF7B60569}"/>
                    </a:ext>
                  </a:extLst>
                </p:cNvPr>
                <p:cNvSpPr/>
                <p:nvPr/>
              </p:nvSpPr>
              <p:spPr>
                <a:xfrm>
                  <a:off x="7586443" y="2870527"/>
                  <a:ext cx="129436" cy="339609"/>
                </a:xfrm>
                <a:custGeom>
                  <a:avLst/>
                  <a:gdLst>
                    <a:gd name="connsiteX0" fmla="*/ 125592 w 129436"/>
                    <a:gd name="connsiteY0" fmla="*/ 328076 h 339609"/>
                    <a:gd name="connsiteX1" fmla="*/ 129436 w 129436"/>
                    <a:gd name="connsiteY1" fmla="*/ 339610 h 339609"/>
                    <a:gd name="connsiteX2" fmla="*/ 123029 w 129436"/>
                    <a:gd name="connsiteY2" fmla="*/ 313979 h 339609"/>
                    <a:gd name="connsiteX3" fmla="*/ 25631 w 129436"/>
                    <a:gd name="connsiteY3" fmla="*/ 53825 h 339609"/>
                    <a:gd name="connsiteX4" fmla="*/ 0 w 129436"/>
                    <a:gd name="connsiteY4" fmla="*/ 0 h 339609"/>
                    <a:gd name="connsiteX5" fmla="*/ 121747 w 129436"/>
                    <a:gd name="connsiteY5" fmla="*/ 312697 h 339609"/>
                    <a:gd name="connsiteX6" fmla="*/ 125592 w 129436"/>
                    <a:gd name="connsiteY6" fmla="*/ 328076 h 33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6" h="339609">
                      <a:moveTo>
                        <a:pt x="125592" y="328076"/>
                      </a:moveTo>
                      <a:cubicBezTo>
                        <a:pt x="126873" y="334483"/>
                        <a:pt x="128155" y="337046"/>
                        <a:pt x="129436" y="339610"/>
                      </a:cubicBezTo>
                      <a:cubicBezTo>
                        <a:pt x="128155" y="333202"/>
                        <a:pt x="123029" y="315260"/>
                        <a:pt x="123029" y="313979"/>
                      </a:cubicBezTo>
                      <a:cubicBezTo>
                        <a:pt x="97398" y="222989"/>
                        <a:pt x="64078" y="137125"/>
                        <a:pt x="25631" y="53825"/>
                      </a:cubicBezTo>
                      <a:lnTo>
                        <a:pt x="0" y="0"/>
                      </a:lnTo>
                      <a:cubicBezTo>
                        <a:pt x="49980" y="98679"/>
                        <a:pt x="90990" y="203766"/>
                        <a:pt x="121747" y="312697"/>
                      </a:cubicBezTo>
                      <a:cubicBezTo>
                        <a:pt x="121747" y="316542"/>
                        <a:pt x="121747" y="319105"/>
                        <a:pt x="125592" y="32807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86" name="Freeform: Shape 379666">
                  <a:extLst>
                    <a:ext uri="{FF2B5EF4-FFF2-40B4-BE49-F238E27FC236}">
                      <a16:creationId xmlns:a16="http://schemas.microsoft.com/office/drawing/2014/main" id="{91450500-0988-4ACB-907D-028E64F50EB9}"/>
                    </a:ext>
                  </a:extLst>
                </p:cNvPr>
                <p:cNvSpPr/>
                <p:nvPr/>
              </p:nvSpPr>
              <p:spPr>
                <a:xfrm>
                  <a:off x="7549277" y="2801324"/>
                  <a:ext cx="7689" cy="15378"/>
                </a:xfrm>
                <a:custGeom>
                  <a:avLst/>
                  <a:gdLst>
                    <a:gd name="connsiteX0" fmla="*/ 3844 w 7689"/>
                    <a:gd name="connsiteY0" fmla="*/ 8971 h 15378"/>
                    <a:gd name="connsiteX1" fmla="*/ 7689 w 7689"/>
                    <a:gd name="connsiteY1" fmla="*/ 15379 h 15378"/>
                    <a:gd name="connsiteX2" fmla="*/ 0 w 7689"/>
                    <a:gd name="connsiteY2" fmla="*/ 0 h 15378"/>
                    <a:gd name="connsiteX3" fmla="*/ 3844 w 7689"/>
                    <a:gd name="connsiteY3" fmla="*/ 8971 h 15378"/>
                  </a:gdLst>
                  <a:ahLst/>
                  <a:cxnLst>
                    <a:cxn ang="0">
                      <a:pos x="connsiteX0" y="connsiteY0"/>
                    </a:cxn>
                    <a:cxn ang="0">
                      <a:pos x="connsiteX1" y="connsiteY1"/>
                    </a:cxn>
                    <a:cxn ang="0">
                      <a:pos x="connsiteX2" y="connsiteY2"/>
                    </a:cxn>
                    <a:cxn ang="0">
                      <a:pos x="connsiteX3" y="connsiteY3"/>
                    </a:cxn>
                  </a:cxnLst>
                  <a:rect l="l" t="t" r="r" b="b"/>
                  <a:pathLst>
                    <a:path w="7689" h="15378">
                      <a:moveTo>
                        <a:pt x="3844" y="8971"/>
                      </a:moveTo>
                      <a:cubicBezTo>
                        <a:pt x="5126" y="11534"/>
                        <a:pt x="6408" y="12816"/>
                        <a:pt x="7689" y="15379"/>
                      </a:cubicBezTo>
                      <a:lnTo>
                        <a:pt x="0" y="0"/>
                      </a:lnTo>
                      <a:cubicBezTo>
                        <a:pt x="0" y="2563"/>
                        <a:pt x="2563" y="5126"/>
                        <a:pt x="3844"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535" name="Freeform: Shape 379667">
                <a:extLst>
                  <a:ext uri="{FF2B5EF4-FFF2-40B4-BE49-F238E27FC236}">
                    <a16:creationId xmlns:a16="http://schemas.microsoft.com/office/drawing/2014/main" id="{031CDC46-AFC5-4EA6-A4D4-263199B82475}"/>
                  </a:ext>
                </a:extLst>
              </p:cNvPr>
              <p:cNvSpPr/>
              <p:nvPr/>
            </p:nvSpPr>
            <p:spPr>
              <a:xfrm>
                <a:off x="4144199" y="3581785"/>
                <a:ext cx="22826" cy="112776"/>
              </a:xfrm>
              <a:custGeom>
                <a:avLst/>
                <a:gdLst>
                  <a:gd name="connsiteX0" fmla="*/ 0 w 22826"/>
                  <a:gd name="connsiteY0" fmla="*/ 103805 h 112776"/>
                  <a:gd name="connsiteX1" fmla="*/ 2563 w 22826"/>
                  <a:gd name="connsiteY1" fmla="*/ 112776 h 112776"/>
                  <a:gd name="connsiteX2" fmla="*/ 5126 w 22826"/>
                  <a:gd name="connsiteY2" fmla="*/ 92271 h 112776"/>
                  <a:gd name="connsiteX3" fmla="*/ 17942 w 22826"/>
                  <a:gd name="connsiteY3" fmla="*/ 24349 h 112776"/>
                  <a:gd name="connsiteX4" fmla="*/ 19223 w 22826"/>
                  <a:gd name="connsiteY4" fmla="*/ 25631 h 112776"/>
                  <a:gd name="connsiteX5" fmla="*/ 20505 w 22826"/>
                  <a:gd name="connsiteY5" fmla="*/ 0 h 112776"/>
                  <a:gd name="connsiteX6" fmla="*/ 20505 w 22826"/>
                  <a:gd name="connsiteY6" fmla="*/ 0 h 112776"/>
                  <a:gd name="connsiteX7" fmla="*/ 17942 w 22826"/>
                  <a:gd name="connsiteY7" fmla="*/ 21786 h 112776"/>
                  <a:gd name="connsiteX8" fmla="*/ 5126 w 22826"/>
                  <a:gd name="connsiteY8" fmla="*/ 88427 h 112776"/>
                  <a:gd name="connsiteX9" fmla="*/ 3844 w 22826"/>
                  <a:gd name="connsiteY9" fmla="*/ 87145 h 112776"/>
                  <a:gd name="connsiteX10" fmla="*/ 2563 w 22826"/>
                  <a:gd name="connsiteY10" fmla="*/ 87145 h 112776"/>
                  <a:gd name="connsiteX11" fmla="*/ 0 w 22826"/>
                  <a:gd name="connsiteY11" fmla="*/ 103805 h 112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26" h="112776">
                    <a:moveTo>
                      <a:pt x="0" y="103805"/>
                    </a:moveTo>
                    <a:cubicBezTo>
                      <a:pt x="0" y="111494"/>
                      <a:pt x="1282" y="112776"/>
                      <a:pt x="2563" y="112776"/>
                    </a:cubicBezTo>
                    <a:cubicBezTo>
                      <a:pt x="5126" y="111494"/>
                      <a:pt x="6408" y="98679"/>
                      <a:pt x="5126" y="92271"/>
                    </a:cubicBezTo>
                    <a:cubicBezTo>
                      <a:pt x="8971" y="71767"/>
                      <a:pt x="14097" y="44854"/>
                      <a:pt x="17942" y="24349"/>
                    </a:cubicBezTo>
                    <a:cubicBezTo>
                      <a:pt x="17942" y="24349"/>
                      <a:pt x="17942" y="24349"/>
                      <a:pt x="19223" y="25631"/>
                    </a:cubicBezTo>
                    <a:cubicBezTo>
                      <a:pt x="23068" y="24349"/>
                      <a:pt x="24349" y="1282"/>
                      <a:pt x="20505" y="0"/>
                    </a:cubicBezTo>
                    <a:cubicBezTo>
                      <a:pt x="20505" y="0"/>
                      <a:pt x="20505" y="0"/>
                      <a:pt x="20505" y="0"/>
                    </a:cubicBezTo>
                    <a:cubicBezTo>
                      <a:pt x="17942" y="3845"/>
                      <a:pt x="16660" y="15379"/>
                      <a:pt x="17942" y="21786"/>
                    </a:cubicBezTo>
                    <a:cubicBezTo>
                      <a:pt x="14097" y="42291"/>
                      <a:pt x="8971" y="67922"/>
                      <a:pt x="5126" y="88427"/>
                    </a:cubicBezTo>
                    <a:cubicBezTo>
                      <a:pt x="5126" y="87145"/>
                      <a:pt x="5126" y="87145"/>
                      <a:pt x="3844" y="87145"/>
                    </a:cubicBezTo>
                    <a:cubicBezTo>
                      <a:pt x="3844" y="87145"/>
                      <a:pt x="3844" y="87145"/>
                      <a:pt x="2563" y="87145"/>
                    </a:cubicBezTo>
                    <a:cubicBezTo>
                      <a:pt x="0" y="90990"/>
                      <a:pt x="0" y="103805"/>
                      <a:pt x="0" y="10380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6" name="Freeform: Shape 379668">
                <a:extLst>
                  <a:ext uri="{FF2B5EF4-FFF2-40B4-BE49-F238E27FC236}">
                    <a16:creationId xmlns:a16="http://schemas.microsoft.com/office/drawing/2014/main" id="{98ECF142-6960-4618-88AF-38DF40D4609E}"/>
                  </a:ext>
                </a:extLst>
              </p:cNvPr>
              <p:cNvSpPr/>
              <p:nvPr/>
            </p:nvSpPr>
            <p:spPr>
              <a:xfrm>
                <a:off x="4331578" y="3348543"/>
                <a:ext cx="16707" cy="173008"/>
              </a:xfrm>
              <a:custGeom>
                <a:avLst/>
                <a:gdLst>
                  <a:gd name="connsiteX0" fmla="*/ 4853 w 16707"/>
                  <a:gd name="connsiteY0" fmla="*/ 17942 h 173008"/>
                  <a:gd name="connsiteX1" fmla="*/ 8698 w 16707"/>
                  <a:gd name="connsiteY1" fmla="*/ 25631 h 173008"/>
                  <a:gd name="connsiteX2" fmla="*/ 4853 w 16707"/>
                  <a:gd name="connsiteY2" fmla="*/ 147378 h 173008"/>
                  <a:gd name="connsiteX3" fmla="*/ 4853 w 16707"/>
                  <a:gd name="connsiteY3" fmla="*/ 173009 h 173008"/>
                  <a:gd name="connsiteX4" fmla="*/ 9979 w 16707"/>
                  <a:gd name="connsiteY4" fmla="*/ 147378 h 173008"/>
                  <a:gd name="connsiteX5" fmla="*/ 7416 w 16707"/>
                  <a:gd name="connsiteY5" fmla="*/ 146096 h 173008"/>
                  <a:gd name="connsiteX6" fmla="*/ 11261 w 16707"/>
                  <a:gd name="connsiteY6" fmla="*/ 24349 h 173008"/>
                  <a:gd name="connsiteX7" fmla="*/ 12542 w 16707"/>
                  <a:gd name="connsiteY7" fmla="*/ 0 h 173008"/>
                  <a:gd name="connsiteX8" fmla="*/ 11261 w 16707"/>
                  <a:gd name="connsiteY8" fmla="*/ 0 h 173008"/>
                  <a:gd name="connsiteX9" fmla="*/ 4853 w 16707"/>
                  <a:gd name="connsiteY9" fmla="*/ 17942 h 17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7" h="173008">
                    <a:moveTo>
                      <a:pt x="4853" y="17942"/>
                    </a:moveTo>
                    <a:cubicBezTo>
                      <a:pt x="4853" y="21786"/>
                      <a:pt x="6135" y="25631"/>
                      <a:pt x="8698" y="25631"/>
                    </a:cubicBezTo>
                    <a:cubicBezTo>
                      <a:pt x="6135" y="65359"/>
                      <a:pt x="4853" y="106368"/>
                      <a:pt x="4853" y="147378"/>
                    </a:cubicBezTo>
                    <a:cubicBezTo>
                      <a:pt x="-2836" y="155067"/>
                      <a:pt x="-273" y="173009"/>
                      <a:pt x="4853" y="173009"/>
                    </a:cubicBezTo>
                    <a:cubicBezTo>
                      <a:pt x="11261" y="173009"/>
                      <a:pt x="15105" y="152504"/>
                      <a:pt x="9979" y="147378"/>
                    </a:cubicBezTo>
                    <a:cubicBezTo>
                      <a:pt x="9979" y="147378"/>
                      <a:pt x="8698" y="146096"/>
                      <a:pt x="7416" y="146096"/>
                    </a:cubicBezTo>
                    <a:cubicBezTo>
                      <a:pt x="7416" y="105087"/>
                      <a:pt x="8698" y="65359"/>
                      <a:pt x="11261" y="24349"/>
                    </a:cubicBezTo>
                    <a:cubicBezTo>
                      <a:pt x="18950" y="16660"/>
                      <a:pt x="17669" y="0"/>
                      <a:pt x="12542" y="0"/>
                    </a:cubicBezTo>
                    <a:cubicBezTo>
                      <a:pt x="12542" y="0"/>
                      <a:pt x="11261" y="0"/>
                      <a:pt x="11261" y="0"/>
                    </a:cubicBezTo>
                    <a:cubicBezTo>
                      <a:pt x="6135" y="3845"/>
                      <a:pt x="4853" y="14097"/>
                      <a:pt x="4853"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7" name="Freeform: Shape 379669">
                <a:extLst>
                  <a:ext uri="{FF2B5EF4-FFF2-40B4-BE49-F238E27FC236}">
                    <a16:creationId xmlns:a16="http://schemas.microsoft.com/office/drawing/2014/main" id="{330A9C30-2752-4591-A614-ED4311EBF9D5}"/>
                  </a:ext>
                </a:extLst>
              </p:cNvPr>
              <p:cNvSpPr/>
              <p:nvPr/>
            </p:nvSpPr>
            <p:spPr>
              <a:xfrm>
                <a:off x="5820928" y="3058345"/>
                <a:ext cx="45215" cy="94948"/>
              </a:xfrm>
              <a:custGeom>
                <a:avLst/>
                <a:gdLst>
                  <a:gd name="connsiteX0" fmla="*/ 820 w 45215"/>
                  <a:gd name="connsiteY0" fmla="*/ 17230 h 94948"/>
                  <a:gd name="connsiteX1" fmla="*/ 13636 w 45215"/>
                  <a:gd name="connsiteY1" fmla="*/ 24919 h 94948"/>
                  <a:gd name="connsiteX2" fmla="*/ 25170 w 45215"/>
                  <a:gd name="connsiteY2" fmla="*/ 71055 h 94948"/>
                  <a:gd name="connsiteX3" fmla="*/ 26451 w 45215"/>
                  <a:gd name="connsiteY3" fmla="*/ 94122 h 94948"/>
                  <a:gd name="connsiteX4" fmla="*/ 44393 w 45215"/>
                  <a:gd name="connsiteY4" fmla="*/ 77462 h 94948"/>
                  <a:gd name="connsiteX5" fmla="*/ 31577 w 45215"/>
                  <a:gd name="connsiteY5" fmla="*/ 69773 h 94948"/>
                  <a:gd name="connsiteX6" fmla="*/ 20043 w 45215"/>
                  <a:gd name="connsiteY6" fmla="*/ 23637 h 94948"/>
                  <a:gd name="connsiteX7" fmla="*/ 18762 w 45215"/>
                  <a:gd name="connsiteY7" fmla="*/ 570 h 94948"/>
                  <a:gd name="connsiteX8" fmla="*/ 11072 w 45215"/>
                  <a:gd name="connsiteY8" fmla="*/ 570 h 94948"/>
                  <a:gd name="connsiteX9" fmla="*/ 820 w 45215"/>
                  <a:gd name="connsiteY9" fmla="*/ 17230 h 9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15" h="94948">
                    <a:moveTo>
                      <a:pt x="820" y="17230"/>
                    </a:moveTo>
                    <a:cubicBezTo>
                      <a:pt x="2102" y="19793"/>
                      <a:pt x="5947" y="23637"/>
                      <a:pt x="13636" y="24919"/>
                    </a:cubicBezTo>
                    <a:cubicBezTo>
                      <a:pt x="17481" y="40297"/>
                      <a:pt x="21325" y="55676"/>
                      <a:pt x="25170" y="71055"/>
                    </a:cubicBezTo>
                    <a:cubicBezTo>
                      <a:pt x="12354" y="78744"/>
                      <a:pt x="16199" y="91559"/>
                      <a:pt x="26451" y="94122"/>
                    </a:cubicBezTo>
                    <a:cubicBezTo>
                      <a:pt x="37985" y="97967"/>
                      <a:pt x="48237" y="87715"/>
                      <a:pt x="44393" y="77462"/>
                    </a:cubicBezTo>
                    <a:cubicBezTo>
                      <a:pt x="43111" y="74899"/>
                      <a:pt x="39267" y="71055"/>
                      <a:pt x="31577" y="69773"/>
                    </a:cubicBezTo>
                    <a:cubicBezTo>
                      <a:pt x="27733" y="54395"/>
                      <a:pt x="23888" y="39016"/>
                      <a:pt x="20043" y="23637"/>
                    </a:cubicBezTo>
                    <a:cubicBezTo>
                      <a:pt x="32859" y="17230"/>
                      <a:pt x="29015" y="4414"/>
                      <a:pt x="18762" y="570"/>
                    </a:cubicBezTo>
                    <a:cubicBezTo>
                      <a:pt x="16199" y="-712"/>
                      <a:pt x="13636" y="570"/>
                      <a:pt x="11072" y="570"/>
                    </a:cubicBezTo>
                    <a:cubicBezTo>
                      <a:pt x="-4306" y="4414"/>
                      <a:pt x="820" y="15948"/>
                      <a:pt x="820" y="1723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8" name="Freeform: Shape 379670">
                <a:extLst>
                  <a:ext uri="{FF2B5EF4-FFF2-40B4-BE49-F238E27FC236}">
                    <a16:creationId xmlns:a16="http://schemas.microsoft.com/office/drawing/2014/main" id="{E8CCADD0-98D7-4F34-B90C-67CDBC57270F}"/>
                  </a:ext>
                </a:extLst>
              </p:cNvPr>
              <p:cNvSpPr/>
              <p:nvPr/>
            </p:nvSpPr>
            <p:spPr>
              <a:xfrm>
                <a:off x="6061771" y="3004128"/>
                <a:ext cx="54807" cy="128660"/>
              </a:xfrm>
              <a:custGeom>
                <a:avLst/>
                <a:gdLst>
                  <a:gd name="connsiteX0" fmla="*/ 909 w 54807"/>
                  <a:gd name="connsiteY0" fmla="*/ 16340 h 128660"/>
                  <a:gd name="connsiteX1" fmla="*/ 13724 w 54807"/>
                  <a:gd name="connsiteY1" fmla="*/ 24029 h 128660"/>
                  <a:gd name="connsiteX2" fmla="*/ 35510 w 54807"/>
                  <a:gd name="connsiteY2" fmla="*/ 104766 h 128660"/>
                  <a:gd name="connsiteX3" fmla="*/ 36792 w 54807"/>
                  <a:gd name="connsiteY3" fmla="*/ 127834 h 128660"/>
                  <a:gd name="connsiteX4" fmla="*/ 53452 w 54807"/>
                  <a:gd name="connsiteY4" fmla="*/ 111174 h 128660"/>
                  <a:gd name="connsiteX5" fmla="*/ 40637 w 54807"/>
                  <a:gd name="connsiteY5" fmla="*/ 103485 h 128660"/>
                  <a:gd name="connsiteX6" fmla="*/ 18850 w 54807"/>
                  <a:gd name="connsiteY6" fmla="*/ 22747 h 128660"/>
                  <a:gd name="connsiteX7" fmla="*/ 17569 w 54807"/>
                  <a:gd name="connsiteY7" fmla="*/ 961 h 128660"/>
                  <a:gd name="connsiteX8" fmla="*/ 9880 w 54807"/>
                  <a:gd name="connsiteY8" fmla="*/ 961 h 128660"/>
                  <a:gd name="connsiteX9" fmla="*/ 909 w 54807"/>
                  <a:gd name="connsiteY9" fmla="*/ 16340 h 1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07" h="128660">
                    <a:moveTo>
                      <a:pt x="909" y="16340"/>
                    </a:moveTo>
                    <a:cubicBezTo>
                      <a:pt x="2190" y="18903"/>
                      <a:pt x="6035" y="22747"/>
                      <a:pt x="13724" y="24029"/>
                    </a:cubicBezTo>
                    <a:cubicBezTo>
                      <a:pt x="21414" y="50941"/>
                      <a:pt x="27821" y="77854"/>
                      <a:pt x="35510" y="104766"/>
                    </a:cubicBezTo>
                    <a:cubicBezTo>
                      <a:pt x="22695" y="111174"/>
                      <a:pt x="27821" y="123990"/>
                      <a:pt x="36792" y="127834"/>
                    </a:cubicBezTo>
                    <a:cubicBezTo>
                      <a:pt x="48326" y="131679"/>
                      <a:pt x="58578" y="121426"/>
                      <a:pt x="53452" y="111174"/>
                    </a:cubicBezTo>
                    <a:cubicBezTo>
                      <a:pt x="52171" y="108611"/>
                      <a:pt x="48326" y="104766"/>
                      <a:pt x="40637" y="103485"/>
                    </a:cubicBezTo>
                    <a:cubicBezTo>
                      <a:pt x="32948" y="76572"/>
                      <a:pt x="26539" y="49660"/>
                      <a:pt x="18850" y="22747"/>
                    </a:cubicBezTo>
                    <a:cubicBezTo>
                      <a:pt x="30384" y="16340"/>
                      <a:pt x="26539" y="3524"/>
                      <a:pt x="17569" y="961"/>
                    </a:cubicBezTo>
                    <a:cubicBezTo>
                      <a:pt x="15005" y="-320"/>
                      <a:pt x="12443" y="-320"/>
                      <a:pt x="9880" y="961"/>
                    </a:cubicBezTo>
                    <a:cubicBezTo>
                      <a:pt x="-4217" y="4806"/>
                      <a:pt x="909" y="16340"/>
                      <a:pt x="909" y="163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39" name="Freeform: Shape 379671">
                <a:extLst>
                  <a:ext uri="{FF2B5EF4-FFF2-40B4-BE49-F238E27FC236}">
                    <a16:creationId xmlns:a16="http://schemas.microsoft.com/office/drawing/2014/main" id="{BE2E4B22-75B1-4B58-999A-D56F1376AEAE}"/>
                  </a:ext>
                </a:extLst>
              </p:cNvPr>
              <p:cNvSpPr/>
              <p:nvPr/>
            </p:nvSpPr>
            <p:spPr>
              <a:xfrm>
                <a:off x="6653410" y="2783382"/>
                <a:ext cx="63400" cy="122191"/>
              </a:xfrm>
              <a:custGeom>
                <a:avLst/>
                <a:gdLst>
                  <a:gd name="connsiteX0" fmla="*/ 1345 w 63400"/>
                  <a:gd name="connsiteY0" fmla="*/ 14097 h 122191"/>
                  <a:gd name="connsiteX1" fmla="*/ 14161 w 63400"/>
                  <a:gd name="connsiteY1" fmla="*/ 21786 h 122191"/>
                  <a:gd name="connsiteX2" fmla="*/ 44918 w 63400"/>
                  <a:gd name="connsiteY2" fmla="*/ 98679 h 122191"/>
                  <a:gd name="connsiteX3" fmla="*/ 51326 w 63400"/>
                  <a:gd name="connsiteY3" fmla="*/ 121747 h 122191"/>
                  <a:gd name="connsiteX4" fmla="*/ 61578 w 63400"/>
                  <a:gd name="connsiteY4" fmla="*/ 106368 h 122191"/>
                  <a:gd name="connsiteX5" fmla="*/ 50044 w 63400"/>
                  <a:gd name="connsiteY5" fmla="*/ 98679 h 122191"/>
                  <a:gd name="connsiteX6" fmla="*/ 19287 w 63400"/>
                  <a:gd name="connsiteY6" fmla="*/ 21786 h 122191"/>
                  <a:gd name="connsiteX7" fmla="*/ 11597 w 63400"/>
                  <a:gd name="connsiteY7" fmla="*/ 0 h 122191"/>
                  <a:gd name="connsiteX8" fmla="*/ 6472 w 63400"/>
                  <a:gd name="connsiteY8" fmla="*/ 0 h 122191"/>
                  <a:gd name="connsiteX9" fmla="*/ 1345 w 63400"/>
                  <a:gd name="connsiteY9" fmla="*/ 14097 h 12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00" h="122191">
                    <a:moveTo>
                      <a:pt x="1345" y="14097"/>
                    </a:moveTo>
                    <a:cubicBezTo>
                      <a:pt x="2627" y="16660"/>
                      <a:pt x="6472" y="20505"/>
                      <a:pt x="14161" y="21786"/>
                    </a:cubicBezTo>
                    <a:cubicBezTo>
                      <a:pt x="24413" y="47417"/>
                      <a:pt x="34665" y="73048"/>
                      <a:pt x="44918" y="98679"/>
                    </a:cubicBezTo>
                    <a:cubicBezTo>
                      <a:pt x="34665" y="105087"/>
                      <a:pt x="42355" y="119184"/>
                      <a:pt x="51326" y="121747"/>
                    </a:cubicBezTo>
                    <a:cubicBezTo>
                      <a:pt x="60296" y="124310"/>
                      <a:pt x="66704" y="115339"/>
                      <a:pt x="61578" y="106368"/>
                    </a:cubicBezTo>
                    <a:cubicBezTo>
                      <a:pt x="60296" y="103805"/>
                      <a:pt x="56452" y="99961"/>
                      <a:pt x="50044" y="98679"/>
                    </a:cubicBezTo>
                    <a:cubicBezTo>
                      <a:pt x="39792" y="73048"/>
                      <a:pt x="29540" y="47417"/>
                      <a:pt x="19287" y="21786"/>
                    </a:cubicBezTo>
                    <a:cubicBezTo>
                      <a:pt x="29540" y="15379"/>
                      <a:pt x="21850" y="2563"/>
                      <a:pt x="11597" y="0"/>
                    </a:cubicBezTo>
                    <a:cubicBezTo>
                      <a:pt x="10316" y="0"/>
                      <a:pt x="7753" y="0"/>
                      <a:pt x="6472" y="0"/>
                    </a:cubicBezTo>
                    <a:cubicBezTo>
                      <a:pt x="-2499" y="2563"/>
                      <a:pt x="63" y="11534"/>
                      <a:pt x="1345"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0" name="Freeform: Shape 379672">
                <a:extLst>
                  <a:ext uri="{FF2B5EF4-FFF2-40B4-BE49-F238E27FC236}">
                    <a16:creationId xmlns:a16="http://schemas.microsoft.com/office/drawing/2014/main" id="{6CEBCC8B-E9E0-4366-A3DA-2D06762FD71B}"/>
                  </a:ext>
                </a:extLst>
              </p:cNvPr>
              <p:cNvSpPr/>
              <p:nvPr/>
            </p:nvSpPr>
            <p:spPr>
              <a:xfrm>
                <a:off x="4313747" y="3392116"/>
                <a:ext cx="15314" cy="173008"/>
              </a:xfrm>
              <a:custGeom>
                <a:avLst/>
                <a:gdLst>
                  <a:gd name="connsiteX0" fmla="*/ 2179 w 15314"/>
                  <a:gd name="connsiteY0" fmla="*/ 17942 h 173008"/>
                  <a:gd name="connsiteX1" fmla="*/ 6023 w 15314"/>
                  <a:gd name="connsiteY1" fmla="*/ 25631 h 173008"/>
                  <a:gd name="connsiteX2" fmla="*/ 4742 w 15314"/>
                  <a:gd name="connsiteY2" fmla="*/ 147378 h 173008"/>
                  <a:gd name="connsiteX3" fmla="*/ 6023 w 15314"/>
                  <a:gd name="connsiteY3" fmla="*/ 173009 h 173008"/>
                  <a:gd name="connsiteX4" fmla="*/ 9868 w 15314"/>
                  <a:gd name="connsiteY4" fmla="*/ 147378 h 173008"/>
                  <a:gd name="connsiteX5" fmla="*/ 8587 w 15314"/>
                  <a:gd name="connsiteY5" fmla="*/ 146096 h 173008"/>
                  <a:gd name="connsiteX6" fmla="*/ 9868 w 15314"/>
                  <a:gd name="connsiteY6" fmla="*/ 24349 h 173008"/>
                  <a:gd name="connsiteX7" fmla="*/ 11150 w 15314"/>
                  <a:gd name="connsiteY7" fmla="*/ 0 h 173008"/>
                  <a:gd name="connsiteX8" fmla="*/ 9868 w 15314"/>
                  <a:gd name="connsiteY8" fmla="*/ 0 h 173008"/>
                  <a:gd name="connsiteX9" fmla="*/ 2179 w 15314"/>
                  <a:gd name="connsiteY9" fmla="*/ 17942 h 17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14" h="173008">
                    <a:moveTo>
                      <a:pt x="2179" y="17942"/>
                    </a:moveTo>
                    <a:cubicBezTo>
                      <a:pt x="2179" y="21786"/>
                      <a:pt x="3461" y="25631"/>
                      <a:pt x="6023" y="25631"/>
                    </a:cubicBezTo>
                    <a:cubicBezTo>
                      <a:pt x="4742" y="66640"/>
                      <a:pt x="3461" y="106368"/>
                      <a:pt x="4742" y="147378"/>
                    </a:cubicBezTo>
                    <a:cubicBezTo>
                      <a:pt x="-2947" y="155067"/>
                      <a:pt x="-384" y="173009"/>
                      <a:pt x="6023" y="173009"/>
                    </a:cubicBezTo>
                    <a:cubicBezTo>
                      <a:pt x="12431" y="173009"/>
                      <a:pt x="16276" y="152504"/>
                      <a:pt x="9868" y="147378"/>
                    </a:cubicBezTo>
                    <a:cubicBezTo>
                      <a:pt x="9868" y="147378"/>
                      <a:pt x="8587" y="146096"/>
                      <a:pt x="8587" y="146096"/>
                    </a:cubicBezTo>
                    <a:cubicBezTo>
                      <a:pt x="7305" y="105087"/>
                      <a:pt x="8587" y="64077"/>
                      <a:pt x="9868" y="24349"/>
                    </a:cubicBezTo>
                    <a:cubicBezTo>
                      <a:pt x="17557" y="16660"/>
                      <a:pt x="16276" y="0"/>
                      <a:pt x="11150" y="0"/>
                    </a:cubicBezTo>
                    <a:cubicBezTo>
                      <a:pt x="11150" y="0"/>
                      <a:pt x="9868" y="0"/>
                      <a:pt x="9868" y="0"/>
                    </a:cubicBezTo>
                    <a:cubicBezTo>
                      <a:pt x="3461" y="5126"/>
                      <a:pt x="2179" y="15379"/>
                      <a:pt x="2179"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1" name="Freeform: Shape 379673">
                <a:extLst>
                  <a:ext uri="{FF2B5EF4-FFF2-40B4-BE49-F238E27FC236}">
                    <a16:creationId xmlns:a16="http://schemas.microsoft.com/office/drawing/2014/main" id="{CFF7C4F9-2619-4E50-B21F-BBD0A1842268}"/>
                  </a:ext>
                </a:extLst>
              </p:cNvPr>
              <p:cNvSpPr/>
              <p:nvPr/>
            </p:nvSpPr>
            <p:spPr>
              <a:xfrm>
                <a:off x="5664989" y="3130281"/>
                <a:ext cx="27041" cy="25236"/>
              </a:xfrm>
              <a:custGeom>
                <a:avLst/>
                <a:gdLst>
                  <a:gd name="connsiteX0" fmla="*/ 410 w 27041"/>
                  <a:gd name="connsiteY0" fmla="*/ 17060 h 25236"/>
                  <a:gd name="connsiteX1" fmla="*/ 26041 w 27041"/>
                  <a:gd name="connsiteY1" fmla="*/ 17060 h 25236"/>
                  <a:gd name="connsiteX2" fmla="*/ 10663 w 27041"/>
                  <a:gd name="connsiteY2" fmla="*/ 400 h 25236"/>
                  <a:gd name="connsiteX3" fmla="*/ 410 w 27041"/>
                  <a:gd name="connsiteY3" fmla="*/ 17060 h 25236"/>
                </a:gdLst>
                <a:ahLst/>
                <a:cxnLst>
                  <a:cxn ang="0">
                    <a:pos x="connsiteX0" y="connsiteY0"/>
                  </a:cxn>
                  <a:cxn ang="0">
                    <a:pos x="connsiteX1" y="connsiteY1"/>
                  </a:cxn>
                  <a:cxn ang="0">
                    <a:pos x="connsiteX2" y="connsiteY2"/>
                  </a:cxn>
                  <a:cxn ang="0">
                    <a:pos x="connsiteX3" y="connsiteY3"/>
                  </a:cxn>
                </a:cxnLst>
                <a:rect l="l" t="t" r="r" b="b"/>
                <a:pathLst>
                  <a:path w="27041" h="25236">
                    <a:moveTo>
                      <a:pt x="410" y="17060"/>
                    </a:moveTo>
                    <a:cubicBezTo>
                      <a:pt x="4255" y="28594"/>
                      <a:pt x="20915" y="27312"/>
                      <a:pt x="26041" y="17060"/>
                    </a:cubicBezTo>
                    <a:cubicBezTo>
                      <a:pt x="29886" y="8089"/>
                      <a:pt x="22197" y="-2163"/>
                      <a:pt x="10663" y="400"/>
                    </a:cubicBezTo>
                    <a:cubicBezTo>
                      <a:pt x="410" y="4245"/>
                      <a:pt x="-871" y="11934"/>
                      <a:pt x="410" y="170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2" name="Freeform: Shape 379674">
                <a:extLst>
                  <a:ext uri="{FF2B5EF4-FFF2-40B4-BE49-F238E27FC236}">
                    <a16:creationId xmlns:a16="http://schemas.microsoft.com/office/drawing/2014/main" id="{64228E7B-3097-4759-A816-0660747859E0}"/>
                  </a:ext>
                </a:extLst>
              </p:cNvPr>
              <p:cNvSpPr/>
              <p:nvPr/>
            </p:nvSpPr>
            <p:spPr>
              <a:xfrm>
                <a:off x="5842724" y="2808443"/>
                <a:ext cx="175175" cy="271802"/>
              </a:xfrm>
              <a:custGeom>
                <a:avLst/>
                <a:gdLst>
                  <a:gd name="connsiteX0" fmla="*/ 810 w 175175"/>
                  <a:gd name="connsiteY0" fmla="*/ 15948 h 271802"/>
                  <a:gd name="connsiteX1" fmla="*/ 12344 w 175175"/>
                  <a:gd name="connsiteY1" fmla="*/ 22356 h 271802"/>
                  <a:gd name="connsiteX2" fmla="*/ 35412 w 175175"/>
                  <a:gd name="connsiteY2" fmla="*/ 109501 h 271802"/>
                  <a:gd name="connsiteX3" fmla="*/ 131529 w 175175"/>
                  <a:gd name="connsiteY3" fmla="*/ 158200 h 271802"/>
                  <a:gd name="connsiteX4" fmla="*/ 155878 w 175175"/>
                  <a:gd name="connsiteY4" fmla="*/ 247908 h 271802"/>
                  <a:gd name="connsiteX5" fmla="*/ 157160 w 175175"/>
                  <a:gd name="connsiteY5" fmla="*/ 270976 h 271802"/>
                  <a:gd name="connsiteX6" fmla="*/ 173820 w 175175"/>
                  <a:gd name="connsiteY6" fmla="*/ 254316 h 271802"/>
                  <a:gd name="connsiteX7" fmla="*/ 161004 w 175175"/>
                  <a:gd name="connsiteY7" fmla="*/ 246626 h 271802"/>
                  <a:gd name="connsiteX8" fmla="*/ 136655 w 175175"/>
                  <a:gd name="connsiteY8" fmla="*/ 154355 h 271802"/>
                  <a:gd name="connsiteX9" fmla="*/ 40539 w 175175"/>
                  <a:gd name="connsiteY9" fmla="*/ 105656 h 271802"/>
                  <a:gd name="connsiteX10" fmla="*/ 18752 w 175175"/>
                  <a:gd name="connsiteY10" fmla="*/ 21074 h 271802"/>
                  <a:gd name="connsiteX11" fmla="*/ 17471 w 175175"/>
                  <a:gd name="connsiteY11" fmla="*/ 570 h 271802"/>
                  <a:gd name="connsiteX12" fmla="*/ 9781 w 175175"/>
                  <a:gd name="connsiteY12" fmla="*/ 570 h 271802"/>
                  <a:gd name="connsiteX13" fmla="*/ 810 w 175175"/>
                  <a:gd name="connsiteY13" fmla="*/ 15948 h 27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175" h="271802">
                    <a:moveTo>
                      <a:pt x="810" y="15948"/>
                    </a:moveTo>
                    <a:cubicBezTo>
                      <a:pt x="2092" y="18511"/>
                      <a:pt x="5937" y="22356"/>
                      <a:pt x="12344" y="22356"/>
                    </a:cubicBezTo>
                    <a:cubicBezTo>
                      <a:pt x="20034" y="50550"/>
                      <a:pt x="27723" y="80025"/>
                      <a:pt x="35412" y="109501"/>
                    </a:cubicBezTo>
                    <a:lnTo>
                      <a:pt x="131529" y="158200"/>
                    </a:lnTo>
                    <a:cubicBezTo>
                      <a:pt x="139218" y="187675"/>
                      <a:pt x="146907" y="217151"/>
                      <a:pt x="155878" y="247908"/>
                    </a:cubicBezTo>
                    <a:cubicBezTo>
                      <a:pt x="144344" y="254316"/>
                      <a:pt x="148189" y="267131"/>
                      <a:pt x="157160" y="270976"/>
                    </a:cubicBezTo>
                    <a:cubicBezTo>
                      <a:pt x="168694" y="274820"/>
                      <a:pt x="178946" y="264568"/>
                      <a:pt x="173820" y="254316"/>
                    </a:cubicBezTo>
                    <a:cubicBezTo>
                      <a:pt x="172538" y="251752"/>
                      <a:pt x="168694" y="247908"/>
                      <a:pt x="161004" y="246626"/>
                    </a:cubicBezTo>
                    <a:cubicBezTo>
                      <a:pt x="153315" y="215869"/>
                      <a:pt x="144344" y="185112"/>
                      <a:pt x="136655" y="154355"/>
                    </a:cubicBezTo>
                    <a:lnTo>
                      <a:pt x="40539" y="105656"/>
                    </a:lnTo>
                    <a:cubicBezTo>
                      <a:pt x="32849" y="76181"/>
                      <a:pt x="25160" y="47987"/>
                      <a:pt x="18752" y="21074"/>
                    </a:cubicBezTo>
                    <a:cubicBezTo>
                      <a:pt x="30286" y="14667"/>
                      <a:pt x="26442" y="3133"/>
                      <a:pt x="17471" y="570"/>
                    </a:cubicBezTo>
                    <a:cubicBezTo>
                      <a:pt x="14908" y="-712"/>
                      <a:pt x="12344" y="570"/>
                      <a:pt x="9781" y="570"/>
                    </a:cubicBezTo>
                    <a:cubicBezTo>
                      <a:pt x="-1753" y="3133"/>
                      <a:pt x="-471" y="13385"/>
                      <a:pt x="810" y="1594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3" name="Freeform: Shape 379675">
                <a:extLst>
                  <a:ext uri="{FF2B5EF4-FFF2-40B4-BE49-F238E27FC236}">
                    <a16:creationId xmlns:a16="http://schemas.microsoft.com/office/drawing/2014/main" id="{A6A60CB6-134E-42E6-9AB0-E8C296DB422E}"/>
                  </a:ext>
                </a:extLst>
              </p:cNvPr>
              <p:cNvSpPr/>
              <p:nvPr/>
            </p:nvSpPr>
            <p:spPr>
              <a:xfrm>
                <a:off x="6110469" y="3028477"/>
                <a:ext cx="45837" cy="95340"/>
              </a:xfrm>
              <a:custGeom>
                <a:avLst/>
                <a:gdLst>
                  <a:gd name="connsiteX0" fmla="*/ 909 w 45837"/>
                  <a:gd name="connsiteY0" fmla="*/ 17621 h 95340"/>
                  <a:gd name="connsiteX1" fmla="*/ 13724 w 45837"/>
                  <a:gd name="connsiteY1" fmla="*/ 25311 h 95340"/>
                  <a:gd name="connsiteX2" fmla="*/ 26540 w 45837"/>
                  <a:gd name="connsiteY2" fmla="*/ 71446 h 95340"/>
                  <a:gd name="connsiteX3" fmla="*/ 27822 w 45837"/>
                  <a:gd name="connsiteY3" fmla="*/ 94514 h 95340"/>
                  <a:gd name="connsiteX4" fmla="*/ 44481 w 45837"/>
                  <a:gd name="connsiteY4" fmla="*/ 77854 h 95340"/>
                  <a:gd name="connsiteX5" fmla="*/ 31666 w 45837"/>
                  <a:gd name="connsiteY5" fmla="*/ 70165 h 95340"/>
                  <a:gd name="connsiteX6" fmla="*/ 18850 w 45837"/>
                  <a:gd name="connsiteY6" fmla="*/ 24029 h 95340"/>
                  <a:gd name="connsiteX7" fmla="*/ 17569 w 45837"/>
                  <a:gd name="connsiteY7" fmla="*/ 961 h 95340"/>
                  <a:gd name="connsiteX8" fmla="*/ 9880 w 45837"/>
                  <a:gd name="connsiteY8" fmla="*/ 961 h 95340"/>
                  <a:gd name="connsiteX9" fmla="*/ 909 w 45837"/>
                  <a:gd name="connsiteY9" fmla="*/ 17621 h 95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37" h="95340">
                    <a:moveTo>
                      <a:pt x="909" y="17621"/>
                    </a:moveTo>
                    <a:cubicBezTo>
                      <a:pt x="2191" y="20184"/>
                      <a:pt x="6035" y="24029"/>
                      <a:pt x="13724" y="25311"/>
                    </a:cubicBezTo>
                    <a:cubicBezTo>
                      <a:pt x="17569" y="40689"/>
                      <a:pt x="22695" y="56068"/>
                      <a:pt x="26540" y="71446"/>
                    </a:cubicBezTo>
                    <a:cubicBezTo>
                      <a:pt x="15006" y="77854"/>
                      <a:pt x="18850" y="90669"/>
                      <a:pt x="27822" y="94514"/>
                    </a:cubicBezTo>
                    <a:cubicBezTo>
                      <a:pt x="39355" y="98359"/>
                      <a:pt x="49608" y="88106"/>
                      <a:pt x="44481" y="77854"/>
                    </a:cubicBezTo>
                    <a:cubicBezTo>
                      <a:pt x="43200" y="75291"/>
                      <a:pt x="39355" y="71446"/>
                      <a:pt x="31666" y="70165"/>
                    </a:cubicBezTo>
                    <a:cubicBezTo>
                      <a:pt x="27822" y="54786"/>
                      <a:pt x="22695" y="39408"/>
                      <a:pt x="18850" y="24029"/>
                    </a:cubicBezTo>
                    <a:cubicBezTo>
                      <a:pt x="30384" y="17621"/>
                      <a:pt x="26540" y="4806"/>
                      <a:pt x="17569" y="961"/>
                    </a:cubicBezTo>
                    <a:cubicBezTo>
                      <a:pt x="15006" y="-320"/>
                      <a:pt x="12443" y="-320"/>
                      <a:pt x="9880" y="961"/>
                    </a:cubicBezTo>
                    <a:cubicBezTo>
                      <a:pt x="-4217" y="6087"/>
                      <a:pt x="909" y="17621"/>
                      <a:pt x="909" y="1762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4" name="Freeform: Shape 379676">
                <a:extLst>
                  <a:ext uri="{FF2B5EF4-FFF2-40B4-BE49-F238E27FC236}">
                    <a16:creationId xmlns:a16="http://schemas.microsoft.com/office/drawing/2014/main" id="{4B36EF16-834F-498E-9EB2-E3774A5F6BD9}"/>
                  </a:ext>
                </a:extLst>
              </p:cNvPr>
              <p:cNvSpPr/>
              <p:nvPr/>
            </p:nvSpPr>
            <p:spPr>
              <a:xfrm>
                <a:off x="6381203" y="2974223"/>
                <a:ext cx="25931" cy="24049"/>
              </a:xfrm>
              <a:custGeom>
                <a:avLst/>
                <a:gdLst>
                  <a:gd name="connsiteX0" fmla="*/ 582 w 25931"/>
                  <a:gd name="connsiteY0" fmla="*/ 15488 h 24049"/>
                  <a:gd name="connsiteX1" fmla="*/ 24931 w 25931"/>
                  <a:gd name="connsiteY1" fmla="*/ 18051 h 24049"/>
                  <a:gd name="connsiteX2" fmla="*/ 9553 w 25931"/>
                  <a:gd name="connsiteY2" fmla="*/ 109 h 24049"/>
                  <a:gd name="connsiteX3" fmla="*/ 582 w 25931"/>
                  <a:gd name="connsiteY3" fmla="*/ 15488 h 24049"/>
                </a:gdLst>
                <a:ahLst/>
                <a:cxnLst>
                  <a:cxn ang="0">
                    <a:pos x="connsiteX0" y="connsiteY0"/>
                  </a:cxn>
                  <a:cxn ang="0">
                    <a:pos x="connsiteX1" y="connsiteY1"/>
                  </a:cxn>
                  <a:cxn ang="0">
                    <a:pos x="connsiteX2" y="connsiteY2"/>
                  </a:cxn>
                  <a:cxn ang="0">
                    <a:pos x="connsiteX3" y="connsiteY3"/>
                  </a:cxn>
                </a:cxnLst>
                <a:rect l="l" t="t" r="r" b="b"/>
                <a:pathLst>
                  <a:path w="25931" h="24049">
                    <a:moveTo>
                      <a:pt x="582" y="15488"/>
                    </a:moveTo>
                    <a:cubicBezTo>
                      <a:pt x="4426" y="25740"/>
                      <a:pt x="19805" y="27022"/>
                      <a:pt x="24931" y="18051"/>
                    </a:cubicBezTo>
                    <a:cubicBezTo>
                      <a:pt x="28776" y="9080"/>
                      <a:pt x="21087" y="-1172"/>
                      <a:pt x="9553" y="109"/>
                    </a:cubicBezTo>
                    <a:cubicBezTo>
                      <a:pt x="-699" y="2672"/>
                      <a:pt x="-699" y="10361"/>
                      <a:pt x="582" y="154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5" name="Freeform: Shape 379677">
                <a:extLst>
                  <a:ext uri="{FF2B5EF4-FFF2-40B4-BE49-F238E27FC236}">
                    <a16:creationId xmlns:a16="http://schemas.microsoft.com/office/drawing/2014/main" id="{276BE2B5-F7F2-471A-B56F-31BE9A6DCECB}"/>
                  </a:ext>
                </a:extLst>
              </p:cNvPr>
              <p:cNvSpPr/>
              <p:nvPr/>
            </p:nvSpPr>
            <p:spPr>
              <a:xfrm>
                <a:off x="6562484" y="2932041"/>
                <a:ext cx="63803" cy="178134"/>
              </a:xfrm>
              <a:custGeom>
                <a:avLst/>
                <a:gdLst>
                  <a:gd name="connsiteX0" fmla="*/ 14097 w 63803"/>
                  <a:gd name="connsiteY0" fmla="*/ 170446 h 178134"/>
                  <a:gd name="connsiteX1" fmla="*/ 37165 w 63803"/>
                  <a:gd name="connsiteY1" fmla="*/ 170446 h 178134"/>
                  <a:gd name="connsiteX2" fmla="*/ 24350 w 63803"/>
                  <a:gd name="connsiteY2" fmla="*/ 152504 h 178134"/>
                  <a:gd name="connsiteX3" fmla="*/ 6408 w 63803"/>
                  <a:gd name="connsiteY3" fmla="*/ 94834 h 178134"/>
                  <a:gd name="connsiteX4" fmla="*/ 48699 w 63803"/>
                  <a:gd name="connsiteY4" fmla="*/ 23068 h 178134"/>
                  <a:gd name="connsiteX5" fmla="*/ 62796 w 63803"/>
                  <a:gd name="connsiteY5" fmla="*/ 10252 h 178134"/>
                  <a:gd name="connsiteX6" fmla="*/ 47417 w 63803"/>
                  <a:gd name="connsiteY6" fmla="*/ 0 h 178134"/>
                  <a:gd name="connsiteX7" fmla="*/ 43573 w 63803"/>
                  <a:gd name="connsiteY7" fmla="*/ 19223 h 178134"/>
                  <a:gd name="connsiteX8" fmla="*/ 0 w 63803"/>
                  <a:gd name="connsiteY8" fmla="*/ 93553 h 178134"/>
                  <a:gd name="connsiteX9" fmla="*/ 19223 w 63803"/>
                  <a:gd name="connsiteY9" fmla="*/ 153786 h 178134"/>
                  <a:gd name="connsiteX10" fmla="*/ 14097 w 63803"/>
                  <a:gd name="connsiteY10" fmla="*/ 170446 h 17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803" h="178134">
                    <a:moveTo>
                      <a:pt x="14097" y="170446"/>
                    </a:moveTo>
                    <a:cubicBezTo>
                      <a:pt x="19223" y="180698"/>
                      <a:pt x="34602" y="180698"/>
                      <a:pt x="37165" y="170446"/>
                    </a:cubicBezTo>
                    <a:cubicBezTo>
                      <a:pt x="39728" y="164038"/>
                      <a:pt x="35883" y="153786"/>
                      <a:pt x="24350" y="152504"/>
                    </a:cubicBezTo>
                    <a:cubicBezTo>
                      <a:pt x="17942" y="133281"/>
                      <a:pt x="12816" y="114058"/>
                      <a:pt x="6408" y="94834"/>
                    </a:cubicBezTo>
                    <a:cubicBezTo>
                      <a:pt x="19223" y="73048"/>
                      <a:pt x="35883" y="44854"/>
                      <a:pt x="48699" y="23068"/>
                    </a:cubicBezTo>
                    <a:cubicBezTo>
                      <a:pt x="58951" y="26912"/>
                      <a:pt x="66641" y="19223"/>
                      <a:pt x="62796" y="10252"/>
                    </a:cubicBezTo>
                    <a:cubicBezTo>
                      <a:pt x="62796" y="8971"/>
                      <a:pt x="58951" y="0"/>
                      <a:pt x="47417" y="0"/>
                    </a:cubicBezTo>
                    <a:cubicBezTo>
                      <a:pt x="35883" y="2563"/>
                      <a:pt x="38446" y="14097"/>
                      <a:pt x="43573" y="19223"/>
                    </a:cubicBezTo>
                    <a:lnTo>
                      <a:pt x="0" y="93553"/>
                    </a:lnTo>
                    <a:cubicBezTo>
                      <a:pt x="6408" y="112776"/>
                      <a:pt x="12816" y="133281"/>
                      <a:pt x="19223" y="153786"/>
                    </a:cubicBezTo>
                    <a:cubicBezTo>
                      <a:pt x="8971" y="160193"/>
                      <a:pt x="12816" y="169164"/>
                      <a:pt x="14097" y="17044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546" name="Graphic 379285">
                <a:extLst>
                  <a:ext uri="{FF2B5EF4-FFF2-40B4-BE49-F238E27FC236}">
                    <a16:creationId xmlns:a16="http://schemas.microsoft.com/office/drawing/2014/main" id="{D973D960-FBCD-4D6F-9AA8-88935B4C1FE3}"/>
                  </a:ext>
                </a:extLst>
              </p:cNvPr>
              <p:cNvGrpSpPr/>
              <p:nvPr/>
            </p:nvGrpSpPr>
            <p:grpSpPr>
              <a:xfrm>
                <a:off x="7053265" y="2861556"/>
                <a:ext cx="89760" cy="436122"/>
                <a:chOff x="7053265" y="2861556"/>
                <a:chExt cx="89760" cy="436122"/>
              </a:xfrm>
              <a:grpFill/>
            </p:grpSpPr>
            <p:sp>
              <p:nvSpPr>
                <p:cNvPr id="983" name="Freeform: Shape 379679">
                  <a:extLst>
                    <a:ext uri="{FF2B5EF4-FFF2-40B4-BE49-F238E27FC236}">
                      <a16:creationId xmlns:a16="http://schemas.microsoft.com/office/drawing/2014/main" id="{F38A3071-98EC-4B3D-9651-0D765213B1BB}"/>
                    </a:ext>
                  </a:extLst>
                </p:cNvPr>
                <p:cNvSpPr/>
                <p:nvPr/>
              </p:nvSpPr>
              <p:spPr>
                <a:xfrm>
                  <a:off x="7107143" y="3133244"/>
                  <a:ext cx="25631" cy="64077"/>
                </a:xfrm>
                <a:custGeom>
                  <a:avLst/>
                  <a:gdLst>
                    <a:gd name="connsiteX0" fmla="*/ 7689 w 25631"/>
                    <a:gd name="connsiteY0" fmla="*/ 64077 h 64077"/>
                    <a:gd name="connsiteX1" fmla="*/ 0 w 25631"/>
                    <a:gd name="connsiteY1" fmla="*/ 34602 h 64077"/>
                    <a:gd name="connsiteX2" fmla="*/ 16660 w 25631"/>
                    <a:gd name="connsiteY2" fmla="*/ 0 h 64077"/>
                    <a:gd name="connsiteX3" fmla="*/ 25631 w 25631"/>
                    <a:gd name="connsiteY3" fmla="*/ 29475 h 64077"/>
                    <a:gd name="connsiteX4" fmla="*/ 7689 w 25631"/>
                    <a:gd name="connsiteY4" fmla="*/ 64077 h 64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31" h="64077">
                      <a:moveTo>
                        <a:pt x="7689" y="64077"/>
                      </a:moveTo>
                      <a:cubicBezTo>
                        <a:pt x="5126" y="53825"/>
                        <a:pt x="2563" y="44854"/>
                        <a:pt x="0" y="34602"/>
                      </a:cubicBezTo>
                      <a:lnTo>
                        <a:pt x="16660" y="0"/>
                      </a:lnTo>
                      <a:cubicBezTo>
                        <a:pt x="19223" y="10252"/>
                        <a:pt x="21787" y="19223"/>
                        <a:pt x="25631" y="29475"/>
                      </a:cubicBezTo>
                      <a:lnTo>
                        <a:pt x="7689" y="64077"/>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84" name="Freeform: Shape 379680">
                  <a:extLst>
                    <a:ext uri="{FF2B5EF4-FFF2-40B4-BE49-F238E27FC236}">
                      <a16:creationId xmlns:a16="http://schemas.microsoft.com/office/drawing/2014/main" id="{47347567-2DDC-4278-A40E-B45B1A63B3FC}"/>
                    </a:ext>
                  </a:extLst>
                </p:cNvPr>
                <p:cNvSpPr/>
                <p:nvPr/>
              </p:nvSpPr>
              <p:spPr>
                <a:xfrm>
                  <a:off x="7053265" y="2861556"/>
                  <a:ext cx="89760" cy="436122"/>
                </a:xfrm>
                <a:custGeom>
                  <a:avLst/>
                  <a:gdLst>
                    <a:gd name="connsiteX0" fmla="*/ 20557 w 89760"/>
                    <a:gd name="connsiteY0" fmla="*/ 351143 h 436122"/>
                    <a:gd name="connsiteX1" fmla="*/ 39780 w 89760"/>
                    <a:gd name="connsiteY1" fmla="*/ 354988 h 436122"/>
                    <a:gd name="connsiteX2" fmla="*/ 37217 w 89760"/>
                    <a:gd name="connsiteY2" fmla="*/ 338328 h 436122"/>
                    <a:gd name="connsiteX3" fmla="*/ 50033 w 89760"/>
                    <a:gd name="connsiteY3" fmla="*/ 311415 h 436122"/>
                    <a:gd name="connsiteX4" fmla="*/ 57722 w 89760"/>
                    <a:gd name="connsiteY4" fmla="*/ 340891 h 436122"/>
                    <a:gd name="connsiteX5" fmla="*/ 37217 w 89760"/>
                    <a:gd name="connsiteY5" fmla="*/ 383182 h 436122"/>
                    <a:gd name="connsiteX6" fmla="*/ 43625 w 89760"/>
                    <a:gd name="connsiteY6" fmla="*/ 410095 h 436122"/>
                    <a:gd name="connsiteX7" fmla="*/ 47469 w 89760"/>
                    <a:gd name="connsiteY7" fmla="*/ 435725 h 436122"/>
                    <a:gd name="connsiteX8" fmla="*/ 56440 w 89760"/>
                    <a:gd name="connsiteY8" fmla="*/ 416502 h 436122"/>
                    <a:gd name="connsiteX9" fmla="*/ 47469 w 89760"/>
                    <a:gd name="connsiteY9" fmla="*/ 408813 h 436122"/>
                    <a:gd name="connsiteX10" fmla="*/ 41062 w 89760"/>
                    <a:gd name="connsiteY10" fmla="*/ 384464 h 436122"/>
                    <a:gd name="connsiteX11" fmla="*/ 59003 w 89760"/>
                    <a:gd name="connsiteY11" fmla="*/ 348580 h 436122"/>
                    <a:gd name="connsiteX12" fmla="*/ 73101 w 89760"/>
                    <a:gd name="connsiteY12" fmla="*/ 404968 h 436122"/>
                    <a:gd name="connsiteX13" fmla="*/ 82071 w 89760"/>
                    <a:gd name="connsiteY13" fmla="*/ 430599 h 436122"/>
                    <a:gd name="connsiteX14" fmla="*/ 83353 w 89760"/>
                    <a:gd name="connsiteY14" fmla="*/ 406250 h 436122"/>
                    <a:gd name="connsiteX15" fmla="*/ 78227 w 89760"/>
                    <a:gd name="connsiteY15" fmla="*/ 403687 h 436122"/>
                    <a:gd name="connsiteX16" fmla="*/ 62848 w 89760"/>
                    <a:gd name="connsiteY16" fmla="*/ 342173 h 436122"/>
                    <a:gd name="connsiteX17" fmla="*/ 82071 w 89760"/>
                    <a:gd name="connsiteY17" fmla="*/ 301163 h 436122"/>
                    <a:gd name="connsiteX18" fmla="*/ 71819 w 89760"/>
                    <a:gd name="connsiteY18" fmla="*/ 263998 h 436122"/>
                    <a:gd name="connsiteX19" fmla="*/ 89760 w 89760"/>
                    <a:gd name="connsiteY19" fmla="*/ 222989 h 436122"/>
                    <a:gd name="connsiteX20" fmla="*/ 16712 w 89760"/>
                    <a:gd name="connsiteY20" fmla="*/ 23068 h 436122"/>
                    <a:gd name="connsiteX21" fmla="*/ 5178 w 89760"/>
                    <a:gd name="connsiteY21" fmla="*/ 0 h 436122"/>
                    <a:gd name="connsiteX22" fmla="*/ 11586 w 89760"/>
                    <a:gd name="connsiteY22" fmla="*/ 23068 h 436122"/>
                    <a:gd name="connsiteX23" fmla="*/ 12868 w 89760"/>
                    <a:gd name="connsiteY23" fmla="*/ 23068 h 436122"/>
                    <a:gd name="connsiteX24" fmla="*/ 85916 w 89760"/>
                    <a:gd name="connsiteY24" fmla="*/ 221707 h 436122"/>
                    <a:gd name="connsiteX25" fmla="*/ 70537 w 89760"/>
                    <a:gd name="connsiteY25" fmla="*/ 256309 h 436122"/>
                    <a:gd name="connsiteX26" fmla="*/ 29528 w 89760"/>
                    <a:gd name="connsiteY26" fmla="*/ 130718 h 436122"/>
                    <a:gd name="connsiteX27" fmla="*/ 17994 w 89760"/>
                    <a:gd name="connsiteY27" fmla="*/ 106368 h 436122"/>
                    <a:gd name="connsiteX28" fmla="*/ 19275 w 89760"/>
                    <a:gd name="connsiteY28" fmla="*/ 128155 h 436122"/>
                    <a:gd name="connsiteX29" fmla="*/ 24401 w 89760"/>
                    <a:gd name="connsiteY29" fmla="*/ 130718 h 436122"/>
                    <a:gd name="connsiteX30" fmla="*/ 67974 w 89760"/>
                    <a:gd name="connsiteY30" fmla="*/ 261435 h 436122"/>
                    <a:gd name="connsiteX31" fmla="*/ 51314 w 89760"/>
                    <a:gd name="connsiteY31" fmla="*/ 296037 h 436122"/>
                    <a:gd name="connsiteX32" fmla="*/ 23120 w 89760"/>
                    <a:gd name="connsiteY32" fmla="*/ 205047 h 436122"/>
                    <a:gd name="connsiteX33" fmla="*/ 16712 w 89760"/>
                    <a:gd name="connsiteY33" fmla="*/ 180698 h 436122"/>
                    <a:gd name="connsiteX34" fmla="*/ 9023 w 89760"/>
                    <a:gd name="connsiteY34" fmla="*/ 198639 h 436122"/>
                    <a:gd name="connsiteX35" fmla="*/ 19275 w 89760"/>
                    <a:gd name="connsiteY35" fmla="*/ 205047 h 436122"/>
                    <a:gd name="connsiteX36" fmla="*/ 48751 w 89760"/>
                    <a:gd name="connsiteY36" fmla="*/ 301163 h 436122"/>
                    <a:gd name="connsiteX37" fmla="*/ 33372 w 89760"/>
                    <a:gd name="connsiteY37" fmla="*/ 331920 h 436122"/>
                    <a:gd name="connsiteX38" fmla="*/ 20557 w 89760"/>
                    <a:gd name="connsiteY38" fmla="*/ 351143 h 43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89760" h="436122">
                      <a:moveTo>
                        <a:pt x="20557" y="351143"/>
                      </a:moveTo>
                      <a:cubicBezTo>
                        <a:pt x="24401" y="361396"/>
                        <a:pt x="34654" y="362677"/>
                        <a:pt x="39780" y="354988"/>
                      </a:cubicBezTo>
                      <a:cubicBezTo>
                        <a:pt x="39780" y="354988"/>
                        <a:pt x="43625" y="347299"/>
                        <a:pt x="37217" y="338328"/>
                      </a:cubicBezTo>
                      <a:lnTo>
                        <a:pt x="50033" y="311415"/>
                      </a:lnTo>
                      <a:cubicBezTo>
                        <a:pt x="52596" y="321668"/>
                        <a:pt x="55159" y="330639"/>
                        <a:pt x="57722" y="340891"/>
                      </a:cubicBezTo>
                      <a:lnTo>
                        <a:pt x="37217" y="383182"/>
                      </a:lnTo>
                      <a:cubicBezTo>
                        <a:pt x="39780" y="392153"/>
                        <a:pt x="41062" y="401124"/>
                        <a:pt x="43625" y="410095"/>
                      </a:cubicBezTo>
                      <a:cubicBezTo>
                        <a:pt x="32091" y="419065"/>
                        <a:pt x="42343" y="434444"/>
                        <a:pt x="47469" y="435725"/>
                      </a:cubicBezTo>
                      <a:cubicBezTo>
                        <a:pt x="56440" y="438289"/>
                        <a:pt x="62848" y="428036"/>
                        <a:pt x="56440" y="416502"/>
                      </a:cubicBezTo>
                      <a:cubicBezTo>
                        <a:pt x="53877" y="410095"/>
                        <a:pt x="48751" y="410095"/>
                        <a:pt x="47469" y="408813"/>
                      </a:cubicBezTo>
                      <a:cubicBezTo>
                        <a:pt x="46188" y="401124"/>
                        <a:pt x="43625" y="393434"/>
                        <a:pt x="41062" y="384464"/>
                      </a:cubicBezTo>
                      <a:lnTo>
                        <a:pt x="59003" y="348580"/>
                      </a:lnTo>
                      <a:cubicBezTo>
                        <a:pt x="64130" y="367804"/>
                        <a:pt x="67974" y="385745"/>
                        <a:pt x="73101" y="404968"/>
                      </a:cubicBezTo>
                      <a:cubicBezTo>
                        <a:pt x="60285" y="415221"/>
                        <a:pt x="73101" y="431881"/>
                        <a:pt x="82071" y="430599"/>
                      </a:cubicBezTo>
                      <a:cubicBezTo>
                        <a:pt x="91042" y="429318"/>
                        <a:pt x="92323" y="413939"/>
                        <a:pt x="83353" y="406250"/>
                      </a:cubicBezTo>
                      <a:cubicBezTo>
                        <a:pt x="82071" y="404968"/>
                        <a:pt x="79508" y="403687"/>
                        <a:pt x="78227" y="403687"/>
                      </a:cubicBezTo>
                      <a:cubicBezTo>
                        <a:pt x="73101" y="383182"/>
                        <a:pt x="67974" y="362677"/>
                        <a:pt x="62848" y="342173"/>
                      </a:cubicBezTo>
                      <a:lnTo>
                        <a:pt x="82071" y="301163"/>
                      </a:lnTo>
                      <a:cubicBezTo>
                        <a:pt x="78227" y="288348"/>
                        <a:pt x="74382" y="276814"/>
                        <a:pt x="71819" y="263998"/>
                      </a:cubicBezTo>
                      <a:lnTo>
                        <a:pt x="89760" y="222989"/>
                      </a:lnTo>
                      <a:cubicBezTo>
                        <a:pt x="67974" y="153785"/>
                        <a:pt x="43625" y="87145"/>
                        <a:pt x="16712" y="23068"/>
                      </a:cubicBezTo>
                      <a:cubicBezTo>
                        <a:pt x="24401" y="16660"/>
                        <a:pt x="17994" y="1281"/>
                        <a:pt x="5178" y="0"/>
                      </a:cubicBezTo>
                      <a:cubicBezTo>
                        <a:pt x="-6356" y="5126"/>
                        <a:pt x="3897" y="20505"/>
                        <a:pt x="11586" y="23068"/>
                      </a:cubicBezTo>
                      <a:cubicBezTo>
                        <a:pt x="11586" y="23068"/>
                        <a:pt x="12868" y="23068"/>
                        <a:pt x="12868" y="23068"/>
                      </a:cubicBezTo>
                      <a:cubicBezTo>
                        <a:pt x="39780" y="87145"/>
                        <a:pt x="64130" y="152504"/>
                        <a:pt x="85916" y="221707"/>
                      </a:cubicBezTo>
                      <a:lnTo>
                        <a:pt x="70537" y="256309"/>
                      </a:lnTo>
                      <a:cubicBezTo>
                        <a:pt x="57722" y="214018"/>
                        <a:pt x="43625" y="171727"/>
                        <a:pt x="29528" y="130718"/>
                      </a:cubicBezTo>
                      <a:cubicBezTo>
                        <a:pt x="41062" y="121747"/>
                        <a:pt x="25683" y="106368"/>
                        <a:pt x="17994" y="106368"/>
                      </a:cubicBezTo>
                      <a:cubicBezTo>
                        <a:pt x="9023" y="107650"/>
                        <a:pt x="10304" y="121747"/>
                        <a:pt x="19275" y="128155"/>
                      </a:cubicBezTo>
                      <a:cubicBezTo>
                        <a:pt x="20557" y="129436"/>
                        <a:pt x="23120" y="129436"/>
                        <a:pt x="24401" y="130718"/>
                      </a:cubicBezTo>
                      <a:cubicBezTo>
                        <a:pt x="39780" y="173009"/>
                        <a:pt x="53877" y="216581"/>
                        <a:pt x="67974" y="261435"/>
                      </a:cubicBezTo>
                      <a:lnTo>
                        <a:pt x="51314" y="296037"/>
                      </a:lnTo>
                      <a:cubicBezTo>
                        <a:pt x="42343" y="265280"/>
                        <a:pt x="33372" y="234523"/>
                        <a:pt x="23120" y="205047"/>
                      </a:cubicBezTo>
                      <a:cubicBezTo>
                        <a:pt x="34654" y="196076"/>
                        <a:pt x="21838" y="181979"/>
                        <a:pt x="16712" y="180698"/>
                      </a:cubicBezTo>
                      <a:cubicBezTo>
                        <a:pt x="7741" y="178135"/>
                        <a:pt x="2615" y="188387"/>
                        <a:pt x="9023" y="198639"/>
                      </a:cubicBezTo>
                      <a:cubicBezTo>
                        <a:pt x="12868" y="203766"/>
                        <a:pt x="16712" y="205047"/>
                        <a:pt x="19275" y="205047"/>
                      </a:cubicBezTo>
                      <a:cubicBezTo>
                        <a:pt x="29528" y="237086"/>
                        <a:pt x="39780" y="269124"/>
                        <a:pt x="48751" y="301163"/>
                      </a:cubicBezTo>
                      <a:cubicBezTo>
                        <a:pt x="43625" y="310134"/>
                        <a:pt x="38499" y="322949"/>
                        <a:pt x="33372" y="331920"/>
                      </a:cubicBezTo>
                      <a:cubicBezTo>
                        <a:pt x="21838" y="329357"/>
                        <a:pt x="16712" y="340891"/>
                        <a:pt x="20557" y="35114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547" name="Freeform: Shape 379681">
                <a:extLst>
                  <a:ext uri="{FF2B5EF4-FFF2-40B4-BE49-F238E27FC236}">
                    <a16:creationId xmlns:a16="http://schemas.microsoft.com/office/drawing/2014/main" id="{ADCC96DE-B813-4473-8902-73E3D916DC2F}"/>
                  </a:ext>
                </a:extLst>
              </p:cNvPr>
              <p:cNvSpPr/>
              <p:nvPr/>
            </p:nvSpPr>
            <p:spPr>
              <a:xfrm>
                <a:off x="7387939" y="2832081"/>
                <a:ext cx="16664" cy="24082"/>
              </a:xfrm>
              <a:custGeom>
                <a:avLst/>
                <a:gdLst>
                  <a:gd name="connsiteX0" fmla="*/ 2426 w 16664"/>
                  <a:gd name="connsiteY0" fmla="*/ 14097 h 24082"/>
                  <a:gd name="connsiteX1" fmla="*/ 16523 w 16664"/>
                  <a:gd name="connsiteY1" fmla="*/ 21786 h 24082"/>
                  <a:gd name="connsiteX2" fmla="*/ 2426 w 16664"/>
                  <a:gd name="connsiteY2" fmla="*/ 0 h 24082"/>
                  <a:gd name="connsiteX3" fmla="*/ 2426 w 16664"/>
                  <a:gd name="connsiteY3" fmla="*/ 14097 h 24082"/>
                </a:gdLst>
                <a:ahLst/>
                <a:cxnLst>
                  <a:cxn ang="0">
                    <a:pos x="connsiteX0" y="connsiteY0"/>
                  </a:cxn>
                  <a:cxn ang="0">
                    <a:pos x="connsiteX1" y="connsiteY1"/>
                  </a:cxn>
                  <a:cxn ang="0">
                    <a:pos x="connsiteX2" y="connsiteY2"/>
                  </a:cxn>
                  <a:cxn ang="0">
                    <a:pos x="connsiteX3" y="connsiteY3"/>
                  </a:cxn>
                </a:cxnLst>
                <a:rect l="l" t="t" r="r" b="b"/>
                <a:pathLst>
                  <a:path w="16664" h="24082">
                    <a:moveTo>
                      <a:pt x="2426" y="14097"/>
                    </a:moveTo>
                    <a:cubicBezTo>
                      <a:pt x="7553" y="23068"/>
                      <a:pt x="13960" y="26912"/>
                      <a:pt x="16523" y="21786"/>
                    </a:cubicBezTo>
                    <a:cubicBezTo>
                      <a:pt x="17805" y="15379"/>
                      <a:pt x="10116" y="1282"/>
                      <a:pt x="2426" y="0"/>
                    </a:cubicBezTo>
                    <a:cubicBezTo>
                      <a:pt x="-1418" y="1282"/>
                      <a:pt x="-136" y="8971"/>
                      <a:pt x="242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8" name="Freeform: Shape 379682">
                <a:extLst>
                  <a:ext uri="{FF2B5EF4-FFF2-40B4-BE49-F238E27FC236}">
                    <a16:creationId xmlns:a16="http://schemas.microsoft.com/office/drawing/2014/main" id="{3359B551-0EB4-4693-96C8-638F43DD017D}"/>
                  </a:ext>
                </a:extLst>
              </p:cNvPr>
              <p:cNvSpPr/>
              <p:nvPr/>
            </p:nvSpPr>
            <p:spPr>
              <a:xfrm>
                <a:off x="7445472" y="2653946"/>
                <a:ext cx="125702" cy="216581"/>
              </a:xfrm>
              <a:custGeom>
                <a:avLst/>
                <a:gdLst>
                  <a:gd name="connsiteX0" fmla="*/ 6408 w 125702"/>
                  <a:gd name="connsiteY0" fmla="*/ 12815 h 216581"/>
                  <a:gd name="connsiteX1" fmla="*/ 14097 w 125702"/>
                  <a:gd name="connsiteY1" fmla="*/ 21786 h 216581"/>
                  <a:gd name="connsiteX2" fmla="*/ 114058 w 125702"/>
                  <a:gd name="connsiteY2" fmla="*/ 193513 h 216581"/>
                  <a:gd name="connsiteX3" fmla="*/ 125592 w 125702"/>
                  <a:gd name="connsiteY3" fmla="*/ 216581 h 216581"/>
                  <a:gd name="connsiteX4" fmla="*/ 114058 w 125702"/>
                  <a:gd name="connsiteY4" fmla="*/ 193513 h 216581"/>
                  <a:gd name="connsiteX5" fmla="*/ 14097 w 125702"/>
                  <a:gd name="connsiteY5" fmla="*/ 21786 h 216581"/>
                  <a:gd name="connsiteX6" fmla="*/ 0 w 125702"/>
                  <a:gd name="connsiteY6" fmla="*/ 0 h 216581"/>
                  <a:gd name="connsiteX7" fmla="*/ 6408 w 125702"/>
                  <a:gd name="connsiteY7" fmla="*/ 12815 h 21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702" h="216581">
                    <a:moveTo>
                      <a:pt x="6408" y="12815"/>
                    </a:moveTo>
                    <a:cubicBezTo>
                      <a:pt x="8971" y="15379"/>
                      <a:pt x="11534" y="19223"/>
                      <a:pt x="14097" y="21786"/>
                    </a:cubicBezTo>
                    <a:cubicBezTo>
                      <a:pt x="49980" y="76893"/>
                      <a:pt x="83301" y="134562"/>
                      <a:pt x="114058" y="193513"/>
                    </a:cubicBezTo>
                    <a:cubicBezTo>
                      <a:pt x="114058" y="197358"/>
                      <a:pt x="121747" y="212737"/>
                      <a:pt x="125592" y="216581"/>
                    </a:cubicBezTo>
                    <a:cubicBezTo>
                      <a:pt x="126874" y="211455"/>
                      <a:pt x="116621" y="196076"/>
                      <a:pt x="114058" y="193513"/>
                    </a:cubicBezTo>
                    <a:cubicBezTo>
                      <a:pt x="83301" y="133281"/>
                      <a:pt x="49980" y="76893"/>
                      <a:pt x="14097" y="21786"/>
                    </a:cubicBezTo>
                    <a:cubicBezTo>
                      <a:pt x="11534" y="15379"/>
                      <a:pt x="2563" y="3845"/>
                      <a:pt x="0" y="0"/>
                    </a:cubicBezTo>
                    <a:cubicBezTo>
                      <a:pt x="1282" y="1281"/>
                      <a:pt x="1282" y="3845"/>
                      <a:pt x="6408"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49" name="Freeform: Shape 379683">
                <a:extLst>
                  <a:ext uri="{FF2B5EF4-FFF2-40B4-BE49-F238E27FC236}">
                    <a16:creationId xmlns:a16="http://schemas.microsoft.com/office/drawing/2014/main" id="{A1A8AADF-3D84-4D46-B98C-FAD0A34DEC17}"/>
                  </a:ext>
                </a:extLst>
              </p:cNvPr>
              <p:cNvSpPr/>
              <p:nvPr/>
            </p:nvSpPr>
            <p:spPr>
              <a:xfrm>
                <a:off x="5630487" y="3176416"/>
                <a:ext cx="27048" cy="25710"/>
              </a:xfrm>
              <a:custGeom>
                <a:avLst/>
                <a:gdLst>
                  <a:gd name="connsiteX0" fmla="*/ 309 w 27048"/>
                  <a:gd name="connsiteY0" fmla="*/ 17060 h 25710"/>
                  <a:gd name="connsiteX1" fmla="*/ 25940 w 27048"/>
                  <a:gd name="connsiteY1" fmla="*/ 17060 h 25710"/>
                  <a:gd name="connsiteX2" fmla="*/ 10562 w 27048"/>
                  <a:gd name="connsiteY2" fmla="*/ 400 h 25710"/>
                  <a:gd name="connsiteX3" fmla="*/ 309 w 27048"/>
                  <a:gd name="connsiteY3" fmla="*/ 17060 h 25710"/>
                </a:gdLst>
                <a:ahLst/>
                <a:cxnLst>
                  <a:cxn ang="0">
                    <a:pos x="connsiteX0" y="connsiteY0"/>
                  </a:cxn>
                  <a:cxn ang="0">
                    <a:pos x="connsiteX1" y="connsiteY1"/>
                  </a:cxn>
                  <a:cxn ang="0">
                    <a:pos x="connsiteX2" y="connsiteY2"/>
                  </a:cxn>
                  <a:cxn ang="0">
                    <a:pos x="connsiteX3" y="connsiteY3"/>
                  </a:cxn>
                </a:cxnLst>
                <a:rect l="l" t="t" r="r" b="b"/>
                <a:pathLst>
                  <a:path w="27048" h="25710">
                    <a:moveTo>
                      <a:pt x="309" y="17060"/>
                    </a:moveTo>
                    <a:cubicBezTo>
                      <a:pt x="4154" y="28594"/>
                      <a:pt x="20814" y="28594"/>
                      <a:pt x="25940" y="17060"/>
                    </a:cubicBezTo>
                    <a:cubicBezTo>
                      <a:pt x="29785" y="8089"/>
                      <a:pt x="23377" y="-2163"/>
                      <a:pt x="10562" y="400"/>
                    </a:cubicBezTo>
                    <a:cubicBezTo>
                      <a:pt x="1591" y="2963"/>
                      <a:pt x="-972" y="11934"/>
                      <a:pt x="309" y="170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0" name="Freeform: Shape 379684">
                <a:extLst>
                  <a:ext uri="{FF2B5EF4-FFF2-40B4-BE49-F238E27FC236}">
                    <a16:creationId xmlns:a16="http://schemas.microsoft.com/office/drawing/2014/main" id="{C464C766-D3F4-4C1E-BB3B-F652B02D8543}"/>
                  </a:ext>
                </a:extLst>
              </p:cNvPr>
              <p:cNvSpPr/>
              <p:nvPr/>
            </p:nvSpPr>
            <p:spPr>
              <a:xfrm>
                <a:off x="5672164" y="3166164"/>
                <a:ext cx="27555" cy="25710"/>
              </a:xfrm>
              <a:custGeom>
                <a:avLst/>
                <a:gdLst>
                  <a:gd name="connsiteX0" fmla="*/ 924 w 27555"/>
                  <a:gd name="connsiteY0" fmla="*/ 17060 h 25710"/>
                  <a:gd name="connsiteX1" fmla="*/ 26556 w 27555"/>
                  <a:gd name="connsiteY1" fmla="*/ 17060 h 25710"/>
                  <a:gd name="connsiteX2" fmla="*/ 11177 w 27555"/>
                  <a:gd name="connsiteY2" fmla="*/ 400 h 25710"/>
                  <a:gd name="connsiteX3" fmla="*/ 924 w 27555"/>
                  <a:gd name="connsiteY3" fmla="*/ 17060 h 25710"/>
                </a:gdLst>
                <a:ahLst/>
                <a:cxnLst>
                  <a:cxn ang="0">
                    <a:pos x="connsiteX0" y="connsiteY0"/>
                  </a:cxn>
                  <a:cxn ang="0">
                    <a:pos x="connsiteX1" y="connsiteY1"/>
                  </a:cxn>
                  <a:cxn ang="0">
                    <a:pos x="connsiteX2" y="connsiteY2"/>
                  </a:cxn>
                  <a:cxn ang="0">
                    <a:pos x="connsiteX3" y="connsiteY3"/>
                  </a:cxn>
                </a:cxnLst>
                <a:rect l="l" t="t" r="r" b="b"/>
                <a:pathLst>
                  <a:path w="27555" h="25710">
                    <a:moveTo>
                      <a:pt x="924" y="17060"/>
                    </a:moveTo>
                    <a:cubicBezTo>
                      <a:pt x="4769" y="28594"/>
                      <a:pt x="21429" y="28594"/>
                      <a:pt x="26556" y="17060"/>
                    </a:cubicBezTo>
                    <a:cubicBezTo>
                      <a:pt x="30400" y="8089"/>
                      <a:pt x="22711" y="-2163"/>
                      <a:pt x="11177" y="400"/>
                    </a:cubicBezTo>
                    <a:cubicBezTo>
                      <a:pt x="924" y="2963"/>
                      <a:pt x="-1639" y="11934"/>
                      <a:pt x="924" y="170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1" name="Freeform: Shape 379685">
                <a:extLst>
                  <a:ext uri="{FF2B5EF4-FFF2-40B4-BE49-F238E27FC236}">
                    <a16:creationId xmlns:a16="http://schemas.microsoft.com/office/drawing/2014/main" id="{6555B07E-F49E-42CC-B5F3-D95534EEABF4}"/>
                  </a:ext>
                </a:extLst>
              </p:cNvPr>
              <p:cNvSpPr/>
              <p:nvPr/>
            </p:nvSpPr>
            <p:spPr>
              <a:xfrm>
                <a:off x="6392183" y="3008825"/>
                <a:ext cx="26485" cy="24049"/>
              </a:xfrm>
              <a:custGeom>
                <a:avLst/>
                <a:gdLst>
                  <a:gd name="connsiteX0" fmla="*/ 1136 w 26485"/>
                  <a:gd name="connsiteY0" fmla="*/ 15488 h 24049"/>
                  <a:gd name="connsiteX1" fmla="*/ 25485 w 26485"/>
                  <a:gd name="connsiteY1" fmla="*/ 18051 h 24049"/>
                  <a:gd name="connsiteX2" fmla="*/ 10107 w 26485"/>
                  <a:gd name="connsiteY2" fmla="*/ 109 h 24049"/>
                  <a:gd name="connsiteX3" fmla="*/ 1136 w 26485"/>
                  <a:gd name="connsiteY3" fmla="*/ 15488 h 24049"/>
                </a:gdLst>
                <a:ahLst/>
                <a:cxnLst>
                  <a:cxn ang="0">
                    <a:pos x="connsiteX0" y="connsiteY0"/>
                  </a:cxn>
                  <a:cxn ang="0">
                    <a:pos x="connsiteX1" y="connsiteY1"/>
                  </a:cxn>
                  <a:cxn ang="0">
                    <a:pos x="connsiteX2" y="connsiteY2"/>
                  </a:cxn>
                  <a:cxn ang="0">
                    <a:pos x="connsiteX3" y="connsiteY3"/>
                  </a:cxn>
                </a:cxnLst>
                <a:rect l="l" t="t" r="r" b="b"/>
                <a:pathLst>
                  <a:path w="26485" h="24049">
                    <a:moveTo>
                      <a:pt x="1136" y="15488"/>
                    </a:moveTo>
                    <a:cubicBezTo>
                      <a:pt x="4981" y="25740"/>
                      <a:pt x="20360" y="27022"/>
                      <a:pt x="25485" y="18051"/>
                    </a:cubicBezTo>
                    <a:cubicBezTo>
                      <a:pt x="29330" y="9080"/>
                      <a:pt x="21641" y="-1172"/>
                      <a:pt x="10107" y="109"/>
                    </a:cubicBezTo>
                    <a:cubicBezTo>
                      <a:pt x="-145" y="2672"/>
                      <a:pt x="-1427" y="10361"/>
                      <a:pt x="1136" y="154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2" name="Freeform: Shape 379686">
                <a:extLst>
                  <a:ext uri="{FF2B5EF4-FFF2-40B4-BE49-F238E27FC236}">
                    <a16:creationId xmlns:a16="http://schemas.microsoft.com/office/drawing/2014/main" id="{84F81207-C70B-42D7-8BA3-C43CDDB40BED}"/>
                  </a:ext>
                </a:extLst>
              </p:cNvPr>
              <p:cNvSpPr/>
              <p:nvPr/>
            </p:nvSpPr>
            <p:spPr>
              <a:xfrm>
                <a:off x="6529163" y="2946138"/>
                <a:ext cx="36676" cy="59314"/>
              </a:xfrm>
              <a:custGeom>
                <a:avLst/>
                <a:gdLst>
                  <a:gd name="connsiteX0" fmla="*/ 1282 w 36676"/>
                  <a:gd name="connsiteY0" fmla="*/ 16660 h 59314"/>
                  <a:gd name="connsiteX1" fmla="*/ 14097 w 36676"/>
                  <a:gd name="connsiteY1" fmla="*/ 24349 h 59314"/>
                  <a:gd name="connsiteX2" fmla="*/ 17942 w 36676"/>
                  <a:gd name="connsiteY2" fmla="*/ 35883 h 59314"/>
                  <a:gd name="connsiteX3" fmla="*/ 23068 w 36676"/>
                  <a:gd name="connsiteY3" fmla="*/ 58951 h 59314"/>
                  <a:gd name="connsiteX4" fmla="*/ 33320 w 36676"/>
                  <a:gd name="connsiteY4" fmla="*/ 41009 h 59314"/>
                  <a:gd name="connsiteX5" fmla="*/ 21786 w 36676"/>
                  <a:gd name="connsiteY5" fmla="*/ 34602 h 59314"/>
                  <a:gd name="connsiteX6" fmla="*/ 17942 w 36676"/>
                  <a:gd name="connsiteY6" fmla="*/ 23068 h 59314"/>
                  <a:gd name="connsiteX7" fmla="*/ 11534 w 36676"/>
                  <a:gd name="connsiteY7" fmla="*/ 0 h 59314"/>
                  <a:gd name="connsiteX8" fmla="*/ 6408 w 36676"/>
                  <a:gd name="connsiteY8" fmla="*/ 0 h 59314"/>
                  <a:gd name="connsiteX9" fmla="*/ 1282 w 36676"/>
                  <a:gd name="connsiteY9" fmla="*/ 16660 h 5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676" h="59314">
                    <a:moveTo>
                      <a:pt x="1282" y="16660"/>
                    </a:moveTo>
                    <a:cubicBezTo>
                      <a:pt x="2563" y="19223"/>
                      <a:pt x="6408" y="23068"/>
                      <a:pt x="14097" y="24349"/>
                    </a:cubicBezTo>
                    <a:cubicBezTo>
                      <a:pt x="15379" y="28194"/>
                      <a:pt x="16660" y="32039"/>
                      <a:pt x="17942" y="35883"/>
                    </a:cubicBezTo>
                    <a:cubicBezTo>
                      <a:pt x="6408" y="42291"/>
                      <a:pt x="14097" y="56388"/>
                      <a:pt x="23068" y="58951"/>
                    </a:cubicBezTo>
                    <a:cubicBezTo>
                      <a:pt x="34602" y="61514"/>
                      <a:pt x="41010" y="49980"/>
                      <a:pt x="33320" y="41009"/>
                    </a:cubicBezTo>
                    <a:cubicBezTo>
                      <a:pt x="29476" y="35883"/>
                      <a:pt x="24350" y="35883"/>
                      <a:pt x="21786" y="34602"/>
                    </a:cubicBezTo>
                    <a:cubicBezTo>
                      <a:pt x="20505" y="30757"/>
                      <a:pt x="19223" y="26912"/>
                      <a:pt x="17942" y="23068"/>
                    </a:cubicBezTo>
                    <a:cubicBezTo>
                      <a:pt x="29476" y="16660"/>
                      <a:pt x="21786" y="2563"/>
                      <a:pt x="11534" y="0"/>
                    </a:cubicBezTo>
                    <a:cubicBezTo>
                      <a:pt x="10252" y="0"/>
                      <a:pt x="7689" y="0"/>
                      <a:pt x="6408" y="0"/>
                    </a:cubicBezTo>
                    <a:cubicBezTo>
                      <a:pt x="-3845" y="3845"/>
                      <a:pt x="1282" y="15379"/>
                      <a:pt x="128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3" name="Freeform: Shape 379687">
                <a:extLst>
                  <a:ext uri="{FF2B5EF4-FFF2-40B4-BE49-F238E27FC236}">
                    <a16:creationId xmlns:a16="http://schemas.microsoft.com/office/drawing/2014/main" id="{8100DA2B-5B03-4A7A-B123-8D64571C4BEE}"/>
                  </a:ext>
                </a:extLst>
              </p:cNvPr>
              <p:cNvSpPr/>
              <p:nvPr/>
            </p:nvSpPr>
            <p:spPr>
              <a:xfrm>
                <a:off x="6613252" y="2966643"/>
                <a:ext cx="48471" cy="93915"/>
              </a:xfrm>
              <a:custGeom>
                <a:avLst/>
                <a:gdLst>
                  <a:gd name="connsiteX0" fmla="*/ 1775 w 48471"/>
                  <a:gd name="connsiteY0" fmla="*/ 16660 h 93915"/>
                  <a:gd name="connsiteX1" fmla="*/ 14591 w 48471"/>
                  <a:gd name="connsiteY1" fmla="*/ 24349 h 93915"/>
                  <a:gd name="connsiteX2" fmla="*/ 29969 w 48471"/>
                  <a:gd name="connsiteY2" fmla="*/ 70485 h 93915"/>
                  <a:gd name="connsiteX3" fmla="*/ 35096 w 48471"/>
                  <a:gd name="connsiteY3" fmla="*/ 93553 h 93915"/>
                  <a:gd name="connsiteX4" fmla="*/ 45348 w 48471"/>
                  <a:gd name="connsiteY4" fmla="*/ 75611 h 93915"/>
                  <a:gd name="connsiteX5" fmla="*/ 33814 w 48471"/>
                  <a:gd name="connsiteY5" fmla="*/ 69203 h 93915"/>
                  <a:gd name="connsiteX6" fmla="*/ 18435 w 48471"/>
                  <a:gd name="connsiteY6" fmla="*/ 23068 h 93915"/>
                  <a:gd name="connsiteX7" fmla="*/ 12028 w 48471"/>
                  <a:gd name="connsiteY7" fmla="*/ 0 h 93915"/>
                  <a:gd name="connsiteX8" fmla="*/ 6901 w 48471"/>
                  <a:gd name="connsiteY8" fmla="*/ 0 h 93915"/>
                  <a:gd name="connsiteX9" fmla="*/ 1775 w 48471"/>
                  <a:gd name="connsiteY9" fmla="*/ 16660 h 9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71" h="93915">
                    <a:moveTo>
                      <a:pt x="1775" y="16660"/>
                    </a:moveTo>
                    <a:cubicBezTo>
                      <a:pt x="3057" y="19223"/>
                      <a:pt x="6901" y="24349"/>
                      <a:pt x="14591" y="24349"/>
                    </a:cubicBezTo>
                    <a:cubicBezTo>
                      <a:pt x="19717" y="39728"/>
                      <a:pt x="24843" y="55106"/>
                      <a:pt x="29969" y="70485"/>
                    </a:cubicBezTo>
                    <a:cubicBezTo>
                      <a:pt x="18435" y="76893"/>
                      <a:pt x="26125" y="92271"/>
                      <a:pt x="35096" y="93553"/>
                    </a:cubicBezTo>
                    <a:cubicBezTo>
                      <a:pt x="45348" y="96116"/>
                      <a:pt x="53037" y="84582"/>
                      <a:pt x="45348" y="75611"/>
                    </a:cubicBezTo>
                    <a:cubicBezTo>
                      <a:pt x="41503" y="70485"/>
                      <a:pt x="36377" y="69203"/>
                      <a:pt x="33814" y="69203"/>
                    </a:cubicBezTo>
                    <a:cubicBezTo>
                      <a:pt x="28687" y="53825"/>
                      <a:pt x="23562" y="38446"/>
                      <a:pt x="18435" y="23068"/>
                    </a:cubicBezTo>
                    <a:cubicBezTo>
                      <a:pt x="29969" y="16660"/>
                      <a:pt x="22280" y="2563"/>
                      <a:pt x="12028" y="0"/>
                    </a:cubicBezTo>
                    <a:cubicBezTo>
                      <a:pt x="10746" y="0"/>
                      <a:pt x="8183" y="0"/>
                      <a:pt x="6901" y="0"/>
                    </a:cubicBezTo>
                    <a:cubicBezTo>
                      <a:pt x="-4633" y="3845"/>
                      <a:pt x="1775" y="16660"/>
                      <a:pt x="177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4" name="Freeform: Shape 379688">
                <a:extLst>
                  <a:ext uri="{FF2B5EF4-FFF2-40B4-BE49-F238E27FC236}">
                    <a16:creationId xmlns:a16="http://schemas.microsoft.com/office/drawing/2014/main" id="{85468295-8E6C-4DBC-BB98-D1104638CE9B}"/>
                  </a:ext>
                </a:extLst>
              </p:cNvPr>
              <p:cNvSpPr/>
              <p:nvPr/>
            </p:nvSpPr>
            <p:spPr>
              <a:xfrm>
                <a:off x="6649136" y="2960235"/>
                <a:ext cx="46631" cy="93916"/>
              </a:xfrm>
              <a:custGeom>
                <a:avLst/>
                <a:gdLst>
                  <a:gd name="connsiteX0" fmla="*/ 1775 w 46631"/>
                  <a:gd name="connsiteY0" fmla="*/ 16660 h 93916"/>
                  <a:gd name="connsiteX1" fmla="*/ 13309 w 46631"/>
                  <a:gd name="connsiteY1" fmla="*/ 24349 h 93916"/>
                  <a:gd name="connsiteX2" fmla="*/ 28688 w 46631"/>
                  <a:gd name="connsiteY2" fmla="*/ 70485 h 93916"/>
                  <a:gd name="connsiteX3" fmla="*/ 33814 w 46631"/>
                  <a:gd name="connsiteY3" fmla="*/ 93553 h 93916"/>
                  <a:gd name="connsiteX4" fmla="*/ 44066 w 46631"/>
                  <a:gd name="connsiteY4" fmla="*/ 75611 h 93916"/>
                  <a:gd name="connsiteX5" fmla="*/ 33814 w 46631"/>
                  <a:gd name="connsiteY5" fmla="*/ 69203 h 93916"/>
                  <a:gd name="connsiteX6" fmla="*/ 18435 w 46631"/>
                  <a:gd name="connsiteY6" fmla="*/ 23068 h 93916"/>
                  <a:gd name="connsiteX7" fmla="*/ 12027 w 46631"/>
                  <a:gd name="connsiteY7" fmla="*/ 0 h 93916"/>
                  <a:gd name="connsiteX8" fmla="*/ 6901 w 46631"/>
                  <a:gd name="connsiteY8" fmla="*/ 0 h 93916"/>
                  <a:gd name="connsiteX9" fmla="*/ 1775 w 46631"/>
                  <a:gd name="connsiteY9" fmla="*/ 16660 h 9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631" h="93916">
                    <a:moveTo>
                      <a:pt x="1775" y="16660"/>
                    </a:moveTo>
                    <a:cubicBezTo>
                      <a:pt x="3057" y="19223"/>
                      <a:pt x="6901" y="24349"/>
                      <a:pt x="13309" y="24349"/>
                    </a:cubicBezTo>
                    <a:cubicBezTo>
                      <a:pt x="18435" y="39728"/>
                      <a:pt x="23561" y="55106"/>
                      <a:pt x="28688" y="70485"/>
                    </a:cubicBezTo>
                    <a:cubicBezTo>
                      <a:pt x="17154" y="76893"/>
                      <a:pt x="24843" y="92271"/>
                      <a:pt x="33814" y="93553"/>
                    </a:cubicBezTo>
                    <a:cubicBezTo>
                      <a:pt x="44066" y="96116"/>
                      <a:pt x="50474" y="84582"/>
                      <a:pt x="44066" y="75611"/>
                    </a:cubicBezTo>
                    <a:cubicBezTo>
                      <a:pt x="40222" y="70485"/>
                      <a:pt x="35095" y="69203"/>
                      <a:pt x="33814" y="69203"/>
                    </a:cubicBezTo>
                    <a:cubicBezTo>
                      <a:pt x="28688" y="53825"/>
                      <a:pt x="23561" y="38446"/>
                      <a:pt x="18435" y="23068"/>
                    </a:cubicBezTo>
                    <a:cubicBezTo>
                      <a:pt x="29969" y="16660"/>
                      <a:pt x="22280" y="2563"/>
                      <a:pt x="12027" y="0"/>
                    </a:cubicBezTo>
                    <a:cubicBezTo>
                      <a:pt x="10746" y="0"/>
                      <a:pt x="8183" y="0"/>
                      <a:pt x="6901" y="0"/>
                    </a:cubicBezTo>
                    <a:cubicBezTo>
                      <a:pt x="-4633" y="3845"/>
                      <a:pt x="1775" y="16660"/>
                      <a:pt x="177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5" name="Freeform: Shape 379689">
                <a:extLst>
                  <a:ext uri="{FF2B5EF4-FFF2-40B4-BE49-F238E27FC236}">
                    <a16:creationId xmlns:a16="http://schemas.microsoft.com/office/drawing/2014/main" id="{723908E2-99FD-44C9-A43A-93C487F3BD47}"/>
                  </a:ext>
                </a:extLst>
              </p:cNvPr>
              <p:cNvSpPr/>
              <p:nvPr/>
            </p:nvSpPr>
            <p:spPr>
              <a:xfrm>
                <a:off x="6589427" y="2899893"/>
                <a:ext cx="119011" cy="79139"/>
              </a:xfrm>
              <a:custGeom>
                <a:avLst/>
                <a:gdLst>
                  <a:gd name="connsiteX0" fmla="*/ 1251 w 119011"/>
                  <a:gd name="connsiteY0" fmla="*/ 15488 h 79139"/>
                  <a:gd name="connsiteX1" fmla="*/ 21756 w 119011"/>
                  <a:gd name="connsiteY1" fmla="*/ 19333 h 79139"/>
                  <a:gd name="connsiteX2" fmla="*/ 94804 w 119011"/>
                  <a:gd name="connsiteY2" fmla="*/ 62905 h 79139"/>
                  <a:gd name="connsiteX3" fmla="*/ 115309 w 119011"/>
                  <a:gd name="connsiteY3" fmla="*/ 77002 h 79139"/>
                  <a:gd name="connsiteX4" fmla="*/ 107620 w 119011"/>
                  <a:gd name="connsiteY4" fmla="*/ 55216 h 79139"/>
                  <a:gd name="connsiteX5" fmla="*/ 97368 w 119011"/>
                  <a:gd name="connsiteY5" fmla="*/ 57779 h 79139"/>
                  <a:gd name="connsiteX6" fmla="*/ 24319 w 119011"/>
                  <a:gd name="connsiteY6" fmla="*/ 15488 h 79139"/>
                  <a:gd name="connsiteX7" fmla="*/ 7659 w 119011"/>
                  <a:gd name="connsiteY7" fmla="*/ 110 h 79139"/>
                  <a:gd name="connsiteX8" fmla="*/ 1251 w 119011"/>
                  <a:gd name="connsiteY8" fmla="*/ 15488 h 79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011" h="79139">
                    <a:moveTo>
                      <a:pt x="1251" y="15488"/>
                    </a:moveTo>
                    <a:cubicBezTo>
                      <a:pt x="5096" y="23177"/>
                      <a:pt x="15348" y="25741"/>
                      <a:pt x="21756" y="19333"/>
                    </a:cubicBezTo>
                    <a:cubicBezTo>
                      <a:pt x="43542" y="32148"/>
                      <a:pt x="73018" y="48808"/>
                      <a:pt x="94804" y="62905"/>
                    </a:cubicBezTo>
                    <a:cubicBezTo>
                      <a:pt x="92241" y="74439"/>
                      <a:pt x="107620" y="83410"/>
                      <a:pt x="115309" y="77002"/>
                    </a:cubicBezTo>
                    <a:cubicBezTo>
                      <a:pt x="122999" y="70595"/>
                      <a:pt x="117872" y="57779"/>
                      <a:pt x="107620" y="55216"/>
                    </a:cubicBezTo>
                    <a:cubicBezTo>
                      <a:pt x="105057" y="53934"/>
                      <a:pt x="101212" y="53934"/>
                      <a:pt x="97368" y="57779"/>
                    </a:cubicBezTo>
                    <a:cubicBezTo>
                      <a:pt x="75581" y="44964"/>
                      <a:pt x="46105" y="28304"/>
                      <a:pt x="24319" y="15488"/>
                    </a:cubicBezTo>
                    <a:cubicBezTo>
                      <a:pt x="25601" y="9080"/>
                      <a:pt x="19193" y="-1172"/>
                      <a:pt x="7659" y="110"/>
                    </a:cubicBezTo>
                    <a:cubicBezTo>
                      <a:pt x="-2593" y="2673"/>
                      <a:pt x="-31" y="11644"/>
                      <a:pt x="1251" y="154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6" name="Freeform: Shape 379690">
                <a:extLst>
                  <a:ext uri="{FF2B5EF4-FFF2-40B4-BE49-F238E27FC236}">
                    <a16:creationId xmlns:a16="http://schemas.microsoft.com/office/drawing/2014/main" id="{485B57C8-0B40-428C-ACAD-CF670F39619A}"/>
                  </a:ext>
                </a:extLst>
              </p:cNvPr>
              <p:cNvSpPr/>
              <p:nvPr/>
            </p:nvSpPr>
            <p:spPr>
              <a:xfrm>
                <a:off x="7403317" y="2866682"/>
                <a:ext cx="15383" cy="23822"/>
              </a:xfrm>
              <a:custGeom>
                <a:avLst/>
                <a:gdLst>
                  <a:gd name="connsiteX0" fmla="*/ 2427 w 15383"/>
                  <a:gd name="connsiteY0" fmla="*/ 12815 h 23822"/>
                  <a:gd name="connsiteX1" fmla="*/ 15242 w 15383"/>
                  <a:gd name="connsiteY1" fmla="*/ 21786 h 23822"/>
                  <a:gd name="connsiteX2" fmla="*/ 2427 w 15383"/>
                  <a:gd name="connsiteY2" fmla="*/ 0 h 23822"/>
                  <a:gd name="connsiteX3" fmla="*/ 2427 w 15383"/>
                  <a:gd name="connsiteY3" fmla="*/ 12815 h 23822"/>
                </a:gdLst>
                <a:ahLst/>
                <a:cxnLst>
                  <a:cxn ang="0">
                    <a:pos x="connsiteX0" y="connsiteY0"/>
                  </a:cxn>
                  <a:cxn ang="0">
                    <a:pos x="connsiteX1" y="connsiteY1"/>
                  </a:cxn>
                  <a:cxn ang="0">
                    <a:pos x="connsiteX2" y="connsiteY2"/>
                  </a:cxn>
                  <a:cxn ang="0">
                    <a:pos x="connsiteX3" y="connsiteY3"/>
                  </a:cxn>
                </a:cxnLst>
                <a:rect l="l" t="t" r="r" b="b"/>
                <a:pathLst>
                  <a:path w="15383" h="23822">
                    <a:moveTo>
                      <a:pt x="2427" y="12815"/>
                    </a:moveTo>
                    <a:cubicBezTo>
                      <a:pt x="6271" y="21786"/>
                      <a:pt x="13961" y="26912"/>
                      <a:pt x="15242" y="21786"/>
                    </a:cubicBezTo>
                    <a:cubicBezTo>
                      <a:pt x="16524" y="15379"/>
                      <a:pt x="8834" y="1281"/>
                      <a:pt x="2427" y="0"/>
                    </a:cubicBezTo>
                    <a:cubicBezTo>
                      <a:pt x="-1418" y="0"/>
                      <a:pt x="-137" y="7689"/>
                      <a:pt x="2427"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7" name="Freeform: Shape 379691">
                <a:extLst>
                  <a:ext uri="{FF2B5EF4-FFF2-40B4-BE49-F238E27FC236}">
                    <a16:creationId xmlns:a16="http://schemas.microsoft.com/office/drawing/2014/main" id="{4D8CAB89-6129-410C-BE8E-EB0F55BB87D9}"/>
                  </a:ext>
                </a:extLst>
              </p:cNvPr>
              <p:cNvSpPr/>
              <p:nvPr/>
            </p:nvSpPr>
            <p:spPr>
              <a:xfrm>
                <a:off x="7502080" y="2869245"/>
                <a:ext cx="84120" cy="199921"/>
              </a:xfrm>
              <a:custGeom>
                <a:avLst/>
                <a:gdLst>
                  <a:gd name="connsiteX0" fmla="*/ 3625 w 84120"/>
                  <a:gd name="connsiteY0" fmla="*/ 12816 h 199921"/>
                  <a:gd name="connsiteX1" fmla="*/ 11314 w 84120"/>
                  <a:gd name="connsiteY1" fmla="*/ 23068 h 199921"/>
                  <a:gd name="connsiteX2" fmla="*/ 72829 w 84120"/>
                  <a:gd name="connsiteY2" fmla="*/ 175572 h 199921"/>
                  <a:gd name="connsiteX3" fmla="*/ 83081 w 84120"/>
                  <a:gd name="connsiteY3" fmla="*/ 199921 h 199921"/>
                  <a:gd name="connsiteX4" fmla="*/ 74110 w 84120"/>
                  <a:gd name="connsiteY4" fmla="*/ 175572 h 199921"/>
                  <a:gd name="connsiteX5" fmla="*/ 12596 w 84120"/>
                  <a:gd name="connsiteY5" fmla="*/ 23068 h 199921"/>
                  <a:gd name="connsiteX6" fmla="*/ 1062 w 84120"/>
                  <a:gd name="connsiteY6" fmla="*/ 0 h 199921"/>
                  <a:gd name="connsiteX7" fmla="*/ 3625 w 84120"/>
                  <a:gd name="connsiteY7" fmla="*/ 12816 h 199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120" h="199921">
                    <a:moveTo>
                      <a:pt x="3625" y="12816"/>
                    </a:moveTo>
                    <a:cubicBezTo>
                      <a:pt x="4906" y="16660"/>
                      <a:pt x="7469" y="20505"/>
                      <a:pt x="11314" y="23068"/>
                    </a:cubicBezTo>
                    <a:cubicBezTo>
                      <a:pt x="34382" y="73048"/>
                      <a:pt x="54887" y="123028"/>
                      <a:pt x="72829" y="175572"/>
                    </a:cubicBezTo>
                    <a:cubicBezTo>
                      <a:pt x="70266" y="180698"/>
                      <a:pt x="76673" y="199921"/>
                      <a:pt x="83081" y="199921"/>
                    </a:cubicBezTo>
                    <a:cubicBezTo>
                      <a:pt x="86926" y="193513"/>
                      <a:pt x="79236" y="179416"/>
                      <a:pt x="74110" y="175572"/>
                    </a:cubicBezTo>
                    <a:cubicBezTo>
                      <a:pt x="56168" y="123028"/>
                      <a:pt x="35664" y="73048"/>
                      <a:pt x="12596" y="23068"/>
                    </a:cubicBezTo>
                    <a:cubicBezTo>
                      <a:pt x="15159" y="16660"/>
                      <a:pt x="6188" y="1282"/>
                      <a:pt x="1062" y="0"/>
                    </a:cubicBezTo>
                    <a:cubicBezTo>
                      <a:pt x="-1501" y="1282"/>
                      <a:pt x="1062" y="7689"/>
                      <a:pt x="3625"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8" name="Freeform: Shape 379692">
                <a:extLst>
                  <a:ext uri="{FF2B5EF4-FFF2-40B4-BE49-F238E27FC236}">
                    <a16:creationId xmlns:a16="http://schemas.microsoft.com/office/drawing/2014/main" id="{602259B7-32AA-4C69-A4A2-EFD44101A9AF}"/>
                  </a:ext>
                </a:extLst>
              </p:cNvPr>
              <p:cNvSpPr/>
              <p:nvPr/>
            </p:nvSpPr>
            <p:spPr>
              <a:xfrm>
                <a:off x="7540307" y="2873090"/>
                <a:ext cx="83884" cy="199921"/>
              </a:xfrm>
              <a:custGeom>
                <a:avLst/>
                <a:gdLst>
                  <a:gd name="connsiteX0" fmla="*/ 3844 w 83884"/>
                  <a:gd name="connsiteY0" fmla="*/ 12815 h 199921"/>
                  <a:gd name="connsiteX1" fmla="*/ 11534 w 83884"/>
                  <a:gd name="connsiteY1" fmla="*/ 23068 h 199921"/>
                  <a:gd name="connsiteX2" fmla="*/ 73048 w 83884"/>
                  <a:gd name="connsiteY2" fmla="*/ 175572 h 199921"/>
                  <a:gd name="connsiteX3" fmla="*/ 83300 w 83884"/>
                  <a:gd name="connsiteY3" fmla="*/ 199921 h 199921"/>
                  <a:gd name="connsiteX4" fmla="*/ 74330 w 83884"/>
                  <a:gd name="connsiteY4" fmla="*/ 175572 h 199921"/>
                  <a:gd name="connsiteX5" fmla="*/ 12815 w 83884"/>
                  <a:gd name="connsiteY5" fmla="*/ 23068 h 199921"/>
                  <a:gd name="connsiteX6" fmla="*/ 1281 w 83884"/>
                  <a:gd name="connsiteY6" fmla="*/ 0 h 199921"/>
                  <a:gd name="connsiteX7" fmla="*/ 0 w 83884"/>
                  <a:gd name="connsiteY7" fmla="*/ 1281 h 199921"/>
                  <a:gd name="connsiteX8" fmla="*/ 3844 w 83884"/>
                  <a:gd name="connsiteY8" fmla="*/ 12815 h 199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884" h="199921">
                    <a:moveTo>
                      <a:pt x="3844" y="12815"/>
                    </a:moveTo>
                    <a:cubicBezTo>
                      <a:pt x="5126" y="16660"/>
                      <a:pt x="7689" y="20505"/>
                      <a:pt x="11534" y="23068"/>
                    </a:cubicBezTo>
                    <a:cubicBezTo>
                      <a:pt x="34602" y="73048"/>
                      <a:pt x="55107" y="123028"/>
                      <a:pt x="73048" y="175572"/>
                    </a:cubicBezTo>
                    <a:cubicBezTo>
                      <a:pt x="70485" y="180698"/>
                      <a:pt x="78175" y="199921"/>
                      <a:pt x="83300" y="199921"/>
                    </a:cubicBezTo>
                    <a:cubicBezTo>
                      <a:pt x="85864" y="193513"/>
                      <a:pt x="79456" y="179416"/>
                      <a:pt x="74330" y="175572"/>
                    </a:cubicBezTo>
                    <a:cubicBezTo>
                      <a:pt x="56388" y="123028"/>
                      <a:pt x="34602" y="73048"/>
                      <a:pt x="12815" y="23068"/>
                    </a:cubicBezTo>
                    <a:cubicBezTo>
                      <a:pt x="14097" y="17942"/>
                      <a:pt x="5126" y="1281"/>
                      <a:pt x="1281" y="0"/>
                    </a:cubicBezTo>
                    <a:cubicBezTo>
                      <a:pt x="1281" y="0"/>
                      <a:pt x="0" y="0"/>
                      <a:pt x="0" y="1281"/>
                    </a:cubicBezTo>
                    <a:cubicBezTo>
                      <a:pt x="0" y="1281"/>
                      <a:pt x="0" y="5126"/>
                      <a:pt x="3844"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59" name="Freeform: Shape 379693">
                <a:extLst>
                  <a:ext uri="{FF2B5EF4-FFF2-40B4-BE49-F238E27FC236}">
                    <a16:creationId xmlns:a16="http://schemas.microsoft.com/office/drawing/2014/main" id="{A793327B-7E6C-4C28-B1D6-C1EA97C51C12}"/>
                  </a:ext>
                </a:extLst>
              </p:cNvPr>
              <p:cNvSpPr/>
              <p:nvPr/>
            </p:nvSpPr>
            <p:spPr>
              <a:xfrm>
                <a:off x="4145480" y="3706095"/>
                <a:ext cx="10010" cy="102523"/>
              </a:xfrm>
              <a:custGeom>
                <a:avLst/>
                <a:gdLst>
                  <a:gd name="connsiteX0" fmla="*/ 0 w 10010"/>
                  <a:gd name="connsiteY0" fmla="*/ 17942 h 102523"/>
                  <a:gd name="connsiteX1" fmla="*/ 2563 w 10010"/>
                  <a:gd name="connsiteY1" fmla="*/ 26912 h 102523"/>
                  <a:gd name="connsiteX2" fmla="*/ 5126 w 10010"/>
                  <a:gd name="connsiteY2" fmla="*/ 76893 h 102523"/>
                  <a:gd name="connsiteX3" fmla="*/ 7689 w 10010"/>
                  <a:gd name="connsiteY3" fmla="*/ 102524 h 102523"/>
                  <a:gd name="connsiteX4" fmla="*/ 6408 w 10010"/>
                  <a:gd name="connsiteY4" fmla="*/ 75611 h 102523"/>
                  <a:gd name="connsiteX5" fmla="*/ 3844 w 10010"/>
                  <a:gd name="connsiteY5" fmla="*/ 25631 h 102523"/>
                  <a:gd name="connsiteX6" fmla="*/ 2563 w 10010"/>
                  <a:gd name="connsiteY6" fmla="*/ 0 h 102523"/>
                  <a:gd name="connsiteX7" fmla="*/ 2563 w 10010"/>
                  <a:gd name="connsiteY7" fmla="*/ 0 h 102523"/>
                  <a:gd name="connsiteX8" fmla="*/ 0 w 10010"/>
                  <a:gd name="connsiteY8" fmla="*/ 17942 h 10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10" h="102523">
                    <a:moveTo>
                      <a:pt x="0" y="17942"/>
                    </a:moveTo>
                    <a:cubicBezTo>
                      <a:pt x="0" y="21786"/>
                      <a:pt x="1282" y="25631"/>
                      <a:pt x="2563" y="26912"/>
                    </a:cubicBezTo>
                    <a:cubicBezTo>
                      <a:pt x="3844" y="43573"/>
                      <a:pt x="3844" y="60233"/>
                      <a:pt x="5126" y="76893"/>
                    </a:cubicBezTo>
                    <a:cubicBezTo>
                      <a:pt x="2563" y="83300"/>
                      <a:pt x="3844" y="99960"/>
                      <a:pt x="7689" y="102524"/>
                    </a:cubicBezTo>
                    <a:cubicBezTo>
                      <a:pt x="11534" y="101242"/>
                      <a:pt x="10252" y="78174"/>
                      <a:pt x="6408" y="75611"/>
                    </a:cubicBezTo>
                    <a:cubicBezTo>
                      <a:pt x="5126" y="58951"/>
                      <a:pt x="3844" y="42291"/>
                      <a:pt x="3844" y="25631"/>
                    </a:cubicBezTo>
                    <a:cubicBezTo>
                      <a:pt x="6408" y="19223"/>
                      <a:pt x="5126" y="2563"/>
                      <a:pt x="2563" y="0"/>
                    </a:cubicBezTo>
                    <a:cubicBezTo>
                      <a:pt x="2563" y="0"/>
                      <a:pt x="2563" y="0"/>
                      <a:pt x="2563" y="0"/>
                    </a:cubicBezTo>
                    <a:cubicBezTo>
                      <a:pt x="0" y="3844"/>
                      <a:pt x="0" y="14097"/>
                      <a:pt x="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0" name="Freeform: Shape 379694">
                <a:extLst>
                  <a:ext uri="{FF2B5EF4-FFF2-40B4-BE49-F238E27FC236}">
                    <a16:creationId xmlns:a16="http://schemas.microsoft.com/office/drawing/2014/main" id="{9B0BAEE6-BC46-4E00-BED5-F00786747DD0}"/>
                  </a:ext>
                </a:extLst>
              </p:cNvPr>
              <p:cNvSpPr/>
              <p:nvPr/>
            </p:nvSpPr>
            <p:spPr>
              <a:xfrm>
                <a:off x="5555647" y="3233916"/>
                <a:ext cx="58460" cy="171772"/>
              </a:xfrm>
              <a:custGeom>
                <a:avLst/>
                <a:gdLst>
                  <a:gd name="connsiteX0" fmla="*/ 820 w 58460"/>
                  <a:gd name="connsiteY0" fmla="*/ 17230 h 171772"/>
                  <a:gd name="connsiteX1" fmla="*/ 13636 w 58460"/>
                  <a:gd name="connsiteY1" fmla="*/ 24919 h 171772"/>
                  <a:gd name="connsiteX2" fmla="*/ 39267 w 58460"/>
                  <a:gd name="connsiteY2" fmla="*/ 146666 h 171772"/>
                  <a:gd name="connsiteX3" fmla="*/ 39267 w 58460"/>
                  <a:gd name="connsiteY3" fmla="*/ 171015 h 171772"/>
                  <a:gd name="connsiteX4" fmla="*/ 57208 w 58460"/>
                  <a:gd name="connsiteY4" fmla="*/ 153073 h 171772"/>
                  <a:gd name="connsiteX5" fmla="*/ 44393 w 58460"/>
                  <a:gd name="connsiteY5" fmla="*/ 145384 h 171772"/>
                  <a:gd name="connsiteX6" fmla="*/ 18762 w 58460"/>
                  <a:gd name="connsiteY6" fmla="*/ 23637 h 171772"/>
                  <a:gd name="connsiteX7" fmla="*/ 18762 w 58460"/>
                  <a:gd name="connsiteY7" fmla="*/ 570 h 171772"/>
                  <a:gd name="connsiteX8" fmla="*/ 11072 w 58460"/>
                  <a:gd name="connsiteY8" fmla="*/ 570 h 171772"/>
                  <a:gd name="connsiteX9" fmla="*/ 820 w 58460"/>
                  <a:gd name="connsiteY9" fmla="*/ 17230 h 171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460" h="171772">
                    <a:moveTo>
                      <a:pt x="820" y="17230"/>
                    </a:moveTo>
                    <a:cubicBezTo>
                      <a:pt x="2102" y="19793"/>
                      <a:pt x="5947" y="24919"/>
                      <a:pt x="13636" y="24919"/>
                    </a:cubicBezTo>
                    <a:cubicBezTo>
                      <a:pt x="21325" y="64647"/>
                      <a:pt x="30296" y="105656"/>
                      <a:pt x="39267" y="146666"/>
                    </a:cubicBezTo>
                    <a:cubicBezTo>
                      <a:pt x="26451" y="154355"/>
                      <a:pt x="30296" y="168452"/>
                      <a:pt x="39267" y="171015"/>
                    </a:cubicBezTo>
                    <a:cubicBezTo>
                      <a:pt x="50801" y="174860"/>
                      <a:pt x="62335" y="163326"/>
                      <a:pt x="57208" y="153073"/>
                    </a:cubicBezTo>
                    <a:cubicBezTo>
                      <a:pt x="55927" y="149229"/>
                      <a:pt x="52082" y="145384"/>
                      <a:pt x="44393" y="145384"/>
                    </a:cubicBezTo>
                    <a:cubicBezTo>
                      <a:pt x="35422" y="104375"/>
                      <a:pt x="26451" y="63365"/>
                      <a:pt x="18762" y="23637"/>
                    </a:cubicBezTo>
                    <a:cubicBezTo>
                      <a:pt x="31577" y="15948"/>
                      <a:pt x="27733" y="3133"/>
                      <a:pt x="18762" y="570"/>
                    </a:cubicBezTo>
                    <a:cubicBezTo>
                      <a:pt x="16199" y="-712"/>
                      <a:pt x="12354" y="570"/>
                      <a:pt x="11072" y="570"/>
                    </a:cubicBezTo>
                    <a:cubicBezTo>
                      <a:pt x="-4306" y="4414"/>
                      <a:pt x="820" y="15948"/>
                      <a:pt x="820" y="1723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1" name="Freeform: Shape 379695">
                <a:extLst>
                  <a:ext uri="{FF2B5EF4-FFF2-40B4-BE49-F238E27FC236}">
                    <a16:creationId xmlns:a16="http://schemas.microsoft.com/office/drawing/2014/main" id="{4BD659A7-C660-450D-AC0C-EF265BD3C020}"/>
                  </a:ext>
                </a:extLst>
              </p:cNvPr>
              <p:cNvSpPr/>
              <p:nvPr/>
            </p:nvSpPr>
            <p:spPr>
              <a:xfrm>
                <a:off x="5679853" y="3202047"/>
                <a:ext cx="27555" cy="25710"/>
              </a:xfrm>
              <a:custGeom>
                <a:avLst/>
                <a:gdLst>
                  <a:gd name="connsiteX0" fmla="*/ 924 w 27555"/>
                  <a:gd name="connsiteY0" fmla="*/ 17060 h 25710"/>
                  <a:gd name="connsiteX1" fmla="*/ 26555 w 27555"/>
                  <a:gd name="connsiteY1" fmla="*/ 17060 h 25710"/>
                  <a:gd name="connsiteX2" fmla="*/ 11177 w 27555"/>
                  <a:gd name="connsiteY2" fmla="*/ 400 h 25710"/>
                  <a:gd name="connsiteX3" fmla="*/ 924 w 27555"/>
                  <a:gd name="connsiteY3" fmla="*/ 17060 h 25710"/>
                </a:gdLst>
                <a:ahLst/>
                <a:cxnLst>
                  <a:cxn ang="0">
                    <a:pos x="connsiteX0" y="connsiteY0"/>
                  </a:cxn>
                  <a:cxn ang="0">
                    <a:pos x="connsiteX1" y="connsiteY1"/>
                  </a:cxn>
                  <a:cxn ang="0">
                    <a:pos x="connsiteX2" y="connsiteY2"/>
                  </a:cxn>
                  <a:cxn ang="0">
                    <a:pos x="connsiteX3" y="connsiteY3"/>
                  </a:cxn>
                </a:cxnLst>
                <a:rect l="l" t="t" r="r" b="b"/>
                <a:pathLst>
                  <a:path w="27555" h="25710">
                    <a:moveTo>
                      <a:pt x="924" y="17060"/>
                    </a:moveTo>
                    <a:cubicBezTo>
                      <a:pt x="4769" y="28594"/>
                      <a:pt x="21429" y="28594"/>
                      <a:pt x="26555" y="17060"/>
                    </a:cubicBezTo>
                    <a:cubicBezTo>
                      <a:pt x="30400" y="8089"/>
                      <a:pt x="22711" y="-2163"/>
                      <a:pt x="11177" y="400"/>
                    </a:cubicBezTo>
                    <a:cubicBezTo>
                      <a:pt x="924" y="2963"/>
                      <a:pt x="-1638" y="11934"/>
                      <a:pt x="924" y="170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2" name="Freeform: Shape 379696">
                <a:extLst>
                  <a:ext uri="{FF2B5EF4-FFF2-40B4-BE49-F238E27FC236}">
                    <a16:creationId xmlns:a16="http://schemas.microsoft.com/office/drawing/2014/main" id="{DBE7316E-7296-4F0C-B00F-6C3A905CD6AC}"/>
                  </a:ext>
                </a:extLst>
              </p:cNvPr>
              <p:cNvSpPr/>
              <p:nvPr/>
            </p:nvSpPr>
            <p:spPr>
              <a:xfrm>
                <a:off x="6012308" y="2978497"/>
                <a:ext cx="64542" cy="163262"/>
              </a:xfrm>
              <a:custGeom>
                <a:avLst/>
                <a:gdLst>
                  <a:gd name="connsiteX0" fmla="*/ 1672 w 64542"/>
                  <a:gd name="connsiteY0" fmla="*/ 16340 h 163262"/>
                  <a:gd name="connsiteX1" fmla="*/ 14487 w 64542"/>
                  <a:gd name="connsiteY1" fmla="*/ 24029 h 163262"/>
                  <a:gd name="connsiteX2" fmla="*/ 45245 w 64542"/>
                  <a:gd name="connsiteY2" fmla="*/ 139368 h 163262"/>
                  <a:gd name="connsiteX3" fmla="*/ 46526 w 64542"/>
                  <a:gd name="connsiteY3" fmla="*/ 162436 h 163262"/>
                  <a:gd name="connsiteX4" fmla="*/ 63186 w 64542"/>
                  <a:gd name="connsiteY4" fmla="*/ 145776 h 163262"/>
                  <a:gd name="connsiteX5" fmla="*/ 50371 w 64542"/>
                  <a:gd name="connsiteY5" fmla="*/ 138087 h 163262"/>
                  <a:gd name="connsiteX6" fmla="*/ 19614 w 64542"/>
                  <a:gd name="connsiteY6" fmla="*/ 22747 h 163262"/>
                  <a:gd name="connsiteX7" fmla="*/ 18332 w 64542"/>
                  <a:gd name="connsiteY7" fmla="*/ 961 h 163262"/>
                  <a:gd name="connsiteX8" fmla="*/ 10643 w 64542"/>
                  <a:gd name="connsiteY8" fmla="*/ 961 h 163262"/>
                  <a:gd name="connsiteX9" fmla="*/ 1672 w 64542"/>
                  <a:gd name="connsiteY9" fmla="*/ 16340 h 16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42" h="163262">
                    <a:moveTo>
                      <a:pt x="1672" y="16340"/>
                    </a:moveTo>
                    <a:cubicBezTo>
                      <a:pt x="2953" y="18903"/>
                      <a:pt x="6798" y="22747"/>
                      <a:pt x="14487" y="24029"/>
                    </a:cubicBezTo>
                    <a:cubicBezTo>
                      <a:pt x="24740" y="61194"/>
                      <a:pt x="34992" y="99640"/>
                      <a:pt x="45245" y="139368"/>
                    </a:cubicBezTo>
                    <a:cubicBezTo>
                      <a:pt x="32429" y="145776"/>
                      <a:pt x="37555" y="159873"/>
                      <a:pt x="46526" y="162436"/>
                    </a:cubicBezTo>
                    <a:cubicBezTo>
                      <a:pt x="58060" y="166281"/>
                      <a:pt x="68313" y="156028"/>
                      <a:pt x="63186" y="145776"/>
                    </a:cubicBezTo>
                    <a:cubicBezTo>
                      <a:pt x="61905" y="143213"/>
                      <a:pt x="58060" y="139368"/>
                      <a:pt x="50371" y="138087"/>
                    </a:cubicBezTo>
                    <a:cubicBezTo>
                      <a:pt x="40118" y="98359"/>
                      <a:pt x="29866" y="59912"/>
                      <a:pt x="19614" y="22747"/>
                    </a:cubicBezTo>
                    <a:cubicBezTo>
                      <a:pt x="31148" y="16340"/>
                      <a:pt x="27303" y="3524"/>
                      <a:pt x="18332" y="961"/>
                    </a:cubicBezTo>
                    <a:cubicBezTo>
                      <a:pt x="15769" y="-320"/>
                      <a:pt x="13206" y="-320"/>
                      <a:pt x="10643" y="961"/>
                    </a:cubicBezTo>
                    <a:cubicBezTo>
                      <a:pt x="-2172" y="3524"/>
                      <a:pt x="-891" y="13777"/>
                      <a:pt x="1672" y="163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3" name="Freeform: Shape 379697">
                <a:extLst>
                  <a:ext uri="{FF2B5EF4-FFF2-40B4-BE49-F238E27FC236}">
                    <a16:creationId xmlns:a16="http://schemas.microsoft.com/office/drawing/2014/main" id="{78FBE2D7-BE5C-4614-9BF8-8A336B97A7ED}"/>
                  </a:ext>
                </a:extLst>
              </p:cNvPr>
              <p:cNvSpPr/>
              <p:nvPr/>
            </p:nvSpPr>
            <p:spPr>
              <a:xfrm>
                <a:off x="6364543" y="3051116"/>
                <a:ext cx="25931" cy="24049"/>
              </a:xfrm>
              <a:custGeom>
                <a:avLst/>
                <a:gdLst>
                  <a:gd name="connsiteX0" fmla="*/ 582 w 25931"/>
                  <a:gd name="connsiteY0" fmla="*/ 15488 h 24049"/>
                  <a:gd name="connsiteX1" fmla="*/ 24932 w 25931"/>
                  <a:gd name="connsiteY1" fmla="*/ 18051 h 24049"/>
                  <a:gd name="connsiteX2" fmla="*/ 9553 w 25931"/>
                  <a:gd name="connsiteY2" fmla="*/ 109 h 24049"/>
                  <a:gd name="connsiteX3" fmla="*/ 582 w 25931"/>
                  <a:gd name="connsiteY3" fmla="*/ 15488 h 24049"/>
                </a:gdLst>
                <a:ahLst/>
                <a:cxnLst>
                  <a:cxn ang="0">
                    <a:pos x="connsiteX0" y="connsiteY0"/>
                  </a:cxn>
                  <a:cxn ang="0">
                    <a:pos x="connsiteX1" y="connsiteY1"/>
                  </a:cxn>
                  <a:cxn ang="0">
                    <a:pos x="connsiteX2" y="connsiteY2"/>
                  </a:cxn>
                  <a:cxn ang="0">
                    <a:pos x="connsiteX3" y="connsiteY3"/>
                  </a:cxn>
                </a:cxnLst>
                <a:rect l="l" t="t" r="r" b="b"/>
                <a:pathLst>
                  <a:path w="25931" h="24049">
                    <a:moveTo>
                      <a:pt x="582" y="15488"/>
                    </a:moveTo>
                    <a:cubicBezTo>
                      <a:pt x="4427" y="25740"/>
                      <a:pt x="19805" y="27022"/>
                      <a:pt x="24932" y="18051"/>
                    </a:cubicBezTo>
                    <a:cubicBezTo>
                      <a:pt x="28776" y="9080"/>
                      <a:pt x="21087" y="-1172"/>
                      <a:pt x="9553" y="109"/>
                    </a:cubicBezTo>
                    <a:cubicBezTo>
                      <a:pt x="-699" y="2672"/>
                      <a:pt x="-699" y="11643"/>
                      <a:pt x="582" y="154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4" name="Freeform: Shape 379698">
                <a:extLst>
                  <a:ext uri="{FF2B5EF4-FFF2-40B4-BE49-F238E27FC236}">
                    <a16:creationId xmlns:a16="http://schemas.microsoft.com/office/drawing/2014/main" id="{F8472F73-2EF1-4247-984C-C4FB7EA0D614}"/>
                  </a:ext>
                </a:extLst>
              </p:cNvPr>
              <p:cNvSpPr/>
              <p:nvPr/>
            </p:nvSpPr>
            <p:spPr>
              <a:xfrm>
                <a:off x="6402990" y="3043427"/>
                <a:ext cx="25931" cy="24049"/>
              </a:xfrm>
              <a:custGeom>
                <a:avLst/>
                <a:gdLst>
                  <a:gd name="connsiteX0" fmla="*/ 582 w 25931"/>
                  <a:gd name="connsiteY0" fmla="*/ 15488 h 24049"/>
                  <a:gd name="connsiteX1" fmla="*/ 24931 w 25931"/>
                  <a:gd name="connsiteY1" fmla="*/ 18051 h 24049"/>
                  <a:gd name="connsiteX2" fmla="*/ 9553 w 25931"/>
                  <a:gd name="connsiteY2" fmla="*/ 109 h 24049"/>
                  <a:gd name="connsiteX3" fmla="*/ 582 w 25931"/>
                  <a:gd name="connsiteY3" fmla="*/ 15488 h 24049"/>
                </a:gdLst>
                <a:ahLst/>
                <a:cxnLst>
                  <a:cxn ang="0">
                    <a:pos x="connsiteX0" y="connsiteY0"/>
                  </a:cxn>
                  <a:cxn ang="0">
                    <a:pos x="connsiteX1" y="connsiteY1"/>
                  </a:cxn>
                  <a:cxn ang="0">
                    <a:pos x="connsiteX2" y="connsiteY2"/>
                  </a:cxn>
                  <a:cxn ang="0">
                    <a:pos x="connsiteX3" y="connsiteY3"/>
                  </a:cxn>
                </a:cxnLst>
                <a:rect l="l" t="t" r="r" b="b"/>
                <a:pathLst>
                  <a:path w="25931" h="24049">
                    <a:moveTo>
                      <a:pt x="582" y="15488"/>
                    </a:moveTo>
                    <a:cubicBezTo>
                      <a:pt x="4427" y="25740"/>
                      <a:pt x="19805" y="27022"/>
                      <a:pt x="24931" y="18051"/>
                    </a:cubicBezTo>
                    <a:cubicBezTo>
                      <a:pt x="28776" y="9080"/>
                      <a:pt x="21087" y="-1172"/>
                      <a:pt x="9553" y="109"/>
                    </a:cubicBezTo>
                    <a:cubicBezTo>
                      <a:pt x="-700" y="2672"/>
                      <a:pt x="-700" y="11643"/>
                      <a:pt x="582" y="154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5" name="Freeform: Shape 379699">
                <a:extLst>
                  <a:ext uri="{FF2B5EF4-FFF2-40B4-BE49-F238E27FC236}">
                    <a16:creationId xmlns:a16="http://schemas.microsoft.com/office/drawing/2014/main" id="{0BD1AA7B-A17C-4A09-8C84-387B50543105}"/>
                  </a:ext>
                </a:extLst>
              </p:cNvPr>
              <p:cNvSpPr/>
              <p:nvPr/>
            </p:nvSpPr>
            <p:spPr>
              <a:xfrm>
                <a:off x="6589225" y="3007652"/>
                <a:ext cx="88574" cy="241292"/>
              </a:xfrm>
              <a:custGeom>
                <a:avLst/>
                <a:gdLst>
                  <a:gd name="connsiteX0" fmla="*/ 1453 w 88574"/>
                  <a:gd name="connsiteY0" fmla="*/ 16660 h 241292"/>
                  <a:gd name="connsiteX1" fmla="*/ 14268 w 88574"/>
                  <a:gd name="connsiteY1" fmla="*/ 24349 h 241292"/>
                  <a:gd name="connsiteX2" fmla="*/ 70657 w 88574"/>
                  <a:gd name="connsiteY2" fmla="*/ 216581 h 241292"/>
                  <a:gd name="connsiteX3" fmla="*/ 74501 w 88574"/>
                  <a:gd name="connsiteY3" fmla="*/ 240931 h 241292"/>
                  <a:gd name="connsiteX4" fmla="*/ 86035 w 88574"/>
                  <a:gd name="connsiteY4" fmla="*/ 221707 h 241292"/>
                  <a:gd name="connsiteX5" fmla="*/ 75783 w 88574"/>
                  <a:gd name="connsiteY5" fmla="*/ 215300 h 241292"/>
                  <a:gd name="connsiteX6" fmla="*/ 19395 w 88574"/>
                  <a:gd name="connsiteY6" fmla="*/ 23068 h 241292"/>
                  <a:gd name="connsiteX7" fmla="*/ 14268 w 88574"/>
                  <a:gd name="connsiteY7" fmla="*/ 0 h 241292"/>
                  <a:gd name="connsiteX8" fmla="*/ 9142 w 88574"/>
                  <a:gd name="connsiteY8" fmla="*/ 0 h 241292"/>
                  <a:gd name="connsiteX9" fmla="*/ 1453 w 88574"/>
                  <a:gd name="connsiteY9" fmla="*/ 16660 h 241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74" h="241292">
                    <a:moveTo>
                      <a:pt x="1453" y="16660"/>
                    </a:moveTo>
                    <a:cubicBezTo>
                      <a:pt x="2734" y="19223"/>
                      <a:pt x="6579" y="24349"/>
                      <a:pt x="14268" y="24349"/>
                    </a:cubicBezTo>
                    <a:cubicBezTo>
                      <a:pt x="34773" y="87145"/>
                      <a:pt x="53997" y="151222"/>
                      <a:pt x="70657" y="216581"/>
                    </a:cubicBezTo>
                    <a:cubicBezTo>
                      <a:pt x="59123" y="222989"/>
                      <a:pt x="65531" y="239649"/>
                      <a:pt x="74501" y="240931"/>
                    </a:cubicBezTo>
                    <a:cubicBezTo>
                      <a:pt x="86035" y="243494"/>
                      <a:pt x="92443" y="231960"/>
                      <a:pt x="86035" y="221707"/>
                    </a:cubicBezTo>
                    <a:cubicBezTo>
                      <a:pt x="82191" y="216581"/>
                      <a:pt x="77064" y="215300"/>
                      <a:pt x="75783" y="215300"/>
                    </a:cubicBezTo>
                    <a:cubicBezTo>
                      <a:pt x="57841" y="148659"/>
                      <a:pt x="38618" y="84582"/>
                      <a:pt x="19395" y="23068"/>
                    </a:cubicBezTo>
                    <a:cubicBezTo>
                      <a:pt x="30929" y="16660"/>
                      <a:pt x="24521" y="1282"/>
                      <a:pt x="14268" y="0"/>
                    </a:cubicBezTo>
                    <a:cubicBezTo>
                      <a:pt x="12987" y="0"/>
                      <a:pt x="10424" y="0"/>
                      <a:pt x="9142" y="0"/>
                    </a:cubicBezTo>
                    <a:cubicBezTo>
                      <a:pt x="-4955" y="5126"/>
                      <a:pt x="1453" y="16660"/>
                      <a:pt x="145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6" name="Freeform: Shape 379700">
                <a:extLst>
                  <a:ext uri="{FF2B5EF4-FFF2-40B4-BE49-F238E27FC236}">
                    <a16:creationId xmlns:a16="http://schemas.microsoft.com/office/drawing/2014/main" id="{BD6ACE1B-4C21-42AE-BCA3-9FEFD9747D86}"/>
                  </a:ext>
                </a:extLst>
              </p:cNvPr>
              <p:cNvSpPr/>
              <p:nvPr/>
            </p:nvSpPr>
            <p:spPr>
              <a:xfrm>
                <a:off x="6695701" y="2989711"/>
                <a:ext cx="57735" cy="129799"/>
              </a:xfrm>
              <a:custGeom>
                <a:avLst/>
                <a:gdLst>
                  <a:gd name="connsiteX0" fmla="*/ 1345 w 57735"/>
                  <a:gd name="connsiteY0" fmla="*/ 15379 h 129799"/>
                  <a:gd name="connsiteX1" fmla="*/ 12879 w 57735"/>
                  <a:gd name="connsiteY1" fmla="*/ 23068 h 129799"/>
                  <a:gd name="connsiteX2" fmla="*/ 39792 w 57735"/>
                  <a:gd name="connsiteY2" fmla="*/ 105087 h 129799"/>
                  <a:gd name="connsiteX3" fmla="*/ 44918 w 57735"/>
                  <a:gd name="connsiteY3" fmla="*/ 129436 h 129799"/>
                  <a:gd name="connsiteX4" fmla="*/ 55170 w 57735"/>
                  <a:gd name="connsiteY4" fmla="*/ 111494 h 129799"/>
                  <a:gd name="connsiteX5" fmla="*/ 44918 w 57735"/>
                  <a:gd name="connsiteY5" fmla="*/ 105087 h 129799"/>
                  <a:gd name="connsiteX6" fmla="*/ 18005 w 57735"/>
                  <a:gd name="connsiteY6" fmla="*/ 23068 h 129799"/>
                  <a:gd name="connsiteX7" fmla="*/ 11598 w 57735"/>
                  <a:gd name="connsiteY7" fmla="*/ 0 h 129799"/>
                  <a:gd name="connsiteX8" fmla="*/ 6471 w 57735"/>
                  <a:gd name="connsiteY8" fmla="*/ 0 h 129799"/>
                  <a:gd name="connsiteX9" fmla="*/ 1345 w 57735"/>
                  <a:gd name="connsiteY9" fmla="*/ 15379 h 12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735" h="129799">
                    <a:moveTo>
                      <a:pt x="1345" y="15379"/>
                    </a:moveTo>
                    <a:cubicBezTo>
                      <a:pt x="2627" y="17942"/>
                      <a:pt x="6471" y="23068"/>
                      <a:pt x="12879" y="23068"/>
                    </a:cubicBezTo>
                    <a:cubicBezTo>
                      <a:pt x="21850" y="49980"/>
                      <a:pt x="30821" y="78174"/>
                      <a:pt x="39792" y="105087"/>
                    </a:cubicBezTo>
                    <a:cubicBezTo>
                      <a:pt x="28258" y="111494"/>
                      <a:pt x="34666" y="126873"/>
                      <a:pt x="44918" y="129436"/>
                    </a:cubicBezTo>
                    <a:cubicBezTo>
                      <a:pt x="55170" y="131999"/>
                      <a:pt x="61578" y="120465"/>
                      <a:pt x="55170" y="111494"/>
                    </a:cubicBezTo>
                    <a:cubicBezTo>
                      <a:pt x="51326" y="106368"/>
                      <a:pt x="46200" y="105087"/>
                      <a:pt x="44918" y="105087"/>
                    </a:cubicBezTo>
                    <a:cubicBezTo>
                      <a:pt x="35947" y="76893"/>
                      <a:pt x="26976" y="49980"/>
                      <a:pt x="18005" y="23068"/>
                    </a:cubicBezTo>
                    <a:cubicBezTo>
                      <a:pt x="29539" y="16660"/>
                      <a:pt x="21850" y="2563"/>
                      <a:pt x="11598" y="0"/>
                    </a:cubicBezTo>
                    <a:cubicBezTo>
                      <a:pt x="10316" y="0"/>
                      <a:pt x="7753" y="0"/>
                      <a:pt x="6471" y="0"/>
                    </a:cubicBezTo>
                    <a:cubicBezTo>
                      <a:pt x="-2499" y="2563"/>
                      <a:pt x="64" y="12815"/>
                      <a:pt x="1345"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7" name="Freeform: Shape 379701">
                <a:extLst>
                  <a:ext uri="{FF2B5EF4-FFF2-40B4-BE49-F238E27FC236}">
                    <a16:creationId xmlns:a16="http://schemas.microsoft.com/office/drawing/2014/main" id="{E6A83A8A-600C-41CB-9AED-931BFB74A769}"/>
                  </a:ext>
                </a:extLst>
              </p:cNvPr>
              <p:cNvSpPr/>
              <p:nvPr/>
            </p:nvSpPr>
            <p:spPr>
              <a:xfrm>
                <a:off x="6903376" y="2315618"/>
                <a:ext cx="342756" cy="622928"/>
              </a:xfrm>
              <a:custGeom>
                <a:avLst/>
                <a:gdLst>
                  <a:gd name="connsiteX0" fmla="*/ 164039 w 342756"/>
                  <a:gd name="connsiteY0" fmla="*/ 354988 h 622928"/>
                  <a:gd name="connsiteX1" fmla="*/ 179417 w 342756"/>
                  <a:gd name="connsiteY1" fmla="*/ 361396 h 622928"/>
                  <a:gd name="connsiteX2" fmla="*/ 174291 w 342756"/>
                  <a:gd name="connsiteY2" fmla="*/ 346017 h 622928"/>
                  <a:gd name="connsiteX3" fmla="*/ 179417 w 342756"/>
                  <a:gd name="connsiteY3" fmla="*/ 324231 h 622928"/>
                  <a:gd name="connsiteX4" fmla="*/ 193514 w 342756"/>
                  <a:gd name="connsiteY4" fmla="*/ 348580 h 622928"/>
                  <a:gd name="connsiteX5" fmla="*/ 188388 w 342756"/>
                  <a:gd name="connsiteY5" fmla="*/ 374211 h 622928"/>
                  <a:gd name="connsiteX6" fmla="*/ 180699 w 342756"/>
                  <a:gd name="connsiteY6" fmla="*/ 372930 h 622928"/>
                  <a:gd name="connsiteX7" fmla="*/ 194796 w 342756"/>
                  <a:gd name="connsiteY7" fmla="*/ 394716 h 622928"/>
                  <a:gd name="connsiteX8" fmla="*/ 198640 w 342756"/>
                  <a:gd name="connsiteY8" fmla="*/ 392153 h 622928"/>
                  <a:gd name="connsiteX9" fmla="*/ 193514 w 342756"/>
                  <a:gd name="connsiteY9" fmla="*/ 376774 h 622928"/>
                  <a:gd name="connsiteX10" fmla="*/ 198640 w 342756"/>
                  <a:gd name="connsiteY10" fmla="*/ 354988 h 622928"/>
                  <a:gd name="connsiteX11" fmla="*/ 317824 w 342756"/>
                  <a:gd name="connsiteY11" fmla="*/ 599763 h 622928"/>
                  <a:gd name="connsiteX12" fmla="*/ 329358 w 342756"/>
                  <a:gd name="connsiteY12" fmla="*/ 622831 h 622928"/>
                  <a:gd name="connsiteX13" fmla="*/ 326795 w 342756"/>
                  <a:gd name="connsiteY13" fmla="*/ 601045 h 622928"/>
                  <a:gd name="connsiteX14" fmla="*/ 321669 w 342756"/>
                  <a:gd name="connsiteY14" fmla="*/ 598482 h 622928"/>
                  <a:gd name="connsiteX15" fmla="*/ 199922 w 342756"/>
                  <a:gd name="connsiteY15" fmla="*/ 348580 h 622928"/>
                  <a:gd name="connsiteX16" fmla="*/ 208893 w 342756"/>
                  <a:gd name="connsiteY16" fmla="*/ 288348 h 622928"/>
                  <a:gd name="connsiteX17" fmla="*/ 242213 w 342756"/>
                  <a:gd name="connsiteY17" fmla="*/ 342173 h 622928"/>
                  <a:gd name="connsiteX18" fmla="*/ 237087 w 342756"/>
                  <a:gd name="connsiteY18" fmla="*/ 375493 h 622928"/>
                  <a:gd name="connsiteX19" fmla="*/ 248621 w 342756"/>
                  <a:gd name="connsiteY19" fmla="*/ 397279 h 622928"/>
                  <a:gd name="connsiteX20" fmla="*/ 261436 w 342756"/>
                  <a:gd name="connsiteY20" fmla="*/ 419065 h 622928"/>
                  <a:gd name="connsiteX21" fmla="*/ 265281 w 342756"/>
                  <a:gd name="connsiteY21" fmla="*/ 416502 h 622928"/>
                  <a:gd name="connsiteX22" fmla="*/ 252466 w 342756"/>
                  <a:gd name="connsiteY22" fmla="*/ 397279 h 622928"/>
                  <a:gd name="connsiteX23" fmla="*/ 240932 w 342756"/>
                  <a:gd name="connsiteY23" fmla="*/ 378056 h 622928"/>
                  <a:gd name="connsiteX24" fmla="*/ 246058 w 342756"/>
                  <a:gd name="connsiteY24" fmla="*/ 349862 h 622928"/>
                  <a:gd name="connsiteX25" fmla="*/ 278097 w 342756"/>
                  <a:gd name="connsiteY25" fmla="*/ 406250 h 622928"/>
                  <a:gd name="connsiteX26" fmla="*/ 269126 w 342756"/>
                  <a:gd name="connsiteY26" fmla="*/ 440852 h 622928"/>
                  <a:gd name="connsiteX27" fmla="*/ 326795 w 342756"/>
                  <a:gd name="connsiteY27" fmla="*/ 563880 h 622928"/>
                  <a:gd name="connsiteX28" fmla="*/ 338329 w 342756"/>
                  <a:gd name="connsiteY28" fmla="*/ 586948 h 622928"/>
                  <a:gd name="connsiteX29" fmla="*/ 334485 w 342756"/>
                  <a:gd name="connsiteY29" fmla="*/ 565162 h 622928"/>
                  <a:gd name="connsiteX30" fmla="*/ 329358 w 342756"/>
                  <a:gd name="connsiteY30" fmla="*/ 562599 h 622928"/>
                  <a:gd name="connsiteX31" fmla="*/ 272970 w 342756"/>
                  <a:gd name="connsiteY31" fmla="*/ 442133 h 622928"/>
                  <a:gd name="connsiteX32" fmla="*/ 279378 w 342756"/>
                  <a:gd name="connsiteY32" fmla="*/ 407532 h 622928"/>
                  <a:gd name="connsiteX33" fmla="*/ 243495 w 342756"/>
                  <a:gd name="connsiteY33" fmla="*/ 344736 h 622928"/>
                  <a:gd name="connsiteX34" fmla="*/ 249902 w 342756"/>
                  <a:gd name="connsiteY34" fmla="*/ 280658 h 622928"/>
                  <a:gd name="connsiteX35" fmla="*/ 87145 w 342756"/>
                  <a:gd name="connsiteY35" fmla="*/ 66640 h 622928"/>
                  <a:gd name="connsiteX36" fmla="*/ 67922 w 342756"/>
                  <a:gd name="connsiteY36" fmla="*/ 49980 h 622928"/>
                  <a:gd name="connsiteX37" fmla="*/ 84582 w 342756"/>
                  <a:gd name="connsiteY37" fmla="*/ 66640 h 622928"/>
                  <a:gd name="connsiteX38" fmla="*/ 246058 w 342756"/>
                  <a:gd name="connsiteY38" fmla="*/ 278095 h 622928"/>
                  <a:gd name="connsiteX39" fmla="*/ 239650 w 342756"/>
                  <a:gd name="connsiteY39" fmla="*/ 337046 h 622928"/>
                  <a:gd name="connsiteX40" fmla="*/ 206330 w 342756"/>
                  <a:gd name="connsiteY40" fmla="*/ 283222 h 622928"/>
                  <a:gd name="connsiteX41" fmla="*/ 208893 w 342756"/>
                  <a:gd name="connsiteY41" fmla="*/ 251183 h 622928"/>
                  <a:gd name="connsiteX42" fmla="*/ 20505 w 342756"/>
                  <a:gd name="connsiteY42" fmla="*/ 16660 h 622928"/>
                  <a:gd name="connsiteX43" fmla="*/ 2563 w 342756"/>
                  <a:gd name="connsiteY43" fmla="*/ 0 h 622928"/>
                  <a:gd name="connsiteX44" fmla="*/ 0 w 342756"/>
                  <a:gd name="connsiteY44" fmla="*/ 2563 h 622928"/>
                  <a:gd name="connsiteX45" fmla="*/ 16660 w 342756"/>
                  <a:gd name="connsiteY45" fmla="*/ 16660 h 622928"/>
                  <a:gd name="connsiteX46" fmla="*/ 203767 w 342756"/>
                  <a:gd name="connsiteY46" fmla="*/ 249901 h 622928"/>
                  <a:gd name="connsiteX47" fmla="*/ 201203 w 342756"/>
                  <a:gd name="connsiteY47" fmla="*/ 276814 h 622928"/>
                  <a:gd name="connsiteX48" fmla="*/ 171728 w 342756"/>
                  <a:gd name="connsiteY48" fmla="*/ 233241 h 622928"/>
                  <a:gd name="connsiteX49" fmla="*/ 153786 w 342756"/>
                  <a:gd name="connsiteY49" fmla="*/ 214018 h 622928"/>
                  <a:gd name="connsiteX50" fmla="*/ 167883 w 342756"/>
                  <a:gd name="connsiteY50" fmla="*/ 233241 h 622928"/>
                  <a:gd name="connsiteX51" fmla="*/ 199922 w 342756"/>
                  <a:gd name="connsiteY51" fmla="*/ 280658 h 622928"/>
                  <a:gd name="connsiteX52" fmla="*/ 190951 w 342756"/>
                  <a:gd name="connsiteY52" fmla="*/ 340891 h 622928"/>
                  <a:gd name="connsiteX53" fmla="*/ 176854 w 342756"/>
                  <a:gd name="connsiteY53" fmla="*/ 316542 h 622928"/>
                  <a:gd name="connsiteX54" fmla="*/ 181980 w 342756"/>
                  <a:gd name="connsiteY54" fmla="*/ 284503 h 622928"/>
                  <a:gd name="connsiteX55" fmla="*/ 129437 w 342756"/>
                  <a:gd name="connsiteY55" fmla="*/ 206329 h 622928"/>
                  <a:gd name="connsiteX56" fmla="*/ 111495 w 342756"/>
                  <a:gd name="connsiteY56" fmla="*/ 188387 h 622928"/>
                  <a:gd name="connsiteX57" fmla="*/ 125592 w 342756"/>
                  <a:gd name="connsiteY57" fmla="*/ 206329 h 622928"/>
                  <a:gd name="connsiteX58" fmla="*/ 176854 w 342756"/>
                  <a:gd name="connsiteY58" fmla="*/ 283222 h 622928"/>
                  <a:gd name="connsiteX59" fmla="*/ 173010 w 342756"/>
                  <a:gd name="connsiteY59" fmla="*/ 311416 h 622928"/>
                  <a:gd name="connsiteX60" fmla="*/ 144815 w 342756"/>
                  <a:gd name="connsiteY60" fmla="*/ 266561 h 622928"/>
                  <a:gd name="connsiteX61" fmla="*/ 132000 w 342756"/>
                  <a:gd name="connsiteY61" fmla="*/ 246057 h 622928"/>
                  <a:gd name="connsiteX62" fmla="*/ 89709 w 342756"/>
                  <a:gd name="connsiteY62" fmla="*/ 181979 h 622928"/>
                  <a:gd name="connsiteX63" fmla="*/ 71767 w 342756"/>
                  <a:gd name="connsiteY63" fmla="*/ 164038 h 622928"/>
                  <a:gd name="connsiteX64" fmla="*/ 85864 w 342756"/>
                  <a:gd name="connsiteY64" fmla="*/ 181979 h 622928"/>
                  <a:gd name="connsiteX65" fmla="*/ 132000 w 342756"/>
                  <a:gd name="connsiteY65" fmla="*/ 248620 h 622928"/>
                  <a:gd name="connsiteX66" fmla="*/ 144815 w 342756"/>
                  <a:gd name="connsiteY66" fmla="*/ 269125 h 622928"/>
                  <a:gd name="connsiteX67" fmla="*/ 175572 w 342756"/>
                  <a:gd name="connsiteY67" fmla="*/ 317823 h 622928"/>
                  <a:gd name="connsiteX68" fmla="*/ 170446 w 342756"/>
                  <a:gd name="connsiteY68" fmla="*/ 342173 h 622928"/>
                  <a:gd name="connsiteX69" fmla="*/ 162757 w 342756"/>
                  <a:gd name="connsiteY69" fmla="*/ 340891 h 622928"/>
                  <a:gd name="connsiteX70" fmla="*/ 164039 w 342756"/>
                  <a:gd name="connsiteY70" fmla="*/ 354988 h 62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42756" h="622928">
                    <a:moveTo>
                      <a:pt x="164039" y="354988"/>
                    </a:moveTo>
                    <a:cubicBezTo>
                      <a:pt x="170446" y="363959"/>
                      <a:pt x="175572" y="362677"/>
                      <a:pt x="179417" y="361396"/>
                    </a:cubicBezTo>
                    <a:cubicBezTo>
                      <a:pt x="180699" y="357551"/>
                      <a:pt x="181980" y="353707"/>
                      <a:pt x="174291" y="346017"/>
                    </a:cubicBezTo>
                    <a:lnTo>
                      <a:pt x="179417" y="324231"/>
                    </a:lnTo>
                    <a:cubicBezTo>
                      <a:pt x="184544" y="331920"/>
                      <a:pt x="188388" y="340891"/>
                      <a:pt x="193514" y="348580"/>
                    </a:cubicBezTo>
                    <a:cubicBezTo>
                      <a:pt x="192233" y="356270"/>
                      <a:pt x="189669" y="366522"/>
                      <a:pt x="188388" y="374211"/>
                    </a:cubicBezTo>
                    <a:cubicBezTo>
                      <a:pt x="185825" y="372930"/>
                      <a:pt x="183262" y="372930"/>
                      <a:pt x="180699" y="372930"/>
                    </a:cubicBezTo>
                    <a:cubicBezTo>
                      <a:pt x="171728" y="385745"/>
                      <a:pt x="193514" y="394716"/>
                      <a:pt x="194796" y="394716"/>
                    </a:cubicBezTo>
                    <a:cubicBezTo>
                      <a:pt x="196078" y="394716"/>
                      <a:pt x="197359" y="393434"/>
                      <a:pt x="198640" y="392153"/>
                    </a:cubicBezTo>
                    <a:cubicBezTo>
                      <a:pt x="198640" y="387027"/>
                      <a:pt x="198640" y="384464"/>
                      <a:pt x="193514" y="376774"/>
                    </a:cubicBezTo>
                    <a:lnTo>
                      <a:pt x="198640" y="354988"/>
                    </a:lnTo>
                    <a:cubicBezTo>
                      <a:pt x="243495" y="431881"/>
                      <a:pt x="283222" y="513900"/>
                      <a:pt x="317824" y="599763"/>
                    </a:cubicBezTo>
                    <a:cubicBezTo>
                      <a:pt x="307572" y="612579"/>
                      <a:pt x="326795" y="624113"/>
                      <a:pt x="329358" y="622831"/>
                    </a:cubicBezTo>
                    <a:cubicBezTo>
                      <a:pt x="338329" y="621550"/>
                      <a:pt x="333203" y="606171"/>
                      <a:pt x="326795" y="601045"/>
                    </a:cubicBezTo>
                    <a:cubicBezTo>
                      <a:pt x="325514" y="599763"/>
                      <a:pt x="322951" y="599763"/>
                      <a:pt x="321669" y="598482"/>
                    </a:cubicBezTo>
                    <a:cubicBezTo>
                      <a:pt x="285786" y="511337"/>
                      <a:pt x="244776" y="428036"/>
                      <a:pt x="199922" y="348580"/>
                    </a:cubicBezTo>
                    <a:lnTo>
                      <a:pt x="208893" y="288348"/>
                    </a:lnTo>
                    <a:cubicBezTo>
                      <a:pt x="220427" y="306289"/>
                      <a:pt x="231961" y="324231"/>
                      <a:pt x="242213" y="342173"/>
                    </a:cubicBezTo>
                    <a:lnTo>
                      <a:pt x="237087" y="375493"/>
                    </a:lnTo>
                    <a:cubicBezTo>
                      <a:pt x="240932" y="383182"/>
                      <a:pt x="244776" y="389590"/>
                      <a:pt x="248621" y="397279"/>
                    </a:cubicBezTo>
                    <a:cubicBezTo>
                      <a:pt x="239650" y="408813"/>
                      <a:pt x="261436" y="419065"/>
                      <a:pt x="261436" y="419065"/>
                    </a:cubicBezTo>
                    <a:cubicBezTo>
                      <a:pt x="262718" y="419065"/>
                      <a:pt x="264000" y="417784"/>
                      <a:pt x="265281" y="416502"/>
                    </a:cubicBezTo>
                    <a:cubicBezTo>
                      <a:pt x="265281" y="403687"/>
                      <a:pt x="256310" y="398561"/>
                      <a:pt x="252466" y="397279"/>
                    </a:cubicBezTo>
                    <a:cubicBezTo>
                      <a:pt x="248621" y="390871"/>
                      <a:pt x="244776" y="384464"/>
                      <a:pt x="240932" y="378056"/>
                    </a:cubicBezTo>
                    <a:lnTo>
                      <a:pt x="246058" y="349862"/>
                    </a:lnTo>
                    <a:cubicBezTo>
                      <a:pt x="256310" y="367804"/>
                      <a:pt x="267844" y="387027"/>
                      <a:pt x="278097" y="406250"/>
                    </a:cubicBezTo>
                    <a:lnTo>
                      <a:pt x="269126" y="440852"/>
                    </a:lnTo>
                    <a:cubicBezTo>
                      <a:pt x="289631" y="480580"/>
                      <a:pt x="308854" y="521589"/>
                      <a:pt x="326795" y="563880"/>
                    </a:cubicBezTo>
                    <a:cubicBezTo>
                      <a:pt x="316543" y="576695"/>
                      <a:pt x="335766" y="588229"/>
                      <a:pt x="338329" y="586948"/>
                    </a:cubicBezTo>
                    <a:cubicBezTo>
                      <a:pt x="347300" y="585666"/>
                      <a:pt x="340892" y="570288"/>
                      <a:pt x="334485" y="565162"/>
                    </a:cubicBezTo>
                    <a:cubicBezTo>
                      <a:pt x="333203" y="563880"/>
                      <a:pt x="331922" y="563880"/>
                      <a:pt x="329358" y="562599"/>
                    </a:cubicBezTo>
                    <a:cubicBezTo>
                      <a:pt x="311417" y="521589"/>
                      <a:pt x="292194" y="481861"/>
                      <a:pt x="272970" y="442133"/>
                    </a:cubicBezTo>
                    <a:lnTo>
                      <a:pt x="279378" y="407532"/>
                    </a:lnTo>
                    <a:cubicBezTo>
                      <a:pt x="267844" y="385745"/>
                      <a:pt x="256310" y="365241"/>
                      <a:pt x="243495" y="344736"/>
                    </a:cubicBezTo>
                    <a:lnTo>
                      <a:pt x="249902" y="280658"/>
                    </a:lnTo>
                    <a:cubicBezTo>
                      <a:pt x="199922" y="203766"/>
                      <a:pt x="144815" y="133281"/>
                      <a:pt x="87145" y="66640"/>
                    </a:cubicBezTo>
                    <a:cubicBezTo>
                      <a:pt x="88427" y="58951"/>
                      <a:pt x="75611" y="48699"/>
                      <a:pt x="67922" y="49980"/>
                    </a:cubicBezTo>
                    <a:cubicBezTo>
                      <a:pt x="67922" y="61514"/>
                      <a:pt x="84582" y="66640"/>
                      <a:pt x="84582" y="66640"/>
                    </a:cubicBezTo>
                    <a:cubicBezTo>
                      <a:pt x="142252" y="131999"/>
                      <a:pt x="197359" y="202484"/>
                      <a:pt x="246058" y="278095"/>
                    </a:cubicBezTo>
                    <a:lnTo>
                      <a:pt x="239650" y="337046"/>
                    </a:lnTo>
                    <a:cubicBezTo>
                      <a:pt x="228116" y="319105"/>
                      <a:pt x="217864" y="301163"/>
                      <a:pt x="206330" y="283222"/>
                    </a:cubicBezTo>
                    <a:lnTo>
                      <a:pt x="208893" y="251183"/>
                    </a:lnTo>
                    <a:cubicBezTo>
                      <a:pt x="151223" y="166601"/>
                      <a:pt x="88427" y="87145"/>
                      <a:pt x="20505" y="16660"/>
                    </a:cubicBezTo>
                    <a:cubicBezTo>
                      <a:pt x="20505" y="3845"/>
                      <a:pt x="2563" y="0"/>
                      <a:pt x="2563" y="0"/>
                    </a:cubicBezTo>
                    <a:cubicBezTo>
                      <a:pt x="2563" y="1282"/>
                      <a:pt x="1282" y="2563"/>
                      <a:pt x="0" y="2563"/>
                    </a:cubicBezTo>
                    <a:cubicBezTo>
                      <a:pt x="5126" y="11534"/>
                      <a:pt x="11534" y="15379"/>
                      <a:pt x="16660" y="16660"/>
                    </a:cubicBezTo>
                    <a:cubicBezTo>
                      <a:pt x="83301" y="87145"/>
                      <a:pt x="146097" y="165319"/>
                      <a:pt x="203767" y="249901"/>
                    </a:cubicBezTo>
                    <a:lnTo>
                      <a:pt x="201203" y="276814"/>
                    </a:lnTo>
                    <a:cubicBezTo>
                      <a:pt x="192233" y="262717"/>
                      <a:pt x="181980" y="247338"/>
                      <a:pt x="171728" y="233241"/>
                    </a:cubicBezTo>
                    <a:cubicBezTo>
                      <a:pt x="175572" y="224270"/>
                      <a:pt x="162757" y="212737"/>
                      <a:pt x="153786" y="214018"/>
                    </a:cubicBezTo>
                    <a:cubicBezTo>
                      <a:pt x="151223" y="226834"/>
                      <a:pt x="167883" y="233241"/>
                      <a:pt x="167883" y="233241"/>
                    </a:cubicBezTo>
                    <a:cubicBezTo>
                      <a:pt x="178135" y="248620"/>
                      <a:pt x="189669" y="265280"/>
                      <a:pt x="199922" y="280658"/>
                    </a:cubicBezTo>
                    <a:lnTo>
                      <a:pt x="190951" y="340891"/>
                    </a:lnTo>
                    <a:cubicBezTo>
                      <a:pt x="185825" y="333202"/>
                      <a:pt x="181980" y="324231"/>
                      <a:pt x="176854" y="316542"/>
                    </a:cubicBezTo>
                    <a:lnTo>
                      <a:pt x="181980" y="284503"/>
                    </a:lnTo>
                    <a:cubicBezTo>
                      <a:pt x="165320" y="257591"/>
                      <a:pt x="147378" y="231960"/>
                      <a:pt x="129437" y="206329"/>
                    </a:cubicBezTo>
                    <a:cubicBezTo>
                      <a:pt x="133281" y="197358"/>
                      <a:pt x="120466" y="185824"/>
                      <a:pt x="111495" y="188387"/>
                    </a:cubicBezTo>
                    <a:cubicBezTo>
                      <a:pt x="108932" y="201203"/>
                      <a:pt x="125592" y="206329"/>
                      <a:pt x="125592" y="206329"/>
                    </a:cubicBezTo>
                    <a:cubicBezTo>
                      <a:pt x="143533" y="230678"/>
                      <a:pt x="160194" y="256309"/>
                      <a:pt x="176854" y="283222"/>
                    </a:cubicBezTo>
                    <a:lnTo>
                      <a:pt x="173010" y="311416"/>
                    </a:lnTo>
                    <a:cubicBezTo>
                      <a:pt x="164039" y="296037"/>
                      <a:pt x="155067" y="281940"/>
                      <a:pt x="144815" y="266561"/>
                    </a:cubicBezTo>
                    <a:cubicBezTo>
                      <a:pt x="151223" y="253746"/>
                      <a:pt x="132000" y="247338"/>
                      <a:pt x="132000" y="246057"/>
                    </a:cubicBezTo>
                    <a:cubicBezTo>
                      <a:pt x="120466" y="225552"/>
                      <a:pt x="105087" y="203766"/>
                      <a:pt x="89709" y="181979"/>
                    </a:cubicBezTo>
                    <a:cubicBezTo>
                      <a:pt x="93553" y="173009"/>
                      <a:pt x="80738" y="161475"/>
                      <a:pt x="71767" y="164038"/>
                    </a:cubicBezTo>
                    <a:cubicBezTo>
                      <a:pt x="69204" y="176853"/>
                      <a:pt x="85864" y="181979"/>
                      <a:pt x="85864" y="181979"/>
                    </a:cubicBezTo>
                    <a:cubicBezTo>
                      <a:pt x="101243" y="203766"/>
                      <a:pt x="116621" y="225552"/>
                      <a:pt x="132000" y="248620"/>
                    </a:cubicBezTo>
                    <a:cubicBezTo>
                      <a:pt x="125592" y="261435"/>
                      <a:pt x="144815" y="267843"/>
                      <a:pt x="144815" y="269125"/>
                    </a:cubicBezTo>
                    <a:cubicBezTo>
                      <a:pt x="155067" y="285785"/>
                      <a:pt x="165320" y="301163"/>
                      <a:pt x="175572" y="317823"/>
                    </a:cubicBezTo>
                    <a:cubicBezTo>
                      <a:pt x="174291" y="325513"/>
                      <a:pt x="171728" y="334483"/>
                      <a:pt x="170446" y="342173"/>
                    </a:cubicBezTo>
                    <a:cubicBezTo>
                      <a:pt x="167883" y="340891"/>
                      <a:pt x="165320" y="340891"/>
                      <a:pt x="162757" y="340891"/>
                    </a:cubicBezTo>
                    <a:cubicBezTo>
                      <a:pt x="161476" y="343454"/>
                      <a:pt x="158912" y="347299"/>
                      <a:pt x="164039" y="3549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8" name="Freeform: Shape 379702">
                <a:extLst>
                  <a:ext uri="{FF2B5EF4-FFF2-40B4-BE49-F238E27FC236}">
                    <a16:creationId xmlns:a16="http://schemas.microsoft.com/office/drawing/2014/main" id="{E457222D-1943-41FA-A6CF-96A36AB37AF1}"/>
                  </a:ext>
                </a:extLst>
              </p:cNvPr>
              <p:cNvSpPr/>
              <p:nvPr/>
            </p:nvSpPr>
            <p:spPr>
              <a:xfrm>
                <a:off x="7418696" y="2901284"/>
                <a:ext cx="15690" cy="23822"/>
              </a:xfrm>
              <a:custGeom>
                <a:avLst/>
                <a:gdLst>
                  <a:gd name="connsiteX0" fmla="*/ 2426 w 15690"/>
                  <a:gd name="connsiteY0" fmla="*/ 12816 h 23822"/>
                  <a:gd name="connsiteX1" fmla="*/ 15242 w 15690"/>
                  <a:gd name="connsiteY1" fmla="*/ 21786 h 23822"/>
                  <a:gd name="connsiteX2" fmla="*/ 2426 w 15690"/>
                  <a:gd name="connsiteY2" fmla="*/ 0 h 23822"/>
                  <a:gd name="connsiteX3" fmla="*/ 2426 w 15690"/>
                  <a:gd name="connsiteY3" fmla="*/ 12816 h 23822"/>
                </a:gdLst>
                <a:ahLst/>
                <a:cxnLst>
                  <a:cxn ang="0">
                    <a:pos x="connsiteX0" y="connsiteY0"/>
                  </a:cxn>
                  <a:cxn ang="0">
                    <a:pos x="connsiteX1" y="connsiteY1"/>
                  </a:cxn>
                  <a:cxn ang="0">
                    <a:pos x="connsiteX2" y="connsiteY2"/>
                  </a:cxn>
                  <a:cxn ang="0">
                    <a:pos x="connsiteX3" y="connsiteY3"/>
                  </a:cxn>
                </a:cxnLst>
                <a:rect l="l" t="t" r="r" b="b"/>
                <a:pathLst>
                  <a:path w="15690" h="23822">
                    <a:moveTo>
                      <a:pt x="2426" y="12816"/>
                    </a:moveTo>
                    <a:cubicBezTo>
                      <a:pt x="6271" y="21786"/>
                      <a:pt x="13960" y="26912"/>
                      <a:pt x="15242" y="21786"/>
                    </a:cubicBezTo>
                    <a:cubicBezTo>
                      <a:pt x="17805" y="15379"/>
                      <a:pt x="8834" y="0"/>
                      <a:pt x="2426" y="0"/>
                    </a:cubicBezTo>
                    <a:cubicBezTo>
                      <a:pt x="-1418" y="0"/>
                      <a:pt x="-137" y="7689"/>
                      <a:pt x="2426"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69" name="Freeform: Shape 379703">
                <a:extLst>
                  <a:ext uri="{FF2B5EF4-FFF2-40B4-BE49-F238E27FC236}">
                    <a16:creationId xmlns:a16="http://schemas.microsoft.com/office/drawing/2014/main" id="{69A6BE13-8018-47D3-AFF7-A4EF33BB3571}"/>
                  </a:ext>
                </a:extLst>
              </p:cNvPr>
              <p:cNvSpPr/>
              <p:nvPr/>
            </p:nvSpPr>
            <p:spPr>
              <a:xfrm>
                <a:off x="7544204" y="2903847"/>
                <a:ext cx="41017" cy="94834"/>
              </a:xfrm>
              <a:custGeom>
                <a:avLst/>
                <a:gdLst>
                  <a:gd name="connsiteX0" fmla="*/ 3792 w 41017"/>
                  <a:gd name="connsiteY0" fmla="*/ 14097 h 94834"/>
                  <a:gd name="connsiteX1" fmla="*/ 11481 w 41017"/>
                  <a:gd name="connsiteY1" fmla="*/ 24349 h 94834"/>
                  <a:gd name="connsiteX2" fmla="*/ 30704 w 41017"/>
                  <a:gd name="connsiteY2" fmla="*/ 70485 h 94834"/>
                  <a:gd name="connsiteX3" fmla="*/ 39675 w 41017"/>
                  <a:gd name="connsiteY3" fmla="*/ 94834 h 94834"/>
                  <a:gd name="connsiteX4" fmla="*/ 33267 w 41017"/>
                  <a:gd name="connsiteY4" fmla="*/ 71766 h 94834"/>
                  <a:gd name="connsiteX5" fmla="*/ 31986 w 41017"/>
                  <a:gd name="connsiteY5" fmla="*/ 70485 h 94834"/>
                  <a:gd name="connsiteX6" fmla="*/ 12763 w 41017"/>
                  <a:gd name="connsiteY6" fmla="*/ 24349 h 94834"/>
                  <a:gd name="connsiteX7" fmla="*/ 1229 w 41017"/>
                  <a:gd name="connsiteY7" fmla="*/ 0 h 94834"/>
                  <a:gd name="connsiteX8" fmla="*/ 3792 w 41017"/>
                  <a:gd name="connsiteY8" fmla="*/ 14097 h 9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017" h="94834">
                    <a:moveTo>
                      <a:pt x="3792" y="14097"/>
                    </a:moveTo>
                    <a:cubicBezTo>
                      <a:pt x="5073" y="17942"/>
                      <a:pt x="7636" y="21786"/>
                      <a:pt x="11481" y="24349"/>
                    </a:cubicBezTo>
                    <a:cubicBezTo>
                      <a:pt x="17888" y="39728"/>
                      <a:pt x="24297" y="55106"/>
                      <a:pt x="30704" y="70485"/>
                    </a:cubicBezTo>
                    <a:cubicBezTo>
                      <a:pt x="26859" y="75611"/>
                      <a:pt x="37112" y="94834"/>
                      <a:pt x="39675" y="94834"/>
                    </a:cubicBezTo>
                    <a:cubicBezTo>
                      <a:pt x="43520" y="94834"/>
                      <a:pt x="38393" y="79456"/>
                      <a:pt x="33267" y="71766"/>
                    </a:cubicBezTo>
                    <a:cubicBezTo>
                      <a:pt x="33267" y="71766"/>
                      <a:pt x="31986" y="70485"/>
                      <a:pt x="31986" y="70485"/>
                    </a:cubicBezTo>
                    <a:cubicBezTo>
                      <a:pt x="25578" y="55106"/>
                      <a:pt x="19170" y="39728"/>
                      <a:pt x="12763" y="24349"/>
                    </a:cubicBezTo>
                    <a:cubicBezTo>
                      <a:pt x="15325" y="20505"/>
                      <a:pt x="6354" y="2563"/>
                      <a:pt x="1229" y="0"/>
                    </a:cubicBezTo>
                    <a:cubicBezTo>
                      <a:pt x="-2616" y="1282"/>
                      <a:pt x="3792" y="14097"/>
                      <a:pt x="379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0" name="Freeform: Shape 379704">
                <a:extLst>
                  <a:ext uri="{FF2B5EF4-FFF2-40B4-BE49-F238E27FC236}">
                    <a16:creationId xmlns:a16="http://schemas.microsoft.com/office/drawing/2014/main" id="{31B38BC7-6D35-4FD5-97D7-545EBBBC2C34}"/>
                  </a:ext>
                </a:extLst>
              </p:cNvPr>
              <p:cNvSpPr/>
              <p:nvPr/>
            </p:nvSpPr>
            <p:spPr>
              <a:xfrm>
                <a:off x="7606947" y="2925633"/>
                <a:ext cx="79581" cy="203765"/>
              </a:xfrm>
              <a:custGeom>
                <a:avLst/>
                <a:gdLst>
                  <a:gd name="connsiteX0" fmla="*/ 6408 w 79581"/>
                  <a:gd name="connsiteY0" fmla="*/ 12815 h 203765"/>
                  <a:gd name="connsiteX1" fmla="*/ 11534 w 79581"/>
                  <a:gd name="connsiteY1" fmla="*/ 23068 h 203765"/>
                  <a:gd name="connsiteX2" fmla="*/ 71767 w 79581"/>
                  <a:gd name="connsiteY2" fmla="*/ 178135 h 203765"/>
                  <a:gd name="connsiteX3" fmla="*/ 79456 w 79581"/>
                  <a:gd name="connsiteY3" fmla="*/ 203766 h 203765"/>
                  <a:gd name="connsiteX4" fmla="*/ 71767 w 79581"/>
                  <a:gd name="connsiteY4" fmla="*/ 179416 h 203765"/>
                  <a:gd name="connsiteX5" fmla="*/ 11534 w 79581"/>
                  <a:gd name="connsiteY5" fmla="*/ 24349 h 203765"/>
                  <a:gd name="connsiteX6" fmla="*/ 0 w 79581"/>
                  <a:gd name="connsiteY6" fmla="*/ 0 h 203765"/>
                  <a:gd name="connsiteX7" fmla="*/ 6408 w 79581"/>
                  <a:gd name="connsiteY7" fmla="*/ 12815 h 20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581" h="203765">
                    <a:moveTo>
                      <a:pt x="6408" y="12815"/>
                    </a:moveTo>
                    <a:cubicBezTo>
                      <a:pt x="7689" y="16660"/>
                      <a:pt x="10252" y="20505"/>
                      <a:pt x="11534" y="23068"/>
                    </a:cubicBezTo>
                    <a:cubicBezTo>
                      <a:pt x="33320" y="73048"/>
                      <a:pt x="53825" y="124310"/>
                      <a:pt x="71767" y="178135"/>
                    </a:cubicBezTo>
                    <a:cubicBezTo>
                      <a:pt x="71767" y="183261"/>
                      <a:pt x="78175" y="198639"/>
                      <a:pt x="79456" y="203766"/>
                    </a:cubicBezTo>
                    <a:cubicBezTo>
                      <a:pt x="80737" y="201203"/>
                      <a:pt x="71767" y="180698"/>
                      <a:pt x="71767" y="179416"/>
                    </a:cubicBezTo>
                    <a:cubicBezTo>
                      <a:pt x="53825" y="126873"/>
                      <a:pt x="34602" y="75611"/>
                      <a:pt x="11534" y="24349"/>
                    </a:cubicBezTo>
                    <a:cubicBezTo>
                      <a:pt x="10252" y="20505"/>
                      <a:pt x="3844" y="5126"/>
                      <a:pt x="0" y="0"/>
                    </a:cubicBezTo>
                    <a:cubicBezTo>
                      <a:pt x="1281" y="0"/>
                      <a:pt x="2563" y="2563"/>
                      <a:pt x="6408"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1" name="Freeform: Shape 379705">
                <a:extLst>
                  <a:ext uri="{FF2B5EF4-FFF2-40B4-BE49-F238E27FC236}">
                    <a16:creationId xmlns:a16="http://schemas.microsoft.com/office/drawing/2014/main" id="{A80B6A4B-1F03-4B90-9236-4E82DEFDFEEB}"/>
                  </a:ext>
                </a:extLst>
              </p:cNvPr>
              <p:cNvSpPr/>
              <p:nvPr/>
            </p:nvSpPr>
            <p:spPr>
              <a:xfrm>
                <a:off x="4111629" y="3083263"/>
                <a:ext cx="109462" cy="729199"/>
              </a:xfrm>
              <a:custGeom>
                <a:avLst/>
                <a:gdLst>
                  <a:gd name="connsiteX0" fmla="*/ 4375 w 109462"/>
                  <a:gd name="connsiteY0" fmla="*/ 720229 h 729199"/>
                  <a:gd name="connsiteX1" fmla="*/ 5657 w 109462"/>
                  <a:gd name="connsiteY1" fmla="*/ 729199 h 729199"/>
                  <a:gd name="connsiteX2" fmla="*/ 4375 w 109462"/>
                  <a:gd name="connsiteY2" fmla="*/ 703568 h 729199"/>
                  <a:gd name="connsiteX3" fmla="*/ 3094 w 109462"/>
                  <a:gd name="connsiteY3" fmla="*/ 567725 h 729199"/>
                  <a:gd name="connsiteX4" fmla="*/ 5657 w 109462"/>
                  <a:gd name="connsiteY4" fmla="*/ 525434 h 729199"/>
                  <a:gd name="connsiteX5" fmla="*/ 10783 w 109462"/>
                  <a:gd name="connsiteY5" fmla="*/ 451104 h 729199"/>
                  <a:gd name="connsiteX6" fmla="*/ 23599 w 109462"/>
                  <a:gd name="connsiteY6" fmla="*/ 367804 h 729199"/>
                  <a:gd name="connsiteX7" fmla="*/ 82550 w 109462"/>
                  <a:gd name="connsiteY7" fmla="*/ 88427 h 729199"/>
                  <a:gd name="connsiteX8" fmla="*/ 90239 w 109462"/>
                  <a:gd name="connsiteY8" fmla="*/ 65359 h 729199"/>
                  <a:gd name="connsiteX9" fmla="*/ 82550 w 109462"/>
                  <a:gd name="connsiteY9" fmla="*/ 89708 h 729199"/>
                  <a:gd name="connsiteX10" fmla="*/ 23599 w 109462"/>
                  <a:gd name="connsiteY10" fmla="*/ 366522 h 729199"/>
                  <a:gd name="connsiteX11" fmla="*/ 12065 w 109462"/>
                  <a:gd name="connsiteY11" fmla="*/ 443415 h 729199"/>
                  <a:gd name="connsiteX12" fmla="*/ 19754 w 109462"/>
                  <a:gd name="connsiteY12" fmla="*/ 376774 h 729199"/>
                  <a:gd name="connsiteX13" fmla="*/ 26162 w 109462"/>
                  <a:gd name="connsiteY13" fmla="*/ 335765 h 729199"/>
                  <a:gd name="connsiteX14" fmla="*/ 101773 w 109462"/>
                  <a:gd name="connsiteY14" fmla="*/ 23068 h 729199"/>
                  <a:gd name="connsiteX15" fmla="*/ 109463 w 109462"/>
                  <a:gd name="connsiteY15" fmla="*/ 0 h 729199"/>
                  <a:gd name="connsiteX16" fmla="*/ 100492 w 109462"/>
                  <a:gd name="connsiteY16" fmla="*/ 24349 h 729199"/>
                  <a:gd name="connsiteX17" fmla="*/ 24880 w 109462"/>
                  <a:gd name="connsiteY17" fmla="*/ 334483 h 729199"/>
                  <a:gd name="connsiteX18" fmla="*/ 18472 w 109462"/>
                  <a:gd name="connsiteY18" fmla="*/ 370367 h 729199"/>
                  <a:gd name="connsiteX19" fmla="*/ 27443 w 109462"/>
                  <a:gd name="connsiteY19" fmla="*/ 313979 h 729199"/>
                  <a:gd name="connsiteX20" fmla="*/ 31288 w 109462"/>
                  <a:gd name="connsiteY20" fmla="*/ 289629 h 729199"/>
                  <a:gd name="connsiteX21" fmla="*/ 27443 w 109462"/>
                  <a:gd name="connsiteY21" fmla="*/ 313979 h 729199"/>
                  <a:gd name="connsiteX22" fmla="*/ 18472 w 109462"/>
                  <a:gd name="connsiteY22" fmla="*/ 375493 h 729199"/>
                  <a:gd name="connsiteX23" fmla="*/ 13346 w 109462"/>
                  <a:gd name="connsiteY23" fmla="*/ 410095 h 729199"/>
                  <a:gd name="connsiteX24" fmla="*/ 12065 w 109462"/>
                  <a:gd name="connsiteY24" fmla="*/ 419065 h 729199"/>
                  <a:gd name="connsiteX25" fmla="*/ 15909 w 109462"/>
                  <a:gd name="connsiteY25" fmla="*/ 383182 h 729199"/>
                  <a:gd name="connsiteX26" fmla="*/ 8220 w 109462"/>
                  <a:gd name="connsiteY26" fmla="*/ 449822 h 729199"/>
                  <a:gd name="connsiteX27" fmla="*/ 4375 w 109462"/>
                  <a:gd name="connsiteY27" fmla="*/ 492113 h 729199"/>
                  <a:gd name="connsiteX28" fmla="*/ 3094 w 109462"/>
                  <a:gd name="connsiteY28" fmla="*/ 516463 h 729199"/>
                  <a:gd name="connsiteX29" fmla="*/ 3094 w 109462"/>
                  <a:gd name="connsiteY29" fmla="*/ 519026 h 729199"/>
                  <a:gd name="connsiteX30" fmla="*/ 1812 w 109462"/>
                  <a:gd name="connsiteY30" fmla="*/ 538249 h 729199"/>
                  <a:gd name="connsiteX31" fmla="*/ 3094 w 109462"/>
                  <a:gd name="connsiteY31" fmla="*/ 515181 h 729199"/>
                  <a:gd name="connsiteX32" fmla="*/ 4375 w 109462"/>
                  <a:gd name="connsiteY32" fmla="*/ 493395 h 729199"/>
                  <a:gd name="connsiteX33" fmla="*/ 6939 w 109462"/>
                  <a:gd name="connsiteY33" fmla="*/ 457512 h 729199"/>
                  <a:gd name="connsiteX34" fmla="*/ 3094 w 109462"/>
                  <a:gd name="connsiteY34" fmla="*/ 524152 h 729199"/>
                  <a:gd name="connsiteX35" fmla="*/ 531 w 109462"/>
                  <a:gd name="connsiteY35" fmla="*/ 566443 h 729199"/>
                  <a:gd name="connsiteX36" fmla="*/ 1812 w 109462"/>
                  <a:gd name="connsiteY36" fmla="*/ 704850 h 729199"/>
                  <a:gd name="connsiteX37" fmla="*/ 4375 w 109462"/>
                  <a:gd name="connsiteY37" fmla="*/ 720229 h 729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462" h="729199">
                    <a:moveTo>
                      <a:pt x="4375" y="720229"/>
                    </a:moveTo>
                    <a:cubicBezTo>
                      <a:pt x="4375" y="722792"/>
                      <a:pt x="4375" y="726636"/>
                      <a:pt x="5657" y="729199"/>
                    </a:cubicBezTo>
                    <a:cubicBezTo>
                      <a:pt x="5657" y="717666"/>
                      <a:pt x="4375" y="703568"/>
                      <a:pt x="4375" y="703568"/>
                    </a:cubicBezTo>
                    <a:cubicBezTo>
                      <a:pt x="1812" y="658714"/>
                      <a:pt x="1812" y="612579"/>
                      <a:pt x="3094" y="567725"/>
                    </a:cubicBezTo>
                    <a:lnTo>
                      <a:pt x="5657" y="525434"/>
                    </a:lnTo>
                    <a:cubicBezTo>
                      <a:pt x="6939" y="499803"/>
                      <a:pt x="8220" y="475453"/>
                      <a:pt x="10783" y="451104"/>
                    </a:cubicBezTo>
                    <a:lnTo>
                      <a:pt x="23599" y="367804"/>
                    </a:lnTo>
                    <a:cubicBezTo>
                      <a:pt x="36414" y="272969"/>
                      <a:pt x="55638" y="179416"/>
                      <a:pt x="82550" y="88427"/>
                    </a:cubicBezTo>
                    <a:cubicBezTo>
                      <a:pt x="85113" y="80737"/>
                      <a:pt x="87676" y="73048"/>
                      <a:pt x="90239" y="65359"/>
                    </a:cubicBezTo>
                    <a:cubicBezTo>
                      <a:pt x="85113" y="75611"/>
                      <a:pt x="82550" y="89708"/>
                      <a:pt x="82550" y="89708"/>
                    </a:cubicBezTo>
                    <a:cubicBezTo>
                      <a:pt x="55638" y="179416"/>
                      <a:pt x="36414" y="271688"/>
                      <a:pt x="23599" y="366522"/>
                    </a:cubicBezTo>
                    <a:lnTo>
                      <a:pt x="12065" y="443415"/>
                    </a:lnTo>
                    <a:cubicBezTo>
                      <a:pt x="14628" y="421628"/>
                      <a:pt x="15909" y="398561"/>
                      <a:pt x="19754" y="376774"/>
                    </a:cubicBezTo>
                    <a:lnTo>
                      <a:pt x="26162" y="335765"/>
                    </a:lnTo>
                    <a:cubicBezTo>
                      <a:pt x="41540" y="229397"/>
                      <a:pt x="67172" y="124310"/>
                      <a:pt x="101773" y="23068"/>
                    </a:cubicBezTo>
                    <a:cubicBezTo>
                      <a:pt x="105618" y="12816"/>
                      <a:pt x="109463" y="0"/>
                      <a:pt x="109463" y="0"/>
                    </a:cubicBezTo>
                    <a:cubicBezTo>
                      <a:pt x="104336" y="12816"/>
                      <a:pt x="100492" y="24349"/>
                      <a:pt x="100492" y="24349"/>
                    </a:cubicBezTo>
                    <a:cubicBezTo>
                      <a:pt x="65890" y="124310"/>
                      <a:pt x="41540" y="228115"/>
                      <a:pt x="24880" y="334483"/>
                    </a:cubicBezTo>
                    <a:lnTo>
                      <a:pt x="18472" y="370367"/>
                    </a:lnTo>
                    <a:cubicBezTo>
                      <a:pt x="21036" y="351143"/>
                      <a:pt x="23599" y="333202"/>
                      <a:pt x="27443" y="313979"/>
                    </a:cubicBezTo>
                    <a:cubicBezTo>
                      <a:pt x="28725" y="306289"/>
                      <a:pt x="30006" y="297319"/>
                      <a:pt x="31288" y="289629"/>
                    </a:cubicBezTo>
                    <a:cubicBezTo>
                      <a:pt x="28725" y="299882"/>
                      <a:pt x="27443" y="313979"/>
                      <a:pt x="27443" y="313979"/>
                    </a:cubicBezTo>
                    <a:cubicBezTo>
                      <a:pt x="23599" y="334483"/>
                      <a:pt x="21036" y="354988"/>
                      <a:pt x="18472" y="375493"/>
                    </a:cubicBezTo>
                    <a:lnTo>
                      <a:pt x="13346" y="410095"/>
                    </a:lnTo>
                    <a:lnTo>
                      <a:pt x="12065" y="419065"/>
                    </a:lnTo>
                    <a:lnTo>
                      <a:pt x="15909" y="383182"/>
                    </a:lnTo>
                    <a:cubicBezTo>
                      <a:pt x="13346" y="404968"/>
                      <a:pt x="10783" y="426755"/>
                      <a:pt x="8220" y="449822"/>
                    </a:cubicBezTo>
                    <a:lnTo>
                      <a:pt x="4375" y="492113"/>
                    </a:lnTo>
                    <a:cubicBezTo>
                      <a:pt x="4375" y="499803"/>
                      <a:pt x="3094" y="508774"/>
                      <a:pt x="3094" y="516463"/>
                    </a:cubicBezTo>
                    <a:lnTo>
                      <a:pt x="3094" y="519026"/>
                    </a:lnTo>
                    <a:lnTo>
                      <a:pt x="1812" y="538249"/>
                    </a:lnTo>
                    <a:cubicBezTo>
                      <a:pt x="1812" y="529278"/>
                      <a:pt x="3094" y="515181"/>
                      <a:pt x="3094" y="515181"/>
                    </a:cubicBezTo>
                    <a:cubicBezTo>
                      <a:pt x="3094" y="507492"/>
                      <a:pt x="4375" y="501084"/>
                      <a:pt x="4375" y="493395"/>
                    </a:cubicBezTo>
                    <a:lnTo>
                      <a:pt x="6939" y="457512"/>
                    </a:lnTo>
                    <a:cubicBezTo>
                      <a:pt x="5657" y="479298"/>
                      <a:pt x="3094" y="502366"/>
                      <a:pt x="3094" y="524152"/>
                    </a:cubicBezTo>
                    <a:lnTo>
                      <a:pt x="531" y="566443"/>
                    </a:lnTo>
                    <a:cubicBezTo>
                      <a:pt x="-751" y="612579"/>
                      <a:pt x="531" y="658714"/>
                      <a:pt x="1812" y="704850"/>
                    </a:cubicBezTo>
                    <a:cubicBezTo>
                      <a:pt x="4375" y="707413"/>
                      <a:pt x="4375" y="709976"/>
                      <a:pt x="4375" y="72022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572" name="Graphic 379285">
                <a:extLst>
                  <a:ext uri="{FF2B5EF4-FFF2-40B4-BE49-F238E27FC236}">
                    <a16:creationId xmlns:a16="http://schemas.microsoft.com/office/drawing/2014/main" id="{D973D960-FBCD-4D6F-9AA8-88935B4C1FE3}"/>
                  </a:ext>
                </a:extLst>
              </p:cNvPr>
              <p:cNvGrpSpPr/>
              <p:nvPr/>
            </p:nvGrpSpPr>
            <p:grpSpPr>
              <a:xfrm>
                <a:off x="4155792" y="3165282"/>
                <a:ext cx="153682" cy="757393"/>
                <a:chOff x="4155792" y="3165282"/>
                <a:chExt cx="153682" cy="757393"/>
              </a:xfrm>
              <a:grpFill/>
            </p:grpSpPr>
            <p:sp>
              <p:nvSpPr>
                <p:cNvPr id="981" name="Freeform: Shape 379707">
                  <a:extLst>
                    <a:ext uri="{FF2B5EF4-FFF2-40B4-BE49-F238E27FC236}">
                      <a16:creationId xmlns:a16="http://schemas.microsoft.com/office/drawing/2014/main" id="{601406EA-7E38-4593-8FCD-B09378CE7509}"/>
                    </a:ext>
                  </a:extLst>
                </p:cNvPr>
                <p:cNvSpPr/>
                <p:nvPr/>
              </p:nvSpPr>
              <p:spPr>
                <a:xfrm>
                  <a:off x="4253130" y="3263961"/>
                  <a:ext cx="20504" cy="64077"/>
                </a:xfrm>
                <a:custGeom>
                  <a:avLst/>
                  <a:gdLst>
                    <a:gd name="connsiteX0" fmla="*/ 0 w 20504"/>
                    <a:gd name="connsiteY0" fmla="*/ 64077 h 64077"/>
                    <a:gd name="connsiteX1" fmla="*/ 3844 w 20504"/>
                    <a:gd name="connsiteY1" fmla="*/ 35883 h 64077"/>
                    <a:gd name="connsiteX2" fmla="*/ 20505 w 20504"/>
                    <a:gd name="connsiteY2" fmla="*/ 0 h 64077"/>
                    <a:gd name="connsiteX3" fmla="*/ 16660 w 20504"/>
                    <a:gd name="connsiteY3" fmla="*/ 28194 h 64077"/>
                    <a:gd name="connsiteX4" fmla="*/ 0 w 20504"/>
                    <a:gd name="connsiteY4" fmla="*/ 64077 h 640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04" h="64077">
                      <a:moveTo>
                        <a:pt x="0" y="64077"/>
                      </a:moveTo>
                      <a:cubicBezTo>
                        <a:pt x="1281" y="55106"/>
                        <a:pt x="2563" y="44854"/>
                        <a:pt x="3844" y="35883"/>
                      </a:cubicBezTo>
                      <a:lnTo>
                        <a:pt x="20505" y="0"/>
                      </a:lnTo>
                      <a:cubicBezTo>
                        <a:pt x="19223" y="8971"/>
                        <a:pt x="17942" y="19223"/>
                        <a:pt x="16660" y="28194"/>
                      </a:cubicBezTo>
                      <a:lnTo>
                        <a:pt x="0" y="64077"/>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82" name="Freeform: Shape 379708">
                  <a:extLst>
                    <a:ext uri="{FF2B5EF4-FFF2-40B4-BE49-F238E27FC236}">
                      <a16:creationId xmlns:a16="http://schemas.microsoft.com/office/drawing/2014/main" id="{6AC4EE96-060E-4B6C-A540-9026B0E7F091}"/>
                    </a:ext>
                  </a:extLst>
                </p:cNvPr>
                <p:cNvSpPr/>
                <p:nvPr/>
              </p:nvSpPr>
              <p:spPr>
                <a:xfrm>
                  <a:off x="4155792" y="3165282"/>
                  <a:ext cx="153682" cy="757393"/>
                </a:xfrm>
                <a:custGeom>
                  <a:avLst/>
                  <a:gdLst>
                    <a:gd name="connsiteX0" fmla="*/ 7629 w 153682"/>
                    <a:gd name="connsiteY0" fmla="*/ 748422 h 757393"/>
                    <a:gd name="connsiteX1" fmla="*/ 10192 w 153682"/>
                    <a:gd name="connsiteY1" fmla="*/ 757393 h 757393"/>
                    <a:gd name="connsiteX2" fmla="*/ 8911 w 153682"/>
                    <a:gd name="connsiteY2" fmla="*/ 730481 h 757393"/>
                    <a:gd name="connsiteX3" fmla="*/ 1222 w 153682"/>
                    <a:gd name="connsiteY3" fmla="*/ 670248 h 757393"/>
                    <a:gd name="connsiteX4" fmla="*/ 5066 w 153682"/>
                    <a:gd name="connsiteY4" fmla="*/ 633083 h 757393"/>
                    <a:gd name="connsiteX5" fmla="*/ 7629 w 153682"/>
                    <a:gd name="connsiteY5" fmla="*/ 663840 h 757393"/>
                    <a:gd name="connsiteX6" fmla="*/ 11474 w 153682"/>
                    <a:gd name="connsiteY6" fmla="*/ 702287 h 757393"/>
                    <a:gd name="connsiteX7" fmla="*/ 14037 w 153682"/>
                    <a:gd name="connsiteY7" fmla="*/ 725355 h 757393"/>
                    <a:gd name="connsiteX8" fmla="*/ 17882 w 153682"/>
                    <a:gd name="connsiteY8" fmla="*/ 750986 h 757393"/>
                    <a:gd name="connsiteX9" fmla="*/ 16600 w 153682"/>
                    <a:gd name="connsiteY9" fmla="*/ 724073 h 757393"/>
                    <a:gd name="connsiteX10" fmla="*/ 14037 w 153682"/>
                    <a:gd name="connsiteY10" fmla="*/ 701005 h 757393"/>
                    <a:gd name="connsiteX11" fmla="*/ 10192 w 153682"/>
                    <a:gd name="connsiteY11" fmla="*/ 662559 h 757393"/>
                    <a:gd name="connsiteX12" fmla="*/ 6348 w 153682"/>
                    <a:gd name="connsiteY12" fmla="*/ 625394 h 757393"/>
                    <a:gd name="connsiteX13" fmla="*/ 11474 w 153682"/>
                    <a:gd name="connsiteY13" fmla="*/ 586948 h 757393"/>
                    <a:gd name="connsiteX14" fmla="*/ 12755 w 153682"/>
                    <a:gd name="connsiteY14" fmla="*/ 603608 h 757393"/>
                    <a:gd name="connsiteX15" fmla="*/ 14037 w 153682"/>
                    <a:gd name="connsiteY15" fmla="*/ 629239 h 757393"/>
                    <a:gd name="connsiteX16" fmla="*/ 14037 w 153682"/>
                    <a:gd name="connsiteY16" fmla="*/ 602326 h 757393"/>
                    <a:gd name="connsiteX17" fmla="*/ 12755 w 153682"/>
                    <a:gd name="connsiteY17" fmla="*/ 580540 h 757393"/>
                    <a:gd name="connsiteX18" fmla="*/ 19163 w 153682"/>
                    <a:gd name="connsiteY18" fmla="*/ 542094 h 757393"/>
                    <a:gd name="connsiteX19" fmla="*/ 20445 w 153682"/>
                    <a:gd name="connsiteY19" fmla="*/ 558754 h 757393"/>
                    <a:gd name="connsiteX20" fmla="*/ 21726 w 153682"/>
                    <a:gd name="connsiteY20" fmla="*/ 584385 h 757393"/>
                    <a:gd name="connsiteX21" fmla="*/ 21726 w 153682"/>
                    <a:gd name="connsiteY21" fmla="*/ 558754 h 757393"/>
                    <a:gd name="connsiteX22" fmla="*/ 20445 w 153682"/>
                    <a:gd name="connsiteY22" fmla="*/ 536968 h 757393"/>
                    <a:gd name="connsiteX23" fmla="*/ 30697 w 153682"/>
                    <a:gd name="connsiteY23" fmla="*/ 492113 h 757393"/>
                    <a:gd name="connsiteX24" fmla="*/ 30697 w 153682"/>
                    <a:gd name="connsiteY24" fmla="*/ 490832 h 757393"/>
                    <a:gd name="connsiteX25" fmla="*/ 30697 w 153682"/>
                    <a:gd name="connsiteY25" fmla="*/ 453667 h 757393"/>
                    <a:gd name="connsiteX26" fmla="*/ 30697 w 153682"/>
                    <a:gd name="connsiteY26" fmla="*/ 426755 h 757393"/>
                    <a:gd name="connsiteX27" fmla="*/ 31979 w 153682"/>
                    <a:gd name="connsiteY27" fmla="*/ 402405 h 757393"/>
                    <a:gd name="connsiteX28" fmla="*/ 29416 w 153682"/>
                    <a:gd name="connsiteY28" fmla="*/ 428036 h 757393"/>
                    <a:gd name="connsiteX29" fmla="*/ 29416 w 153682"/>
                    <a:gd name="connsiteY29" fmla="*/ 454949 h 757393"/>
                    <a:gd name="connsiteX30" fmla="*/ 29416 w 153682"/>
                    <a:gd name="connsiteY30" fmla="*/ 490832 h 757393"/>
                    <a:gd name="connsiteX31" fmla="*/ 21726 w 153682"/>
                    <a:gd name="connsiteY31" fmla="*/ 529278 h 757393"/>
                    <a:gd name="connsiteX32" fmla="*/ 20445 w 153682"/>
                    <a:gd name="connsiteY32" fmla="*/ 424191 h 757393"/>
                    <a:gd name="connsiteX33" fmla="*/ 60173 w 153682"/>
                    <a:gd name="connsiteY33" fmla="*/ 293474 h 757393"/>
                    <a:gd name="connsiteX34" fmla="*/ 93493 w 153682"/>
                    <a:gd name="connsiteY34" fmla="*/ 205047 h 757393"/>
                    <a:gd name="connsiteX35" fmla="*/ 97338 w 153682"/>
                    <a:gd name="connsiteY35" fmla="*/ 169164 h 757393"/>
                    <a:gd name="connsiteX36" fmla="*/ 116561 w 153682"/>
                    <a:gd name="connsiteY36" fmla="*/ 126873 h 757393"/>
                    <a:gd name="connsiteX37" fmla="*/ 121687 w 153682"/>
                    <a:gd name="connsiteY37" fmla="*/ 90990 h 757393"/>
                    <a:gd name="connsiteX38" fmla="*/ 142192 w 153682"/>
                    <a:gd name="connsiteY38" fmla="*/ 48699 h 757393"/>
                    <a:gd name="connsiteX39" fmla="*/ 147318 w 153682"/>
                    <a:gd name="connsiteY39" fmla="*/ 23068 h 757393"/>
                    <a:gd name="connsiteX40" fmla="*/ 152444 w 153682"/>
                    <a:gd name="connsiteY40" fmla="*/ 0 h 757393"/>
                    <a:gd name="connsiteX41" fmla="*/ 151163 w 153682"/>
                    <a:gd name="connsiteY41" fmla="*/ 0 h 757393"/>
                    <a:gd name="connsiteX42" fmla="*/ 144755 w 153682"/>
                    <a:gd name="connsiteY42" fmla="*/ 24349 h 757393"/>
                    <a:gd name="connsiteX43" fmla="*/ 140910 w 153682"/>
                    <a:gd name="connsiteY43" fmla="*/ 47417 h 757393"/>
                    <a:gd name="connsiteX44" fmla="*/ 122969 w 153682"/>
                    <a:gd name="connsiteY44" fmla="*/ 83300 h 757393"/>
                    <a:gd name="connsiteX45" fmla="*/ 133221 w 153682"/>
                    <a:gd name="connsiteY45" fmla="*/ 29475 h 757393"/>
                    <a:gd name="connsiteX46" fmla="*/ 138347 w 153682"/>
                    <a:gd name="connsiteY46" fmla="*/ 6408 h 757393"/>
                    <a:gd name="connsiteX47" fmla="*/ 130658 w 153682"/>
                    <a:gd name="connsiteY47" fmla="*/ 30757 h 757393"/>
                    <a:gd name="connsiteX48" fmla="*/ 120406 w 153682"/>
                    <a:gd name="connsiteY48" fmla="*/ 89708 h 757393"/>
                    <a:gd name="connsiteX49" fmla="*/ 103746 w 153682"/>
                    <a:gd name="connsiteY49" fmla="*/ 125591 h 757393"/>
                    <a:gd name="connsiteX50" fmla="*/ 119124 w 153682"/>
                    <a:gd name="connsiteY50" fmla="*/ 35883 h 757393"/>
                    <a:gd name="connsiteX51" fmla="*/ 124250 w 153682"/>
                    <a:gd name="connsiteY51" fmla="*/ 12815 h 757393"/>
                    <a:gd name="connsiteX52" fmla="*/ 116561 w 153682"/>
                    <a:gd name="connsiteY52" fmla="*/ 37165 h 757393"/>
                    <a:gd name="connsiteX53" fmla="*/ 99901 w 153682"/>
                    <a:gd name="connsiteY53" fmla="*/ 131999 h 757393"/>
                    <a:gd name="connsiteX54" fmla="*/ 69144 w 153682"/>
                    <a:gd name="connsiteY54" fmla="*/ 206329 h 757393"/>
                    <a:gd name="connsiteX55" fmla="*/ 65299 w 153682"/>
                    <a:gd name="connsiteY55" fmla="*/ 206329 h 757393"/>
                    <a:gd name="connsiteX56" fmla="*/ 62736 w 153682"/>
                    <a:gd name="connsiteY56" fmla="*/ 229397 h 757393"/>
                    <a:gd name="connsiteX57" fmla="*/ 66580 w 153682"/>
                    <a:gd name="connsiteY57" fmla="*/ 228115 h 757393"/>
                    <a:gd name="connsiteX58" fmla="*/ 70425 w 153682"/>
                    <a:gd name="connsiteY58" fmla="*/ 210173 h 757393"/>
                    <a:gd name="connsiteX59" fmla="*/ 99901 w 153682"/>
                    <a:gd name="connsiteY59" fmla="*/ 139688 h 757393"/>
                    <a:gd name="connsiteX60" fmla="*/ 96056 w 153682"/>
                    <a:gd name="connsiteY60" fmla="*/ 167882 h 757393"/>
                    <a:gd name="connsiteX61" fmla="*/ 66580 w 153682"/>
                    <a:gd name="connsiteY61" fmla="*/ 242212 h 757393"/>
                    <a:gd name="connsiteX62" fmla="*/ 62736 w 153682"/>
                    <a:gd name="connsiteY62" fmla="*/ 242212 h 757393"/>
                    <a:gd name="connsiteX63" fmla="*/ 58891 w 153682"/>
                    <a:gd name="connsiteY63" fmla="*/ 263998 h 757393"/>
                    <a:gd name="connsiteX64" fmla="*/ 62736 w 153682"/>
                    <a:gd name="connsiteY64" fmla="*/ 265280 h 757393"/>
                    <a:gd name="connsiteX65" fmla="*/ 67862 w 153682"/>
                    <a:gd name="connsiteY65" fmla="*/ 246057 h 757393"/>
                    <a:gd name="connsiteX66" fmla="*/ 96056 w 153682"/>
                    <a:gd name="connsiteY66" fmla="*/ 175572 h 757393"/>
                    <a:gd name="connsiteX67" fmla="*/ 92212 w 153682"/>
                    <a:gd name="connsiteY67" fmla="*/ 203766 h 757393"/>
                    <a:gd name="connsiteX68" fmla="*/ 58891 w 153682"/>
                    <a:gd name="connsiteY68" fmla="*/ 289629 h 757393"/>
                    <a:gd name="connsiteX69" fmla="*/ 19163 w 153682"/>
                    <a:gd name="connsiteY69" fmla="*/ 421628 h 757393"/>
                    <a:gd name="connsiteX70" fmla="*/ 20445 w 153682"/>
                    <a:gd name="connsiteY70" fmla="*/ 534404 h 757393"/>
                    <a:gd name="connsiteX71" fmla="*/ 14037 w 153682"/>
                    <a:gd name="connsiteY71" fmla="*/ 572851 h 757393"/>
                    <a:gd name="connsiteX72" fmla="*/ 11474 w 153682"/>
                    <a:gd name="connsiteY72" fmla="*/ 503647 h 757393"/>
                    <a:gd name="connsiteX73" fmla="*/ 11474 w 153682"/>
                    <a:gd name="connsiteY73" fmla="*/ 476735 h 757393"/>
                    <a:gd name="connsiteX74" fmla="*/ 11474 w 153682"/>
                    <a:gd name="connsiteY74" fmla="*/ 451104 h 757393"/>
                    <a:gd name="connsiteX75" fmla="*/ 10192 w 153682"/>
                    <a:gd name="connsiteY75" fmla="*/ 476735 h 757393"/>
                    <a:gd name="connsiteX76" fmla="*/ 10192 w 153682"/>
                    <a:gd name="connsiteY76" fmla="*/ 503647 h 757393"/>
                    <a:gd name="connsiteX77" fmla="*/ 14037 w 153682"/>
                    <a:gd name="connsiteY77" fmla="*/ 577977 h 757393"/>
                    <a:gd name="connsiteX78" fmla="*/ 8911 w 153682"/>
                    <a:gd name="connsiteY78" fmla="*/ 616423 h 757393"/>
                    <a:gd name="connsiteX79" fmla="*/ 6348 w 153682"/>
                    <a:gd name="connsiteY79" fmla="*/ 585666 h 757393"/>
                    <a:gd name="connsiteX80" fmla="*/ 3785 w 153682"/>
                    <a:gd name="connsiteY80" fmla="*/ 521589 h 757393"/>
                    <a:gd name="connsiteX81" fmla="*/ 3785 w 153682"/>
                    <a:gd name="connsiteY81" fmla="*/ 495958 h 757393"/>
                    <a:gd name="connsiteX82" fmla="*/ 2503 w 153682"/>
                    <a:gd name="connsiteY82" fmla="*/ 521589 h 757393"/>
                    <a:gd name="connsiteX83" fmla="*/ 5066 w 153682"/>
                    <a:gd name="connsiteY83" fmla="*/ 585666 h 757393"/>
                    <a:gd name="connsiteX84" fmla="*/ 7629 w 153682"/>
                    <a:gd name="connsiteY84" fmla="*/ 622831 h 757393"/>
                    <a:gd name="connsiteX85" fmla="*/ 2503 w 153682"/>
                    <a:gd name="connsiteY85" fmla="*/ 666404 h 757393"/>
                    <a:gd name="connsiteX86" fmla="*/ 10192 w 153682"/>
                    <a:gd name="connsiteY86" fmla="*/ 729199 h 757393"/>
                    <a:gd name="connsiteX87" fmla="*/ 7629 w 153682"/>
                    <a:gd name="connsiteY87" fmla="*/ 748422 h 75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153682" h="757393">
                      <a:moveTo>
                        <a:pt x="7629" y="748422"/>
                      </a:moveTo>
                      <a:cubicBezTo>
                        <a:pt x="7629" y="750986"/>
                        <a:pt x="8911" y="754830"/>
                        <a:pt x="10192" y="757393"/>
                      </a:cubicBezTo>
                      <a:cubicBezTo>
                        <a:pt x="17882" y="748422"/>
                        <a:pt x="8911" y="730481"/>
                        <a:pt x="8911" y="730481"/>
                      </a:cubicBezTo>
                      <a:cubicBezTo>
                        <a:pt x="6348" y="709976"/>
                        <a:pt x="3785" y="690753"/>
                        <a:pt x="1222" y="670248"/>
                      </a:cubicBezTo>
                      <a:lnTo>
                        <a:pt x="5066" y="633083"/>
                      </a:lnTo>
                      <a:cubicBezTo>
                        <a:pt x="6348" y="643336"/>
                        <a:pt x="7629" y="653588"/>
                        <a:pt x="7629" y="663840"/>
                      </a:cubicBezTo>
                      <a:cubicBezTo>
                        <a:pt x="8911" y="676656"/>
                        <a:pt x="10192" y="689472"/>
                        <a:pt x="11474" y="702287"/>
                      </a:cubicBezTo>
                      <a:cubicBezTo>
                        <a:pt x="12755" y="709976"/>
                        <a:pt x="14037" y="717665"/>
                        <a:pt x="14037" y="725355"/>
                      </a:cubicBezTo>
                      <a:cubicBezTo>
                        <a:pt x="12755" y="734326"/>
                        <a:pt x="12755" y="743296"/>
                        <a:pt x="17882" y="750986"/>
                      </a:cubicBezTo>
                      <a:cubicBezTo>
                        <a:pt x="25571" y="742015"/>
                        <a:pt x="16600" y="724073"/>
                        <a:pt x="16600" y="724073"/>
                      </a:cubicBezTo>
                      <a:cubicBezTo>
                        <a:pt x="15319" y="716384"/>
                        <a:pt x="14037" y="708695"/>
                        <a:pt x="14037" y="701005"/>
                      </a:cubicBezTo>
                      <a:cubicBezTo>
                        <a:pt x="12755" y="688190"/>
                        <a:pt x="11474" y="675374"/>
                        <a:pt x="10192" y="662559"/>
                      </a:cubicBezTo>
                      <a:cubicBezTo>
                        <a:pt x="8911" y="649744"/>
                        <a:pt x="7629" y="638210"/>
                        <a:pt x="6348" y="625394"/>
                      </a:cubicBezTo>
                      <a:lnTo>
                        <a:pt x="11474" y="586948"/>
                      </a:lnTo>
                      <a:cubicBezTo>
                        <a:pt x="11474" y="592074"/>
                        <a:pt x="12755" y="598482"/>
                        <a:pt x="12755" y="603608"/>
                      </a:cubicBezTo>
                      <a:cubicBezTo>
                        <a:pt x="10192" y="612579"/>
                        <a:pt x="10192" y="621550"/>
                        <a:pt x="14037" y="629239"/>
                      </a:cubicBezTo>
                      <a:cubicBezTo>
                        <a:pt x="21726" y="620268"/>
                        <a:pt x="14037" y="603608"/>
                        <a:pt x="14037" y="602326"/>
                      </a:cubicBezTo>
                      <a:cubicBezTo>
                        <a:pt x="14037" y="594637"/>
                        <a:pt x="12755" y="586948"/>
                        <a:pt x="12755" y="580540"/>
                      </a:cubicBezTo>
                      <a:lnTo>
                        <a:pt x="19163" y="542094"/>
                      </a:lnTo>
                      <a:cubicBezTo>
                        <a:pt x="19163" y="547220"/>
                        <a:pt x="19163" y="553628"/>
                        <a:pt x="20445" y="558754"/>
                      </a:cubicBezTo>
                      <a:cubicBezTo>
                        <a:pt x="17882" y="567725"/>
                        <a:pt x="17882" y="576695"/>
                        <a:pt x="21726" y="584385"/>
                      </a:cubicBezTo>
                      <a:cubicBezTo>
                        <a:pt x="30697" y="575414"/>
                        <a:pt x="21726" y="558754"/>
                        <a:pt x="21726" y="558754"/>
                      </a:cubicBezTo>
                      <a:cubicBezTo>
                        <a:pt x="21726" y="551065"/>
                        <a:pt x="20445" y="544657"/>
                        <a:pt x="20445" y="536968"/>
                      </a:cubicBezTo>
                      <a:lnTo>
                        <a:pt x="30697" y="492113"/>
                      </a:lnTo>
                      <a:cubicBezTo>
                        <a:pt x="30697" y="492113"/>
                        <a:pt x="30697" y="490832"/>
                        <a:pt x="30697" y="490832"/>
                      </a:cubicBezTo>
                      <a:cubicBezTo>
                        <a:pt x="30697" y="478017"/>
                        <a:pt x="30697" y="465201"/>
                        <a:pt x="30697" y="453667"/>
                      </a:cubicBezTo>
                      <a:cubicBezTo>
                        <a:pt x="30697" y="444696"/>
                        <a:pt x="30697" y="435725"/>
                        <a:pt x="30697" y="426755"/>
                      </a:cubicBezTo>
                      <a:cubicBezTo>
                        <a:pt x="34542" y="417784"/>
                        <a:pt x="34542" y="408813"/>
                        <a:pt x="31979" y="402405"/>
                      </a:cubicBezTo>
                      <a:cubicBezTo>
                        <a:pt x="21726" y="411376"/>
                        <a:pt x="29416" y="428036"/>
                        <a:pt x="29416" y="428036"/>
                      </a:cubicBezTo>
                      <a:cubicBezTo>
                        <a:pt x="29416" y="437007"/>
                        <a:pt x="29416" y="445978"/>
                        <a:pt x="29416" y="454949"/>
                      </a:cubicBezTo>
                      <a:cubicBezTo>
                        <a:pt x="29416" y="466482"/>
                        <a:pt x="29416" y="479298"/>
                        <a:pt x="29416" y="490832"/>
                      </a:cubicBezTo>
                      <a:lnTo>
                        <a:pt x="21726" y="529278"/>
                      </a:lnTo>
                      <a:cubicBezTo>
                        <a:pt x="20445" y="494677"/>
                        <a:pt x="20445" y="458793"/>
                        <a:pt x="20445" y="424191"/>
                      </a:cubicBezTo>
                      <a:cubicBezTo>
                        <a:pt x="31979" y="384464"/>
                        <a:pt x="46076" y="333202"/>
                        <a:pt x="60173" y="293474"/>
                      </a:cubicBezTo>
                      <a:lnTo>
                        <a:pt x="93493" y="205047"/>
                      </a:lnTo>
                      <a:cubicBezTo>
                        <a:pt x="94775" y="193513"/>
                        <a:pt x="96056" y="180698"/>
                        <a:pt x="97338" y="169164"/>
                      </a:cubicBezTo>
                      <a:lnTo>
                        <a:pt x="116561" y="126873"/>
                      </a:lnTo>
                      <a:cubicBezTo>
                        <a:pt x="117843" y="115339"/>
                        <a:pt x="120406" y="102524"/>
                        <a:pt x="121687" y="90990"/>
                      </a:cubicBezTo>
                      <a:lnTo>
                        <a:pt x="142192" y="48699"/>
                      </a:lnTo>
                      <a:cubicBezTo>
                        <a:pt x="143474" y="39728"/>
                        <a:pt x="146037" y="30757"/>
                        <a:pt x="147318" y="23068"/>
                      </a:cubicBezTo>
                      <a:cubicBezTo>
                        <a:pt x="153726" y="15379"/>
                        <a:pt x="155008" y="6408"/>
                        <a:pt x="152444" y="0"/>
                      </a:cubicBezTo>
                      <a:cubicBezTo>
                        <a:pt x="152444" y="0"/>
                        <a:pt x="151163" y="0"/>
                        <a:pt x="151163" y="0"/>
                      </a:cubicBezTo>
                      <a:cubicBezTo>
                        <a:pt x="142192" y="8971"/>
                        <a:pt x="142192" y="23068"/>
                        <a:pt x="144755" y="24349"/>
                      </a:cubicBezTo>
                      <a:cubicBezTo>
                        <a:pt x="143474" y="32039"/>
                        <a:pt x="142192" y="39728"/>
                        <a:pt x="140910" y="47417"/>
                      </a:cubicBezTo>
                      <a:lnTo>
                        <a:pt x="122969" y="83300"/>
                      </a:lnTo>
                      <a:cubicBezTo>
                        <a:pt x="125532" y="65359"/>
                        <a:pt x="129377" y="47417"/>
                        <a:pt x="133221" y="29475"/>
                      </a:cubicBezTo>
                      <a:cubicBezTo>
                        <a:pt x="138347" y="21786"/>
                        <a:pt x="140910" y="12815"/>
                        <a:pt x="138347" y="6408"/>
                      </a:cubicBezTo>
                      <a:cubicBezTo>
                        <a:pt x="128095" y="11534"/>
                        <a:pt x="128095" y="28194"/>
                        <a:pt x="130658" y="30757"/>
                      </a:cubicBezTo>
                      <a:cubicBezTo>
                        <a:pt x="126814" y="49980"/>
                        <a:pt x="122969" y="70485"/>
                        <a:pt x="120406" y="89708"/>
                      </a:cubicBezTo>
                      <a:lnTo>
                        <a:pt x="103746" y="125591"/>
                      </a:lnTo>
                      <a:cubicBezTo>
                        <a:pt x="108872" y="94834"/>
                        <a:pt x="113998" y="65359"/>
                        <a:pt x="119124" y="35883"/>
                      </a:cubicBezTo>
                      <a:cubicBezTo>
                        <a:pt x="124250" y="28194"/>
                        <a:pt x="126814" y="19223"/>
                        <a:pt x="124250" y="12815"/>
                      </a:cubicBezTo>
                      <a:cubicBezTo>
                        <a:pt x="115280" y="17942"/>
                        <a:pt x="113998" y="34602"/>
                        <a:pt x="116561" y="37165"/>
                      </a:cubicBezTo>
                      <a:cubicBezTo>
                        <a:pt x="110153" y="67922"/>
                        <a:pt x="105027" y="99961"/>
                        <a:pt x="99901" y="131999"/>
                      </a:cubicBezTo>
                      <a:cubicBezTo>
                        <a:pt x="90930" y="153785"/>
                        <a:pt x="78114" y="183261"/>
                        <a:pt x="69144" y="206329"/>
                      </a:cubicBezTo>
                      <a:cubicBezTo>
                        <a:pt x="67862" y="206329"/>
                        <a:pt x="66580" y="206329"/>
                        <a:pt x="65299" y="206329"/>
                      </a:cubicBezTo>
                      <a:cubicBezTo>
                        <a:pt x="60173" y="217863"/>
                        <a:pt x="61454" y="224270"/>
                        <a:pt x="62736" y="229397"/>
                      </a:cubicBezTo>
                      <a:cubicBezTo>
                        <a:pt x="64018" y="229397"/>
                        <a:pt x="65299" y="228115"/>
                        <a:pt x="66580" y="228115"/>
                      </a:cubicBezTo>
                      <a:cubicBezTo>
                        <a:pt x="67862" y="225552"/>
                        <a:pt x="70425" y="219144"/>
                        <a:pt x="70425" y="210173"/>
                      </a:cubicBezTo>
                      <a:lnTo>
                        <a:pt x="99901" y="139688"/>
                      </a:lnTo>
                      <a:cubicBezTo>
                        <a:pt x="98619" y="148659"/>
                        <a:pt x="97338" y="158912"/>
                        <a:pt x="96056" y="167882"/>
                      </a:cubicBezTo>
                      <a:cubicBezTo>
                        <a:pt x="87086" y="189669"/>
                        <a:pt x="75552" y="220426"/>
                        <a:pt x="66580" y="242212"/>
                      </a:cubicBezTo>
                      <a:cubicBezTo>
                        <a:pt x="65299" y="242212"/>
                        <a:pt x="64018" y="242212"/>
                        <a:pt x="62736" y="242212"/>
                      </a:cubicBezTo>
                      <a:cubicBezTo>
                        <a:pt x="60173" y="247338"/>
                        <a:pt x="57610" y="253746"/>
                        <a:pt x="58891" y="263998"/>
                      </a:cubicBezTo>
                      <a:cubicBezTo>
                        <a:pt x="60173" y="263998"/>
                        <a:pt x="61454" y="265280"/>
                        <a:pt x="62736" y="265280"/>
                      </a:cubicBezTo>
                      <a:cubicBezTo>
                        <a:pt x="65299" y="261435"/>
                        <a:pt x="67862" y="256309"/>
                        <a:pt x="67862" y="246057"/>
                      </a:cubicBezTo>
                      <a:lnTo>
                        <a:pt x="96056" y="175572"/>
                      </a:lnTo>
                      <a:cubicBezTo>
                        <a:pt x="94775" y="184542"/>
                        <a:pt x="93493" y="194795"/>
                        <a:pt x="92212" y="203766"/>
                      </a:cubicBezTo>
                      <a:lnTo>
                        <a:pt x="58891" y="289629"/>
                      </a:lnTo>
                      <a:cubicBezTo>
                        <a:pt x="46076" y="329357"/>
                        <a:pt x="29416" y="381901"/>
                        <a:pt x="19163" y="421628"/>
                      </a:cubicBezTo>
                      <a:cubicBezTo>
                        <a:pt x="19163" y="458793"/>
                        <a:pt x="19163" y="495958"/>
                        <a:pt x="20445" y="534404"/>
                      </a:cubicBezTo>
                      <a:lnTo>
                        <a:pt x="14037" y="572851"/>
                      </a:lnTo>
                      <a:cubicBezTo>
                        <a:pt x="12755" y="549783"/>
                        <a:pt x="11474" y="526715"/>
                        <a:pt x="11474" y="503647"/>
                      </a:cubicBezTo>
                      <a:cubicBezTo>
                        <a:pt x="11474" y="494677"/>
                        <a:pt x="11474" y="485706"/>
                        <a:pt x="11474" y="476735"/>
                      </a:cubicBezTo>
                      <a:cubicBezTo>
                        <a:pt x="14037" y="467764"/>
                        <a:pt x="15319" y="458793"/>
                        <a:pt x="11474" y="451104"/>
                      </a:cubicBezTo>
                      <a:cubicBezTo>
                        <a:pt x="3785" y="460075"/>
                        <a:pt x="8911" y="476735"/>
                        <a:pt x="10192" y="476735"/>
                      </a:cubicBezTo>
                      <a:cubicBezTo>
                        <a:pt x="10192" y="485706"/>
                        <a:pt x="10192" y="494677"/>
                        <a:pt x="10192" y="503647"/>
                      </a:cubicBezTo>
                      <a:cubicBezTo>
                        <a:pt x="10192" y="527997"/>
                        <a:pt x="11474" y="553628"/>
                        <a:pt x="14037" y="577977"/>
                      </a:cubicBezTo>
                      <a:lnTo>
                        <a:pt x="8911" y="616423"/>
                      </a:lnTo>
                      <a:cubicBezTo>
                        <a:pt x="7629" y="606171"/>
                        <a:pt x="7629" y="595919"/>
                        <a:pt x="6348" y="585666"/>
                      </a:cubicBezTo>
                      <a:cubicBezTo>
                        <a:pt x="5066" y="563880"/>
                        <a:pt x="3785" y="542094"/>
                        <a:pt x="3785" y="521589"/>
                      </a:cubicBezTo>
                      <a:cubicBezTo>
                        <a:pt x="6348" y="512618"/>
                        <a:pt x="6348" y="503647"/>
                        <a:pt x="3785" y="495958"/>
                      </a:cubicBezTo>
                      <a:cubicBezTo>
                        <a:pt x="-3905" y="504929"/>
                        <a:pt x="2503" y="521589"/>
                        <a:pt x="2503" y="521589"/>
                      </a:cubicBezTo>
                      <a:cubicBezTo>
                        <a:pt x="2503" y="543375"/>
                        <a:pt x="3785" y="565161"/>
                        <a:pt x="5066" y="585666"/>
                      </a:cubicBezTo>
                      <a:cubicBezTo>
                        <a:pt x="6348" y="598482"/>
                        <a:pt x="6348" y="610016"/>
                        <a:pt x="7629" y="622831"/>
                      </a:cubicBezTo>
                      <a:lnTo>
                        <a:pt x="2503" y="666404"/>
                      </a:lnTo>
                      <a:cubicBezTo>
                        <a:pt x="5066" y="686908"/>
                        <a:pt x="7629" y="708695"/>
                        <a:pt x="10192" y="729199"/>
                      </a:cubicBezTo>
                      <a:cubicBezTo>
                        <a:pt x="7629" y="735607"/>
                        <a:pt x="6348" y="739452"/>
                        <a:pt x="7629" y="74842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573" name="Freeform: Shape 379709">
                <a:extLst>
                  <a:ext uri="{FF2B5EF4-FFF2-40B4-BE49-F238E27FC236}">
                    <a16:creationId xmlns:a16="http://schemas.microsoft.com/office/drawing/2014/main" id="{BF531144-CA4A-4BC9-8AB5-E12357B0D617}"/>
                  </a:ext>
                </a:extLst>
              </p:cNvPr>
              <p:cNvSpPr/>
              <p:nvPr/>
            </p:nvSpPr>
            <p:spPr>
              <a:xfrm>
                <a:off x="4278761" y="3517707"/>
                <a:ext cx="17260" cy="176853"/>
              </a:xfrm>
              <a:custGeom>
                <a:avLst/>
                <a:gdLst>
                  <a:gd name="connsiteX0" fmla="*/ 0 w 17260"/>
                  <a:gd name="connsiteY0" fmla="*/ 17942 h 176853"/>
                  <a:gd name="connsiteX1" fmla="*/ 3845 w 17260"/>
                  <a:gd name="connsiteY1" fmla="*/ 26912 h 176853"/>
                  <a:gd name="connsiteX2" fmla="*/ 8971 w 17260"/>
                  <a:gd name="connsiteY2" fmla="*/ 151222 h 176853"/>
                  <a:gd name="connsiteX3" fmla="*/ 11534 w 17260"/>
                  <a:gd name="connsiteY3" fmla="*/ 176853 h 176853"/>
                  <a:gd name="connsiteX4" fmla="*/ 14097 w 17260"/>
                  <a:gd name="connsiteY4" fmla="*/ 151222 h 176853"/>
                  <a:gd name="connsiteX5" fmla="*/ 12816 w 17260"/>
                  <a:gd name="connsiteY5" fmla="*/ 149941 h 176853"/>
                  <a:gd name="connsiteX6" fmla="*/ 7689 w 17260"/>
                  <a:gd name="connsiteY6" fmla="*/ 25631 h 176853"/>
                  <a:gd name="connsiteX7" fmla="*/ 7689 w 17260"/>
                  <a:gd name="connsiteY7" fmla="*/ 0 h 176853"/>
                  <a:gd name="connsiteX8" fmla="*/ 6408 w 17260"/>
                  <a:gd name="connsiteY8" fmla="*/ 0 h 176853"/>
                  <a:gd name="connsiteX9" fmla="*/ 0 w 17260"/>
                  <a:gd name="connsiteY9" fmla="*/ 17942 h 17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60" h="176853">
                    <a:moveTo>
                      <a:pt x="0" y="17942"/>
                    </a:moveTo>
                    <a:cubicBezTo>
                      <a:pt x="0" y="21786"/>
                      <a:pt x="1282" y="25631"/>
                      <a:pt x="3845" y="26912"/>
                    </a:cubicBezTo>
                    <a:cubicBezTo>
                      <a:pt x="3845" y="67922"/>
                      <a:pt x="5126" y="108931"/>
                      <a:pt x="8971" y="151222"/>
                    </a:cubicBezTo>
                    <a:cubicBezTo>
                      <a:pt x="2563" y="158912"/>
                      <a:pt x="6408" y="176853"/>
                      <a:pt x="11534" y="176853"/>
                    </a:cubicBezTo>
                    <a:cubicBezTo>
                      <a:pt x="17942" y="176853"/>
                      <a:pt x="19223" y="156349"/>
                      <a:pt x="14097" y="151222"/>
                    </a:cubicBezTo>
                    <a:cubicBezTo>
                      <a:pt x="14097" y="151222"/>
                      <a:pt x="12816" y="149941"/>
                      <a:pt x="12816" y="149941"/>
                    </a:cubicBezTo>
                    <a:cubicBezTo>
                      <a:pt x="10252" y="107650"/>
                      <a:pt x="8971" y="66640"/>
                      <a:pt x="7689" y="25631"/>
                    </a:cubicBezTo>
                    <a:cubicBezTo>
                      <a:pt x="14097" y="17942"/>
                      <a:pt x="12816" y="1282"/>
                      <a:pt x="7689" y="0"/>
                    </a:cubicBezTo>
                    <a:cubicBezTo>
                      <a:pt x="7689" y="0"/>
                      <a:pt x="6408" y="0"/>
                      <a:pt x="6408" y="0"/>
                    </a:cubicBezTo>
                    <a:cubicBezTo>
                      <a:pt x="0" y="5126"/>
                      <a:pt x="0" y="15379"/>
                      <a:pt x="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4" name="Freeform: Shape 379710">
                <a:extLst>
                  <a:ext uri="{FF2B5EF4-FFF2-40B4-BE49-F238E27FC236}">
                    <a16:creationId xmlns:a16="http://schemas.microsoft.com/office/drawing/2014/main" id="{08E5727F-CBEF-47B4-8ECE-056BF60CC671}"/>
                  </a:ext>
                </a:extLst>
              </p:cNvPr>
              <p:cNvSpPr/>
              <p:nvPr/>
            </p:nvSpPr>
            <p:spPr>
              <a:xfrm>
                <a:off x="5521121" y="3278770"/>
                <a:ext cx="43789" cy="100005"/>
              </a:xfrm>
              <a:custGeom>
                <a:avLst/>
                <a:gdLst>
                  <a:gd name="connsiteX0" fmla="*/ 744 w 43789"/>
                  <a:gd name="connsiteY0" fmla="*/ 18511 h 100005"/>
                  <a:gd name="connsiteX1" fmla="*/ 13559 w 43789"/>
                  <a:gd name="connsiteY1" fmla="*/ 26201 h 100005"/>
                  <a:gd name="connsiteX2" fmla="*/ 23812 w 43789"/>
                  <a:gd name="connsiteY2" fmla="*/ 74899 h 100005"/>
                  <a:gd name="connsiteX3" fmla="*/ 23812 w 43789"/>
                  <a:gd name="connsiteY3" fmla="*/ 99249 h 100005"/>
                  <a:gd name="connsiteX4" fmla="*/ 43035 w 43789"/>
                  <a:gd name="connsiteY4" fmla="*/ 81307 h 100005"/>
                  <a:gd name="connsiteX5" fmla="*/ 30220 w 43789"/>
                  <a:gd name="connsiteY5" fmla="*/ 73618 h 100005"/>
                  <a:gd name="connsiteX6" fmla="*/ 19967 w 43789"/>
                  <a:gd name="connsiteY6" fmla="*/ 24919 h 100005"/>
                  <a:gd name="connsiteX7" fmla="*/ 19967 w 43789"/>
                  <a:gd name="connsiteY7" fmla="*/ 570 h 100005"/>
                  <a:gd name="connsiteX8" fmla="*/ 12278 w 43789"/>
                  <a:gd name="connsiteY8" fmla="*/ 570 h 100005"/>
                  <a:gd name="connsiteX9" fmla="*/ 744 w 43789"/>
                  <a:gd name="connsiteY9" fmla="*/ 18511 h 10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89" h="100005">
                    <a:moveTo>
                      <a:pt x="744" y="18511"/>
                    </a:moveTo>
                    <a:cubicBezTo>
                      <a:pt x="2025" y="22356"/>
                      <a:pt x="5870" y="26201"/>
                      <a:pt x="13559" y="26201"/>
                    </a:cubicBezTo>
                    <a:cubicBezTo>
                      <a:pt x="17404" y="42861"/>
                      <a:pt x="19967" y="58239"/>
                      <a:pt x="23812" y="74899"/>
                    </a:cubicBezTo>
                    <a:cubicBezTo>
                      <a:pt x="10996" y="82588"/>
                      <a:pt x="14841" y="95404"/>
                      <a:pt x="23812" y="99249"/>
                    </a:cubicBezTo>
                    <a:cubicBezTo>
                      <a:pt x="35346" y="103093"/>
                      <a:pt x="46880" y="91559"/>
                      <a:pt x="43035" y="81307"/>
                    </a:cubicBezTo>
                    <a:cubicBezTo>
                      <a:pt x="41754" y="77462"/>
                      <a:pt x="37909" y="73618"/>
                      <a:pt x="30220" y="73618"/>
                    </a:cubicBezTo>
                    <a:cubicBezTo>
                      <a:pt x="26375" y="56958"/>
                      <a:pt x="23812" y="41579"/>
                      <a:pt x="19967" y="24919"/>
                    </a:cubicBezTo>
                    <a:cubicBezTo>
                      <a:pt x="32783" y="17230"/>
                      <a:pt x="28938" y="4414"/>
                      <a:pt x="19967" y="570"/>
                    </a:cubicBezTo>
                    <a:cubicBezTo>
                      <a:pt x="17404" y="-712"/>
                      <a:pt x="13559" y="570"/>
                      <a:pt x="12278" y="570"/>
                    </a:cubicBezTo>
                    <a:cubicBezTo>
                      <a:pt x="-4382" y="5696"/>
                      <a:pt x="744" y="18511"/>
                      <a:pt x="744" y="1851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5" name="Freeform: Shape 379711">
                <a:extLst>
                  <a:ext uri="{FF2B5EF4-FFF2-40B4-BE49-F238E27FC236}">
                    <a16:creationId xmlns:a16="http://schemas.microsoft.com/office/drawing/2014/main" id="{E27CDC15-F9EA-4061-B7F8-B57B7AC5DB21}"/>
                  </a:ext>
                </a:extLst>
              </p:cNvPr>
              <p:cNvSpPr/>
              <p:nvPr/>
            </p:nvSpPr>
            <p:spPr>
              <a:xfrm>
                <a:off x="6058424" y="3152104"/>
                <a:ext cx="27646" cy="25383"/>
              </a:xfrm>
              <a:custGeom>
                <a:avLst/>
                <a:gdLst>
                  <a:gd name="connsiteX0" fmla="*/ 410 w 27646"/>
                  <a:gd name="connsiteY0" fmla="*/ 17023 h 25383"/>
                  <a:gd name="connsiteX1" fmla="*/ 26041 w 27646"/>
                  <a:gd name="connsiteY1" fmla="*/ 18305 h 25383"/>
                  <a:gd name="connsiteX2" fmla="*/ 10663 w 27646"/>
                  <a:gd name="connsiteY2" fmla="*/ 363 h 25383"/>
                  <a:gd name="connsiteX3" fmla="*/ 410 w 27646"/>
                  <a:gd name="connsiteY3" fmla="*/ 17023 h 25383"/>
                </a:gdLst>
                <a:ahLst/>
                <a:cxnLst>
                  <a:cxn ang="0">
                    <a:pos x="connsiteX0" y="connsiteY0"/>
                  </a:cxn>
                  <a:cxn ang="0">
                    <a:pos x="connsiteX1" y="connsiteY1"/>
                  </a:cxn>
                  <a:cxn ang="0">
                    <a:pos x="connsiteX2" y="connsiteY2"/>
                  </a:cxn>
                  <a:cxn ang="0">
                    <a:pos x="connsiteX3" y="connsiteY3"/>
                  </a:cxn>
                </a:cxnLst>
                <a:rect l="l" t="t" r="r" b="b"/>
                <a:pathLst>
                  <a:path w="27646" h="25383">
                    <a:moveTo>
                      <a:pt x="410" y="17023"/>
                    </a:moveTo>
                    <a:cubicBezTo>
                      <a:pt x="4255" y="27276"/>
                      <a:pt x="19633" y="28557"/>
                      <a:pt x="26041" y="18305"/>
                    </a:cubicBezTo>
                    <a:cubicBezTo>
                      <a:pt x="31167" y="9334"/>
                      <a:pt x="23478" y="-2200"/>
                      <a:pt x="10663" y="363"/>
                    </a:cubicBezTo>
                    <a:cubicBezTo>
                      <a:pt x="410" y="2926"/>
                      <a:pt x="-871" y="11897"/>
                      <a:pt x="410" y="170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6" name="Freeform: Shape 379712">
                <a:extLst>
                  <a:ext uri="{FF2B5EF4-FFF2-40B4-BE49-F238E27FC236}">
                    <a16:creationId xmlns:a16="http://schemas.microsoft.com/office/drawing/2014/main" id="{015F0984-F08E-4D96-AD19-57B915A7E741}"/>
                  </a:ext>
                </a:extLst>
              </p:cNvPr>
              <p:cNvSpPr/>
              <p:nvPr/>
            </p:nvSpPr>
            <p:spPr>
              <a:xfrm>
                <a:off x="6098920" y="3143133"/>
                <a:ext cx="28161" cy="25383"/>
              </a:xfrm>
              <a:custGeom>
                <a:avLst/>
                <a:gdLst>
                  <a:gd name="connsiteX0" fmla="*/ 924 w 28161"/>
                  <a:gd name="connsiteY0" fmla="*/ 17023 h 25383"/>
                  <a:gd name="connsiteX1" fmla="*/ 26556 w 28161"/>
                  <a:gd name="connsiteY1" fmla="*/ 18305 h 25383"/>
                  <a:gd name="connsiteX2" fmla="*/ 11177 w 28161"/>
                  <a:gd name="connsiteY2" fmla="*/ 363 h 25383"/>
                  <a:gd name="connsiteX3" fmla="*/ 924 w 28161"/>
                  <a:gd name="connsiteY3" fmla="*/ 17023 h 25383"/>
                </a:gdLst>
                <a:ahLst/>
                <a:cxnLst>
                  <a:cxn ang="0">
                    <a:pos x="connsiteX0" y="connsiteY0"/>
                  </a:cxn>
                  <a:cxn ang="0">
                    <a:pos x="connsiteX1" y="connsiteY1"/>
                  </a:cxn>
                  <a:cxn ang="0">
                    <a:pos x="connsiteX2" y="connsiteY2"/>
                  </a:cxn>
                  <a:cxn ang="0">
                    <a:pos x="connsiteX3" y="connsiteY3"/>
                  </a:cxn>
                </a:cxnLst>
                <a:rect l="l" t="t" r="r" b="b"/>
                <a:pathLst>
                  <a:path w="28161" h="25383">
                    <a:moveTo>
                      <a:pt x="924" y="17023"/>
                    </a:moveTo>
                    <a:cubicBezTo>
                      <a:pt x="4769" y="27276"/>
                      <a:pt x="20148" y="28557"/>
                      <a:pt x="26556" y="18305"/>
                    </a:cubicBezTo>
                    <a:cubicBezTo>
                      <a:pt x="31682" y="9334"/>
                      <a:pt x="23992" y="-2200"/>
                      <a:pt x="11177" y="363"/>
                    </a:cubicBezTo>
                    <a:cubicBezTo>
                      <a:pt x="924" y="2926"/>
                      <a:pt x="-1639" y="11897"/>
                      <a:pt x="924" y="170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7" name="Freeform: Shape 379713">
                <a:extLst>
                  <a:ext uri="{FF2B5EF4-FFF2-40B4-BE49-F238E27FC236}">
                    <a16:creationId xmlns:a16="http://schemas.microsoft.com/office/drawing/2014/main" id="{76D4A23A-70CE-4C0F-B2B0-C55C135A427E}"/>
                  </a:ext>
                </a:extLst>
              </p:cNvPr>
              <p:cNvSpPr/>
              <p:nvPr/>
            </p:nvSpPr>
            <p:spPr>
              <a:xfrm>
                <a:off x="6139151" y="3134162"/>
                <a:ext cx="26375" cy="25383"/>
              </a:xfrm>
              <a:custGeom>
                <a:avLst/>
                <a:gdLst>
                  <a:gd name="connsiteX0" fmla="*/ 421 w 26375"/>
                  <a:gd name="connsiteY0" fmla="*/ 17023 h 25383"/>
                  <a:gd name="connsiteX1" fmla="*/ 24770 w 26375"/>
                  <a:gd name="connsiteY1" fmla="*/ 18305 h 25383"/>
                  <a:gd name="connsiteX2" fmla="*/ 9392 w 26375"/>
                  <a:gd name="connsiteY2" fmla="*/ 363 h 25383"/>
                  <a:gd name="connsiteX3" fmla="*/ 421 w 26375"/>
                  <a:gd name="connsiteY3" fmla="*/ 17023 h 25383"/>
                </a:gdLst>
                <a:ahLst/>
                <a:cxnLst>
                  <a:cxn ang="0">
                    <a:pos x="connsiteX0" y="connsiteY0"/>
                  </a:cxn>
                  <a:cxn ang="0">
                    <a:pos x="connsiteX1" y="connsiteY1"/>
                  </a:cxn>
                  <a:cxn ang="0">
                    <a:pos x="connsiteX2" y="connsiteY2"/>
                  </a:cxn>
                  <a:cxn ang="0">
                    <a:pos x="connsiteX3" y="connsiteY3"/>
                  </a:cxn>
                </a:cxnLst>
                <a:rect l="l" t="t" r="r" b="b"/>
                <a:pathLst>
                  <a:path w="26375" h="25383">
                    <a:moveTo>
                      <a:pt x="421" y="17023"/>
                    </a:moveTo>
                    <a:cubicBezTo>
                      <a:pt x="4265" y="27276"/>
                      <a:pt x="19644" y="28557"/>
                      <a:pt x="24770" y="18305"/>
                    </a:cubicBezTo>
                    <a:cubicBezTo>
                      <a:pt x="29896" y="9334"/>
                      <a:pt x="22207" y="-2200"/>
                      <a:pt x="9392" y="363"/>
                    </a:cubicBezTo>
                    <a:cubicBezTo>
                      <a:pt x="421" y="2926"/>
                      <a:pt x="-861" y="11897"/>
                      <a:pt x="421" y="170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8" name="Freeform: Shape 379714">
                <a:extLst>
                  <a:ext uri="{FF2B5EF4-FFF2-40B4-BE49-F238E27FC236}">
                    <a16:creationId xmlns:a16="http://schemas.microsoft.com/office/drawing/2014/main" id="{7AE9CD6E-5CF7-4C1B-A65A-3388EAE1E8F3}"/>
                  </a:ext>
                </a:extLst>
              </p:cNvPr>
              <p:cNvSpPr/>
              <p:nvPr/>
            </p:nvSpPr>
            <p:spPr>
              <a:xfrm>
                <a:off x="6179446" y="3126473"/>
                <a:ext cx="26593" cy="25383"/>
              </a:xfrm>
              <a:custGeom>
                <a:avLst/>
                <a:gdLst>
                  <a:gd name="connsiteX0" fmla="*/ 1136 w 26593"/>
                  <a:gd name="connsiteY0" fmla="*/ 17023 h 25383"/>
                  <a:gd name="connsiteX1" fmla="*/ 25485 w 26593"/>
                  <a:gd name="connsiteY1" fmla="*/ 18305 h 25383"/>
                  <a:gd name="connsiteX2" fmla="*/ 10107 w 26593"/>
                  <a:gd name="connsiteY2" fmla="*/ 363 h 25383"/>
                  <a:gd name="connsiteX3" fmla="*/ 1136 w 26593"/>
                  <a:gd name="connsiteY3" fmla="*/ 17023 h 25383"/>
                </a:gdLst>
                <a:ahLst/>
                <a:cxnLst>
                  <a:cxn ang="0">
                    <a:pos x="connsiteX0" y="connsiteY0"/>
                  </a:cxn>
                  <a:cxn ang="0">
                    <a:pos x="connsiteX1" y="connsiteY1"/>
                  </a:cxn>
                  <a:cxn ang="0">
                    <a:pos x="connsiteX2" y="connsiteY2"/>
                  </a:cxn>
                  <a:cxn ang="0">
                    <a:pos x="connsiteX3" y="connsiteY3"/>
                  </a:cxn>
                </a:cxnLst>
                <a:rect l="l" t="t" r="r" b="b"/>
                <a:pathLst>
                  <a:path w="26593" h="25383">
                    <a:moveTo>
                      <a:pt x="1136" y="17023"/>
                    </a:moveTo>
                    <a:cubicBezTo>
                      <a:pt x="4981" y="27276"/>
                      <a:pt x="20360" y="28557"/>
                      <a:pt x="25485" y="18305"/>
                    </a:cubicBezTo>
                    <a:cubicBezTo>
                      <a:pt x="29330" y="9334"/>
                      <a:pt x="22923" y="-2200"/>
                      <a:pt x="10107" y="363"/>
                    </a:cubicBezTo>
                    <a:cubicBezTo>
                      <a:pt x="-145" y="2926"/>
                      <a:pt x="-1427" y="10616"/>
                      <a:pt x="1136" y="170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79" name="Freeform: Shape 379715">
                <a:extLst>
                  <a:ext uri="{FF2B5EF4-FFF2-40B4-BE49-F238E27FC236}">
                    <a16:creationId xmlns:a16="http://schemas.microsoft.com/office/drawing/2014/main" id="{50DE7EF1-55C2-4F30-AA28-7354ECCEEF98}"/>
                  </a:ext>
                </a:extLst>
              </p:cNvPr>
              <p:cNvSpPr/>
              <p:nvPr/>
            </p:nvSpPr>
            <p:spPr>
              <a:xfrm>
                <a:off x="6375523" y="3086745"/>
                <a:ext cx="26486" cy="24303"/>
              </a:xfrm>
              <a:custGeom>
                <a:avLst/>
                <a:gdLst>
                  <a:gd name="connsiteX0" fmla="*/ 1136 w 26486"/>
                  <a:gd name="connsiteY0" fmla="*/ 15742 h 24303"/>
                  <a:gd name="connsiteX1" fmla="*/ 25486 w 26486"/>
                  <a:gd name="connsiteY1" fmla="*/ 18305 h 24303"/>
                  <a:gd name="connsiteX2" fmla="*/ 10107 w 26486"/>
                  <a:gd name="connsiteY2" fmla="*/ 363 h 24303"/>
                  <a:gd name="connsiteX3" fmla="*/ 1136 w 26486"/>
                  <a:gd name="connsiteY3" fmla="*/ 15742 h 24303"/>
                </a:gdLst>
                <a:ahLst/>
                <a:cxnLst>
                  <a:cxn ang="0">
                    <a:pos x="connsiteX0" y="connsiteY0"/>
                  </a:cxn>
                  <a:cxn ang="0">
                    <a:pos x="connsiteX1" y="connsiteY1"/>
                  </a:cxn>
                  <a:cxn ang="0">
                    <a:pos x="connsiteX2" y="connsiteY2"/>
                  </a:cxn>
                  <a:cxn ang="0">
                    <a:pos x="connsiteX3" y="connsiteY3"/>
                  </a:cxn>
                </a:cxnLst>
                <a:rect l="l" t="t" r="r" b="b"/>
                <a:pathLst>
                  <a:path w="26486" h="24303">
                    <a:moveTo>
                      <a:pt x="1136" y="15742"/>
                    </a:moveTo>
                    <a:cubicBezTo>
                      <a:pt x="4981" y="25994"/>
                      <a:pt x="20360" y="27276"/>
                      <a:pt x="25486" y="18305"/>
                    </a:cubicBezTo>
                    <a:cubicBezTo>
                      <a:pt x="29330" y="9334"/>
                      <a:pt x="21641" y="-2200"/>
                      <a:pt x="10107" y="363"/>
                    </a:cubicBezTo>
                    <a:cubicBezTo>
                      <a:pt x="-145" y="1645"/>
                      <a:pt x="-1427" y="10616"/>
                      <a:pt x="1136" y="157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0" name="Freeform: Shape 379716">
                <a:extLst>
                  <a:ext uri="{FF2B5EF4-FFF2-40B4-BE49-F238E27FC236}">
                    <a16:creationId xmlns:a16="http://schemas.microsoft.com/office/drawing/2014/main" id="{BB8AFDDF-48F6-4420-8690-0812239C533E}"/>
                  </a:ext>
                </a:extLst>
              </p:cNvPr>
              <p:cNvSpPr/>
              <p:nvPr/>
            </p:nvSpPr>
            <p:spPr>
              <a:xfrm>
                <a:off x="6526869" y="3056351"/>
                <a:ext cx="47124" cy="97759"/>
              </a:xfrm>
              <a:custGeom>
                <a:avLst/>
                <a:gdLst>
                  <a:gd name="connsiteX0" fmla="*/ 1012 w 47124"/>
                  <a:gd name="connsiteY0" fmla="*/ 17942 h 97759"/>
                  <a:gd name="connsiteX1" fmla="*/ 13828 w 47124"/>
                  <a:gd name="connsiteY1" fmla="*/ 25631 h 97759"/>
                  <a:gd name="connsiteX2" fmla="*/ 27925 w 47124"/>
                  <a:gd name="connsiteY2" fmla="*/ 73048 h 97759"/>
                  <a:gd name="connsiteX3" fmla="*/ 33051 w 47124"/>
                  <a:gd name="connsiteY3" fmla="*/ 97397 h 97759"/>
                  <a:gd name="connsiteX4" fmla="*/ 44585 w 47124"/>
                  <a:gd name="connsiteY4" fmla="*/ 78174 h 97759"/>
                  <a:gd name="connsiteX5" fmla="*/ 33051 w 47124"/>
                  <a:gd name="connsiteY5" fmla="*/ 71767 h 97759"/>
                  <a:gd name="connsiteX6" fmla="*/ 18954 w 47124"/>
                  <a:gd name="connsiteY6" fmla="*/ 24349 h 97759"/>
                  <a:gd name="connsiteX7" fmla="*/ 13828 w 47124"/>
                  <a:gd name="connsiteY7" fmla="*/ 0 h 97759"/>
                  <a:gd name="connsiteX8" fmla="*/ 8702 w 47124"/>
                  <a:gd name="connsiteY8" fmla="*/ 0 h 97759"/>
                  <a:gd name="connsiteX9" fmla="*/ 1012 w 47124"/>
                  <a:gd name="connsiteY9" fmla="*/ 17942 h 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24" h="97759">
                    <a:moveTo>
                      <a:pt x="1012" y="17942"/>
                    </a:moveTo>
                    <a:cubicBezTo>
                      <a:pt x="2294" y="21786"/>
                      <a:pt x="6139" y="25631"/>
                      <a:pt x="13828" y="25631"/>
                    </a:cubicBezTo>
                    <a:cubicBezTo>
                      <a:pt x="18954" y="41010"/>
                      <a:pt x="22799" y="57670"/>
                      <a:pt x="27925" y="73048"/>
                    </a:cubicBezTo>
                    <a:cubicBezTo>
                      <a:pt x="16391" y="79456"/>
                      <a:pt x="22799" y="94834"/>
                      <a:pt x="33051" y="97397"/>
                    </a:cubicBezTo>
                    <a:cubicBezTo>
                      <a:pt x="44585" y="99961"/>
                      <a:pt x="50993" y="88427"/>
                      <a:pt x="44585" y="78174"/>
                    </a:cubicBezTo>
                    <a:cubicBezTo>
                      <a:pt x="40741" y="73048"/>
                      <a:pt x="35614" y="71767"/>
                      <a:pt x="33051" y="71767"/>
                    </a:cubicBezTo>
                    <a:cubicBezTo>
                      <a:pt x="27925" y="56388"/>
                      <a:pt x="24080" y="39728"/>
                      <a:pt x="18954" y="24349"/>
                    </a:cubicBezTo>
                    <a:cubicBezTo>
                      <a:pt x="30488" y="17942"/>
                      <a:pt x="24080" y="2563"/>
                      <a:pt x="13828" y="0"/>
                    </a:cubicBezTo>
                    <a:cubicBezTo>
                      <a:pt x="12546" y="0"/>
                      <a:pt x="9983" y="0"/>
                      <a:pt x="8702" y="0"/>
                    </a:cubicBezTo>
                    <a:cubicBezTo>
                      <a:pt x="-4113" y="5126"/>
                      <a:pt x="1012" y="16660"/>
                      <a:pt x="1012"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1" name="Freeform: Shape 379717">
                <a:extLst>
                  <a:ext uri="{FF2B5EF4-FFF2-40B4-BE49-F238E27FC236}">
                    <a16:creationId xmlns:a16="http://schemas.microsoft.com/office/drawing/2014/main" id="{C9AA02A6-64D3-404F-8562-094B5A655984}"/>
                  </a:ext>
                </a:extLst>
              </p:cNvPr>
              <p:cNvSpPr/>
              <p:nvPr/>
            </p:nvSpPr>
            <p:spPr>
              <a:xfrm>
                <a:off x="7151301" y="2887187"/>
                <a:ext cx="74827" cy="91063"/>
              </a:xfrm>
              <a:custGeom>
                <a:avLst/>
                <a:gdLst>
                  <a:gd name="connsiteX0" fmla="*/ 1978 w 74827"/>
                  <a:gd name="connsiteY0" fmla="*/ 14097 h 91063"/>
                  <a:gd name="connsiteX1" fmla="*/ 12230 w 74827"/>
                  <a:gd name="connsiteY1" fmla="*/ 23068 h 91063"/>
                  <a:gd name="connsiteX2" fmla="*/ 22482 w 74827"/>
                  <a:gd name="connsiteY2" fmla="*/ 47417 h 91063"/>
                  <a:gd name="connsiteX3" fmla="*/ 54521 w 74827"/>
                  <a:gd name="connsiteY3" fmla="*/ 73048 h 91063"/>
                  <a:gd name="connsiteX4" fmla="*/ 72463 w 74827"/>
                  <a:gd name="connsiteY4" fmla="*/ 89708 h 91063"/>
                  <a:gd name="connsiteX5" fmla="*/ 62211 w 74827"/>
                  <a:gd name="connsiteY5" fmla="*/ 66640 h 91063"/>
                  <a:gd name="connsiteX6" fmla="*/ 55803 w 74827"/>
                  <a:gd name="connsiteY6" fmla="*/ 69203 h 91063"/>
                  <a:gd name="connsiteX7" fmla="*/ 26327 w 74827"/>
                  <a:gd name="connsiteY7" fmla="*/ 44854 h 91063"/>
                  <a:gd name="connsiteX8" fmla="*/ 17356 w 74827"/>
                  <a:gd name="connsiteY8" fmla="*/ 23068 h 91063"/>
                  <a:gd name="connsiteX9" fmla="*/ 7104 w 74827"/>
                  <a:gd name="connsiteY9" fmla="*/ 0 h 91063"/>
                  <a:gd name="connsiteX10" fmla="*/ 5822 w 74827"/>
                  <a:gd name="connsiteY10" fmla="*/ 0 h 91063"/>
                  <a:gd name="connsiteX11" fmla="*/ 1978 w 74827"/>
                  <a:gd name="connsiteY11" fmla="*/ 14097 h 91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827" h="91063">
                    <a:moveTo>
                      <a:pt x="1978" y="14097"/>
                    </a:moveTo>
                    <a:cubicBezTo>
                      <a:pt x="3259" y="16660"/>
                      <a:pt x="7104" y="21786"/>
                      <a:pt x="12230" y="23068"/>
                    </a:cubicBezTo>
                    <a:cubicBezTo>
                      <a:pt x="16075" y="30757"/>
                      <a:pt x="18638" y="38446"/>
                      <a:pt x="22482" y="47417"/>
                    </a:cubicBezTo>
                    <a:cubicBezTo>
                      <a:pt x="31453" y="55106"/>
                      <a:pt x="44269" y="65359"/>
                      <a:pt x="54521" y="73048"/>
                    </a:cubicBezTo>
                    <a:cubicBezTo>
                      <a:pt x="54521" y="84582"/>
                      <a:pt x="66055" y="94834"/>
                      <a:pt x="72463" y="89708"/>
                    </a:cubicBezTo>
                    <a:cubicBezTo>
                      <a:pt x="78871" y="84582"/>
                      <a:pt x="71182" y="67922"/>
                      <a:pt x="62211" y="66640"/>
                    </a:cubicBezTo>
                    <a:cubicBezTo>
                      <a:pt x="58366" y="66640"/>
                      <a:pt x="57084" y="67922"/>
                      <a:pt x="55803" y="69203"/>
                    </a:cubicBezTo>
                    <a:lnTo>
                      <a:pt x="26327" y="44854"/>
                    </a:lnTo>
                    <a:cubicBezTo>
                      <a:pt x="23764" y="37165"/>
                      <a:pt x="19919" y="30757"/>
                      <a:pt x="17356" y="23068"/>
                    </a:cubicBezTo>
                    <a:cubicBezTo>
                      <a:pt x="26327" y="16660"/>
                      <a:pt x="16075" y="1282"/>
                      <a:pt x="7104" y="0"/>
                    </a:cubicBezTo>
                    <a:cubicBezTo>
                      <a:pt x="7104" y="0"/>
                      <a:pt x="5822" y="0"/>
                      <a:pt x="5822" y="0"/>
                    </a:cubicBezTo>
                    <a:cubicBezTo>
                      <a:pt x="-4430" y="1282"/>
                      <a:pt x="1978" y="14097"/>
                      <a:pt x="197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2" name="Freeform: Shape 379718">
                <a:extLst>
                  <a:ext uri="{FF2B5EF4-FFF2-40B4-BE49-F238E27FC236}">
                    <a16:creationId xmlns:a16="http://schemas.microsoft.com/office/drawing/2014/main" id="{050B444A-A8AB-4810-BB92-68D59C40A7BE}"/>
                  </a:ext>
                </a:extLst>
              </p:cNvPr>
              <p:cNvSpPr/>
              <p:nvPr/>
            </p:nvSpPr>
            <p:spPr>
              <a:xfrm>
                <a:off x="7545433" y="2937167"/>
                <a:ext cx="76784" cy="206328"/>
              </a:xfrm>
              <a:custGeom>
                <a:avLst/>
                <a:gdLst>
                  <a:gd name="connsiteX0" fmla="*/ 3844 w 76784"/>
                  <a:gd name="connsiteY0" fmla="*/ 14097 h 206328"/>
                  <a:gd name="connsiteX1" fmla="*/ 11534 w 76784"/>
                  <a:gd name="connsiteY1" fmla="*/ 24349 h 206328"/>
                  <a:gd name="connsiteX2" fmla="*/ 66641 w 76784"/>
                  <a:gd name="connsiteY2" fmla="*/ 180698 h 206328"/>
                  <a:gd name="connsiteX3" fmla="*/ 75611 w 76784"/>
                  <a:gd name="connsiteY3" fmla="*/ 206329 h 206328"/>
                  <a:gd name="connsiteX4" fmla="*/ 67922 w 76784"/>
                  <a:gd name="connsiteY4" fmla="*/ 180698 h 206328"/>
                  <a:gd name="connsiteX5" fmla="*/ 12815 w 76784"/>
                  <a:gd name="connsiteY5" fmla="*/ 24349 h 206328"/>
                  <a:gd name="connsiteX6" fmla="*/ 1281 w 76784"/>
                  <a:gd name="connsiteY6" fmla="*/ 0 h 206328"/>
                  <a:gd name="connsiteX7" fmla="*/ 0 w 76784"/>
                  <a:gd name="connsiteY7" fmla="*/ 1281 h 206328"/>
                  <a:gd name="connsiteX8" fmla="*/ 3844 w 76784"/>
                  <a:gd name="connsiteY8" fmla="*/ 14097 h 20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84" h="206328">
                    <a:moveTo>
                      <a:pt x="3844" y="14097"/>
                    </a:moveTo>
                    <a:cubicBezTo>
                      <a:pt x="5126" y="17942"/>
                      <a:pt x="7689" y="21786"/>
                      <a:pt x="11534" y="24349"/>
                    </a:cubicBezTo>
                    <a:cubicBezTo>
                      <a:pt x="32039" y="75611"/>
                      <a:pt x="51262" y="126873"/>
                      <a:pt x="66641" y="180698"/>
                    </a:cubicBezTo>
                    <a:cubicBezTo>
                      <a:pt x="64078" y="185824"/>
                      <a:pt x="69203" y="205047"/>
                      <a:pt x="75611" y="206329"/>
                    </a:cubicBezTo>
                    <a:cubicBezTo>
                      <a:pt x="79456" y="199921"/>
                      <a:pt x="73048" y="184542"/>
                      <a:pt x="67922" y="180698"/>
                    </a:cubicBezTo>
                    <a:cubicBezTo>
                      <a:pt x="51262" y="126873"/>
                      <a:pt x="33320" y="75611"/>
                      <a:pt x="12815" y="24349"/>
                    </a:cubicBezTo>
                    <a:cubicBezTo>
                      <a:pt x="15378" y="17942"/>
                      <a:pt x="6408" y="1281"/>
                      <a:pt x="1281" y="0"/>
                    </a:cubicBezTo>
                    <a:cubicBezTo>
                      <a:pt x="1281" y="0"/>
                      <a:pt x="0" y="0"/>
                      <a:pt x="0" y="1281"/>
                    </a:cubicBezTo>
                    <a:cubicBezTo>
                      <a:pt x="1281" y="3845"/>
                      <a:pt x="0" y="6408"/>
                      <a:pt x="3844"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3" name="Freeform: Shape 379719">
                <a:extLst>
                  <a:ext uri="{FF2B5EF4-FFF2-40B4-BE49-F238E27FC236}">
                    <a16:creationId xmlns:a16="http://schemas.microsoft.com/office/drawing/2014/main" id="{7E638404-D3D4-43FF-BC5D-47ADE54744A6}"/>
                  </a:ext>
                </a:extLst>
              </p:cNvPr>
              <p:cNvSpPr/>
              <p:nvPr/>
            </p:nvSpPr>
            <p:spPr>
              <a:xfrm>
                <a:off x="7619763" y="2955109"/>
                <a:ext cx="84750" cy="243493"/>
              </a:xfrm>
              <a:custGeom>
                <a:avLst/>
                <a:gdLst>
                  <a:gd name="connsiteX0" fmla="*/ 3844 w 84750"/>
                  <a:gd name="connsiteY0" fmla="*/ 14097 h 243493"/>
                  <a:gd name="connsiteX1" fmla="*/ 8971 w 84750"/>
                  <a:gd name="connsiteY1" fmla="*/ 24349 h 243493"/>
                  <a:gd name="connsiteX2" fmla="*/ 76893 w 84750"/>
                  <a:gd name="connsiteY2" fmla="*/ 217863 h 243493"/>
                  <a:gd name="connsiteX3" fmla="*/ 84582 w 84750"/>
                  <a:gd name="connsiteY3" fmla="*/ 243494 h 243493"/>
                  <a:gd name="connsiteX4" fmla="*/ 78175 w 84750"/>
                  <a:gd name="connsiteY4" fmla="*/ 217863 h 243493"/>
                  <a:gd name="connsiteX5" fmla="*/ 10253 w 84750"/>
                  <a:gd name="connsiteY5" fmla="*/ 24349 h 243493"/>
                  <a:gd name="connsiteX6" fmla="*/ 0 w 84750"/>
                  <a:gd name="connsiteY6" fmla="*/ 0 h 243493"/>
                  <a:gd name="connsiteX7" fmla="*/ 3844 w 84750"/>
                  <a:gd name="connsiteY7" fmla="*/ 14097 h 24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50" h="243493">
                    <a:moveTo>
                      <a:pt x="3844" y="14097"/>
                    </a:moveTo>
                    <a:cubicBezTo>
                      <a:pt x="6408" y="20505"/>
                      <a:pt x="7689" y="23068"/>
                      <a:pt x="8971" y="24349"/>
                    </a:cubicBezTo>
                    <a:cubicBezTo>
                      <a:pt x="34602" y="87145"/>
                      <a:pt x="57670" y="151222"/>
                      <a:pt x="76893" y="217863"/>
                    </a:cubicBezTo>
                    <a:cubicBezTo>
                      <a:pt x="76893" y="222989"/>
                      <a:pt x="80738" y="239649"/>
                      <a:pt x="84582" y="243494"/>
                    </a:cubicBezTo>
                    <a:cubicBezTo>
                      <a:pt x="85864" y="238368"/>
                      <a:pt x="79456" y="222989"/>
                      <a:pt x="78175" y="217863"/>
                    </a:cubicBezTo>
                    <a:cubicBezTo>
                      <a:pt x="58951" y="151222"/>
                      <a:pt x="35883" y="87145"/>
                      <a:pt x="10253" y="24349"/>
                    </a:cubicBezTo>
                    <a:cubicBezTo>
                      <a:pt x="8971" y="17942"/>
                      <a:pt x="2563" y="3845"/>
                      <a:pt x="0" y="0"/>
                    </a:cubicBezTo>
                    <a:cubicBezTo>
                      <a:pt x="0" y="2563"/>
                      <a:pt x="0" y="3845"/>
                      <a:pt x="3844"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4" name="Freeform: Shape 379720">
                <a:extLst>
                  <a:ext uri="{FF2B5EF4-FFF2-40B4-BE49-F238E27FC236}">
                    <a16:creationId xmlns:a16="http://schemas.microsoft.com/office/drawing/2014/main" id="{E11F33EF-A9AE-4757-A929-76C7ADBACC7A}"/>
                  </a:ext>
                </a:extLst>
              </p:cNvPr>
              <p:cNvSpPr/>
              <p:nvPr/>
            </p:nvSpPr>
            <p:spPr>
              <a:xfrm>
                <a:off x="4298819" y="3399805"/>
                <a:ext cx="18237" cy="322949"/>
              </a:xfrm>
              <a:custGeom>
                <a:avLst/>
                <a:gdLst>
                  <a:gd name="connsiteX0" fmla="*/ 447 w 18237"/>
                  <a:gd name="connsiteY0" fmla="*/ 17942 h 322949"/>
                  <a:gd name="connsiteX1" fmla="*/ 4291 w 18237"/>
                  <a:gd name="connsiteY1" fmla="*/ 25631 h 322949"/>
                  <a:gd name="connsiteX2" fmla="*/ 9417 w 18237"/>
                  <a:gd name="connsiteY2" fmla="*/ 297319 h 322949"/>
                  <a:gd name="connsiteX3" fmla="*/ 11981 w 18237"/>
                  <a:gd name="connsiteY3" fmla="*/ 322949 h 322949"/>
                  <a:gd name="connsiteX4" fmla="*/ 11981 w 18237"/>
                  <a:gd name="connsiteY4" fmla="*/ 296037 h 322949"/>
                  <a:gd name="connsiteX5" fmla="*/ 6854 w 18237"/>
                  <a:gd name="connsiteY5" fmla="*/ 24349 h 322949"/>
                  <a:gd name="connsiteX6" fmla="*/ 9417 w 18237"/>
                  <a:gd name="connsiteY6" fmla="*/ 0 h 322949"/>
                  <a:gd name="connsiteX7" fmla="*/ 6854 w 18237"/>
                  <a:gd name="connsiteY7" fmla="*/ 0 h 322949"/>
                  <a:gd name="connsiteX8" fmla="*/ 447 w 18237"/>
                  <a:gd name="connsiteY8" fmla="*/ 17942 h 32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37" h="322949">
                    <a:moveTo>
                      <a:pt x="447" y="17942"/>
                    </a:moveTo>
                    <a:cubicBezTo>
                      <a:pt x="447" y="21786"/>
                      <a:pt x="1728" y="25631"/>
                      <a:pt x="4291" y="25631"/>
                    </a:cubicBezTo>
                    <a:cubicBezTo>
                      <a:pt x="447" y="115339"/>
                      <a:pt x="1728" y="206329"/>
                      <a:pt x="9417" y="297319"/>
                    </a:cubicBezTo>
                    <a:cubicBezTo>
                      <a:pt x="4291" y="305008"/>
                      <a:pt x="4291" y="319105"/>
                      <a:pt x="11981" y="322949"/>
                    </a:cubicBezTo>
                    <a:cubicBezTo>
                      <a:pt x="20951" y="319105"/>
                      <a:pt x="19670" y="299882"/>
                      <a:pt x="11981" y="296037"/>
                    </a:cubicBezTo>
                    <a:cubicBezTo>
                      <a:pt x="3010" y="203766"/>
                      <a:pt x="1728" y="112776"/>
                      <a:pt x="6854" y="24349"/>
                    </a:cubicBezTo>
                    <a:cubicBezTo>
                      <a:pt x="11981" y="17942"/>
                      <a:pt x="14544" y="5126"/>
                      <a:pt x="9417" y="0"/>
                    </a:cubicBezTo>
                    <a:cubicBezTo>
                      <a:pt x="8136" y="0"/>
                      <a:pt x="8136" y="0"/>
                      <a:pt x="6854" y="0"/>
                    </a:cubicBezTo>
                    <a:cubicBezTo>
                      <a:pt x="447" y="6408"/>
                      <a:pt x="-835" y="14097"/>
                      <a:pt x="447"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5" name="Freeform: Shape 379721">
                <a:extLst>
                  <a:ext uri="{FF2B5EF4-FFF2-40B4-BE49-F238E27FC236}">
                    <a16:creationId xmlns:a16="http://schemas.microsoft.com/office/drawing/2014/main" id="{EEE61B38-7465-4A98-AF31-2670F92F3A53}"/>
                  </a:ext>
                </a:extLst>
              </p:cNvPr>
              <p:cNvSpPr/>
              <p:nvPr/>
            </p:nvSpPr>
            <p:spPr>
              <a:xfrm>
                <a:off x="6048877" y="3179700"/>
                <a:ext cx="113762" cy="314005"/>
              </a:xfrm>
              <a:custGeom>
                <a:avLst/>
                <a:gdLst>
                  <a:gd name="connsiteX0" fmla="*/ 986 w 113762"/>
                  <a:gd name="connsiteY0" fmla="*/ 305969 h 314005"/>
                  <a:gd name="connsiteX1" fmla="*/ 26617 w 113762"/>
                  <a:gd name="connsiteY1" fmla="*/ 304687 h 314005"/>
                  <a:gd name="connsiteX2" fmla="*/ 24054 w 113762"/>
                  <a:gd name="connsiteY2" fmla="*/ 290590 h 314005"/>
                  <a:gd name="connsiteX3" fmla="*/ 113763 w 113762"/>
                  <a:gd name="connsiteY3" fmla="*/ 159873 h 314005"/>
                  <a:gd name="connsiteX4" fmla="*/ 79161 w 113762"/>
                  <a:gd name="connsiteY4" fmla="*/ 24029 h 314005"/>
                  <a:gd name="connsiteX5" fmla="*/ 77880 w 113762"/>
                  <a:gd name="connsiteY5" fmla="*/ 961 h 314005"/>
                  <a:gd name="connsiteX6" fmla="*/ 70190 w 113762"/>
                  <a:gd name="connsiteY6" fmla="*/ 961 h 314005"/>
                  <a:gd name="connsiteX7" fmla="*/ 67627 w 113762"/>
                  <a:gd name="connsiteY7" fmla="*/ 25310 h 314005"/>
                  <a:gd name="connsiteX8" fmla="*/ 74035 w 113762"/>
                  <a:gd name="connsiteY8" fmla="*/ 26592 h 314005"/>
                  <a:gd name="connsiteX9" fmla="*/ 107355 w 113762"/>
                  <a:gd name="connsiteY9" fmla="*/ 159873 h 314005"/>
                  <a:gd name="connsiteX10" fmla="*/ 18928 w 113762"/>
                  <a:gd name="connsiteY10" fmla="*/ 289309 h 314005"/>
                  <a:gd name="connsiteX11" fmla="*/ 986 w 113762"/>
                  <a:gd name="connsiteY11" fmla="*/ 305969 h 31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3762" h="314005">
                    <a:moveTo>
                      <a:pt x="986" y="305969"/>
                    </a:moveTo>
                    <a:cubicBezTo>
                      <a:pt x="6113" y="317503"/>
                      <a:pt x="22773" y="316221"/>
                      <a:pt x="26617" y="304687"/>
                    </a:cubicBezTo>
                    <a:cubicBezTo>
                      <a:pt x="29181" y="299561"/>
                      <a:pt x="27899" y="294435"/>
                      <a:pt x="24054" y="290590"/>
                    </a:cubicBezTo>
                    <a:cubicBezTo>
                      <a:pt x="50967" y="250863"/>
                      <a:pt x="86850" y="198319"/>
                      <a:pt x="113763" y="159873"/>
                    </a:cubicBezTo>
                    <a:cubicBezTo>
                      <a:pt x="102229" y="113737"/>
                      <a:pt x="90695" y="68883"/>
                      <a:pt x="79161" y="24029"/>
                    </a:cubicBezTo>
                    <a:cubicBezTo>
                      <a:pt x="90695" y="17621"/>
                      <a:pt x="86850" y="3524"/>
                      <a:pt x="77880" y="961"/>
                    </a:cubicBezTo>
                    <a:cubicBezTo>
                      <a:pt x="75316" y="-320"/>
                      <a:pt x="71471" y="-320"/>
                      <a:pt x="70190" y="961"/>
                    </a:cubicBezTo>
                    <a:cubicBezTo>
                      <a:pt x="54812" y="6087"/>
                      <a:pt x="58656" y="20184"/>
                      <a:pt x="67627" y="25310"/>
                    </a:cubicBezTo>
                    <a:cubicBezTo>
                      <a:pt x="70190" y="26592"/>
                      <a:pt x="72753" y="26592"/>
                      <a:pt x="74035" y="26592"/>
                    </a:cubicBezTo>
                    <a:cubicBezTo>
                      <a:pt x="85569" y="70165"/>
                      <a:pt x="97103" y="115019"/>
                      <a:pt x="107355" y="159873"/>
                    </a:cubicBezTo>
                    <a:cubicBezTo>
                      <a:pt x="80442" y="198319"/>
                      <a:pt x="45841" y="249581"/>
                      <a:pt x="18928" y="289309"/>
                    </a:cubicBezTo>
                    <a:cubicBezTo>
                      <a:pt x="4831" y="284183"/>
                      <a:pt x="-2858" y="296998"/>
                      <a:pt x="986" y="30596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6" name="Freeform: Shape 379722">
                <a:extLst>
                  <a:ext uri="{FF2B5EF4-FFF2-40B4-BE49-F238E27FC236}">
                    <a16:creationId xmlns:a16="http://schemas.microsoft.com/office/drawing/2014/main" id="{613C5C14-BC3C-4A34-B688-E52EBA31BFA3}"/>
                  </a:ext>
                </a:extLst>
              </p:cNvPr>
              <p:cNvSpPr/>
              <p:nvPr/>
            </p:nvSpPr>
            <p:spPr>
              <a:xfrm>
                <a:off x="6149004" y="3169447"/>
                <a:ext cx="55500" cy="135855"/>
              </a:xfrm>
              <a:custGeom>
                <a:avLst/>
                <a:gdLst>
                  <a:gd name="connsiteX0" fmla="*/ 820 w 55500"/>
                  <a:gd name="connsiteY0" fmla="*/ 18903 h 135855"/>
                  <a:gd name="connsiteX1" fmla="*/ 13636 w 55500"/>
                  <a:gd name="connsiteY1" fmla="*/ 26592 h 135855"/>
                  <a:gd name="connsiteX2" fmla="*/ 35422 w 55500"/>
                  <a:gd name="connsiteY2" fmla="*/ 111174 h 135855"/>
                  <a:gd name="connsiteX3" fmla="*/ 39267 w 55500"/>
                  <a:gd name="connsiteY3" fmla="*/ 135523 h 135855"/>
                  <a:gd name="connsiteX4" fmla="*/ 53364 w 55500"/>
                  <a:gd name="connsiteY4" fmla="*/ 115019 h 135855"/>
                  <a:gd name="connsiteX5" fmla="*/ 41830 w 55500"/>
                  <a:gd name="connsiteY5" fmla="*/ 108611 h 135855"/>
                  <a:gd name="connsiteX6" fmla="*/ 20044 w 55500"/>
                  <a:gd name="connsiteY6" fmla="*/ 24029 h 135855"/>
                  <a:gd name="connsiteX7" fmla="*/ 18762 w 55500"/>
                  <a:gd name="connsiteY7" fmla="*/ 961 h 135855"/>
                  <a:gd name="connsiteX8" fmla="*/ 11073 w 55500"/>
                  <a:gd name="connsiteY8" fmla="*/ 961 h 135855"/>
                  <a:gd name="connsiteX9" fmla="*/ 820 w 55500"/>
                  <a:gd name="connsiteY9" fmla="*/ 18903 h 13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500" h="135855">
                    <a:moveTo>
                      <a:pt x="820" y="18903"/>
                    </a:moveTo>
                    <a:cubicBezTo>
                      <a:pt x="2102" y="22747"/>
                      <a:pt x="5946" y="26592"/>
                      <a:pt x="13636" y="26592"/>
                    </a:cubicBezTo>
                    <a:cubicBezTo>
                      <a:pt x="21325" y="54786"/>
                      <a:pt x="27733" y="82980"/>
                      <a:pt x="35422" y="111174"/>
                    </a:cubicBezTo>
                    <a:cubicBezTo>
                      <a:pt x="22607" y="118863"/>
                      <a:pt x="29014" y="134242"/>
                      <a:pt x="39267" y="135523"/>
                    </a:cubicBezTo>
                    <a:cubicBezTo>
                      <a:pt x="50801" y="138087"/>
                      <a:pt x="59772" y="125271"/>
                      <a:pt x="53364" y="115019"/>
                    </a:cubicBezTo>
                    <a:cubicBezTo>
                      <a:pt x="49519" y="109892"/>
                      <a:pt x="44393" y="108611"/>
                      <a:pt x="41830" y="108611"/>
                    </a:cubicBezTo>
                    <a:cubicBezTo>
                      <a:pt x="34141" y="80417"/>
                      <a:pt x="27733" y="52223"/>
                      <a:pt x="20044" y="24029"/>
                    </a:cubicBezTo>
                    <a:cubicBezTo>
                      <a:pt x="31577" y="17621"/>
                      <a:pt x="27733" y="3524"/>
                      <a:pt x="18762" y="961"/>
                    </a:cubicBezTo>
                    <a:cubicBezTo>
                      <a:pt x="16199" y="-320"/>
                      <a:pt x="13636" y="-320"/>
                      <a:pt x="11073" y="961"/>
                    </a:cubicBezTo>
                    <a:cubicBezTo>
                      <a:pt x="-4306" y="6087"/>
                      <a:pt x="820" y="18903"/>
                      <a:pt x="820" y="189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7" name="Freeform: Shape 379723">
                <a:extLst>
                  <a:ext uri="{FF2B5EF4-FFF2-40B4-BE49-F238E27FC236}">
                    <a16:creationId xmlns:a16="http://schemas.microsoft.com/office/drawing/2014/main" id="{CE8548FD-F0A0-4694-8876-2B614E11F0D7}"/>
                  </a:ext>
                </a:extLst>
              </p:cNvPr>
              <p:cNvSpPr/>
              <p:nvPr/>
            </p:nvSpPr>
            <p:spPr>
              <a:xfrm>
                <a:off x="6346601" y="3130318"/>
                <a:ext cx="25931" cy="24303"/>
              </a:xfrm>
              <a:custGeom>
                <a:avLst/>
                <a:gdLst>
                  <a:gd name="connsiteX0" fmla="*/ 582 w 25931"/>
                  <a:gd name="connsiteY0" fmla="*/ 15742 h 24303"/>
                  <a:gd name="connsiteX1" fmla="*/ 24932 w 25931"/>
                  <a:gd name="connsiteY1" fmla="*/ 18305 h 24303"/>
                  <a:gd name="connsiteX2" fmla="*/ 9553 w 25931"/>
                  <a:gd name="connsiteY2" fmla="*/ 363 h 24303"/>
                  <a:gd name="connsiteX3" fmla="*/ 582 w 25931"/>
                  <a:gd name="connsiteY3" fmla="*/ 15742 h 24303"/>
                </a:gdLst>
                <a:ahLst/>
                <a:cxnLst>
                  <a:cxn ang="0">
                    <a:pos x="connsiteX0" y="connsiteY0"/>
                  </a:cxn>
                  <a:cxn ang="0">
                    <a:pos x="connsiteX1" y="connsiteY1"/>
                  </a:cxn>
                  <a:cxn ang="0">
                    <a:pos x="connsiteX2" y="connsiteY2"/>
                  </a:cxn>
                  <a:cxn ang="0">
                    <a:pos x="connsiteX3" y="connsiteY3"/>
                  </a:cxn>
                </a:cxnLst>
                <a:rect l="l" t="t" r="r" b="b"/>
                <a:pathLst>
                  <a:path w="25931" h="24303">
                    <a:moveTo>
                      <a:pt x="582" y="15742"/>
                    </a:moveTo>
                    <a:cubicBezTo>
                      <a:pt x="4427" y="25994"/>
                      <a:pt x="19805" y="27276"/>
                      <a:pt x="24932" y="18305"/>
                    </a:cubicBezTo>
                    <a:cubicBezTo>
                      <a:pt x="28776" y="9334"/>
                      <a:pt x="21087" y="-2200"/>
                      <a:pt x="9553" y="363"/>
                    </a:cubicBezTo>
                    <a:cubicBezTo>
                      <a:pt x="-699" y="1645"/>
                      <a:pt x="-699" y="10615"/>
                      <a:pt x="582" y="157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8" name="Freeform: Shape 379724">
                <a:extLst>
                  <a:ext uri="{FF2B5EF4-FFF2-40B4-BE49-F238E27FC236}">
                    <a16:creationId xmlns:a16="http://schemas.microsoft.com/office/drawing/2014/main" id="{0EBF9EE2-D70B-44CD-8D0B-96969EAC7532}"/>
                  </a:ext>
                </a:extLst>
              </p:cNvPr>
              <p:cNvSpPr/>
              <p:nvPr/>
            </p:nvSpPr>
            <p:spPr>
              <a:xfrm>
                <a:off x="6647741" y="3071631"/>
                <a:ext cx="24674" cy="26273"/>
              </a:xfrm>
              <a:custGeom>
                <a:avLst/>
                <a:gdLst>
                  <a:gd name="connsiteX0" fmla="*/ 607 w 24674"/>
                  <a:gd name="connsiteY0" fmla="*/ 16758 h 26273"/>
                  <a:gd name="connsiteX1" fmla="*/ 23675 w 24674"/>
                  <a:gd name="connsiteY1" fmla="*/ 19321 h 26273"/>
                  <a:gd name="connsiteX2" fmla="*/ 8296 w 24674"/>
                  <a:gd name="connsiteY2" fmla="*/ 98 h 26273"/>
                  <a:gd name="connsiteX3" fmla="*/ 607 w 24674"/>
                  <a:gd name="connsiteY3" fmla="*/ 16758 h 26273"/>
                </a:gdLst>
                <a:ahLst/>
                <a:cxnLst>
                  <a:cxn ang="0">
                    <a:pos x="connsiteX0" y="connsiteY0"/>
                  </a:cxn>
                  <a:cxn ang="0">
                    <a:pos x="connsiteX1" y="connsiteY1"/>
                  </a:cxn>
                  <a:cxn ang="0">
                    <a:pos x="connsiteX2" y="connsiteY2"/>
                  </a:cxn>
                  <a:cxn ang="0">
                    <a:pos x="connsiteX3" y="connsiteY3"/>
                  </a:cxn>
                </a:cxnLst>
                <a:rect l="l" t="t" r="r" b="b"/>
                <a:pathLst>
                  <a:path w="24674" h="26273">
                    <a:moveTo>
                      <a:pt x="607" y="16758"/>
                    </a:moveTo>
                    <a:cubicBezTo>
                      <a:pt x="4451" y="28292"/>
                      <a:pt x="19830" y="29574"/>
                      <a:pt x="23675" y="19321"/>
                    </a:cubicBezTo>
                    <a:cubicBezTo>
                      <a:pt x="27519" y="10350"/>
                      <a:pt x="19830" y="-1183"/>
                      <a:pt x="8296" y="98"/>
                    </a:cubicBezTo>
                    <a:cubicBezTo>
                      <a:pt x="-675" y="2661"/>
                      <a:pt x="-675" y="11632"/>
                      <a:pt x="607" y="1675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89" name="Freeform: Shape 379725">
                <a:extLst>
                  <a:ext uri="{FF2B5EF4-FFF2-40B4-BE49-F238E27FC236}">
                    <a16:creationId xmlns:a16="http://schemas.microsoft.com/office/drawing/2014/main" id="{2D1AD365-0A01-44CF-A684-0591B00696BA}"/>
                  </a:ext>
                </a:extLst>
              </p:cNvPr>
              <p:cNvSpPr/>
              <p:nvPr/>
            </p:nvSpPr>
            <p:spPr>
              <a:xfrm>
                <a:off x="6683625" y="3065224"/>
                <a:ext cx="24674" cy="26273"/>
              </a:xfrm>
              <a:custGeom>
                <a:avLst/>
                <a:gdLst>
                  <a:gd name="connsiteX0" fmla="*/ 606 w 24674"/>
                  <a:gd name="connsiteY0" fmla="*/ 16758 h 26273"/>
                  <a:gd name="connsiteX1" fmla="*/ 23674 w 24674"/>
                  <a:gd name="connsiteY1" fmla="*/ 19321 h 26273"/>
                  <a:gd name="connsiteX2" fmla="*/ 8296 w 24674"/>
                  <a:gd name="connsiteY2" fmla="*/ 98 h 26273"/>
                  <a:gd name="connsiteX3" fmla="*/ 606 w 24674"/>
                  <a:gd name="connsiteY3" fmla="*/ 16758 h 26273"/>
                </a:gdLst>
                <a:ahLst/>
                <a:cxnLst>
                  <a:cxn ang="0">
                    <a:pos x="connsiteX0" y="connsiteY0"/>
                  </a:cxn>
                  <a:cxn ang="0">
                    <a:pos x="connsiteX1" y="connsiteY1"/>
                  </a:cxn>
                  <a:cxn ang="0">
                    <a:pos x="connsiteX2" y="connsiteY2"/>
                  </a:cxn>
                  <a:cxn ang="0">
                    <a:pos x="connsiteX3" y="connsiteY3"/>
                  </a:cxn>
                </a:cxnLst>
                <a:rect l="l" t="t" r="r" b="b"/>
                <a:pathLst>
                  <a:path w="24674" h="26273">
                    <a:moveTo>
                      <a:pt x="606" y="16758"/>
                    </a:moveTo>
                    <a:cubicBezTo>
                      <a:pt x="5733" y="28292"/>
                      <a:pt x="19830" y="29574"/>
                      <a:pt x="23674" y="19321"/>
                    </a:cubicBezTo>
                    <a:cubicBezTo>
                      <a:pt x="27519" y="10350"/>
                      <a:pt x="19830" y="-1183"/>
                      <a:pt x="8296" y="98"/>
                    </a:cubicBezTo>
                    <a:cubicBezTo>
                      <a:pt x="-675" y="2661"/>
                      <a:pt x="-675" y="11632"/>
                      <a:pt x="606" y="1675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0" name="Freeform: Shape 379726">
                <a:extLst>
                  <a:ext uri="{FF2B5EF4-FFF2-40B4-BE49-F238E27FC236}">
                    <a16:creationId xmlns:a16="http://schemas.microsoft.com/office/drawing/2014/main" id="{0B961495-68AA-4401-BD4E-8380CFA322C7}"/>
                  </a:ext>
                </a:extLst>
              </p:cNvPr>
              <p:cNvSpPr/>
              <p:nvPr/>
            </p:nvSpPr>
            <p:spPr>
              <a:xfrm>
                <a:off x="7109706" y="2928196"/>
                <a:ext cx="102325" cy="87219"/>
              </a:xfrm>
              <a:custGeom>
                <a:avLst/>
                <a:gdLst>
                  <a:gd name="connsiteX0" fmla="*/ 2563 w 102325"/>
                  <a:gd name="connsiteY0" fmla="*/ 14097 h 87219"/>
                  <a:gd name="connsiteX1" fmla="*/ 19223 w 102325"/>
                  <a:gd name="connsiteY1" fmla="*/ 20505 h 87219"/>
                  <a:gd name="connsiteX2" fmla="*/ 82019 w 102325"/>
                  <a:gd name="connsiteY2" fmla="*/ 69203 h 87219"/>
                  <a:gd name="connsiteX3" fmla="*/ 99961 w 102325"/>
                  <a:gd name="connsiteY3" fmla="*/ 85864 h 87219"/>
                  <a:gd name="connsiteX4" fmla="*/ 89709 w 102325"/>
                  <a:gd name="connsiteY4" fmla="*/ 62796 h 87219"/>
                  <a:gd name="connsiteX5" fmla="*/ 83301 w 102325"/>
                  <a:gd name="connsiteY5" fmla="*/ 65359 h 87219"/>
                  <a:gd name="connsiteX6" fmla="*/ 20505 w 102325"/>
                  <a:gd name="connsiteY6" fmla="*/ 16660 h 87219"/>
                  <a:gd name="connsiteX7" fmla="*/ 5126 w 102325"/>
                  <a:gd name="connsiteY7" fmla="*/ 0 h 87219"/>
                  <a:gd name="connsiteX8" fmla="*/ 2563 w 102325"/>
                  <a:gd name="connsiteY8" fmla="*/ 14097 h 87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25" h="87219">
                    <a:moveTo>
                      <a:pt x="2563" y="14097"/>
                    </a:moveTo>
                    <a:cubicBezTo>
                      <a:pt x="6408" y="21786"/>
                      <a:pt x="15378" y="25631"/>
                      <a:pt x="19223" y="20505"/>
                    </a:cubicBezTo>
                    <a:cubicBezTo>
                      <a:pt x="38446" y="34602"/>
                      <a:pt x="62796" y="55106"/>
                      <a:pt x="82019" y="69203"/>
                    </a:cubicBezTo>
                    <a:cubicBezTo>
                      <a:pt x="82019" y="80737"/>
                      <a:pt x="93553" y="90990"/>
                      <a:pt x="99961" y="85864"/>
                    </a:cubicBezTo>
                    <a:cubicBezTo>
                      <a:pt x="106369" y="80737"/>
                      <a:pt x="98679" y="64077"/>
                      <a:pt x="89709" y="62796"/>
                    </a:cubicBezTo>
                    <a:cubicBezTo>
                      <a:pt x="85864" y="62796"/>
                      <a:pt x="84582" y="64077"/>
                      <a:pt x="83301" y="65359"/>
                    </a:cubicBezTo>
                    <a:cubicBezTo>
                      <a:pt x="64078" y="51262"/>
                      <a:pt x="39728" y="30757"/>
                      <a:pt x="20505" y="16660"/>
                    </a:cubicBezTo>
                    <a:cubicBezTo>
                      <a:pt x="20505" y="10252"/>
                      <a:pt x="15378" y="0"/>
                      <a:pt x="5126" y="0"/>
                    </a:cubicBezTo>
                    <a:cubicBezTo>
                      <a:pt x="-2563" y="1282"/>
                      <a:pt x="0" y="11534"/>
                      <a:pt x="256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1" name="Freeform: Shape 379727">
                <a:extLst>
                  <a:ext uri="{FF2B5EF4-FFF2-40B4-BE49-F238E27FC236}">
                    <a16:creationId xmlns:a16="http://schemas.microsoft.com/office/drawing/2014/main" id="{1C402EAE-9D33-4862-BC19-4FC3F4B87F87}"/>
                  </a:ext>
                </a:extLst>
              </p:cNvPr>
              <p:cNvSpPr/>
              <p:nvPr/>
            </p:nvSpPr>
            <p:spPr>
              <a:xfrm>
                <a:off x="7078743" y="2789790"/>
                <a:ext cx="158918" cy="222700"/>
              </a:xfrm>
              <a:custGeom>
                <a:avLst/>
                <a:gdLst>
                  <a:gd name="connsiteX0" fmla="*/ 2768 w 158918"/>
                  <a:gd name="connsiteY0" fmla="*/ 14097 h 222700"/>
                  <a:gd name="connsiteX1" fmla="*/ 14302 w 158918"/>
                  <a:gd name="connsiteY1" fmla="*/ 21786 h 222700"/>
                  <a:gd name="connsiteX2" fmla="*/ 68127 w 158918"/>
                  <a:gd name="connsiteY2" fmla="*/ 147378 h 222700"/>
                  <a:gd name="connsiteX3" fmla="*/ 139894 w 158918"/>
                  <a:gd name="connsiteY3" fmla="*/ 205047 h 222700"/>
                  <a:gd name="connsiteX4" fmla="*/ 156554 w 158918"/>
                  <a:gd name="connsiteY4" fmla="*/ 221707 h 222700"/>
                  <a:gd name="connsiteX5" fmla="*/ 146302 w 158918"/>
                  <a:gd name="connsiteY5" fmla="*/ 198640 h 222700"/>
                  <a:gd name="connsiteX6" fmla="*/ 139894 w 158918"/>
                  <a:gd name="connsiteY6" fmla="*/ 201203 h 222700"/>
                  <a:gd name="connsiteX7" fmla="*/ 69409 w 158918"/>
                  <a:gd name="connsiteY7" fmla="*/ 144815 h 222700"/>
                  <a:gd name="connsiteX8" fmla="*/ 16865 w 158918"/>
                  <a:gd name="connsiteY8" fmla="*/ 21786 h 222700"/>
                  <a:gd name="connsiteX9" fmla="*/ 6613 w 158918"/>
                  <a:gd name="connsiteY9" fmla="*/ 0 h 222700"/>
                  <a:gd name="connsiteX10" fmla="*/ 5331 w 158918"/>
                  <a:gd name="connsiteY10" fmla="*/ 0 h 222700"/>
                  <a:gd name="connsiteX11" fmla="*/ 2768 w 158918"/>
                  <a:gd name="connsiteY11" fmla="*/ 14097 h 22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8918" h="222700">
                    <a:moveTo>
                      <a:pt x="2768" y="14097"/>
                    </a:moveTo>
                    <a:cubicBezTo>
                      <a:pt x="4050" y="16660"/>
                      <a:pt x="7894" y="20505"/>
                      <a:pt x="14302" y="21786"/>
                    </a:cubicBezTo>
                    <a:cubicBezTo>
                      <a:pt x="33525" y="62796"/>
                      <a:pt x="51467" y="103805"/>
                      <a:pt x="68127" y="147378"/>
                    </a:cubicBezTo>
                    <a:cubicBezTo>
                      <a:pt x="89913" y="164038"/>
                      <a:pt x="118108" y="187106"/>
                      <a:pt x="139894" y="205047"/>
                    </a:cubicBezTo>
                    <a:cubicBezTo>
                      <a:pt x="139894" y="217863"/>
                      <a:pt x="151428" y="225552"/>
                      <a:pt x="156554" y="221707"/>
                    </a:cubicBezTo>
                    <a:cubicBezTo>
                      <a:pt x="162962" y="216581"/>
                      <a:pt x="155273" y="199921"/>
                      <a:pt x="146302" y="198640"/>
                    </a:cubicBezTo>
                    <a:cubicBezTo>
                      <a:pt x="142457" y="198640"/>
                      <a:pt x="141176" y="199921"/>
                      <a:pt x="139894" y="201203"/>
                    </a:cubicBezTo>
                    <a:lnTo>
                      <a:pt x="69409" y="144815"/>
                    </a:lnTo>
                    <a:cubicBezTo>
                      <a:pt x="52749" y="102524"/>
                      <a:pt x="34807" y="61514"/>
                      <a:pt x="16865" y="21786"/>
                    </a:cubicBezTo>
                    <a:cubicBezTo>
                      <a:pt x="25836" y="16660"/>
                      <a:pt x="14302" y="0"/>
                      <a:pt x="6613" y="0"/>
                    </a:cubicBezTo>
                    <a:cubicBezTo>
                      <a:pt x="6613" y="0"/>
                      <a:pt x="5331" y="0"/>
                      <a:pt x="5331" y="0"/>
                    </a:cubicBezTo>
                    <a:cubicBezTo>
                      <a:pt x="-4921" y="1282"/>
                      <a:pt x="2768" y="14097"/>
                      <a:pt x="276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2" name="Freeform: Shape 379728">
                <a:extLst>
                  <a:ext uri="{FF2B5EF4-FFF2-40B4-BE49-F238E27FC236}">
                    <a16:creationId xmlns:a16="http://schemas.microsoft.com/office/drawing/2014/main" id="{85EDA8B8-D28F-4F19-BFD6-B4BAF3A71695}"/>
                  </a:ext>
                </a:extLst>
              </p:cNvPr>
              <p:cNvSpPr/>
              <p:nvPr/>
            </p:nvSpPr>
            <p:spPr>
              <a:xfrm>
                <a:off x="7098960" y="2718023"/>
                <a:ext cx="165736" cy="289629"/>
              </a:xfrm>
              <a:custGeom>
                <a:avLst/>
                <a:gdLst>
                  <a:gd name="connsiteX0" fmla="*/ 3057 w 165736"/>
                  <a:gd name="connsiteY0" fmla="*/ 14097 h 289629"/>
                  <a:gd name="connsiteX1" fmla="*/ 14591 w 165736"/>
                  <a:gd name="connsiteY1" fmla="*/ 21786 h 289629"/>
                  <a:gd name="connsiteX2" fmla="*/ 101736 w 165736"/>
                  <a:gd name="connsiteY2" fmla="*/ 211455 h 289629"/>
                  <a:gd name="connsiteX3" fmla="*/ 141464 w 165736"/>
                  <a:gd name="connsiteY3" fmla="*/ 243494 h 289629"/>
                  <a:gd name="connsiteX4" fmla="*/ 150435 w 165736"/>
                  <a:gd name="connsiteY4" fmla="*/ 265280 h 289629"/>
                  <a:gd name="connsiteX5" fmla="*/ 160688 w 165736"/>
                  <a:gd name="connsiteY5" fmla="*/ 289629 h 289629"/>
                  <a:gd name="connsiteX6" fmla="*/ 158125 w 165736"/>
                  <a:gd name="connsiteY6" fmla="*/ 267843 h 289629"/>
                  <a:gd name="connsiteX7" fmla="*/ 152998 w 165736"/>
                  <a:gd name="connsiteY7" fmla="*/ 265280 h 289629"/>
                  <a:gd name="connsiteX8" fmla="*/ 144027 w 165736"/>
                  <a:gd name="connsiteY8" fmla="*/ 240930 h 289629"/>
                  <a:gd name="connsiteX9" fmla="*/ 104299 w 165736"/>
                  <a:gd name="connsiteY9" fmla="*/ 208892 h 289629"/>
                  <a:gd name="connsiteX10" fmla="*/ 18435 w 165736"/>
                  <a:gd name="connsiteY10" fmla="*/ 21786 h 289629"/>
                  <a:gd name="connsiteX11" fmla="*/ 6902 w 165736"/>
                  <a:gd name="connsiteY11" fmla="*/ 0 h 289629"/>
                  <a:gd name="connsiteX12" fmla="*/ 5620 w 165736"/>
                  <a:gd name="connsiteY12" fmla="*/ 0 h 289629"/>
                  <a:gd name="connsiteX13" fmla="*/ 3057 w 165736"/>
                  <a:gd name="connsiteY13" fmla="*/ 14097 h 28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5736" h="289629">
                    <a:moveTo>
                      <a:pt x="3057" y="14097"/>
                    </a:moveTo>
                    <a:cubicBezTo>
                      <a:pt x="5620" y="16660"/>
                      <a:pt x="8183" y="20505"/>
                      <a:pt x="14591" y="21786"/>
                    </a:cubicBezTo>
                    <a:cubicBezTo>
                      <a:pt x="46629" y="82019"/>
                      <a:pt x="74824" y="146096"/>
                      <a:pt x="101736" y="211455"/>
                    </a:cubicBezTo>
                    <a:lnTo>
                      <a:pt x="141464" y="243494"/>
                    </a:lnTo>
                    <a:cubicBezTo>
                      <a:pt x="144027" y="251183"/>
                      <a:pt x="146591" y="257591"/>
                      <a:pt x="150435" y="265280"/>
                    </a:cubicBezTo>
                    <a:cubicBezTo>
                      <a:pt x="141464" y="274251"/>
                      <a:pt x="154280" y="289629"/>
                      <a:pt x="160688" y="289629"/>
                    </a:cubicBezTo>
                    <a:cubicBezTo>
                      <a:pt x="168377" y="288348"/>
                      <a:pt x="167095" y="274251"/>
                      <a:pt x="158125" y="267843"/>
                    </a:cubicBezTo>
                    <a:cubicBezTo>
                      <a:pt x="156843" y="266561"/>
                      <a:pt x="154280" y="265280"/>
                      <a:pt x="152998" y="265280"/>
                    </a:cubicBezTo>
                    <a:cubicBezTo>
                      <a:pt x="150435" y="257591"/>
                      <a:pt x="146591" y="248620"/>
                      <a:pt x="144027" y="240930"/>
                    </a:cubicBezTo>
                    <a:lnTo>
                      <a:pt x="104299" y="208892"/>
                    </a:lnTo>
                    <a:cubicBezTo>
                      <a:pt x="78668" y="143533"/>
                      <a:pt x="49192" y="80737"/>
                      <a:pt x="18435" y="21786"/>
                    </a:cubicBezTo>
                    <a:cubicBezTo>
                      <a:pt x="26124" y="14097"/>
                      <a:pt x="13309" y="1281"/>
                      <a:pt x="6902" y="0"/>
                    </a:cubicBezTo>
                    <a:cubicBezTo>
                      <a:pt x="6902" y="0"/>
                      <a:pt x="5620" y="0"/>
                      <a:pt x="5620" y="0"/>
                    </a:cubicBezTo>
                    <a:cubicBezTo>
                      <a:pt x="-3351" y="2563"/>
                      <a:pt x="494" y="11534"/>
                      <a:pt x="305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3" name="Freeform: Shape 379729">
                <a:extLst>
                  <a:ext uri="{FF2B5EF4-FFF2-40B4-BE49-F238E27FC236}">
                    <a16:creationId xmlns:a16="http://schemas.microsoft.com/office/drawing/2014/main" id="{2502B6FF-EAFF-47E3-8AFD-DA3DFFD9E83A}"/>
                  </a:ext>
                </a:extLst>
              </p:cNvPr>
              <p:cNvSpPr/>
              <p:nvPr/>
            </p:nvSpPr>
            <p:spPr>
              <a:xfrm>
                <a:off x="7342129" y="2975614"/>
                <a:ext cx="17981" cy="24918"/>
              </a:xfrm>
              <a:custGeom>
                <a:avLst/>
                <a:gdLst>
                  <a:gd name="connsiteX0" fmla="*/ 2100 w 17981"/>
                  <a:gd name="connsiteY0" fmla="*/ 14097 h 24918"/>
                  <a:gd name="connsiteX1" fmla="*/ 17479 w 17981"/>
                  <a:gd name="connsiteY1" fmla="*/ 21786 h 24918"/>
                  <a:gd name="connsiteX2" fmla="*/ 4663 w 17981"/>
                  <a:gd name="connsiteY2" fmla="*/ 0 h 24918"/>
                  <a:gd name="connsiteX3" fmla="*/ 2100 w 17981"/>
                  <a:gd name="connsiteY3" fmla="*/ 14097 h 24918"/>
                </a:gdLst>
                <a:ahLst/>
                <a:cxnLst>
                  <a:cxn ang="0">
                    <a:pos x="connsiteX0" y="connsiteY0"/>
                  </a:cxn>
                  <a:cxn ang="0">
                    <a:pos x="connsiteX1" y="connsiteY1"/>
                  </a:cxn>
                  <a:cxn ang="0">
                    <a:pos x="connsiteX2" y="connsiteY2"/>
                  </a:cxn>
                  <a:cxn ang="0">
                    <a:pos x="connsiteX3" y="connsiteY3"/>
                  </a:cxn>
                </a:cxnLst>
                <a:rect l="l" t="t" r="r" b="b"/>
                <a:pathLst>
                  <a:path w="17981" h="24918">
                    <a:moveTo>
                      <a:pt x="2100" y="14097"/>
                    </a:moveTo>
                    <a:cubicBezTo>
                      <a:pt x="5945" y="24349"/>
                      <a:pt x="14915" y="28194"/>
                      <a:pt x="17479" y="21786"/>
                    </a:cubicBezTo>
                    <a:cubicBezTo>
                      <a:pt x="20042" y="14097"/>
                      <a:pt x="12352" y="0"/>
                      <a:pt x="4663" y="0"/>
                    </a:cubicBezTo>
                    <a:cubicBezTo>
                      <a:pt x="-1745" y="1282"/>
                      <a:pt x="-463" y="8971"/>
                      <a:pt x="2100"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4" name="Freeform: Shape 379730">
                <a:extLst>
                  <a:ext uri="{FF2B5EF4-FFF2-40B4-BE49-F238E27FC236}">
                    <a16:creationId xmlns:a16="http://schemas.microsoft.com/office/drawing/2014/main" id="{631B081C-3A91-4F33-8370-1DF921C42E29}"/>
                  </a:ext>
                </a:extLst>
              </p:cNvPr>
              <p:cNvSpPr/>
              <p:nvPr/>
            </p:nvSpPr>
            <p:spPr>
              <a:xfrm>
                <a:off x="7241705" y="2674451"/>
                <a:ext cx="181939" cy="324230"/>
              </a:xfrm>
              <a:custGeom>
                <a:avLst/>
                <a:gdLst>
                  <a:gd name="connsiteX0" fmla="*/ 3845 w 181939"/>
                  <a:gd name="connsiteY0" fmla="*/ 12815 h 324230"/>
                  <a:gd name="connsiteX1" fmla="*/ 14097 w 181939"/>
                  <a:gd name="connsiteY1" fmla="*/ 21786 h 324230"/>
                  <a:gd name="connsiteX2" fmla="*/ 61514 w 181939"/>
                  <a:gd name="connsiteY2" fmla="*/ 108931 h 324230"/>
                  <a:gd name="connsiteX3" fmla="*/ 98679 w 181939"/>
                  <a:gd name="connsiteY3" fmla="*/ 140970 h 324230"/>
                  <a:gd name="connsiteX4" fmla="*/ 167883 w 181939"/>
                  <a:gd name="connsiteY4" fmla="*/ 299882 h 324230"/>
                  <a:gd name="connsiteX5" fmla="*/ 178136 w 181939"/>
                  <a:gd name="connsiteY5" fmla="*/ 324231 h 324230"/>
                  <a:gd name="connsiteX6" fmla="*/ 173010 w 181939"/>
                  <a:gd name="connsiteY6" fmla="*/ 301163 h 324230"/>
                  <a:gd name="connsiteX7" fmla="*/ 170446 w 181939"/>
                  <a:gd name="connsiteY7" fmla="*/ 299882 h 324230"/>
                  <a:gd name="connsiteX8" fmla="*/ 99961 w 181939"/>
                  <a:gd name="connsiteY8" fmla="*/ 138407 h 324230"/>
                  <a:gd name="connsiteX9" fmla="*/ 62796 w 181939"/>
                  <a:gd name="connsiteY9" fmla="*/ 106368 h 324230"/>
                  <a:gd name="connsiteX10" fmla="*/ 16660 w 181939"/>
                  <a:gd name="connsiteY10" fmla="*/ 21786 h 324230"/>
                  <a:gd name="connsiteX11" fmla="*/ 2563 w 181939"/>
                  <a:gd name="connsiteY11" fmla="*/ 0 h 324230"/>
                  <a:gd name="connsiteX12" fmla="*/ 0 w 181939"/>
                  <a:gd name="connsiteY12" fmla="*/ 1281 h 324230"/>
                  <a:gd name="connsiteX13" fmla="*/ 3845 w 181939"/>
                  <a:gd name="connsiteY13" fmla="*/ 12815 h 32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939" h="324230">
                    <a:moveTo>
                      <a:pt x="3845" y="12815"/>
                    </a:moveTo>
                    <a:cubicBezTo>
                      <a:pt x="7689" y="17942"/>
                      <a:pt x="11534" y="20505"/>
                      <a:pt x="14097" y="21786"/>
                    </a:cubicBezTo>
                    <a:cubicBezTo>
                      <a:pt x="30757" y="49980"/>
                      <a:pt x="46136" y="79456"/>
                      <a:pt x="61514" y="108931"/>
                    </a:cubicBezTo>
                    <a:lnTo>
                      <a:pt x="98679" y="140970"/>
                    </a:lnTo>
                    <a:cubicBezTo>
                      <a:pt x="124311" y="192232"/>
                      <a:pt x="147378" y="244775"/>
                      <a:pt x="167883" y="299882"/>
                    </a:cubicBezTo>
                    <a:cubicBezTo>
                      <a:pt x="160194" y="307571"/>
                      <a:pt x="174291" y="324231"/>
                      <a:pt x="178136" y="324231"/>
                    </a:cubicBezTo>
                    <a:cubicBezTo>
                      <a:pt x="185825" y="324231"/>
                      <a:pt x="180699" y="306289"/>
                      <a:pt x="173010" y="301163"/>
                    </a:cubicBezTo>
                    <a:cubicBezTo>
                      <a:pt x="171728" y="301163"/>
                      <a:pt x="171728" y="299882"/>
                      <a:pt x="170446" y="299882"/>
                    </a:cubicBezTo>
                    <a:cubicBezTo>
                      <a:pt x="148660" y="244775"/>
                      <a:pt x="125592" y="190950"/>
                      <a:pt x="99961" y="138407"/>
                    </a:cubicBezTo>
                    <a:lnTo>
                      <a:pt x="62796" y="106368"/>
                    </a:lnTo>
                    <a:cubicBezTo>
                      <a:pt x="48699" y="78174"/>
                      <a:pt x="33321" y="49980"/>
                      <a:pt x="16660" y="21786"/>
                    </a:cubicBezTo>
                    <a:cubicBezTo>
                      <a:pt x="20505" y="16660"/>
                      <a:pt x="12816" y="2563"/>
                      <a:pt x="2563" y="0"/>
                    </a:cubicBezTo>
                    <a:cubicBezTo>
                      <a:pt x="2563" y="0"/>
                      <a:pt x="1282" y="1281"/>
                      <a:pt x="0" y="1281"/>
                    </a:cubicBezTo>
                    <a:cubicBezTo>
                      <a:pt x="1282" y="2563"/>
                      <a:pt x="0" y="5126"/>
                      <a:pt x="3845"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5" name="Freeform: Shape 379731">
                <a:extLst>
                  <a:ext uri="{FF2B5EF4-FFF2-40B4-BE49-F238E27FC236}">
                    <a16:creationId xmlns:a16="http://schemas.microsoft.com/office/drawing/2014/main" id="{3B58D917-F6A6-4BAD-9616-709FF8878678}"/>
                  </a:ext>
                </a:extLst>
              </p:cNvPr>
              <p:cNvSpPr/>
              <p:nvPr/>
            </p:nvSpPr>
            <p:spPr>
              <a:xfrm>
                <a:off x="7517090" y="2971769"/>
                <a:ext cx="51222" cy="131999"/>
              </a:xfrm>
              <a:custGeom>
                <a:avLst/>
                <a:gdLst>
                  <a:gd name="connsiteX0" fmla="*/ 2712 w 51222"/>
                  <a:gd name="connsiteY0" fmla="*/ 12816 h 131999"/>
                  <a:gd name="connsiteX1" fmla="*/ 10401 w 51222"/>
                  <a:gd name="connsiteY1" fmla="*/ 23068 h 131999"/>
                  <a:gd name="connsiteX2" fmla="*/ 39877 w 51222"/>
                  <a:gd name="connsiteY2" fmla="*/ 106368 h 131999"/>
                  <a:gd name="connsiteX3" fmla="*/ 48847 w 51222"/>
                  <a:gd name="connsiteY3" fmla="*/ 131999 h 131999"/>
                  <a:gd name="connsiteX4" fmla="*/ 43721 w 51222"/>
                  <a:gd name="connsiteY4" fmla="*/ 108931 h 131999"/>
                  <a:gd name="connsiteX5" fmla="*/ 41158 w 51222"/>
                  <a:gd name="connsiteY5" fmla="*/ 107650 h 131999"/>
                  <a:gd name="connsiteX6" fmla="*/ 11682 w 51222"/>
                  <a:gd name="connsiteY6" fmla="*/ 24349 h 131999"/>
                  <a:gd name="connsiteX7" fmla="*/ 1430 w 51222"/>
                  <a:gd name="connsiteY7" fmla="*/ 0 h 131999"/>
                  <a:gd name="connsiteX8" fmla="*/ 2712 w 51222"/>
                  <a:gd name="connsiteY8" fmla="*/ 12816 h 13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222" h="131999">
                    <a:moveTo>
                      <a:pt x="2712" y="12816"/>
                    </a:moveTo>
                    <a:cubicBezTo>
                      <a:pt x="3993" y="16660"/>
                      <a:pt x="6556" y="20505"/>
                      <a:pt x="10401" y="23068"/>
                    </a:cubicBezTo>
                    <a:cubicBezTo>
                      <a:pt x="20653" y="51262"/>
                      <a:pt x="30906" y="78174"/>
                      <a:pt x="39877" y="106368"/>
                    </a:cubicBezTo>
                    <a:cubicBezTo>
                      <a:pt x="34750" y="111494"/>
                      <a:pt x="43721" y="131999"/>
                      <a:pt x="48847" y="131999"/>
                    </a:cubicBezTo>
                    <a:cubicBezTo>
                      <a:pt x="53973" y="131999"/>
                      <a:pt x="50129" y="115339"/>
                      <a:pt x="43721" y="108931"/>
                    </a:cubicBezTo>
                    <a:cubicBezTo>
                      <a:pt x="43721" y="108931"/>
                      <a:pt x="42439" y="107650"/>
                      <a:pt x="41158" y="107650"/>
                    </a:cubicBezTo>
                    <a:cubicBezTo>
                      <a:pt x="32187" y="79456"/>
                      <a:pt x="21934" y="51262"/>
                      <a:pt x="11682" y="24349"/>
                    </a:cubicBezTo>
                    <a:cubicBezTo>
                      <a:pt x="15527" y="20505"/>
                      <a:pt x="7838" y="1282"/>
                      <a:pt x="1430" y="0"/>
                    </a:cubicBezTo>
                    <a:cubicBezTo>
                      <a:pt x="-2415" y="0"/>
                      <a:pt x="2712" y="12816"/>
                      <a:pt x="2712"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6" name="Freeform: Shape 379732">
                <a:extLst>
                  <a:ext uri="{FF2B5EF4-FFF2-40B4-BE49-F238E27FC236}">
                    <a16:creationId xmlns:a16="http://schemas.microsoft.com/office/drawing/2014/main" id="{0041A8FC-02FE-4EB5-9364-93995A1ACEE3}"/>
                  </a:ext>
                </a:extLst>
              </p:cNvPr>
              <p:cNvSpPr/>
              <p:nvPr/>
            </p:nvSpPr>
            <p:spPr>
              <a:xfrm>
                <a:off x="5451917" y="3372323"/>
                <a:ext cx="105801" cy="367845"/>
              </a:xfrm>
              <a:custGeom>
                <a:avLst/>
                <a:gdLst>
                  <a:gd name="connsiteX0" fmla="*/ 744 w 105801"/>
                  <a:gd name="connsiteY0" fmla="*/ 19793 h 367845"/>
                  <a:gd name="connsiteX1" fmla="*/ 13560 w 105801"/>
                  <a:gd name="connsiteY1" fmla="*/ 27482 h 367845"/>
                  <a:gd name="connsiteX2" fmla="*/ 60977 w 105801"/>
                  <a:gd name="connsiteY2" fmla="*/ 241500 h 367845"/>
                  <a:gd name="connsiteX3" fmla="*/ 85326 w 105801"/>
                  <a:gd name="connsiteY3" fmla="*/ 342742 h 367845"/>
                  <a:gd name="connsiteX4" fmla="*/ 86608 w 105801"/>
                  <a:gd name="connsiteY4" fmla="*/ 367092 h 367845"/>
                  <a:gd name="connsiteX5" fmla="*/ 104550 w 105801"/>
                  <a:gd name="connsiteY5" fmla="*/ 347868 h 367845"/>
                  <a:gd name="connsiteX6" fmla="*/ 91734 w 105801"/>
                  <a:gd name="connsiteY6" fmla="*/ 340179 h 367845"/>
                  <a:gd name="connsiteX7" fmla="*/ 67385 w 105801"/>
                  <a:gd name="connsiteY7" fmla="*/ 238937 h 367845"/>
                  <a:gd name="connsiteX8" fmla="*/ 19967 w 105801"/>
                  <a:gd name="connsiteY8" fmla="*/ 24919 h 367845"/>
                  <a:gd name="connsiteX9" fmla="*/ 19967 w 105801"/>
                  <a:gd name="connsiteY9" fmla="*/ 570 h 367845"/>
                  <a:gd name="connsiteX10" fmla="*/ 12278 w 105801"/>
                  <a:gd name="connsiteY10" fmla="*/ 570 h 367845"/>
                  <a:gd name="connsiteX11" fmla="*/ 744 w 105801"/>
                  <a:gd name="connsiteY11" fmla="*/ 19793 h 36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5801" h="367845">
                    <a:moveTo>
                      <a:pt x="744" y="19793"/>
                    </a:moveTo>
                    <a:cubicBezTo>
                      <a:pt x="2026" y="23637"/>
                      <a:pt x="5870" y="27482"/>
                      <a:pt x="13560" y="27482"/>
                    </a:cubicBezTo>
                    <a:cubicBezTo>
                      <a:pt x="27656" y="97967"/>
                      <a:pt x="43035" y="168452"/>
                      <a:pt x="60977" y="241500"/>
                    </a:cubicBezTo>
                    <a:cubicBezTo>
                      <a:pt x="68666" y="274820"/>
                      <a:pt x="76355" y="309422"/>
                      <a:pt x="85326" y="342742"/>
                    </a:cubicBezTo>
                    <a:cubicBezTo>
                      <a:pt x="72511" y="350431"/>
                      <a:pt x="76355" y="364529"/>
                      <a:pt x="86608" y="367092"/>
                    </a:cubicBezTo>
                    <a:cubicBezTo>
                      <a:pt x="98142" y="370936"/>
                      <a:pt x="109676" y="359402"/>
                      <a:pt x="104550" y="347868"/>
                    </a:cubicBezTo>
                    <a:cubicBezTo>
                      <a:pt x="103268" y="344024"/>
                      <a:pt x="99423" y="340179"/>
                      <a:pt x="91734" y="340179"/>
                    </a:cubicBezTo>
                    <a:cubicBezTo>
                      <a:pt x="84045" y="306859"/>
                      <a:pt x="75074" y="273539"/>
                      <a:pt x="67385" y="238937"/>
                    </a:cubicBezTo>
                    <a:cubicBezTo>
                      <a:pt x="50724" y="165889"/>
                      <a:pt x="34065" y="95404"/>
                      <a:pt x="19967" y="24919"/>
                    </a:cubicBezTo>
                    <a:cubicBezTo>
                      <a:pt x="32783" y="17230"/>
                      <a:pt x="28938" y="3133"/>
                      <a:pt x="19967" y="570"/>
                    </a:cubicBezTo>
                    <a:cubicBezTo>
                      <a:pt x="17404" y="-712"/>
                      <a:pt x="13560" y="570"/>
                      <a:pt x="12278" y="570"/>
                    </a:cubicBezTo>
                    <a:cubicBezTo>
                      <a:pt x="-4382" y="6977"/>
                      <a:pt x="744" y="19793"/>
                      <a:pt x="744" y="1979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7" name="Freeform: Shape 379733">
                <a:extLst>
                  <a:ext uri="{FF2B5EF4-FFF2-40B4-BE49-F238E27FC236}">
                    <a16:creationId xmlns:a16="http://schemas.microsoft.com/office/drawing/2014/main" id="{4EBCA384-3D33-4468-B7CC-6F4A7CBB6EBF}"/>
                  </a:ext>
                </a:extLst>
              </p:cNvPr>
              <p:cNvSpPr/>
              <p:nvPr/>
            </p:nvSpPr>
            <p:spPr>
              <a:xfrm>
                <a:off x="5493244" y="3362071"/>
                <a:ext cx="69601" cy="215341"/>
              </a:xfrm>
              <a:custGeom>
                <a:avLst/>
                <a:gdLst>
                  <a:gd name="connsiteX0" fmla="*/ 427 w 69601"/>
                  <a:gd name="connsiteY0" fmla="*/ 18511 h 215341"/>
                  <a:gd name="connsiteX1" fmla="*/ 13243 w 69601"/>
                  <a:gd name="connsiteY1" fmla="*/ 26200 h 215341"/>
                  <a:gd name="connsiteX2" fmla="*/ 49126 w 69601"/>
                  <a:gd name="connsiteY2" fmla="*/ 188957 h 215341"/>
                  <a:gd name="connsiteX3" fmla="*/ 50408 w 69601"/>
                  <a:gd name="connsiteY3" fmla="*/ 214588 h 215341"/>
                  <a:gd name="connsiteX4" fmla="*/ 68350 w 69601"/>
                  <a:gd name="connsiteY4" fmla="*/ 195364 h 215341"/>
                  <a:gd name="connsiteX5" fmla="*/ 55534 w 69601"/>
                  <a:gd name="connsiteY5" fmla="*/ 187675 h 215341"/>
                  <a:gd name="connsiteX6" fmla="*/ 19651 w 69601"/>
                  <a:gd name="connsiteY6" fmla="*/ 24919 h 215341"/>
                  <a:gd name="connsiteX7" fmla="*/ 19651 w 69601"/>
                  <a:gd name="connsiteY7" fmla="*/ 570 h 215341"/>
                  <a:gd name="connsiteX8" fmla="*/ 11961 w 69601"/>
                  <a:gd name="connsiteY8" fmla="*/ 570 h 215341"/>
                  <a:gd name="connsiteX9" fmla="*/ 427 w 69601"/>
                  <a:gd name="connsiteY9" fmla="*/ 18511 h 21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01" h="215341">
                    <a:moveTo>
                      <a:pt x="427" y="18511"/>
                    </a:moveTo>
                    <a:cubicBezTo>
                      <a:pt x="1709" y="22356"/>
                      <a:pt x="5553" y="26200"/>
                      <a:pt x="13243" y="26200"/>
                    </a:cubicBezTo>
                    <a:cubicBezTo>
                      <a:pt x="24777" y="80025"/>
                      <a:pt x="36311" y="133850"/>
                      <a:pt x="49126" y="188957"/>
                    </a:cubicBezTo>
                    <a:cubicBezTo>
                      <a:pt x="36311" y="196646"/>
                      <a:pt x="40155" y="210743"/>
                      <a:pt x="50408" y="214588"/>
                    </a:cubicBezTo>
                    <a:cubicBezTo>
                      <a:pt x="61942" y="218432"/>
                      <a:pt x="73475" y="206898"/>
                      <a:pt x="68350" y="195364"/>
                    </a:cubicBezTo>
                    <a:cubicBezTo>
                      <a:pt x="67068" y="191520"/>
                      <a:pt x="63223" y="187675"/>
                      <a:pt x="55534" y="187675"/>
                    </a:cubicBezTo>
                    <a:cubicBezTo>
                      <a:pt x="42719" y="132569"/>
                      <a:pt x="31185" y="78744"/>
                      <a:pt x="19651" y="24919"/>
                    </a:cubicBezTo>
                    <a:cubicBezTo>
                      <a:pt x="32466" y="17230"/>
                      <a:pt x="28621" y="3133"/>
                      <a:pt x="19651" y="570"/>
                    </a:cubicBezTo>
                    <a:cubicBezTo>
                      <a:pt x="17087" y="-712"/>
                      <a:pt x="13243" y="570"/>
                      <a:pt x="11961" y="570"/>
                    </a:cubicBezTo>
                    <a:cubicBezTo>
                      <a:pt x="-3417" y="5696"/>
                      <a:pt x="427" y="18511"/>
                      <a:pt x="427" y="1851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8" name="Freeform: Shape 379734">
                <a:extLst>
                  <a:ext uri="{FF2B5EF4-FFF2-40B4-BE49-F238E27FC236}">
                    <a16:creationId xmlns:a16="http://schemas.microsoft.com/office/drawing/2014/main" id="{AA2BF293-E37B-42E6-B470-50ED8E8E25A4}"/>
                  </a:ext>
                </a:extLst>
              </p:cNvPr>
              <p:cNvSpPr/>
              <p:nvPr/>
            </p:nvSpPr>
            <p:spPr>
              <a:xfrm>
                <a:off x="6585380" y="3121710"/>
                <a:ext cx="92793" cy="288709"/>
              </a:xfrm>
              <a:custGeom>
                <a:avLst/>
                <a:gdLst>
                  <a:gd name="connsiteX0" fmla="*/ 1453 w 92793"/>
                  <a:gd name="connsiteY0" fmla="*/ 16660 h 288709"/>
                  <a:gd name="connsiteX1" fmla="*/ 14268 w 92793"/>
                  <a:gd name="connsiteY1" fmla="*/ 25631 h 288709"/>
                  <a:gd name="connsiteX2" fmla="*/ 69375 w 92793"/>
                  <a:gd name="connsiteY2" fmla="*/ 238367 h 288709"/>
                  <a:gd name="connsiteX3" fmla="*/ 74502 w 92793"/>
                  <a:gd name="connsiteY3" fmla="*/ 262717 h 288709"/>
                  <a:gd name="connsiteX4" fmla="*/ 78346 w 92793"/>
                  <a:gd name="connsiteY4" fmla="*/ 288348 h 288709"/>
                  <a:gd name="connsiteX5" fmla="*/ 91161 w 92793"/>
                  <a:gd name="connsiteY5" fmla="*/ 269125 h 288709"/>
                  <a:gd name="connsiteX6" fmla="*/ 79627 w 92793"/>
                  <a:gd name="connsiteY6" fmla="*/ 261435 h 288709"/>
                  <a:gd name="connsiteX7" fmla="*/ 74502 w 92793"/>
                  <a:gd name="connsiteY7" fmla="*/ 237086 h 288709"/>
                  <a:gd name="connsiteX8" fmla="*/ 19395 w 92793"/>
                  <a:gd name="connsiteY8" fmla="*/ 24349 h 288709"/>
                  <a:gd name="connsiteX9" fmla="*/ 14268 w 92793"/>
                  <a:gd name="connsiteY9" fmla="*/ 0 h 288709"/>
                  <a:gd name="connsiteX10" fmla="*/ 9142 w 92793"/>
                  <a:gd name="connsiteY10" fmla="*/ 0 h 288709"/>
                  <a:gd name="connsiteX11" fmla="*/ 1453 w 92793"/>
                  <a:gd name="connsiteY11" fmla="*/ 16660 h 28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793" h="288709">
                    <a:moveTo>
                      <a:pt x="1453" y="16660"/>
                    </a:moveTo>
                    <a:cubicBezTo>
                      <a:pt x="2735" y="20505"/>
                      <a:pt x="6579" y="24349"/>
                      <a:pt x="14268" y="25631"/>
                    </a:cubicBezTo>
                    <a:cubicBezTo>
                      <a:pt x="33492" y="94834"/>
                      <a:pt x="52715" y="165319"/>
                      <a:pt x="69375" y="238367"/>
                    </a:cubicBezTo>
                    <a:cubicBezTo>
                      <a:pt x="71938" y="246057"/>
                      <a:pt x="73220" y="255028"/>
                      <a:pt x="74502" y="262717"/>
                    </a:cubicBezTo>
                    <a:cubicBezTo>
                      <a:pt x="61686" y="269125"/>
                      <a:pt x="68093" y="285785"/>
                      <a:pt x="78346" y="288348"/>
                    </a:cubicBezTo>
                    <a:cubicBezTo>
                      <a:pt x="88598" y="290911"/>
                      <a:pt x="96288" y="279377"/>
                      <a:pt x="91161" y="269125"/>
                    </a:cubicBezTo>
                    <a:cubicBezTo>
                      <a:pt x="87317" y="262717"/>
                      <a:pt x="82190" y="261435"/>
                      <a:pt x="79627" y="261435"/>
                    </a:cubicBezTo>
                    <a:cubicBezTo>
                      <a:pt x="78346" y="253746"/>
                      <a:pt x="75783" y="244775"/>
                      <a:pt x="74502" y="237086"/>
                    </a:cubicBezTo>
                    <a:cubicBezTo>
                      <a:pt x="57841" y="164038"/>
                      <a:pt x="38618" y="93553"/>
                      <a:pt x="19395" y="24349"/>
                    </a:cubicBezTo>
                    <a:cubicBezTo>
                      <a:pt x="30929" y="17942"/>
                      <a:pt x="24521" y="2563"/>
                      <a:pt x="14268" y="0"/>
                    </a:cubicBezTo>
                    <a:cubicBezTo>
                      <a:pt x="12987" y="0"/>
                      <a:pt x="10424" y="0"/>
                      <a:pt x="9142" y="0"/>
                    </a:cubicBezTo>
                    <a:cubicBezTo>
                      <a:pt x="-4955" y="3845"/>
                      <a:pt x="1453" y="16660"/>
                      <a:pt x="145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599" name="Freeform: Shape 379735">
                <a:extLst>
                  <a:ext uri="{FF2B5EF4-FFF2-40B4-BE49-F238E27FC236}">
                    <a16:creationId xmlns:a16="http://schemas.microsoft.com/office/drawing/2014/main" id="{38B29269-18DD-44EF-AC85-0346A241FBEA}"/>
                  </a:ext>
                </a:extLst>
              </p:cNvPr>
              <p:cNvSpPr/>
              <p:nvPr/>
            </p:nvSpPr>
            <p:spPr>
              <a:xfrm>
                <a:off x="6658869" y="3108894"/>
                <a:ext cx="45646" cy="99041"/>
              </a:xfrm>
              <a:custGeom>
                <a:avLst/>
                <a:gdLst>
                  <a:gd name="connsiteX0" fmla="*/ 1013 w 45646"/>
                  <a:gd name="connsiteY0" fmla="*/ 16660 h 99041"/>
                  <a:gd name="connsiteX1" fmla="*/ 12547 w 45646"/>
                  <a:gd name="connsiteY1" fmla="*/ 25631 h 99041"/>
                  <a:gd name="connsiteX2" fmla="*/ 26643 w 45646"/>
                  <a:gd name="connsiteY2" fmla="*/ 74330 h 99041"/>
                  <a:gd name="connsiteX3" fmla="*/ 31770 w 45646"/>
                  <a:gd name="connsiteY3" fmla="*/ 98679 h 99041"/>
                  <a:gd name="connsiteX4" fmla="*/ 43304 w 45646"/>
                  <a:gd name="connsiteY4" fmla="*/ 79456 h 99041"/>
                  <a:gd name="connsiteX5" fmla="*/ 33051 w 45646"/>
                  <a:gd name="connsiteY5" fmla="*/ 73048 h 99041"/>
                  <a:gd name="connsiteX6" fmla="*/ 18954 w 45646"/>
                  <a:gd name="connsiteY6" fmla="*/ 24349 h 99041"/>
                  <a:gd name="connsiteX7" fmla="*/ 13828 w 45646"/>
                  <a:gd name="connsiteY7" fmla="*/ 0 h 99041"/>
                  <a:gd name="connsiteX8" fmla="*/ 8702 w 45646"/>
                  <a:gd name="connsiteY8" fmla="*/ 0 h 99041"/>
                  <a:gd name="connsiteX9" fmla="*/ 1013 w 45646"/>
                  <a:gd name="connsiteY9" fmla="*/ 16660 h 99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46" h="99041">
                    <a:moveTo>
                      <a:pt x="1013" y="16660"/>
                    </a:moveTo>
                    <a:cubicBezTo>
                      <a:pt x="2294" y="20505"/>
                      <a:pt x="6138" y="24349"/>
                      <a:pt x="12547" y="25631"/>
                    </a:cubicBezTo>
                    <a:cubicBezTo>
                      <a:pt x="17672" y="42291"/>
                      <a:pt x="21517" y="57670"/>
                      <a:pt x="26643" y="74330"/>
                    </a:cubicBezTo>
                    <a:cubicBezTo>
                      <a:pt x="15109" y="80737"/>
                      <a:pt x="21517" y="96116"/>
                      <a:pt x="31770" y="98679"/>
                    </a:cubicBezTo>
                    <a:cubicBezTo>
                      <a:pt x="42022" y="101242"/>
                      <a:pt x="49711" y="89708"/>
                      <a:pt x="43304" y="79456"/>
                    </a:cubicBezTo>
                    <a:cubicBezTo>
                      <a:pt x="39459" y="74330"/>
                      <a:pt x="34333" y="73048"/>
                      <a:pt x="33051" y="73048"/>
                    </a:cubicBezTo>
                    <a:cubicBezTo>
                      <a:pt x="27925" y="56388"/>
                      <a:pt x="24081" y="41010"/>
                      <a:pt x="18954" y="24349"/>
                    </a:cubicBezTo>
                    <a:cubicBezTo>
                      <a:pt x="30488" y="17942"/>
                      <a:pt x="24081" y="2563"/>
                      <a:pt x="13828" y="0"/>
                    </a:cubicBezTo>
                    <a:cubicBezTo>
                      <a:pt x="12547" y="0"/>
                      <a:pt x="9983" y="0"/>
                      <a:pt x="8702" y="0"/>
                    </a:cubicBezTo>
                    <a:cubicBezTo>
                      <a:pt x="-4114" y="2563"/>
                      <a:pt x="1013" y="15379"/>
                      <a:pt x="101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0" name="Freeform: Shape 379736">
                <a:extLst>
                  <a:ext uri="{FF2B5EF4-FFF2-40B4-BE49-F238E27FC236}">
                    <a16:creationId xmlns:a16="http://schemas.microsoft.com/office/drawing/2014/main" id="{EA86DDEE-82B2-4D55-9505-CD00189AA7A8}"/>
                  </a:ext>
                </a:extLst>
              </p:cNvPr>
              <p:cNvSpPr/>
              <p:nvPr/>
            </p:nvSpPr>
            <p:spPr>
              <a:xfrm>
                <a:off x="6694752" y="3102487"/>
                <a:ext cx="35394" cy="61876"/>
              </a:xfrm>
              <a:custGeom>
                <a:avLst/>
                <a:gdLst>
                  <a:gd name="connsiteX0" fmla="*/ 1013 w 35394"/>
                  <a:gd name="connsiteY0" fmla="*/ 16660 h 61876"/>
                  <a:gd name="connsiteX1" fmla="*/ 12547 w 35394"/>
                  <a:gd name="connsiteY1" fmla="*/ 25631 h 61876"/>
                  <a:gd name="connsiteX2" fmla="*/ 16391 w 35394"/>
                  <a:gd name="connsiteY2" fmla="*/ 37165 h 61876"/>
                  <a:gd name="connsiteX3" fmla="*/ 21517 w 35394"/>
                  <a:gd name="connsiteY3" fmla="*/ 61514 h 61876"/>
                  <a:gd name="connsiteX4" fmla="*/ 33051 w 35394"/>
                  <a:gd name="connsiteY4" fmla="*/ 42291 h 61876"/>
                  <a:gd name="connsiteX5" fmla="*/ 22799 w 35394"/>
                  <a:gd name="connsiteY5" fmla="*/ 35883 h 61876"/>
                  <a:gd name="connsiteX6" fmla="*/ 18954 w 35394"/>
                  <a:gd name="connsiteY6" fmla="*/ 24349 h 61876"/>
                  <a:gd name="connsiteX7" fmla="*/ 13828 w 35394"/>
                  <a:gd name="connsiteY7" fmla="*/ 0 h 61876"/>
                  <a:gd name="connsiteX8" fmla="*/ 8702 w 35394"/>
                  <a:gd name="connsiteY8" fmla="*/ 0 h 61876"/>
                  <a:gd name="connsiteX9" fmla="*/ 1013 w 35394"/>
                  <a:gd name="connsiteY9" fmla="*/ 16660 h 61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394" h="61876">
                    <a:moveTo>
                      <a:pt x="1013" y="16660"/>
                    </a:moveTo>
                    <a:cubicBezTo>
                      <a:pt x="2294" y="20505"/>
                      <a:pt x="6139" y="24349"/>
                      <a:pt x="12547" y="25631"/>
                    </a:cubicBezTo>
                    <a:cubicBezTo>
                      <a:pt x="13828" y="29475"/>
                      <a:pt x="15110" y="33320"/>
                      <a:pt x="16391" y="37165"/>
                    </a:cubicBezTo>
                    <a:cubicBezTo>
                      <a:pt x="4857" y="43572"/>
                      <a:pt x="11265" y="58951"/>
                      <a:pt x="21517" y="61514"/>
                    </a:cubicBezTo>
                    <a:cubicBezTo>
                      <a:pt x="31770" y="64077"/>
                      <a:pt x="39459" y="52543"/>
                      <a:pt x="33051" y="42291"/>
                    </a:cubicBezTo>
                    <a:cubicBezTo>
                      <a:pt x="29207" y="37165"/>
                      <a:pt x="24081" y="35883"/>
                      <a:pt x="22799" y="35883"/>
                    </a:cubicBezTo>
                    <a:cubicBezTo>
                      <a:pt x="21517" y="32039"/>
                      <a:pt x="20236" y="28194"/>
                      <a:pt x="18954" y="24349"/>
                    </a:cubicBezTo>
                    <a:cubicBezTo>
                      <a:pt x="30488" y="17942"/>
                      <a:pt x="24081" y="2563"/>
                      <a:pt x="13828" y="0"/>
                    </a:cubicBezTo>
                    <a:cubicBezTo>
                      <a:pt x="12547" y="0"/>
                      <a:pt x="9983" y="0"/>
                      <a:pt x="8702" y="0"/>
                    </a:cubicBezTo>
                    <a:cubicBezTo>
                      <a:pt x="-4114" y="2563"/>
                      <a:pt x="1013" y="15379"/>
                      <a:pt x="1013"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1" name="Freeform: Shape 379737">
                <a:extLst>
                  <a:ext uri="{FF2B5EF4-FFF2-40B4-BE49-F238E27FC236}">
                    <a16:creationId xmlns:a16="http://schemas.microsoft.com/office/drawing/2014/main" id="{DF445CAA-A0C2-4515-9526-F6D2E93F1EEB}"/>
                  </a:ext>
                </a:extLst>
              </p:cNvPr>
              <p:cNvSpPr/>
              <p:nvPr/>
            </p:nvSpPr>
            <p:spPr>
              <a:xfrm>
                <a:off x="7307311" y="3015342"/>
                <a:ext cx="29487" cy="60330"/>
              </a:xfrm>
              <a:custGeom>
                <a:avLst/>
                <a:gdLst>
                  <a:gd name="connsiteX0" fmla="*/ 2317 w 29487"/>
                  <a:gd name="connsiteY0" fmla="*/ 15379 h 60330"/>
                  <a:gd name="connsiteX1" fmla="*/ 11288 w 29487"/>
                  <a:gd name="connsiteY1" fmla="*/ 24349 h 60330"/>
                  <a:gd name="connsiteX2" fmla="*/ 15132 w 29487"/>
                  <a:gd name="connsiteY2" fmla="*/ 35883 h 60330"/>
                  <a:gd name="connsiteX3" fmla="*/ 22822 w 29487"/>
                  <a:gd name="connsiteY3" fmla="*/ 60233 h 60330"/>
                  <a:gd name="connsiteX4" fmla="*/ 25385 w 29487"/>
                  <a:gd name="connsiteY4" fmla="*/ 41009 h 60330"/>
                  <a:gd name="connsiteX5" fmla="*/ 17695 w 29487"/>
                  <a:gd name="connsiteY5" fmla="*/ 35883 h 60330"/>
                  <a:gd name="connsiteX6" fmla="*/ 13851 w 29487"/>
                  <a:gd name="connsiteY6" fmla="*/ 24349 h 60330"/>
                  <a:gd name="connsiteX7" fmla="*/ 4880 w 29487"/>
                  <a:gd name="connsiteY7" fmla="*/ 0 h 60330"/>
                  <a:gd name="connsiteX8" fmla="*/ 3598 w 29487"/>
                  <a:gd name="connsiteY8" fmla="*/ 0 h 60330"/>
                  <a:gd name="connsiteX9" fmla="*/ 2317 w 29487"/>
                  <a:gd name="connsiteY9" fmla="*/ 15379 h 6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87" h="60330">
                    <a:moveTo>
                      <a:pt x="2317" y="15379"/>
                    </a:moveTo>
                    <a:cubicBezTo>
                      <a:pt x="3598" y="19223"/>
                      <a:pt x="6161" y="23068"/>
                      <a:pt x="11288" y="24349"/>
                    </a:cubicBezTo>
                    <a:cubicBezTo>
                      <a:pt x="12569" y="28194"/>
                      <a:pt x="13851" y="32039"/>
                      <a:pt x="15132" y="35883"/>
                    </a:cubicBezTo>
                    <a:cubicBezTo>
                      <a:pt x="7443" y="42291"/>
                      <a:pt x="16414" y="58951"/>
                      <a:pt x="22822" y="60233"/>
                    </a:cubicBezTo>
                    <a:cubicBezTo>
                      <a:pt x="30511" y="61514"/>
                      <a:pt x="31792" y="49980"/>
                      <a:pt x="25385" y="41009"/>
                    </a:cubicBezTo>
                    <a:cubicBezTo>
                      <a:pt x="22822" y="37165"/>
                      <a:pt x="18977" y="35883"/>
                      <a:pt x="17695" y="35883"/>
                    </a:cubicBezTo>
                    <a:cubicBezTo>
                      <a:pt x="16414" y="32039"/>
                      <a:pt x="15132" y="28194"/>
                      <a:pt x="13851" y="24349"/>
                    </a:cubicBezTo>
                    <a:cubicBezTo>
                      <a:pt x="21540" y="19223"/>
                      <a:pt x="12569" y="1282"/>
                      <a:pt x="4880" y="0"/>
                    </a:cubicBezTo>
                    <a:cubicBezTo>
                      <a:pt x="4880" y="0"/>
                      <a:pt x="3598" y="0"/>
                      <a:pt x="3598" y="0"/>
                    </a:cubicBezTo>
                    <a:cubicBezTo>
                      <a:pt x="-2810" y="2563"/>
                      <a:pt x="1035" y="11534"/>
                      <a:pt x="2317"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2" name="Freeform: Shape 379738">
                <a:extLst>
                  <a:ext uri="{FF2B5EF4-FFF2-40B4-BE49-F238E27FC236}">
                    <a16:creationId xmlns:a16="http://schemas.microsoft.com/office/drawing/2014/main" id="{9F63D29F-7631-47C9-984B-6E884CC09A6C}"/>
                  </a:ext>
                </a:extLst>
              </p:cNvPr>
              <p:cNvSpPr/>
              <p:nvPr/>
            </p:nvSpPr>
            <p:spPr>
              <a:xfrm>
                <a:off x="7318944" y="2976895"/>
                <a:ext cx="29729" cy="60355"/>
              </a:xfrm>
              <a:custGeom>
                <a:avLst/>
                <a:gdLst>
                  <a:gd name="connsiteX0" fmla="*/ 2217 w 29729"/>
                  <a:gd name="connsiteY0" fmla="*/ 15379 h 60355"/>
                  <a:gd name="connsiteX1" fmla="*/ 11188 w 29729"/>
                  <a:gd name="connsiteY1" fmla="*/ 24349 h 60355"/>
                  <a:gd name="connsiteX2" fmla="*/ 15033 w 29729"/>
                  <a:gd name="connsiteY2" fmla="*/ 35883 h 60355"/>
                  <a:gd name="connsiteX3" fmla="*/ 24003 w 29729"/>
                  <a:gd name="connsiteY3" fmla="*/ 60233 h 60355"/>
                  <a:gd name="connsiteX4" fmla="*/ 26567 w 29729"/>
                  <a:gd name="connsiteY4" fmla="*/ 43573 h 60355"/>
                  <a:gd name="connsiteX5" fmla="*/ 18877 w 29729"/>
                  <a:gd name="connsiteY5" fmla="*/ 35883 h 60355"/>
                  <a:gd name="connsiteX6" fmla="*/ 15033 w 29729"/>
                  <a:gd name="connsiteY6" fmla="*/ 24349 h 60355"/>
                  <a:gd name="connsiteX7" fmla="*/ 6062 w 29729"/>
                  <a:gd name="connsiteY7" fmla="*/ 0 h 60355"/>
                  <a:gd name="connsiteX8" fmla="*/ 4781 w 29729"/>
                  <a:gd name="connsiteY8" fmla="*/ 0 h 60355"/>
                  <a:gd name="connsiteX9" fmla="*/ 2217 w 29729"/>
                  <a:gd name="connsiteY9" fmla="*/ 15379 h 60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29" h="60355">
                    <a:moveTo>
                      <a:pt x="2217" y="15379"/>
                    </a:moveTo>
                    <a:cubicBezTo>
                      <a:pt x="3499" y="19223"/>
                      <a:pt x="7343" y="23068"/>
                      <a:pt x="11188" y="24349"/>
                    </a:cubicBezTo>
                    <a:cubicBezTo>
                      <a:pt x="12470" y="28194"/>
                      <a:pt x="13751" y="32039"/>
                      <a:pt x="15033" y="35883"/>
                    </a:cubicBezTo>
                    <a:cubicBezTo>
                      <a:pt x="7343" y="41009"/>
                      <a:pt x="16314" y="58951"/>
                      <a:pt x="24003" y="60233"/>
                    </a:cubicBezTo>
                    <a:cubicBezTo>
                      <a:pt x="30411" y="61514"/>
                      <a:pt x="31693" y="52543"/>
                      <a:pt x="26567" y="43573"/>
                    </a:cubicBezTo>
                    <a:cubicBezTo>
                      <a:pt x="22722" y="38446"/>
                      <a:pt x="20159" y="37165"/>
                      <a:pt x="18877" y="35883"/>
                    </a:cubicBezTo>
                    <a:cubicBezTo>
                      <a:pt x="17596" y="32039"/>
                      <a:pt x="16314" y="28194"/>
                      <a:pt x="15033" y="24349"/>
                    </a:cubicBezTo>
                    <a:cubicBezTo>
                      <a:pt x="22722" y="19223"/>
                      <a:pt x="13751" y="1282"/>
                      <a:pt x="6062" y="0"/>
                    </a:cubicBezTo>
                    <a:cubicBezTo>
                      <a:pt x="6062" y="0"/>
                      <a:pt x="4781" y="0"/>
                      <a:pt x="4781" y="0"/>
                    </a:cubicBezTo>
                    <a:cubicBezTo>
                      <a:pt x="-4191" y="2563"/>
                      <a:pt x="2217" y="15379"/>
                      <a:pt x="2217"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3" name="Freeform: Shape 379739">
                <a:extLst>
                  <a:ext uri="{FF2B5EF4-FFF2-40B4-BE49-F238E27FC236}">
                    <a16:creationId xmlns:a16="http://schemas.microsoft.com/office/drawing/2014/main" id="{26E522C6-23EE-4F9D-8CCE-35F475156D63}"/>
                  </a:ext>
                </a:extLst>
              </p:cNvPr>
              <p:cNvSpPr/>
              <p:nvPr/>
            </p:nvSpPr>
            <p:spPr>
              <a:xfrm>
                <a:off x="7343984" y="3011497"/>
                <a:ext cx="28685" cy="63421"/>
              </a:xfrm>
              <a:custGeom>
                <a:avLst/>
                <a:gdLst>
                  <a:gd name="connsiteX0" fmla="*/ 1527 w 28685"/>
                  <a:gd name="connsiteY0" fmla="*/ 53825 h 63421"/>
                  <a:gd name="connsiteX1" fmla="*/ 16905 w 28685"/>
                  <a:gd name="connsiteY1" fmla="*/ 58951 h 63421"/>
                  <a:gd name="connsiteX2" fmla="*/ 13061 w 28685"/>
                  <a:gd name="connsiteY2" fmla="*/ 43572 h 63421"/>
                  <a:gd name="connsiteX3" fmla="*/ 19469 w 28685"/>
                  <a:gd name="connsiteY3" fmla="*/ 23068 h 63421"/>
                  <a:gd name="connsiteX4" fmla="*/ 28439 w 28685"/>
                  <a:gd name="connsiteY4" fmla="*/ 14097 h 63421"/>
                  <a:gd name="connsiteX5" fmla="*/ 15624 w 28685"/>
                  <a:gd name="connsiteY5" fmla="*/ 0 h 63421"/>
                  <a:gd name="connsiteX6" fmla="*/ 15624 w 28685"/>
                  <a:gd name="connsiteY6" fmla="*/ 19223 h 63421"/>
                  <a:gd name="connsiteX7" fmla="*/ 9216 w 28685"/>
                  <a:gd name="connsiteY7" fmla="*/ 39728 h 63421"/>
                  <a:gd name="connsiteX8" fmla="*/ 246 w 28685"/>
                  <a:gd name="connsiteY8" fmla="*/ 48699 h 63421"/>
                  <a:gd name="connsiteX9" fmla="*/ 1527 w 28685"/>
                  <a:gd name="connsiteY9" fmla="*/ 53825 h 6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685" h="63421">
                    <a:moveTo>
                      <a:pt x="1527" y="53825"/>
                    </a:moveTo>
                    <a:cubicBezTo>
                      <a:pt x="5371" y="64077"/>
                      <a:pt x="14342" y="66640"/>
                      <a:pt x="16905" y="58951"/>
                    </a:cubicBezTo>
                    <a:cubicBezTo>
                      <a:pt x="18187" y="56388"/>
                      <a:pt x="18187" y="49980"/>
                      <a:pt x="13061" y="43572"/>
                    </a:cubicBezTo>
                    <a:cubicBezTo>
                      <a:pt x="14342" y="37165"/>
                      <a:pt x="16905" y="29475"/>
                      <a:pt x="19469" y="23068"/>
                    </a:cubicBezTo>
                    <a:cubicBezTo>
                      <a:pt x="25876" y="28194"/>
                      <a:pt x="29721" y="21786"/>
                      <a:pt x="28439" y="14097"/>
                    </a:cubicBezTo>
                    <a:cubicBezTo>
                      <a:pt x="28439" y="14097"/>
                      <a:pt x="24595" y="0"/>
                      <a:pt x="15624" y="0"/>
                    </a:cubicBezTo>
                    <a:cubicBezTo>
                      <a:pt x="9216" y="1281"/>
                      <a:pt x="11780" y="12815"/>
                      <a:pt x="15624" y="19223"/>
                    </a:cubicBezTo>
                    <a:cubicBezTo>
                      <a:pt x="14342" y="25631"/>
                      <a:pt x="11780" y="33320"/>
                      <a:pt x="9216" y="39728"/>
                    </a:cubicBezTo>
                    <a:cubicBezTo>
                      <a:pt x="2808" y="34602"/>
                      <a:pt x="-1036" y="41009"/>
                      <a:pt x="246" y="48699"/>
                    </a:cubicBezTo>
                    <a:cubicBezTo>
                      <a:pt x="246" y="49980"/>
                      <a:pt x="1527" y="52543"/>
                      <a:pt x="1527" y="5382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4" name="Freeform: Shape 379740">
                <a:extLst>
                  <a:ext uri="{FF2B5EF4-FFF2-40B4-BE49-F238E27FC236}">
                    <a16:creationId xmlns:a16="http://schemas.microsoft.com/office/drawing/2014/main" id="{8F9B1681-5319-4FA5-8EF7-9570DDF3DEB8}"/>
                  </a:ext>
                </a:extLst>
              </p:cNvPr>
              <p:cNvSpPr/>
              <p:nvPr/>
            </p:nvSpPr>
            <p:spPr>
              <a:xfrm>
                <a:off x="7399583" y="3008934"/>
                <a:ext cx="81289" cy="247403"/>
              </a:xfrm>
              <a:custGeom>
                <a:avLst/>
                <a:gdLst>
                  <a:gd name="connsiteX0" fmla="*/ 2316 w 81289"/>
                  <a:gd name="connsiteY0" fmla="*/ 14097 h 247403"/>
                  <a:gd name="connsiteX1" fmla="*/ 11287 w 81289"/>
                  <a:gd name="connsiteY1" fmla="*/ 24349 h 247403"/>
                  <a:gd name="connsiteX2" fmla="*/ 68957 w 81289"/>
                  <a:gd name="connsiteY2" fmla="*/ 221707 h 247403"/>
                  <a:gd name="connsiteX3" fmla="*/ 76646 w 81289"/>
                  <a:gd name="connsiteY3" fmla="*/ 247338 h 247403"/>
                  <a:gd name="connsiteX4" fmla="*/ 74083 w 81289"/>
                  <a:gd name="connsiteY4" fmla="*/ 222989 h 247403"/>
                  <a:gd name="connsiteX5" fmla="*/ 71520 w 81289"/>
                  <a:gd name="connsiteY5" fmla="*/ 221707 h 247403"/>
                  <a:gd name="connsiteX6" fmla="*/ 13850 w 81289"/>
                  <a:gd name="connsiteY6" fmla="*/ 24349 h 247403"/>
                  <a:gd name="connsiteX7" fmla="*/ 3598 w 81289"/>
                  <a:gd name="connsiteY7" fmla="*/ 0 h 247403"/>
                  <a:gd name="connsiteX8" fmla="*/ 2316 w 81289"/>
                  <a:gd name="connsiteY8" fmla="*/ 14097 h 24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289" h="247403">
                    <a:moveTo>
                      <a:pt x="2316" y="14097"/>
                    </a:moveTo>
                    <a:cubicBezTo>
                      <a:pt x="3598" y="17942"/>
                      <a:pt x="6161" y="21786"/>
                      <a:pt x="11287" y="24349"/>
                    </a:cubicBezTo>
                    <a:cubicBezTo>
                      <a:pt x="33074" y="88427"/>
                      <a:pt x="53579" y="153785"/>
                      <a:pt x="68957" y="221707"/>
                    </a:cubicBezTo>
                    <a:cubicBezTo>
                      <a:pt x="59986" y="230678"/>
                      <a:pt x="71520" y="248620"/>
                      <a:pt x="76646" y="247338"/>
                    </a:cubicBezTo>
                    <a:cubicBezTo>
                      <a:pt x="84336" y="247338"/>
                      <a:pt x="81773" y="229397"/>
                      <a:pt x="74083" y="222989"/>
                    </a:cubicBezTo>
                    <a:cubicBezTo>
                      <a:pt x="72802" y="222989"/>
                      <a:pt x="72802" y="221707"/>
                      <a:pt x="71520" y="221707"/>
                    </a:cubicBezTo>
                    <a:cubicBezTo>
                      <a:pt x="54860" y="153785"/>
                      <a:pt x="35637" y="88427"/>
                      <a:pt x="13850" y="24349"/>
                    </a:cubicBezTo>
                    <a:cubicBezTo>
                      <a:pt x="20258" y="16660"/>
                      <a:pt x="11287" y="1282"/>
                      <a:pt x="3598" y="0"/>
                    </a:cubicBezTo>
                    <a:cubicBezTo>
                      <a:pt x="-2809" y="1282"/>
                      <a:pt x="1035" y="11534"/>
                      <a:pt x="231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5" name="Freeform: Shape 379741">
                <a:extLst>
                  <a:ext uri="{FF2B5EF4-FFF2-40B4-BE49-F238E27FC236}">
                    <a16:creationId xmlns:a16="http://schemas.microsoft.com/office/drawing/2014/main" id="{441CD6B5-C602-46F0-B2A9-96889B952BC8}"/>
                  </a:ext>
                </a:extLst>
              </p:cNvPr>
              <p:cNvSpPr/>
              <p:nvPr/>
            </p:nvSpPr>
            <p:spPr>
              <a:xfrm>
                <a:off x="7290464" y="2802605"/>
                <a:ext cx="146036" cy="229716"/>
              </a:xfrm>
              <a:custGeom>
                <a:avLst/>
                <a:gdLst>
                  <a:gd name="connsiteX0" fmla="*/ 2503 w 146036"/>
                  <a:gd name="connsiteY0" fmla="*/ 14097 h 229716"/>
                  <a:gd name="connsiteX1" fmla="*/ 12755 w 146036"/>
                  <a:gd name="connsiteY1" fmla="*/ 23068 h 229716"/>
                  <a:gd name="connsiteX2" fmla="*/ 67862 w 146036"/>
                  <a:gd name="connsiteY2" fmla="*/ 149941 h 229716"/>
                  <a:gd name="connsiteX3" fmla="*/ 130658 w 146036"/>
                  <a:gd name="connsiteY3" fmla="*/ 212737 h 229716"/>
                  <a:gd name="connsiteX4" fmla="*/ 138348 w 146036"/>
                  <a:gd name="connsiteY4" fmla="*/ 228115 h 229716"/>
                  <a:gd name="connsiteX5" fmla="*/ 146037 w 146036"/>
                  <a:gd name="connsiteY5" fmla="*/ 224270 h 229716"/>
                  <a:gd name="connsiteX6" fmla="*/ 130658 w 146036"/>
                  <a:gd name="connsiteY6" fmla="*/ 206329 h 229716"/>
                  <a:gd name="connsiteX7" fmla="*/ 130658 w 146036"/>
                  <a:gd name="connsiteY7" fmla="*/ 207610 h 229716"/>
                  <a:gd name="connsiteX8" fmla="*/ 70425 w 146036"/>
                  <a:gd name="connsiteY8" fmla="*/ 147378 h 229716"/>
                  <a:gd name="connsiteX9" fmla="*/ 16600 w 146036"/>
                  <a:gd name="connsiteY9" fmla="*/ 23068 h 229716"/>
                  <a:gd name="connsiteX10" fmla="*/ 3784 w 146036"/>
                  <a:gd name="connsiteY10" fmla="*/ 0 h 229716"/>
                  <a:gd name="connsiteX11" fmla="*/ 2503 w 146036"/>
                  <a:gd name="connsiteY11" fmla="*/ 14097 h 229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6036" h="229716">
                    <a:moveTo>
                      <a:pt x="2503" y="14097"/>
                    </a:moveTo>
                    <a:cubicBezTo>
                      <a:pt x="3784" y="16660"/>
                      <a:pt x="7629" y="21786"/>
                      <a:pt x="12755" y="23068"/>
                    </a:cubicBezTo>
                    <a:cubicBezTo>
                      <a:pt x="31979" y="64077"/>
                      <a:pt x="51202" y="106368"/>
                      <a:pt x="67862" y="149941"/>
                    </a:cubicBezTo>
                    <a:cubicBezTo>
                      <a:pt x="87085" y="169164"/>
                      <a:pt x="128095" y="185824"/>
                      <a:pt x="130658" y="212737"/>
                    </a:cubicBezTo>
                    <a:cubicBezTo>
                      <a:pt x="130658" y="212737"/>
                      <a:pt x="131939" y="221707"/>
                      <a:pt x="138348" y="228115"/>
                    </a:cubicBezTo>
                    <a:cubicBezTo>
                      <a:pt x="142192" y="230678"/>
                      <a:pt x="146037" y="230678"/>
                      <a:pt x="146037" y="224270"/>
                    </a:cubicBezTo>
                    <a:cubicBezTo>
                      <a:pt x="146037" y="214018"/>
                      <a:pt x="135784" y="199921"/>
                      <a:pt x="130658" y="206329"/>
                    </a:cubicBezTo>
                    <a:cubicBezTo>
                      <a:pt x="130658" y="206329"/>
                      <a:pt x="130658" y="207610"/>
                      <a:pt x="130658" y="207610"/>
                    </a:cubicBezTo>
                    <a:lnTo>
                      <a:pt x="70425" y="147378"/>
                    </a:lnTo>
                    <a:cubicBezTo>
                      <a:pt x="53765" y="105087"/>
                      <a:pt x="35823" y="64077"/>
                      <a:pt x="16600" y="23068"/>
                    </a:cubicBezTo>
                    <a:cubicBezTo>
                      <a:pt x="23008" y="16660"/>
                      <a:pt x="11474" y="1281"/>
                      <a:pt x="3784" y="0"/>
                    </a:cubicBezTo>
                    <a:cubicBezTo>
                      <a:pt x="-3905" y="2563"/>
                      <a:pt x="2503" y="14097"/>
                      <a:pt x="250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6" name="Freeform: Shape 379742">
                <a:extLst>
                  <a:ext uri="{FF2B5EF4-FFF2-40B4-BE49-F238E27FC236}">
                    <a16:creationId xmlns:a16="http://schemas.microsoft.com/office/drawing/2014/main" id="{79FEDC2B-2ED2-4058-A7DB-69BAC4DC40E9}"/>
                  </a:ext>
                </a:extLst>
              </p:cNvPr>
              <p:cNvSpPr/>
              <p:nvPr/>
            </p:nvSpPr>
            <p:spPr>
              <a:xfrm>
                <a:off x="7315893" y="2769285"/>
                <a:ext cx="142035" cy="262716"/>
              </a:xfrm>
              <a:custGeom>
                <a:avLst/>
                <a:gdLst>
                  <a:gd name="connsiteX0" fmla="*/ 3987 w 142035"/>
                  <a:gd name="connsiteY0" fmla="*/ 12816 h 262716"/>
                  <a:gd name="connsiteX1" fmla="*/ 18084 w 142035"/>
                  <a:gd name="connsiteY1" fmla="*/ 19223 h 262716"/>
                  <a:gd name="connsiteX2" fmla="*/ 44997 w 142035"/>
                  <a:gd name="connsiteY2" fmla="*/ 43573 h 262716"/>
                  <a:gd name="connsiteX3" fmla="*/ 128297 w 142035"/>
                  <a:gd name="connsiteY3" fmla="*/ 238367 h 262716"/>
                  <a:gd name="connsiteX4" fmla="*/ 139831 w 142035"/>
                  <a:gd name="connsiteY4" fmla="*/ 262717 h 262716"/>
                  <a:gd name="connsiteX5" fmla="*/ 130861 w 142035"/>
                  <a:gd name="connsiteY5" fmla="*/ 238367 h 262716"/>
                  <a:gd name="connsiteX6" fmla="*/ 46278 w 142035"/>
                  <a:gd name="connsiteY6" fmla="*/ 42291 h 262716"/>
                  <a:gd name="connsiteX7" fmla="*/ 16803 w 142035"/>
                  <a:gd name="connsiteY7" fmla="*/ 15379 h 262716"/>
                  <a:gd name="connsiteX8" fmla="*/ 2706 w 142035"/>
                  <a:gd name="connsiteY8" fmla="*/ 0 h 262716"/>
                  <a:gd name="connsiteX9" fmla="*/ 142 w 142035"/>
                  <a:gd name="connsiteY9" fmla="*/ 1282 h 262716"/>
                  <a:gd name="connsiteX10" fmla="*/ 3987 w 142035"/>
                  <a:gd name="connsiteY10" fmla="*/ 12816 h 26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035" h="262716">
                    <a:moveTo>
                      <a:pt x="3987" y="12816"/>
                    </a:moveTo>
                    <a:cubicBezTo>
                      <a:pt x="3987" y="12816"/>
                      <a:pt x="12958" y="26912"/>
                      <a:pt x="18084" y="19223"/>
                    </a:cubicBezTo>
                    <a:lnTo>
                      <a:pt x="44997" y="43573"/>
                    </a:lnTo>
                    <a:cubicBezTo>
                      <a:pt x="75754" y="106368"/>
                      <a:pt x="103948" y="170446"/>
                      <a:pt x="128297" y="238367"/>
                    </a:cubicBezTo>
                    <a:cubicBezTo>
                      <a:pt x="123171" y="244775"/>
                      <a:pt x="130861" y="262717"/>
                      <a:pt x="139831" y="262717"/>
                    </a:cubicBezTo>
                    <a:cubicBezTo>
                      <a:pt x="146239" y="255028"/>
                      <a:pt x="137268" y="240931"/>
                      <a:pt x="130861" y="238367"/>
                    </a:cubicBezTo>
                    <a:cubicBezTo>
                      <a:pt x="106511" y="170446"/>
                      <a:pt x="78317" y="105087"/>
                      <a:pt x="46278" y="42291"/>
                    </a:cubicBezTo>
                    <a:cubicBezTo>
                      <a:pt x="37308" y="34602"/>
                      <a:pt x="19365" y="26912"/>
                      <a:pt x="16803" y="15379"/>
                    </a:cubicBezTo>
                    <a:cubicBezTo>
                      <a:pt x="16803" y="12816"/>
                      <a:pt x="10395" y="1282"/>
                      <a:pt x="2706" y="0"/>
                    </a:cubicBezTo>
                    <a:cubicBezTo>
                      <a:pt x="2706" y="0"/>
                      <a:pt x="1424" y="1282"/>
                      <a:pt x="142" y="1282"/>
                    </a:cubicBezTo>
                    <a:cubicBezTo>
                      <a:pt x="142" y="2563"/>
                      <a:pt x="-1139" y="5126"/>
                      <a:pt x="3987"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7" name="Freeform: Shape 379743">
                <a:extLst>
                  <a:ext uri="{FF2B5EF4-FFF2-40B4-BE49-F238E27FC236}">
                    <a16:creationId xmlns:a16="http://schemas.microsoft.com/office/drawing/2014/main" id="{B97EE976-88C5-407F-BFA4-9176C7B47E1E}"/>
                  </a:ext>
                </a:extLst>
              </p:cNvPr>
              <p:cNvSpPr/>
              <p:nvPr/>
            </p:nvSpPr>
            <p:spPr>
              <a:xfrm>
                <a:off x="4126257" y="3534368"/>
                <a:ext cx="22492" cy="361395"/>
              </a:xfrm>
              <a:custGeom>
                <a:avLst/>
                <a:gdLst>
                  <a:gd name="connsiteX0" fmla="*/ 2563 w 22492"/>
                  <a:gd name="connsiteY0" fmla="*/ 17942 h 361395"/>
                  <a:gd name="connsiteX1" fmla="*/ 2563 w 22492"/>
                  <a:gd name="connsiteY1" fmla="*/ 26912 h 361395"/>
                  <a:gd name="connsiteX2" fmla="*/ 0 w 22492"/>
                  <a:gd name="connsiteY2" fmla="*/ 129436 h 361395"/>
                  <a:gd name="connsiteX3" fmla="*/ 6408 w 22492"/>
                  <a:gd name="connsiteY3" fmla="*/ 161475 h 361395"/>
                  <a:gd name="connsiteX4" fmla="*/ 17942 w 22492"/>
                  <a:gd name="connsiteY4" fmla="*/ 335765 h 361395"/>
                  <a:gd name="connsiteX5" fmla="*/ 20505 w 22492"/>
                  <a:gd name="connsiteY5" fmla="*/ 361396 h 361395"/>
                  <a:gd name="connsiteX6" fmla="*/ 19223 w 22492"/>
                  <a:gd name="connsiteY6" fmla="*/ 334483 h 361395"/>
                  <a:gd name="connsiteX7" fmla="*/ 7689 w 22492"/>
                  <a:gd name="connsiteY7" fmla="*/ 157630 h 361395"/>
                  <a:gd name="connsiteX8" fmla="*/ 1282 w 22492"/>
                  <a:gd name="connsiteY8" fmla="*/ 125591 h 361395"/>
                  <a:gd name="connsiteX9" fmla="*/ 3845 w 22492"/>
                  <a:gd name="connsiteY9" fmla="*/ 25631 h 361395"/>
                  <a:gd name="connsiteX10" fmla="*/ 5126 w 22492"/>
                  <a:gd name="connsiteY10" fmla="*/ 0 h 361395"/>
                  <a:gd name="connsiteX11" fmla="*/ 2563 w 22492"/>
                  <a:gd name="connsiteY11" fmla="*/ 17942 h 361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492" h="361395">
                    <a:moveTo>
                      <a:pt x="2563" y="17942"/>
                    </a:moveTo>
                    <a:cubicBezTo>
                      <a:pt x="2563" y="21786"/>
                      <a:pt x="2563" y="25631"/>
                      <a:pt x="2563" y="26912"/>
                    </a:cubicBezTo>
                    <a:cubicBezTo>
                      <a:pt x="0" y="61514"/>
                      <a:pt x="0" y="94834"/>
                      <a:pt x="0" y="129436"/>
                    </a:cubicBezTo>
                    <a:lnTo>
                      <a:pt x="6408" y="161475"/>
                    </a:lnTo>
                    <a:cubicBezTo>
                      <a:pt x="7689" y="219144"/>
                      <a:pt x="11534" y="276814"/>
                      <a:pt x="17942" y="335765"/>
                    </a:cubicBezTo>
                    <a:cubicBezTo>
                      <a:pt x="16660" y="342173"/>
                      <a:pt x="17942" y="354988"/>
                      <a:pt x="20505" y="361396"/>
                    </a:cubicBezTo>
                    <a:cubicBezTo>
                      <a:pt x="25631" y="356269"/>
                      <a:pt x="19223" y="335765"/>
                      <a:pt x="19223" y="334483"/>
                    </a:cubicBezTo>
                    <a:cubicBezTo>
                      <a:pt x="12816" y="275532"/>
                      <a:pt x="7689" y="216581"/>
                      <a:pt x="7689" y="157630"/>
                    </a:cubicBezTo>
                    <a:lnTo>
                      <a:pt x="1282" y="125591"/>
                    </a:lnTo>
                    <a:cubicBezTo>
                      <a:pt x="1282" y="92271"/>
                      <a:pt x="2563" y="58951"/>
                      <a:pt x="3845" y="25631"/>
                    </a:cubicBezTo>
                    <a:cubicBezTo>
                      <a:pt x="5126" y="19223"/>
                      <a:pt x="7689" y="3845"/>
                      <a:pt x="5126" y="0"/>
                    </a:cubicBezTo>
                    <a:cubicBezTo>
                      <a:pt x="3845" y="5126"/>
                      <a:pt x="3845" y="14097"/>
                      <a:pt x="2563"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8" name="Freeform: Shape 379744">
                <a:extLst>
                  <a:ext uri="{FF2B5EF4-FFF2-40B4-BE49-F238E27FC236}">
                    <a16:creationId xmlns:a16="http://schemas.microsoft.com/office/drawing/2014/main" id="{8EDC351A-90DA-418D-ABE6-02E071BB2465}"/>
                  </a:ext>
                </a:extLst>
              </p:cNvPr>
              <p:cNvSpPr/>
              <p:nvPr/>
            </p:nvSpPr>
            <p:spPr>
              <a:xfrm>
                <a:off x="5542911" y="3388983"/>
                <a:ext cx="89137" cy="292234"/>
              </a:xfrm>
              <a:custGeom>
                <a:avLst/>
                <a:gdLst>
                  <a:gd name="connsiteX0" fmla="*/ 740 w 89137"/>
                  <a:gd name="connsiteY0" fmla="*/ 18511 h 292234"/>
                  <a:gd name="connsiteX1" fmla="*/ 13556 w 89137"/>
                  <a:gd name="connsiteY1" fmla="*/ 26200 h 292234"/>
                  <a:gd name="connsiteX2" fmla="*/ 53283 w 89137"/>
                  <a:gd name="connsiteY2" fmla="*/ 203054 h 292234"/>
                  <a:gd name="connsiteX3" fmla="*/ 68662 w 89137"/>
                  <a:gd name="connsiteY3" fmla="*/ 265850 h 292234"/>
                  <a:gd name="connsiteX4" fmla="*/ 69944 w 89137"/>
                  <a:gd name="connsiteY4" fmla="*/ 291480 h 292234"/>
                  <a:gd name="connsiteX5" fmla="*/ 87885 w 89137"/>
                  <a:gd name="connsiteY5" fmla="*/ 272257 h 292234"/>
                  <a:gd name="connsiteX6" fmla="*/ 75070 w 89137"/>
                  <a:gd name="connsiteY6" fmla="*/ 264568 h 292234"/>
                  <a:gd name="connsiteX7" fmla="*/ 59692 w 89137"/>
                  <a:gd name="connsiteY7" fmla="*/ 201772 h 292234"/>
                  <a:gd name="connsiteX8" fmla="*/ 19963 w 89137"/>
                  <a:gd name="connsiteY8" fmla="*/ 24919 h 292234"/>
                  <a:gd name="connsiteX9" fmla="*/ 19963 w 89137"/>
                  <a:gd name="connsiteY9" fmla="*/ 570 h 292234"/>
                  <a:gd name="connsiteX10" fmla="*/ 12274 w 89137"/>
                  <a:gd name="connsiteY10" fmla="*/ 570 h 292234"/>
                  <a:gd name="connsiteX11" fmla="*/ 740 w 89137"/>
                  <a:gd name="connsiteY11" fmla="*/ 18511 h 292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137" h="292234">
                    <a:moveTo>
                      <a:pt x="740" y="18511"/>
                    </a:moveTo>
                    <a:cubicBezTo>
                      <a:pt x="2022" y="22356"/>
                      <a:pt x="5866" y="26200"/>
                      <a:pt x="13556" y="26200"/>
                    </a:cubicBezTo>
                    <a:cubicBezTo>
                      <a:pt x="26371" y="83870"/>
                      <a:pt x="39187" y="142821"/>
                      <a:pt x="53283" y="203054"/>
                    </a:cubicBezTo>
                    <a:cubicBezTo>
                      <a:pt x="58410" y="223558"/>
                      <a:pt x="63536" y="245345"/>
                      <a:pt x="68662" y="265850"/>
                    </a:cubicBezTo>
                    <a:cubicBezTo>
                      <a:pt x="55847" y="273539"/>
                      <a:pt x="59692" y="287636"/>
                      <a:pt x="69944" y="291480"/>
                    </a:cubicBezTo>
                    <a:cubicBezTo>
                      <a:pt x="81478" y="295325"/>
                      <a:pt x="93012" y="283791"/>
                      <a:pt x="87885" y="272257"/>
                    </a:cubicBezTo>
                    <a:cubicBezTo>
                      <a:pt x="86604" y="268413"/>
                      <a:pt x="82759" y="264568"/>
                      <a:pt x="75070" y="264568"/>
                    </a:cubicBezTo>
                    <a:cubicBezTo>
                      <a:pt x="69944" y="244063"/>
                      <a:pt x="64817" y="222277"/>
                      <a:pt x="59692" y="201772"/>
                    </a:cubicBezTo>
                    <a:cubicBezTo>
                      <a:pt x="45594" y="141540"/>
                      <a:pt x="32779" y="82588"/>
                      <a:pt x="19963" y="24919"/>
                    </a:cubicBezTo>
                    <a:cubicBezTo>
                      <a:pt x="32779" y="17230"/>
                      <a:pt x="28934" y="3133"/>
                      <a:pt x="19963" y="570"/>
                    </a:cubicBezTo>
                    <a:cubicBezTo>
                      <a:pt x="17400" y="-712"/>
                      <a:pt x="13556" y="570"/>
                      <a:pt x="12274" y="570"/>
                    </a:cubicBezTo>
                    <a:cubicBezTo>
                      <a:pt x="-1823" y="4414"/>
                      <a:pt x="-542" y="14667"/>
                      <a:pt x="740" y="1851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09" name="Freeform: Shape 379745">
                <a:extLst>
                  <a:ext uri="{FF2B5EF4-FFF2-40B4-BE49-F238E27FC236}">
                    <a16:creationId xmlns:a16="http://schemas.microsoft.com/office/drawing/2014/main" id="{C1D1E8FB-8605-4AAF-83A3-A34A3A056009}"/>
                  </a:ext>
                </a:extLst>
              </p:cNvPr>
              <p:cNvSpPr/>
              <p:nvPr/>
            </p:nvSpPr>
            <p:spPr>
              <a:xfrm>
                <a:off x="6395882" y="2966643"/>
                <a:ext cx="61514" cy="252464"/>
              </a:xfrm>
              <a:custGeom>
                <a:avLst/>
                <a:gdLst>
                  <a:gd name="connsiteX0" fmla="*/ 11534 w 61514"/>
                  <a:gd name="connsiteY0" fmla="*/ 244775 h 252464"/>
                  <a:gd name="connsiteX1" fmla="*/ 35883 w 61514"/>
                  <a:gd name="connsiteY1" fmla="*/ 244775 h 252464"/>
                  <a:gd name="connsiteX2" fmla="*/ 23068 w 61514"/>
                  <a:gd name="connsiteY2" fmla="*/ 226834 h 252464"/>
                  <a:gd name="connsiteX3" fmla="*/ 6408 w 61514"/>
                  <a:gd name="connsiteY3" fmla="*/ 167883 h 252464"/>
                  <a:gd name="connsiteX4" fmla="*/ 61514 w 61514"/>
                  <a:gd name="connsiteY4" fmla="*/ 82019 h 252464"/>
                  <a:gd name="connsiteX5" fmla="*/ 42291 w 61514"/>
                  <a:gd name="connsiteY5" fmla="*/ 23068 h 252464"/>
                  <a:gd name="connsiteX6" fmla="*/ 37165 w 61514"/>
                  <a:gd name="connsiteY6" fmla="*/ 0 h 252464"/>
                  <a:gd name="connsiteX7" fmla="*/ 32039 w 61514"/>
                  <a:gd name="connsiteY7" fmla="*/ 0 h 252464"/>
                  <a:gd name="connsiteX8" fmla="*/ 30757 w 61514"/>
                  <a:gd name="connsiteY8" fmla="*/ 21786 h 252464"/>
                  <a:gd name="connsiteX9" fmla="*/ 37165 w 61514"/>
                  <a:gd name="connsiteY9" fmla="*/ 23068 h 252464"/>
                  <a:gd name="connsiteX10" fmla="*/ 55107 w 61514"/>
                  <a:gd name="connsiteY10" fmla="*/ 79456 h 252464"/>
                  <a:gd name="connsiteX11" fmla="*/ 0 w 61514"/>
                  <a:gd name="connsiteY11" fmla="*/ 165319 h 252464"/>
                  <a:gd name="connsiteX12" fmla="*/ 16660 w 61514"/>
                  <a:gd name="connsiteY12" fmla="*/ 226834 h 252464"/>
                  <a:gd name="connsiteX13" fmla="*/ 11534 w 61514"/>
                  <a:gd name="connsiteY13" fmla="*/ 244775 h 25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514" h="252464">
                    <a:moveTo>
                      <a:pt x="11534" y="244775"/>
                    </a:moveTo>
                    <a:cubicBezTo>
                      <a:pt x="16660" y="255028"/>
                      <a:pt x="32039" y="255028"/>
                      <a:pt x="35883" y="244775"/>
                    </a:cubicBezTo>
                    <a:cubicBezTo>
                      <a:pt x="37165" y="239649"/>
                      <a:pt x="35883" y="228115"/>
                      <a:pt x="23068" y="226834"/>
                    </a:cubicBezTo>
                    <a:cubicBezTo>
                      <a:pt x="17942" y="207610"/>
                      <a:pt x="12815" y="187106"/>
                      <a:pt x="6408" y="167883"/>
                    </a:cubicBezTo>
                    <a:lnTo>
                      <a:pt x="61514" y="82019"/>
                    </a:lnTo>
                    <a:cubicBezTo>
                      <a:pt x="55107" y="62796"/>
                      <a:pt x="48699" y="42291"/>
                      <a:pt x="42291" y="23068"/>
                    </a:cubicBezTo>
                    <a:cubicBezTo>
                      <a:pt x="53825" y="16660"/>
                      <a:pt x="47417" y="2563"/>
                      <a:pt x="37165" y="0"/>
                    </a:cubicBezTo>
                    <a:cubicBezTo>
                      <a:pt x="35883" y="0"/>
                      <a:pt x="33320" y="0"/>
                      <a:pt x="32039" y="0"/>
                    </a:cubicBezTo>
                    <a:cubicBezTo>
                      <a:pt x="17942" y="3845"/>
                      <a:pt x="23068" y="17942"/>
                      <a:pt x="30757" y="21786"/>
                    </a:cubicBezTo>
                    <a:cubicBezTo>
                      <a:pt x="33320" y="23068"/>
                      <a:pt x="35883" y="23068"/>
                      <a:pt x="37165" y="23068"/>
                    </a:cubicBezTo>
                    <a:cubicBezTo>
                      <a:pt x="43573" y="42291"/>
                      <a:pt x="48699" y="60233"/>
                      <a:pt x="55107" y="79456"/>
                    </a:cubicBezTo>
                    <a:lnTo>
                      <a:pt x="0" y="165319"/>
                    </a:lnTo>
                    <a:cubicBezTo>
                      <a:pt x="6408" y="185824"/>
                      <a:pt x="11534" y="206329"/>
                      <a:pt x="16660" y="226834"/>
                    </a:cubicBezTo>
                    <a:cubicBezTo>
                      <a:pt x="6408" y="234523"/>
                      <a:pt x="10252" y="244775"/>
                      <a:pt x="11534" y="24477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0" name="Freeform: Shape 379746">
                <a:extLst>
                  <a:ext uri="{FF2B5EF4-FFF2-40B4-BE49-F238E27FC236}">
                    <a16:creationId xmlns:a16="http://schemas.microsoft.com/office/drawing/2014/main" id="{D5821D2B-E0E6-48A7-959C-5333DFC324A2}"/>
                  </a:ext>
                </a:extLst>
              </p:cNvPr>
              <p:cNvSpPr/>
              <p:nvPr/>
            </p:nvSpPr>
            <p:spPr>
              <a:xfrm>
                <a:off x="6499957" y="3098642"/>
                <a:ext cx="47124" cy="97759"/>
              </a:xfrm>
              <a:custGeom>
                <a:avLst/>
                <a:gdLst>
                  <a:gd name="connsiteX0" fmla="*/ 1013 w 47124"/>
                  <a:gd name="connsiteY0" fmla="*/ 17942 h 97759"/>
                  <a:gd name="connsiteX1" fmla="*/ 13828 w 47124"/>
                  <a:gd name="connsiteY1" fmla="*/ 25631 h 97759"/>
                  <a:gd name="connsiteX2" fmla="*/ 27925 w 47124"/>
                  <a:gd name="connsiteY2" fmla="*/ 73048 h 97759"/>
                  <a:gd name="connsiteX3" fmla="*/ 33051 w 47124"/>
                  <a:gd name="connsiteY3" fmla="*/ 97397 h 97759"/>
                  <a:gd name="connsiteX4" fmla="*/ 44585 w 47124"/>
                  <a:gd name="connsiteY4" fmla="*/ 78174 h 97759"/>
                  <a:gd name="connsiteX5" fmla="*/ 33051 w 47124"/>
                  <a:gd name="connsiteY5" fmla="*/ 71767 h 97759"/>
                  <a:gd name="connsiteX6" fmla="*/ 18954 w 47124"/>
                  <a:gd name="connsiteY6" fmla="*/ 24349 h 97759"/>
                  <a:gd name="connsiteX7" fmla="*/ 13828 w 47124"/>
                  <a:gd name="connsiteY7" fmla="*/ 0 h 97759"/>
                  <a:gd name="connsiteX8" fmla="*/ 8702 w 47124"/>
                  <a:gd name="connsiteY8" fmla="*/ 0 h 97759"/>
                  <a:gd name="connsiteX9" fmla="*/ 1013 w 47124"/>
                  <a:gd name="connsiteY9" fmla="*/ 17942 h 97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24" h="97759">
                    <a:moveTo>
                      <a:pt x="1013" y="17942"/>
                    </a:moveTo>
                    <a:cubicBezTo>
                      <a:pt x="2294" y="21786"/>
                      <a:pt x="6139" y="25631"/>
                      <a:pt x="13828" y="25631"/>
                    </a:cubicBezTo>
                    <a:cubicBezTo>
                      <a:pt x="18954" y="41010"/>
                      <a:pt x="22799" y="57670"/>
                      <a:pt x="27925" y="73048"/>
                    </a:cubicBezTo>
                    <a:cubicBezTo>
                      <a:pt x="16391" y="79456"/>
                      <a:pt x="22799" y="94834"/>
                      <a:pt x="33051" y="97397"/>
                    </a:cubicBezTo>
                    <a:cubicBezTo>
                      <a:pt x="44585" y="99961"/>
                      <a:pt x="50993" y="88427"/>
                      <a:pt x="44585" y="78174"/>
                    </a:cubicBezTo>
                    <a:cubicBezTo>
                      <a:pt x="40741" y="73048"/>
                      <a:pt x="35615" y="71767"/>
                      <a:pt x="33051" y="71767"/>
                    </a:cubicBezTo>
                    <a:cubicBezTo>
                      <a:pt x="27925" y="55106"/>
                      <a:pt x="24081" y="39728"/>
                      <a:pt x="18954" y="24349"/>
                    </a:cubicBezTo>
                    <a:cubicBezTo>
                      <a:pt x="30488" y="17942"/>
                      <a:pt x="24081" y="2563"/>
                      <a:pt x="13828" y="0"/>
                    </a:cubicBezTo>
                    <a:cubicBezTo>
                      <a:pt x="12547" y="0"/>
                      <a:pt x="9983" y="0"/>
                      <a:pt x="8702" y="0"/>
                    </a:cubicBezTo>
                    <a:cubicBezTo>
                      <a:pt x="-4114" y="5126"/>
                      <a:pt x="1013" y="17942"/>
                      <a:pt x="1013"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1" name="Freeform: Shape 379747">
                <a:extLst>
                  <a:ext uri="{FF2B5EF4-FFF2-40B4-BE49-F238E27FC236}">
                    <a16:creationId xmlns:a16="http://schemas.microsoft.com/office/drawing/2014/main" id="{9C123848-CD47-4259-BD9B-DAB354ABC0B2}"/>
                  </a:ext>
                </a:extLst>
              </p:cNvPr>
              <p:cNvSpPr/>
              <p:nvPr/>
            </p:nvSpPr>
            <p:spPr>
              <a:xfrm>
                <a:off x="6644631" y="2614218"/>
                <a:ext cx="440374" cy="686989"/>
              </a:xfrm>
              <a:custGeom>
                <a:avLst/>
                <a:gdLst>
                  <a:gd name="connsiteX0" fmla="*/ 2435 w 440374"/>
                  <a:gd name="connsiteY0" fmla="*/ 16660 h 686989"/>
                  <a:gd name="connsiteX1" fmla="*/ 13969 w 440374"/>
                  <a:gd name="connsiteY1" fmla="*/ 23068 h 686989"/>
                  <a:gd name="connsiteX2" fmla="*/ 69076 w 440374"/>
                  <a:gd name="connsiteY2" fmla="*/ 137125 h 686989"/>
                  <a:gd name="connsiteX3" fmla="*/ 161348 w 440374"/>
                  <a:gd name="connsiteY3" fmla="*/ 190950 h 686989"/>
                  <a:gd name="connsiteX4" fmla="*/ 235677 w 440374"/>
                  <a:gd name="connsiteY4" fmla="*/ 381901 h 686989"/>
                  <a:gd name="connsiteX5" fmla="*/ 245930 w 440374"/>
                  <a:gd name="connsiteY5" fmla="*/ 406250 h 686989"/>
                  <a:gd name="connsiteX6" fmla="*/ 247211 w 440374"/>
                  <a:gd name="connsiteY6" fmla="*/ 384464 h 686989"/>
                  <a:gd name="connsiteX7" fmla="*/ 239522 w 440374"/>
                  <a:gd name="connsiteY7" fmla="*/ 380619 h 686989"/>
                  <a:gd name="connsiteX8" fmla="*/ 170318 w 440374"/>
                  <a:gd name="connsiteY8" fmla="*/ 196076 h 686989"/>
                  <a:gd name="connsiteX9" fmla="*/ 210046 w 440374"/>
                  <a:gd name="connsiteY9" fmla="*/ 220426 h 686989"/>
                  <a:gd name="connsiteX10" fmla="*/ 276687 w 440374"/>
                  <a:gd name="connsiteY10" fmla="*/ 390871 h 686989"/>
                  <a:gd name="connsiteX11" fmla="*/ 320260 w 440374"/>
                  <a:gd name="connsiteY11" fmla="*/ 421628 h 686989"/>
                  <a:gd name="connsiteX12" fmla="*/ 340764 w 440374"/>
                  <a:gd name="connsiteY12" fmla="*/ 485706 h 686989"/>
                  <a:gd name="connsiteX13" fmla="*/ 303600 w 440374"/>
                  <a:gd name="connsiteY13" fmla="*/ 458793 h 686989"/>
                  <a:gd name="connsiteX14" fmla="*/ 295910 w 440374"/>
                  <a:gd name="connsiteY14" fmla="*/ 435725 h 686989"/>
                  <a:gd name="connsiteX15" fmla="*/ 285658 w 440374"/>
                  <a:gd name="connsiteY15" fmla="*/ 411376 h 686989"/>
                  <a:gd name="connsiteX16" fmla="*/ 284376 w 440374"/>
                  <a:gd name="connsiteY16" fmla="*/ 433162 h 686989"/>
                  <a:gd name="connsiteX17" fmla="*/ 292066 w 440374"/>
                  <a:gd name="connsiteY17" fmla="*/ 437007 h 686989"/>
                  <a:gd name="connsiteX18" fmla="*/ 299755 w 440374"/>
                  <a:gd name="connsiteY18" fmla="*/ 461356 h 686989"/>
                  <a:gd name="connsiteX19" fmla="*/ 343327 w 440374"/>
                  <a:gd name="connsiteY19" fmla="*/ 492113 h 686989"/>
                  <a:gd name="connsiteX20" fmla="*/ 361269 w 440374"/>
                  <a:gd name="connsiteY20" fmla="*/ 552346 h 686989"/>
                  <a:gd name="connsiteX21" fmla="*/ 368959 w 440374"/>
                  <a:gd name="connsiteY21" fmla="*/ 577977 h 686989"/>
                  <a:gd name="connsiteX22" fmla="*/ 375366 w 440374"/>
                  <a:gd name="connsiteY22" fmla="*/ 557472 h 686989"/>
                  <a:gd name="connsiteX23" fmla="*/ 366395 w 440374"/>
                  <a:gd name="connsiteY23" fmla="*/ 552346 h 686989"/>
                  <a:gd name="connsiteX24" fmla="*/ 351017 w 440374"/>
                  <a:gd name="connsiteY24" fmla="*/ 497240 h 686989"/>
                  <a:gd name="connsiteX25" fmla="*/ 379211 w 440374"/>
                  <a:gd name="connsiteY25" fmla="*/ 517744 h 686989"/>
                  <a:gd name="connsiteX26" fmla="*/ 390745 w 440374"/>
                  <a:gd name="connsiteY26" fmla="*/ 535686 h 686989"/>
                  <a:gd name="connsiteX27" fmla="*/ 424065 w 440374"/>
                  <a:gd name="connsiteY27" fmla="*/ 661277 h 686989"/>
                  <a:gd name="connsiteX28" fmla="*/ 430473 w 440374"/>
                  <a:gd name="connsiteY28" fmla="*/ 686908 h 686989"/>
                  <a:gd name="connsiteX29" fmla="*/ 436881 w 440374"/>
                  <a:gd name="connsiteY29" fmla="*/ 665122 h 686989"/>
                  <a:gd name="connsiteX30" fmla="*/ 429192 w 440374"/>
                  <a:gd name="connsiteY30" fmla="*/ 659996 h 686989"/>
                  <a:gd name="connsiteX31" fmla="*/ 395871 w 440374"/>
                  <a:gd name="connsiteY31" fmla="*/ 534404 h 686989"/>
                  <a:gd name="connsiteX32" fmla="*/ 388182 w 440374"/>
                  <a:gd name="connsiteY32" fmla="*/ 510055 h 686989"/>
                  <a:gd name="connsiteX33" fmla="*/ 380493 w 440374"/>
                  <a:gd name="connsiteY33" fmla="*/ 512618 h 686989"/>
                  <a:gd name="connsiteX34" fmla="*/ 348454 w 440374"/>
                  <a:gd name="connsiteY34" fmla="*/ 488269 h 686989"/>
                  <a:gd name="connsiteX35" fmla="*/ 325386 w 440374"/>
                  <a:gd name="connsiteY35" fmla="*/ 416502 h 686989"/>
                  <a:gd name="connsiteX36" fmla="*/ 281813 w 440374"/>
                  <a:gd name="connsiteY36" fmla="*/ 385745 h 686989"/>
                  <a:gd name="connsiteX37" fmla="*/ 219017 w 440374"/>
                  <a:gd name="connsiteY37" fmla="*/ 221707 h 686989"/>
                  <a:gd name="connsiteX38" fmla="*/ 257464 w 440374"/>
                  <a:gd name="connsiteY38" fmla="*/ 246057 h 686989"/>
                  <a:gd name="connsiteX39" fmla="*/ 310007 w 440374"/>
                  <a:gd name="connsiteY39" fmla="*/ 383182 h 686989"/>
                  <a:gd name="connsiteX40" fmla="*/ 353580 w 440374"/>
                  <a:gd name="connsiteY40" fmla="*/ 413939 h 686989"/>
                  <a:gd name="connsiteX41" fmla="*/ 372803 w 440374"/>
                  <a:gd name="connsiteY41" fmla="*/ 472890 h 686989"/>
                  <a:gd name="connsiteX42" fmla="*/ 383056 w 440374"/>
                  <a:gd name="connsiteY42" fmla="*/ 497240 h 686989"/>
                  <a:gd name="connsiteX43" fmla="*/ 384337 w 440374"/>
                  <a:gd name="connsiteY43" fmla="*/ 475453 h 686989"/>
                  <a:gd name="connsiteX44" fmla="*/ 376648 w 440374"/>
                  <a:gd name="connsiteY44" fmla="*/ 471609 h 686989"/>
                  <a:gd name="connsiteX45" fmla="*/ 356143 w 440374"/>
                  <a:gd name="connsiteY45" fmla="*/ 410095 h 686989"/>
                  <a:gd name="connsiteX46" fmla="*/ 312571 w 440374"/>
                  <a:gd name="connsiteY46" fmla="*/ 379337 h 686989"/>
                  <a:gd name="connsiteX47" fmla="*/ 260027 w 440374"/>
                  <a:gd name="connsiteY47" fmla="*/ 242212 h 686989"/>
                  <a:gd name="connsiteX48" fmla="*/ 215172 w 440374"/>
                  <a:gd name="connsiteY48" fmla="*/ 214018 h 686989"/>
                  <a:gd name="connsiteX49" fmla="*/ 192104 w 440374"/>
                  <a:gd name="connsiteY49" fmla="*/ 161475 h 686989"/>
                  <a:gd name="connsiteX50" fmla="*/ 179289 w 440374"/>
                  <a:gd name="connsiteY50" fmla="*/ 139688 h 686989"/>
                  <a:gd name="connsiteX51" fmla="*/ 181852 w 440374"/>
                  <a:gd name="connsiteY51" fmla="*/ 160193 h 686989"/>
                  <a:gd name="connsiteX52" fmla="*/ 186979 w 440374"/>
                  <a:gd name="connsiteY52" fmla="*/ 161475 h 686989"/>
                  <a:gd name="connsiteX53" fmla="*/ 208765 w 440374"/>
                  <a:gd name="connsiteY53" fmla="*/ 210174 h 686989"/>
                  <a:gd name="connsiteX54" fmla="*/ 169037 w 440374"/>
                  <a:gd name="connsiteY54" fmla="*/ 185824 h 686989"/>
                  <a:gd name="connsiteX55" fmla="*/ 154940 w 440374"/>
                  <a:gd name="connsiteY55" fmla="*/ 153785 h 686989"/>
                  <a:gd name="connsiteX56" fmla="*/ 108804 w 440374"/>
                  <a:gd name="connsiteY56" fmla="*/ 126873 h 686989"/>
                  <a:gd name="connsiteX57" fmla="*/ 84454 w 440374"/>
                  <a:gd name="connsiteY57" fmla="*/ 75611 h 686989"/>
                  <a:gd name="connsiteX58" fmla="*/ 71639 w 440374"/>
                  <a:gd name="connsiteY58" fmla="*/ 55106 h 686989"/>
                  <a:gd name="connsiteX59" fmla="*/ 70358 w 440374"/>
                  <a:gd name="connsiteY59" fmla="*/ 73048 h 686989"/>
                  <a:gd name="connsiteX60" fmla="*/ 79328 w 440374"/>
                  <a:gd name="connsiteY60" fmla="*/ 76893 h 686989"/>
                  <a:gd name="connsiteX61" fmla="*/ 104959 w 440374"/>
                  <a:gd name="connsiteY61" fmla="*/ 129436 h 686989"/>
                  <a:gd name="connsiteX62" fmla="*/ 151095 w 440374"/>
                  <a:gd name="connsiteY62" fmla="*/ 156349 h 686989"/>
                  <a:gd name="connsiteX63" fmla="*/ 162629 w 440374"/>
                  <a:gd name="connsiteY63" fmla="*/ 181979 h 686989"/>
                  <a:gd name="connsiteX64" fmla="*/ 76765 w 440374"/>
                  <a:gd name="connsiteY64" fmla="*/ 131999 h 686989"/>
                  <a:gd name="connsiteX65" fmla="*/ 21659 w 440374"/>
                  <a:gd name="connsiteY65" fmla="*/ 20505 h 686989"/>
                  <a:gd name="connsiteX66" fmla="*/ 8843 w 440374"/>
                  <a:gd name="connsiteY66" fmla="*/ 0 h 686989"/>
                  <a:gd name="connsiteX67" fmla="*/ 2435 w 440374"/>
                  <a:gd name="connsiteY67" fmla="*/ 16660 h 68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440374" h="686989">
                    <a:moveTo>
                      <a:pt x="2435" y="16660"/>
                    </a:moveTo>
                    <a:cubicBezTo>
                      <a:pt x="6280" y="21786"/>
                      <a:pt x="11406" y="23068"/>
                      <a:pt x="13969" y="23068"/>
                    </a:cubicBezTo>
                    <a:cubicBezTo>
                      <a:pt x="33193" y="60233"/>
                      <a:pt x="51134" y="98679"/>
                      <a:pt x="69076" y="137125"/>
                    </a:cubicBezTo>
                    <a:lnTo>
                      <a:pt x="161348" y="190950"/>
                    </a:lnTo>
                    <a:cubicBezTo>
                      <a:pt x="188260" y="252464"/>
                      <a:pt x="212609" y="315260"/>
                      <a:pt x="235677" y="381901"/>
                    </a:cubicBezTo>
                    <a:cubicBezTo>
                      <a:pt x="221580" y="394716"/>
                      <a:pt x="240804" y="406250"/>
                      <a:pt x="245930" y="406250"/>
                    </a:cubicBezTo>
                    <a:cubicBezTo>
                      <a:pt x="256182" y="404968"/>
                      <a:pt x="254901" y="390871"/>
                      <a:pt x="247211" y="384464"/>
                    </a:cubicBezTo>
                    <a:cubicBezTo>
                      <a:pt x="245930" y="383182"/>
                      <a:pt x="242085" y="381901"/>
                      <a:pt x="239522" y="380619"/>
                    </a:cubicBezTo>
                    <a:cubicBezTo>
                      <a:pt x="220299" y="317823"/>
                      <a:pt x="195949" y="256309"/>
                      <a:pt x="170318" y="196076"/>
                    </a:cubicBezTo>
                    <a:lnTo>
                      <a:pt x="210046" y="220426"/>
                    </a:lnTo>
                    <a:cubicBezTo>
                      <a:pt x="233114" y="275532"/>
                      <a:pt x="256182" y="331920"/>
                      <a:pt x="276687" y="390871"/>
                    </a:cubicBezTo>
                    <a:lnTo>
                      <a:pt x="320260" y="421628"/>
                    </a:lnTo>
                    <a:cubicBezTo>
                      <a:pt x="327949" y="443415"/>
                      <a:pt x="334357" y="463919"/>
                      <a:pt x="340764" y="485706"/>
                    </a:cubicBezTo>
                    <a:lnTo>
                      <a:pt x="303600" y="458793"/>
                    </a:lnTo>
                    <a:cubicBezTo>
                      <a:pt x="301037" y="451104"/>
                      <a:pt x="298473" y="443415"/>
                      <a:pt x="295910" y="435725"/>
                    </a:cubicBezTo>
                    <a:cubicBezTo>
                      <a:pt x="310007" y="422910"/>
                      <a:pt x="290784" y="411376"/>
                      <a:pt x="285658" y="411376"/>
                    </a:cubicBezTo>
                    <a:cubicBezTo>
                      <a:pt x="276687" y="412658"/>
                      <a:pt x="276687" y="426755"/>
                      <a:pt x="284376" y="433162"/>
                    </a:cubicBezTo>
                    <a:cubicBezTo>
                      <a:pt x="285658" y="434444"/>
                      <a:pt x="289503" y="435725"/>
                      <a:pt x="292066" y="437007"/>
                    </a:cubicBezTo>
                    <a:cubicBezTo>
                      <a:pt x="294629" y="444696"/>
                      <a:pt x="297192" y="453667"/>
                      <a:pt x="299755" y="461356"/>
                    </a:cubicBezTo>
                    <a:lnTo>
                      <a:pt x="343327" y="492113"/>
                    </a:lnTo>
                    <a:cubicBezTo>
                      <a:pt x="349735" y="511337"/>
                      <a:pt x="354861" y="531841"/>
                      <a:pt x="361269" y="552346"/>
                    </a:cubicBezTo>
                    <a:cubicBezTo>
                      <a:pt x="348454" y="565162"/>
                      <a:pt x="363832" y="576695"/>
                      <a:pt x="368959" y="577977"/>
                    </a:cubicBezTo>
                    <a:cubicBezTo>
                      <a:pt x="379211" y="579259"/>
                      <a:pt x="381774" y="565162"/>
                      <a:pt x="375366" y="557472"/>
                    </a:cubicBezTo>
                    <a:cubicBezTo>
                      <a:pt x="372803" y="554909"/>
                      <a:pt x="370240" y="553628"/>
                      <a:pt x="366395" y="552346"/>
                    </a:cubicBezTo>
                    <a:cubicBezTo>
                      <a:pt x="361269" y="534404"/>
                      <a:pt x="356143" y="515181"/>
                      <a:pt x="351017" y="497240"/>
                    </a:cubicBezTo>
                    <a:cubicBezTo>
                      <a:pt x="358706" y="503647"/>
                      <a:pt x="370240" y="511337"/>
                      <a:pt x="379211" y="517744"/>
                    </a:cubicBezTo>
                    <a:cubicBezTo>
                      <a:pt x="379211" y="531841"/>
                      <a:pt x="388182" y="535686"/>
                      <a:pt x="390745" y="535686"/>
                    </a:cubicBezTo>
                    <a:cubicBezTo>
                      <a:pt x="402279" y="576695"/>
                      <a:pt x="413813" y="617705"/>
                      <a:pt x="424065" y="661277"/>
                    </a:cubicBezTo>
                    <a:cubicBezTo>
                      <a:pt x="411250" y="674093"/>
                      <a:pt x="425347" y="686908"/>
                      <a:pt x="430473" y="686908"/>
                    </a:cubicBezTo>
                    <a:cubicBezTo>
                      <a:pt x="440726" y="688190"/>
                      <a:pt x="443289" y="674093"/>
                      <a:pt x="436881" y="665122"/>
                    </a:cubicBezTo>
                    <a:cubicBezTo>
                      <a:pt x="435599" y="662559"/>
                      <a:pt x="433036" y="661277"/>
                      <a:pt x="429192" y="659996"/>
                    </a:cubicBezTo>
                    <a:cubicBezTo>
                      <a:pt x="418939" y="617705"/>
                      <a:pt x="408687" y="575414"/>
                      <a:pt x="395871" y="534404"/>
                    </a:cubicBezTo>
                    <a:cubicBezTo>
                      <a:pt x="408687" y="522871"/>
                      <a:pt x="393308" y="510055"/>
                      <a:pt x="388182" y="510055"/>
                    </a:cubicBezTo>
                    <a:cubicBezTo>
                      <a:pt x="385619" y="510055"/>
                      <a:pt x="383056" y="511337"/>
                      <a:pt x="380493" y="512618"/>
                    </a:cubicBezTo>
                    <a:lnTo>
                      <a:pt x="348454" y="488269"/>
                    </a:lnTo>
                    <a:cubicBezTo>
                      <a:pt x="340764" y="463919"/>
                      <a:pt x="333075" y="439570"/>
                      <a:pt x="325386" y="416502"/>
                    </a:cubicBezTo>
                    <a:lnTo>
                      <a:pt x="281813" y="385745"/>
                    </a:lnTo>
                    <a:cubicBezTo>
                      <a:pt x="262590" y="329357"/>
                      <a:pt x="240804" y="275532"/>
                      <a:pt x="219017" y="221707"/>
                    </a:cubicBezTo>
                    <a:lnTo>
                      <a:pt x="257464" y="246057"/>
                    </a:lnTo>
                    <a:cubicBezTo>
                      <a:pt x="276687" y="290911"/>
                      <a:pt x="293347" y="337046"/>
                      <a:pt x="310007" y="383182"/>
                    </a:cubicBezTo>
                    <a:lnTo>
                      <a:pt x="353580" y="413939"/>
                    </a:lnTo>
                    <a:cubicBezTo>
                      <a:pt x="359988" y="433162"/>
                      <a:pt x="366395" y="452386"/>
                      <a:pt x="372803" y="472890"/>
                    </a:cubicBezTo>
                    <a:cubicBezTo>
                      <a:pt x="358706" y="485706"/>
                      <a:pt x="377929" y="498521"/>
                      <a:pt x="383056" y="497240"/>
                    </a:cubicBezTo>
                    <a:cubicBezTo>
                      <a:pt x="392027" y="495958"/>
                      <a:pt x="392027" y="481861"/>
                      <a:pt x="384337" y="475453"/>
                    </a:cubicBezTo>
                    <a:cubicBezTo>
                      <a:pt x="383056" y="474172"/>
                      <a:pt x="379211" y="472890"/>
                      <a:pt x="376648" y="471609"/>
                    </a:cubicBezTo>
                    <a:cubicBezTo>
                      <a:pt x="370240" y="451104"/>
                      <a:pt x="363832" y="430599"/>
                      <a:pt x="356143" y="410095"/>
                    </a:cubicBezTo>
                    <a:lnTo>
                      <a:pt x="312571" y="379337"/>
                    </a:lnTo>
                    <a:cubicBezTo>
                      <a:pt x="295910" y="331920"/>
                      <a:pt x="277969" y="287066"/>
                      <a:pt x="260027" y="242212"/>
                    </a:cubicBezTo>
                    <a:lnTo>
                      <a:pt x="215172" y="214018"/>
                    </a:lnTo>
                    <a:cubicBezTo>
                      <a:pt x="207483" y="196076"/>
                      <a:pt x="199794" y="178135"/>
                      <a:pt x="192104" y="161475"/>
                    </a:cubicBezTo>
                    <a:cubicBezTo>
                      <a:pt x="204920" y="148659"/>
                      <a:pt x="184415" y="138407"/>
                      <a:pt x="179289" y="139688"/>
                    </a:cubicBezTo>
                    <a:cubicBezTo>
                      <a:pt x="169037" y="140970"/>
                      <a:pt x="172882" y="155067"/>
                      <a:pt x="181852" y="160193"/>
                    </a:cubicBezTo>
                    <a:cubicBezTo>
                      <a:pt x="183134" y="161475"/>
                      <a:pt x="185697" y="161475"/>
                      <a:pt x="186979" y="161475"/>
                    </a:cubicBezTo>
                    <a:cubicBezTo>
                      <a:pt x="194668" y="176853"/>
                      <a:pt x="201075" y="193513"/>
                      <a:pt x="208765" y="210174"/>
                    </a:cubicBezTo>
                    <a:lnTo>
                      <a:pt x="169037" y="185824"/>
                    </a:lnTo>
                    <a:cubicBezTo>
                      <a:pt x="163911" y="175572"/>
                      <a:pt x="158784" y="164038"/>
                      <a:pt x="154940" y="153785"/>
                    </a:cubicBezTo>
                    <a:lnTo>
                      <a:pt x="108804" y="126873"/>
                    </a:lnTo>
                    <a:cubicBezTo>
                      <a:pt x="101115" y="110213"/>
                      <a:pt x="92144" y="92271"/>
                      <a:pt x="84454" y="75611"/>
                    </a:cubicBezTo>
                    <a:cubicBezTo>
                      <a:pt x="95988" y="64077"/>
                      <a:pt x="76765" y="53825"/>
                      <a:pt x="71639" y="55106"/>
                    </a:cubicBezTo>
                    <a:cubicBezTo>
                      <a:pt x="62668" y="56388"/>
                      <a:pt x="63949" y="66640"/>
                      <a:pt x="70358" y="73048"/>
                    </a:cubicBezTo>
                    <a:cubicBezTo>
                      <a:pt x="72920" y="75611"/>
                      <a:pt x="75483" y="76893"/>
                      <a:pt x="79328" y="76893"/>
                    </a:cubicBezTo>
                    <a:cubicBezTo>
                      <a:pt x="88299" y="94834"/>
                      <a:pt x="95988" y="111494"/>
                      <a:pt x="104959" y="129436"/>
                    </a:cubicBezTo>
                    <a:lnTo>
                      <a:pt x="151095" y="156349"/>
                    </a:lnTo>
                    <a:cubicBezTo>
                      <a:pt x="154940" y="165319"/>
                      <a:pt x="158784" y="173009"/>
                      <a:pt x="162629" y="181979"/>
                    </a:cubicBezTo>
                    <a:lnTo>
                      <a:pt x="76765" y="131999"/>
                    </a:lnTo>
                    <a:cubicBezTo>
                      <a:pt x="58824" y="93553"/>
                      <a:pt x="40882" y="56388"/>
                      <a:pt x="21659" y="20505"/>
                    </a:cubicBezTo>
                    <a:cubicBezTo>
                      <a:pt x="30629" y="11534"/>
                      <a:pt x="21659" y="1282"/>
                      <a:pt x="8843" y="0"/>
                    </a:cubicBezTo>
                    <a:cubicBezTo>
                      <a:pt x="3717" y="3845"/>
                      <a:pt x="-3973" y="6408"/>
                      <a:pt x="243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2" name="Freeform: Shape 379748">
                <a:extLst>
                  <a:ext uri="{FF2B5EF4-FFF2-40B4-BE49-F238E27FC236}">
                    <a16:creationId xmlns:a16="http://schemas.microsoft.com/office/drawing/2014/main" id="{07B33464-C682-4027-B709-4F956640C618}"/>
                  </a:ext>
                </a:extLst>
              </p:cNvPr>
              <p:cNvSpPr/>
              <p:nvPr/>
            </p:nvSpPr>
            <p:spPr>
              <a:xfrm>
                <a:off x="7389963" y="3046099"/>
                <a:ext cx="16803" cy="25104"/>
              </a:xfrm>
              <a:custGeom>
                <a:avLst/>
                <a:gdLst>
                  <a:gd name="connsiteX0" fmla="*/ 1684 w 16803"/>
                  <a:gd name="connsiteY0" fmla="*/ 14097 h 25104"/>
                  <a:gd name="connsiteX1" fmla="*/ 15781 w 16803"/>
                  <a:gd name="connsiteY1" fmla="*/ 23068 h 25104"/>
                  <a:gd name="connsiteX2" fmla="*/ 4247 w 16803"/>
                  <a:gd name="connsiteY2" fmla="*/ 0 h 25104"/>
                  <a:gd name="connsiteX3" fmla="*/ 1684 w 16803"/>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6803" h="25104">
                    <a:moveTo>
                      <a:pt x="1684" y="14097"/>
                    </a:moveTo>
                    <a:cubicBezTo>
                      <a:pt x="5528" y="23068"/>
                      <a:pt x="13218" y="28194"/>
                      <a:pt x="15781" y="23068"/>
                    </a:cubicBezTo>
                    <a:cubicBezTo>
                      <a:pt x="19625" y="16660"/>
                      <a:pt x="11936" y="0"/>
                      <a:pt x="4247" y="0"/>
                    </a:cubicBezTo>
                    <a:cubicBezTo>
                      <a:pt x="-880" y="1282"/>
                      <a:pt x="-880" y="8971"/>
                      <a:pt x="1684"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3" name="Freeform: Shape 379749">
                <a:extLst>
                  <a:ext uri="{FF2B5EF4-FFF2-40B4-BE49-F238E27FC236}">
                    <a16:creationId xmlns:a16="http://schemas.microsoft.com/office/drawing/2014/main" id="{8467B531-0877-448B-86F6-54FD679EE7A3}"/>
                  </a:ext>
                </a:extLst>
              </p:cNvPr>
              <p:cNvSpPr/>
              <p:nvPr/>
            </p:nvSpPr>
            <p:spPr>
              <a:xfrm>
                <a:off x="7433536" y="3043536"/>
                <a:ext cx="16354" cy="25104"/>
              </a:xfrm>
              <a:custGeom>
                <a:avLst/>
                <a:gdLst>
                  <a:gd name="connsiteX0" fmla="*/ 1684 w 16354"/>
                  <a:gd name="connsiteY0" fmla="*/ 14097 h 25104"/>
                  <a:gd name="connsiteX1" fmla="*/ 15781 w 16354"/>
                  <a:gd name="connsiteY1" fmla="*/ 23068 h 25104"/>
                  <a:gd name="connsiteX2" fmla="*/ 4247 w 16354"/>
                  <a:gd name="connsiteY2" fmla="*/ 0 h 25104"/>
                  <a:gd name="connsiteX3" fmla="*/ 1684 w 16354"/>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6354" h="25104">
                    <a:moveTo>
                      <a:pt x="1684" y="14097"/>
                    </a:moveTo>
                    <a:cubicBezTo>
                      <a:pt x="5528" y="23068"/>
                      <a:pt x="13218" y="28194"/>
                      <a:pt x="15781" y="23068"/>
                    </a:cubicBezTo>
                    <a:cubicBezTo>
                      <a:pt x="18344" y="16660"/>
                      <a:pt x="11936" y="0"/>
                      <a:pt x="4247" y="0"/>
                    </a:cubicBezTo>
                    <a:cubicBezTo>
                      <a:pt x="-880" y="0"/>
                      <a:pt x="-880" y="8971"/>
                      <a:pt x="1684"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4" name="Freeform: Shape 379750">
                <a:extLst>
                  <a:ext uri="{FF2B5EF4-FFF2-40B4-BE49-F238E27FC236}">
                    <a16:creationId xmlns:a16="http://schemas.microsoft.com/office/drawing/2014/main" id="{A4ADB596-46F9-4A2B-A5E2-F6D539349AB3}"/>
                  </a:ext>
                </a:extLst>
              </p:cNvPr>
              <p:cNvSpPr/>
              <p:nvPr/>
            </p:nvSpPr>
            <p:spPr>
              <a:xfrm>
                <a:off x="7453938" y="3042254"/>
                <a:ext cx="15175" cy="25104"/>
              </a:xfrm>
              <a:custGeom>
                <a:avLst/>
                <a:gdLst>
                  <a:gd name="connsiteX0" fmla="*/ 1786 w 15175"/>
                  <a:gd name="connsiteY0" fmla="*/ 14097 h 25104"/>
                  <a:gd name="connsiteX1" fmla="*/ 14602 w 15175"/>
                  <a:gd name="connsiteY1" fmla="*/ 23068 h 25104"/>
                  <a:gd name="connsiteX2" fmla="*/ 3068 w 15175"/>
                  <a:gd name="connsiteY2" fmla="*/ 0 h 25104"/>
                  <a:gd name="connsiteX3" fmla="*/ 1786 w 15175"/>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5175" h="25104">
                    <a:moveTo>
                      <a:pt x="1786" y="14097"/>
                    </a:moveTo>
                    <a:cubicBezTo>
                      <a:pt x="5631" y="23068"/>
                      <a:pt x="13320" y="28194"/>
                      <a:pt x="14602" y="23068"/>
                    </a:cubicBezTo>
                    <a:cubicBezTo>
                      <a:pt x="17165" y="16660"/>
                      <a:pt x="10757" y="0"/>
                      <a:pt x="3068" y="0"/>
                    </a:cubicBezTo>
                    <a:cubicBezTo>
                      <a:pt x="-777" y="1282"/>
                      <a:pt x="-777" y="8971"/>
                      <a:pt x="178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5" name="Freeform: Shape 379751">
                <a:extLst>
                  <a:ext uri="{FF2B5EF4-FFF2-40B4-BE49-F238E27FC236}">
                    <a16:creationId xmlns:a16="http://schemas.microsoft.com/office/drawing/2014/main" id="{FC0012EB-1C1B-4CBD-9BFE-4CABCF39149F}"/>
                  </a:ext>
                </a:extLst>
              </p:cNvPr>
              <p:cNvSpPr/>
              <p:nvPr/>
            </p:nvSpPr>
            <p:spPr>
              <a:xfrm>
                <a:off x="7473666" y="3042254"/>
                <a:ext cx="14671" cy="25104"/>
              </a:xfrm>
              <a:custGeom>
                <a:avLst/>
                <a:gdLst>
                  <a:gd name="connsiteX0" fmla="*/ 1281 w 14671"/>
                  <a:gd name="connsiteY0" fmla="*/ 14097 h 25104"/>
                  <a:gd name="connsiteX1" fmla="*/ 14097 w 14671"/>
                  <a:gd name="connsiteY1" fmla="*/ 23068 h 25104"/>
                  <a:gd name="connsiteX2" fmla="*/ 2563 w 14671"/>
                  <a:gd name="connsiteY2" fmla="*/ 0 h 25104"/>
                  <a:gd name="connsiteX3" fmla="*/ 1281 w 14671"/>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4671" h="25104">
                    <a:moveTo>
                      <a:pt x="1281" y="14097"/>
                    </a:moveTo>
                    <a:cubicBezTo>
                      <a:pt x="5126" y="23068"/>
                      <a:pt x="11534" y="28194"/>
                      <a:pt x="14097" y="23068"/>
                    </a:cubicBezTo>
                    <a:cubicBezTo>
                      <a:pt x="16660" y="16660"/>
                      <a:pt x="10253" y="0"/>
                      <a:pt x="2563" y="0"/>
                    </a:cubicBezTo>
                    <a:cubicBezTo>
                      <a:pt x="-1281" y="0"/>
                      <a:pt x="0" y="7689"/>
                      <a:pt x="1281"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6" name="Freeform: Shape 379752">
                <a:extLst>
                  <a:ext uri="{FF2B5EF4-FFF2-40B4-BE49-F238E27FC236}">
                    <a16:creationId xmlns:a16="http://schemas.microsoft.com/office/drawing/2014/main" id="{7B3CB3DF-4B3A-4664-A418-A357364483EB}"/>
                  </a:ext>
                </a:extLst>
              </p:cNvPr>
              <p:cNvSpPr/>
              <p:nvPr/>
            </p:nvSpPr>
            <p:spPr>
              <a:xfrm>
                <a:off x="7527776" y="3042254"/>
                <a:ext cx="37043" cy="98678"/>
              </a:xfrm>
              <a:custGeom>
                <a:avLst/>
                <a:gdLst>
                  <a:gd name="connsiteX0" fmla="*/ 2278 w 37043"/>
                  <a:gd name="connsiteY0" fmla="*/ 14097 h 98678"/>
                  <a:gd name="connsiteX1" fmla="*/ 9968 w 37043"/>
                  <a:gd name="connsiteY1" fmla="*/ 24349 h 98678"/>
                  <a:gd name="connsiteX2" fmla="*/ 25346 w 37043"/>
                  <a:gd name="connsiteY2" fmla="*/ 73048 h 98678"/>
                  <a:gd name="connsiteX3" fmla="*/ 34317 w 37043"/>
                  <a:gd name="connsiteY3" fmla="*/ 98679 h 98678"/>
                  <a:gd name="connsiteX4" fmla="*/ 30472 w 37043"/>
                  <a:gd name="connsiteY4" fmla="*/ 74330 h 98678"/>
                  <a:gd name="connsiteX5" fmla="*/ 27909 w 37043"/>
                  <a:gd name="connsiteY5" fmla="*/ 73048 h 98678"/>
                  <a:gd name="connsiteX6" fmla="*/ 12531 w 37043"/>
                  <a:gd name="connsiteY6" fmla="*/ 24349 h 98678"/>
                  <a:gd name="connsiteX7" fmla="*/ 2278 w 37043"/>
                  <a:gd name="connsiteY7" fmla="*/ 0 h 98678"/>
                  <a:gd name="connsiteX8" fmla="*/ 2278 w 37043"/>
                  <a:gd name="connsiteY8" fmla="*/ 14097 h 98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043" h="98678">
                    <a:moveTo>
                      <a:pt x="2278" y="14097"/>
                    </a:moveTo>
                    <a:cubicBezTo>
                      <a:pt x="3560" y="17942"/>
                      <a:pt x="6123" y="21786"/>
                      <a:pt x="9968" y="24349"/>
                    </a:cubicBezTo>
                    <a:cubicBezTo>
                      <a:pt x="15094" y="41009"/>
                      <a:pt x="20220" y="56388"/>
                      <a:pt x="25346" y="73048"/>
                    </a:cubicBezTo>
                    <a:cubicBezTo>
                      <a:pt x="18938" y="79456"/>
                      <a:pt x="29191" y="98679"/>
                      <a:pt x="34317" y="98679"/>
                    </a:cubicBezTo>
                    <a:cubicBezTo>
                      <a:pt x="39443" y="98679"/>
                      <a:pt x="36880" y="82019"/>
                      <a:pt x="30472" y="74330"/>
                    </a:cubicBezTo>
                    <a:cubicBezTo>
                      <a:pt x="30472" y="74330"/>
                      <a:pt x="29191" y="73048"/>
                      <a:pt x="27909" y="73048"/>
                    </a:cubicBezTo>
                    <a:cubicBezTo>
                      <a:pt x="22783" y="56388"/>
                      <a:pt x="17657" y="41009"/>
                      <a:pt x="12531" y="24349"/>
                    </a:cubicBezTo>
                    <a:cubicBezTo>
                      <a:pt x="17657" y="20505"/>
                      <a:pt x="9968" y="1282"/>
                      <a:pt x="2278" y="0"/>
                    </a:cubicBezTo>
                    <a:cubicBezTo>
                      <a:pt x="-2848" y="0"/>
                      <a:pt x="2278" y="14097"/>
                      <a:pt x="227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7" name="Freeform: Shape 379753">
                <a:extLst>
                  <a:ext uri="{FF2B5EF4-FFF2-40B4-BE49-F238E27FC236}">
                    <a16:creationId xmlns:a16="http://schemas.microsoft.com/office/drawing/2014/main" id="{87132396-3699-4063-833D-645280CFB982}"/>
                  </a:ext>
                </a:extLst>
              </p:cNvPr>
              <p:cNvSpPr/>
              <p:nvPr/>
            </p:nvSpPr>
            <p:spPr>
              <a:xfrm>
                <a:off x="7396485" y="2671887"/>
                <a:ext cx="175355" cy="395997"/>
              </a:xfrm>
              <a:custGeom>
                <a:avLst/>
                <a:gdLst>
                  <a:gd name="connsiteX0" fmla="*/ 109220 w 175355"/>
                  <a:gd name="connsiteY0" fmla="*/ 278095 h 395997"/>
                  <a:gd name="connsiteX1" fmla="*/ 118191 w 175355"/>
                  <a:gd name="connsiteY1" fmla="*/ 288348 h 395997"/>
                  <a:gd name="connsiteX2" fmla="*/ 109220 w 175355"/>
                  <a:gd name="connsiteY2" fmla="*/ 263998 h 395997"/>
                  <a:gd name="connsiteX3" fmla="*/ 68210 w 175355"/>
                  <a:gd name="connsiteY3" fmla="*/ 174290 h 395997"/>
                  <a:gd name="connsiteX4" fmla="*/ 66928 w 175355"/>
                  <a:gd name="connsiteY4" fmla="*/ 146096 h 395997"/>
                  <a:gd name="connsiteX5" fmla="*/ 96404 w 175355"/>
                  <a:gd name="connsiteY5" fmla="*/ 207610 h 395997"/>
                  <a:gd name="connsiteX6" fmla="*/ 111783 w 175355"/>
                  <a:gd name="connsiteY6" fmla="*/ 242212 h 395997"/>
                  <a:gd name="connsiteX7" fmla="*/ 127161 w 175355"/>
                  <a:gd name="connsiteY7" fmla="*/ 276814 h 395997"/>
                  <a:gd name="connsiteX8" fmla="*/ 163045 w 175355"/>
                  <a:gd name="connsiteY8" fmla="*/ 371648 h 395997"/>
                  <a:gd name="connsiteX9" fmla="*/ 173297 w 175355"/>
                  <a:gd name="connsiteY9" fmla="*/ 395998 h 395997"/>
                  <a:gd name="connsiteX10" fmla="*/ 165608 w 175355"/>
                  <a:gd name="connsiteY10" fmla="*/ 371648 h 395997"/>
                  <a:gd name="connsiteX11" fmla="*/ 129725 w 175355"/>
                  <a:gd name="connsiteY11" fmla="*/ 276814 h 395997"/>
                  <a:gd name="connsiteX12" fmla="*/ 114346 w 175355"/>
                  <a:gd name="connsiteY12" fmla="*/ 242212 h 395997"/>
                  <a:gd name="connsiteX13" fmla="*/ 98967 w 175355"/>
                  <a:gd name="connsiteY13" fmla="*/ 207610 h 395997"/>
                  <a:gd name="connsiteX14" fmla="*/ 66928 w 175355"/>
                  <a:gd name="connsiteY14" fmla="*/ 140970 h 395997"/>
                  <a:gd name="connsiteX15" fmla="*/ 64366 w 175355"/>
                  <a:gd name="connsiteY15" fmla="*/ 108931 h 395997"/>
                  <a:gd name="connsiteX16" fmla="*/ 14385 w 175355"/>
                  <a:gd name="connsiteY16" fmla="*/ 21786 h 395997"/>
                  <a:gd name="connsiteX17" fmla="*/ 288 w 175355"/>
                  <a:gd name="connsiteY17" fmla="*/ 0 h 395997"/>
                  <a:gd name="connsiteX18" fmla="*/ 13103 w 175355"/>
                  <a:gd name="connsiteY18" fmla="*/ 21786 h 395997"/>
                  <a:gd name="connsiteX19" fmla="*/ 61803 w 175355"/>
                  <a:gd name="connsiteY19" fmla="*/ 106368 h 395997"/>
                  <a:gd name="connsiteX20" fmla="*/ 64366 w 175355"/>
                  <a:gd name="connsiteY20" fmla="*/ 133281 h 395997"/>
                  <a:gd name="connsiteX21" fmla="*/ 19511 w 175355"/>
                  <a:gd name="connsiteY21" fmla="*/ 52543 h 395997"/>
                  <a:gd name="connsiteX22" fmla="*/ 5414 w 175355"/>
                  <a:gd name="connsiteY22" fmla="*/ 30757 h 395997"/>
                  <a:gd name="connsiteX23" fmla="*/ 4133 w 175355"/>
                  <a:gd name="connsiteY23" fmla="*/ 32039 h 395997"/>
                  <a:gd name="connsiteX24" fmla="*/ 16948 w 175355"/>
                  <a:gd name="connsiteY24" fmla="*/ 52543 h 395997"/>
                  <a:gd name="connsiteX25" fmla="*/ 63084 w 175355"/>
                  <a:gd name="connsiteY25" fmla="*/ 138407 h 395997"/>
                  <a:gd name="connsiteX26" fmla="*/ 64366 w 175355"/>
                  <a:gd name="connsiteY26" fmla="*/ 171727 h 395997"/>
                  <a:gd name="connsiteX27" fmla="*/ 106657 w 175355"/>
                  <a:gd name="connsiteY27" fmla="*/ 263998 h 395997"/>
                  <a:gd name="connsiteX28" fmla="*/ 109220 w 175355"/>
                  <a:gd name="connsiteY28" fmla="*/ 278095 h 395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5355" h="395997">
                    <a:moveTo>
                      <a:pt x="109220" y="278095"/>
                    </a:moveTo>
                    <a:cubicBezTo>
                      <a:pt x="113064" y="285785"/>
                      <a:pt x="116909" y="287066"/>
                      <a:pt x="118191" y="288348"/>
                    </a:cubicBezTo>
                    <a:cubicBezTo>
                      <a:pt x="124598" y="281940"/>
                      <a:pt x="113064" y="266561"/>
                      <a:pt x="109220" y="263998"/>
                    </a:cubicBezTo>
                    <a:cubicBezTo>
                      <a:pt x="96404" y="233241"/>
                      <a:pt x="82307" y="203766"/>
                      <a:pt x="68210" y="174290"/>
                    </a:cubicBezTo>
                    <a:lnTo>
                      <a:pt x="66928" y="146096"/>
                    </a:lnTo>
                    <a:cubicBezTo>
                      <a:pt x="77181" y="166601"/>
                      <a:pt x="87434" y="187106"/>
                      <a:pt x="96404" y="207610"/>
                    </a:cubicBezTo>
                    <a:cubicBezTo>
                      <a:pt x="101530" y="219144"/>
                      <a:pt x="106657" y="230678"/>
                      <a:pt x="111783" y="242212"/>
                    </a:cubicBezTo>
                    <a:cubicBezTo>
                      <a:pt x="116909" y="253746"/>
                      <a:pt x="122035" y="265280"/>
                      <a:pt x="127161" y="276814"/>
                    </a:cubicBezTo>
                    <a:cubicBezTo>
                      <a:pt x="139977" y="307571"/>
                      <a:pt x="151511" y="339610"/>
                      <a:pt x="163045" y="371648"/>
                    </a:cubicBezTo>
                    <a:cubicBezTo>
                      <a:pt x="160482" y="379337"/>
                      <a:pt x="166890" y="393435"/>
                      <a:pt x="173297" y="395998"/>
                    </a:cubicBezTo>
                    <a:cubicBezTo>
                      <a:pt x="179705" y="389590"/>
                      <a:pt x="169453" y="372930"/>
                      <a:pt x="165608" y="371648"/>
                    </a:cubicBezTo>
                    <a:cubicBezTo>
                      <a:pt x="154074" y="339610"/>
                      <a:pt x="142540" y="307571"/>
                      <a:pt x="129725" y="276814"/>
                    </a:cubicBezTo>
                    <a:cubicBezTo>
                      <a:pt x="124598" y="265280"/>
                      <a:pt x="119472" y="253746"/>
                      <a:pt x="114346" y="242212"/>
                    </a:cubicBezTo>
                    <a:cubicBezTo>
                      <a:pt x="109220" y="230678"/>
                      <a:pt x="104093" y="219144"/>
                      <a:pt x="98967" y="207610"/>
                    </a:cubicBezTo>
                    <a:cubicBezTo>
                      <a:pt x="88715" y="185824"/>
                      <a:pt x="78462" y="162756"/>
                      <a:pt x="66928" y="140970"/>
                    </a:cubicBezTo>
                    <a:lnTo>
                      <a:pt x="64366" y="108931"/>
                    </a:lnTo>
                    <a:cubicBezTo>
                      <a:pt x="48987" y="79456"/>
                      <a:pt x="32327" y="51262"/>
                      <a:pt x="14385" y="21786"/>
                    </a:cubicBezTo>
                    <a:cubicBezTo>
                      <a:pt x="15667" y="15379"/>
                      <a:pt x="5414" y="2563"/>
                      <a:pt x="288" y="0"/>
                    </a:cubicBezTo>
                    <a:cubicBezTo>
                      <a:pt x="-2275" y="8971"/>
                      <a:pt x="13103" y="21786"/>
                      <a:pt x="13103" y="21786"/>
                    </a:cubicBezTo>
                    <a:cubicBezTo>
                      <a:pt x="29764" y="49980"/>
                      <a:pt x="46424" y="76893"/>
                      <a:pt x="61803" y="106368"/>
                    </a:cubicBezTo>
                    <a:lnTo>
                      <a:pt x="64366" y="133281"/>
                    </a:lnTo>
                    <a:cubicBezTo>
                      <a:pt x="50269" y="106368"/>
                      <a:pt x="34890" y="79456"/>
                      <a:pt x="19511" y="52543"/>
                    </a:cubicBezTo>
                    <a:cubicBezTo>
                      <a:pt x="20793" y="44854"/>
                      <a:pt x="11822" y="33320"/>
                      <a:pt x="5414" y="30757"/>
                    </a:cubicBezTo>
                    <a:cubicBezTo>
                      <a:pt x="5414" y="30757"/>
                      <a:pt x="4133" y="32039"/>
                      <a:pt x="4133" y="32039"/>
                    </a:cubicBezTo>
                    <a:cubicBezTo>
                      <a:pt x="5414" y="42291"/>
                      <a:pt x="14385" y="49980"/>
                      <a:pt x="16948" y="52543"/>
                    </a:cubicBezTo>
                    <a:cubicBezTo>
                      <a:pt x="33608" y="80737"/>
                      <a:pt x="48987" y="108931"/>
                      <a:pt x="63084" y="138407"/>
                    </a:cubicBezTo>
                    <a:lnTo>
                      <a:pt x="64366" y="171727"/>
                    </a:lnTo>
                    <a:cubicBezTo>
                      <a:pt x="78462" y="202484"/>
                      <a:pt x="92559" y="233241"/>
                      <a:pt x="106657" y="263998"/>
                    </a:cubicBezTo>
                    <a:cubicBezTo>
                      <a:pt x="106657" y="266561"/>
                      <a:pt x="105375" y="269125"/>
                      <a:pt x="109220" y="2780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8" name="Freeform: Shape 379754">
                <a:extLst>
                  <a:ext uri="{FF2B5EF4-FFF2-40B4-BE49-F238E27FC236}">
                    <a16:creationId xmlns:a16="http://schemas.microsoft.com/office/drawing/2014/main" id="{575757F1-A6E3-47A5-B1EC-6847F07801F6}"/>
                  </a:ext>
                </a:extLst>
              </p:cNvPr>
              <p:cNvSpPr/>
              <p:nvPr/>
            </p:nvSpPr>
            <p:spPr>
              <a:xfrm>
                <a:off x="4121131" y="3808618"/>
                <a:ext cx="20845" cy="135843"/>
              </a:xfrm>
              <a:custGeom>
                <a:avLst/>
                <a:gdLst>
                  <a:gd name="connsiteX0" fmla="*/ 2563 w 20845"/>
                  <a:gd name="connsiteY0" fmla="*/ 17942 h 135843"/>
                  <a:gd name="connsiteX1" fmla="*/ 3845 w 20845"/>
                  <a:gd name="connsiteY1" fmla="*/ 26913 h 135843"/>
                  <a:gd name="connsiteX2" fmla="*/ 6408 w 20845"/>
                  <a:gd name="connsiteY2" fmla="*/ 55106 h 135843"/>
                  <a:gd name="connsiteX3" fmla="*/ 14097 w 20845"/>
                  <a:gd name="connsiteY3" fmla="*/ 88427 h 135843"/>
                  <a:gd name="connsiteX4" fmla="*/ 16660 w 20845"/>
                  <a:gd name="connsiteY4" fmla="*/ 110213 h 135843"/>
                  <a:gd name="connsiteX5" fmla="*/ 20505 w 20845"/>
                  <a:gd name="connsiteY5" fmla="*/ 135844 h 135843"/>
                  <a:gd name="connsiteX6" fmla="*/ 16660 w 20845"/>
                  <a:gd name="connsiteY6" fmla="*/ 108931 h 135843"/>
                  <a:gd name="connsiteX7" fmla="*/ 12816 w 20845"/>
                  <a:gd name="connsiteY7" fmla="*/ 84582 h 135843"/>
                  <a:gd name="connsiteX8" fmla="*/ 5126 w 20845"/>
                  <a:gd name="connsiteY8" fmla="*/ 51262 h 135843"/>
                  <a:gd name="connsiteX9" fmla="*/ 2563 w 20845"/>
                  <a:gd name="connsiteY9" fmla="*/ 25631 h 135843"/>
                  <a:gd name="connsiteX10" fmla="*/ 0 w 20845"/>
                  <a:gd name="connsiteY10" fmla="*/ 0 h 135843"/>
                  <a:gd name="connsiteX11" fmla="*/ 2563 w 20845"/>
                  <a:gd name="connsiteY11" fmla="*/ 17942 h 13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45" h="135843">
                    <a:moveTo>
                      <a:pt x="2563" y="17942"/>
                    </a:moveTo>
                    <a:cubicBezTo>
                      <a:pt x="2563" y="21786"/>
                      <a:pt x="3845" y="25631"/>
                      <a:pt x="3845" y="26913"/>
                    </a:cubicBezTo>
                    <a:cubicBezTo>
                      <a:pt x="5126" y="35883"/>
                      <a:pt x="5126" y="46136"/>
                      <a:pt x="6408" y="55106"/>
                    </a:cubicBezTo>
                    <a:lnTo>
                      <a:pt x="14097" y="88427"/>
                    </a:lnTo>
                    <a:cubicBezTo>
                      <a:pt x="15378" y="96116"/>
                      <a:pt x="15378" y="103805"/>
                      <a:pt x="16660" y="110213"/>
                    </a:cubicBezTo>
                    <a:cubicBezTo>
                      <a:pt x="15378" y="115339"/>
                      <a:pt x="17942" y="134562"/>
                      <a:pt x="20505" y="135844"/>
                    </a:cubicBezTo>
                    <a:cubicBezTo>
                      <a:pt x="21786" y="129436"/>
                      <a:pt x="19223" y="111495"/>
                      <a:pt x="16660" y="108931"/>
                    </a:cubicBezTo>
                    <a:cubicBezTo>
                      <a:pt x="15378" y="101242"/>
                      <a:pt x="14097" y="92271"/>
                      <a:pt x="12816" y="84582"/>
                    </a:cubicBezTo>
                    <a:lnTo>
                      <a:pt x="5126" y="51262"/>
                    </a:lnTo>
                    <a:cubicBezTo>
                      <a:pt x="3845" y="42291"/>
                      <a:pt x="3845" y="34602"/>
                      <a:pt x="2563" y="25631"/>
                    </a:cubicBezTo>
                    <a:cubicBezTo>
                      <a:pt x="2563" y="20505"/>
                      <a:pt x="2563" y="1282"/>
                      <a:pt x="0" y="0"/>
                    </a:cubicBezTo>
                    <a:cubicBezTo>
                      <a:pt x="1282" y="5126"/>
                      <a:pt x="2563" y="14097"/>
                      <a:pt x="2563"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19" name="Freeform: Shape 379755">
                <a:extLst>
                  <a:ext uri="{FF2B5EF4-FFF2-40B4-BE49-F238E27FC236}">
                    <a16:creationId xmlns:a16="http://schemas.microsoft.com/office/drawing/2014/main" id="{DDA6A499-3ACA-459D-8C90-3B892F93E501}"/>
                  </a:ext>
                </a:extLst>
              </p:cNvPr>
              <p:cNvSpPr/>
              <p:nvPr/>
            </p:nvSpPr>
            <p:spPr>
              <a:xfrm>
                <a:off x="4144000" y="3913705"/>
                <a:ext cx="18847" cy="103805"/>
              </a:xfrm>
              <a:custGeom>
                <a:avLst/>
                <a:gdLst>
                  <a:gd name="connsiteX0" fmla="*/ 1480 w 18847"/>
                  <a:gd name="connsiteY0" fmla="*/ 17942 h 103805"/>
                  <a:gd name="connsiteX1" fmla="*/ 4043 w 18847"/>
                  <a:gd name="connsiteY1" fmla="*/ 26913 h 103805"/>
                  <a:gd name="connsiteX2" fmla="*/ 13014 w 18847"/>
                  <a:gd name="connsiteY2" fmla="*/ 78174 h 103805"/>
                  <a:gd name="connsiteX3" fmla="*/ 18140 w 18847"/>
                  <a:gd name="connsiteY3" fmla="*/ 103805 h 103805"/>
                  <a:gd name="connsiteX4" fmla="*/ 14295 w 18847"/>
                  <a:gd name="connsiteY4" fmla="*/ 76893 h 103805"/>
                  <a:gd name="connsiteX5" fmla="*/ 5324 w 18847"/>
                  <a:gd name="connsiteY5" fmla="*/ 25631 h 103805"/>
                  <a:gd name="connsiteX6" fmla="*/ 1480 w 18847"/>
                  <a:gd name="connsiteY6" fmla="*/ 0 h 103805"/>
                  <a:gd name="connsiteX7" fmla="*/ 1480 w 18847"/>
                  <a:gd name="connsiteY7" fmla="*/ 0 h 103805"/>
                  <a:gd name="connsiteX8" fmla="*/ 1480 w 18847"/>
                  <a:gd name="connsiteY8" fmla="*/ 17942 h 10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47" h="103805">
                    <a:moveTo>
                      <a:pt x="1480" y="17942"/>
                    </a:moveTo>
                    <a:cubicBezTo>
                      <a:pt x="1480" y="21786"/>
                      <a:pt x="2761" y="25631"/>
                      <a:pt x="4043" y="26913"/>
                    </a:cubicBezTo>
                    <a:cubicBezTo>
                      <a:pt x="6606" y="43573"/>
                      <a:pt x="9169" y="60233"/>
                      <a:pt x="13014" y="78174"/>
                    </a:cubicBezTo>
                    <a:cubicBezTo>
                      <a:pt x="11732" y="84582"/>
                      <a:pt x="15577" y="101242"/>
                      <a:pt x="18140" y="103805"/>
                    </a:cubicBezTo>
                    <a:cubicBezTo>
                      <a:pt x="20703" y="101242"/>
                      <a:pt x="15577" y="79456"/>
                      <a:pt x="14295" y="76893"/>
                    </a:cubicBezTo>
                    <a:cubicBezTo>
                      <a:pt x="11732" y="60233"/>
                      <a:pt x="7887" y="43573"/>
                      <a:pt x="5324" y="25631"/>
                    </a:cubicBezTo>
                    <a:cubicBezTo>
                      <a:pt x="6606" y="19223"/>
                      <a:pt x="4043" y="2563"/>
                      <a:pt x="1480" y="0"/>
                    </a:cubicBezTo>
                    <a:cubicBezTo>
                      <a:pt x="1480" y="0"/>
                      <a:pt x="1480" y="0"/>
                      <a:pt x="1480" y="0"/>
                    </a:cubicBezTo>
                    <a:cubicBezTo>
                      <a:pt x="-1083" y="2563"/>
                      <a:pt x="198" y="14097"/>
                      <a:pt x="148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0" name="Freeform: Shape 379756">
                <a:extLst>
                  <a:ext uri="{FF2B5EF4-FFF2-40B4-BE49-F238E27FC236}">
                    <a16:creationId xmlns:a16="http://schemas.microsoft.com/office/drawing/2014/main" id="{D78EEDD5-CE40-4926-8692-89317C2C9DE9}"/>
                  </a:ext>
                </a:extLst>
              </p:cNvPr>
              <p:cNvSpPr/>
              <p:nvPr/>
            </p:nvSpPr>
            <p:spPr>
              <a:xfrm>
                <a:off x="4121131" y="3689434"/>
                <a:ext cx="33100" cy="244775"/>
              </a:xfrm>
              <a:custGeom>
                <a:avLst/>
                <a:gdLst>
                  <a:gd name="connsiteX0" fmla="*/ 0 w 33100"/>
                  <a:gd name="connsiteY0" fmla="*/ 17942 h 244775"/>
                  <a:gd name="connsiteX1" fmla="*/ 1282 w 33100"/>
                  <a:gd name="connsiteY1" fmla="*/ 26913 h 244775"/>
                  <a:gd name="connsiteX2" fmla="*/ 10252 w 33100"/>
                  <a:gd name="connsiteY2" fmla="*/ 169164 h 244775"/>
                  <a:gd name="connsiteX3" fmla="*/ 28194 w 33100"/>
                  <a:gd name="connsiteY3" fmla="*/ 229397 h 244775"/>
                  <a:gd name="connsiteX4" fmla="*/ 32039 w 33100"/>
                  <a:gd name="connsiteY4" fmla="*/ 244775 h 244775"/>
                  <a:gd name="connsiteX5" fmla="*/ 29476 w 33100"/>
                  <a:gd name="connsiteY5" fmla="*/ 217863 h 244775"/>
                  <a:gd name="connsiteX6" fmla="*/ 28194 w 33100"/>
                  <a:gd name="connsiteY6" fmla="*/ 221708 h 244775"/>
                  <a:gd name="connsiteX7" fmla="*/ 11534 w 33100"/>
                  <a:gd name="connsiteY7" fmla="*/ 165319 h 244775"/>
                  <a:gd name="connsiteX8" fmla="*/ 2563 w 33100"/>
                  <a:gd name="connsiteY8" fmla="*/ 25631 h 244775"/>
                  <a:gd name="connsiteX9" fmla="*/ 2563 w 33100"/>
                  <a:gd name="connsiteY9" fmla="*/ 0 h 244775"/>
                  <a:gd name="connsiteX10" fmla="*/ 2563 w 33100"/>
                  <a:gd name="connsiteY10" fmla="*/ 0 h 244775"/>
                  <a:gd name="connsiteX11" fmla="*/ 0 w 33100"/>
                  <a:gd name="connsiteY11" fmla="*/ 17942 h 24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100" h="244775">
                    <a:moveTo>
                      <a:pt x="0" y="17942"/>
                    </a:moveTo>
                    <a:cubicBezTo>
                      <a:pt x="0" y="21786"/>
                      <a:pt x="0" y="25631"/>
                      <a:pt x="1282" y="26913"/>
                    </a:cubicBezTo>
                    <a:cubicBezTo>
                      <a:pt x="2563" y="74330"/>
                      <a:pt x="5126" y="121747"/>
                      <a:pt x="10252" y="169164"/>
                    </a:cubicBezTo>
                    <a:cubicBezTo>
                      <a:pt x="15378" y="187106"/>
                      <a:pt x="25631" y="210174"/>
                      <a:pt x="28194" y="229397"/>
                    </a:cubicBezTo>
                    <a:cubicBezTo>
                      <a:pt x="28194" y="231960"/>
                      <a:pt x="29476" y="242212"/>
                      <a:pt x="32039" y="244775"/>
                    </a:cubicBezTo>
                    <a:cubicBezTo>
                      <a:pt x="34602" y="239649"/>
                      <a:pt x="32039" y="221708"/>
                      <a:pt x="29476" y="217863"/>
                    </a:cubicBezTo>
                    <a:cubicBezTo>
                      <a:pt x="28194" y="219144"/>
                      <a:pt x="28194" y="219144"/>
                      <a:pt x="28194" y="221708"/>
                    </a:cubicBezTo>
                    <a:lnTo>
                      <a:pt x="11534" y="165319"/>
                    </a:lnTo>
                    <a:cubicBezTo>
                      <a:pt x="6408" y="119184"/>
                      <a:pt x="3845" y="71767"/>
                      <a:pt x="2563" y="25631"/>
                    </a:cubicBezTo>
                    <a:cubicBezTo>
                      <a:pt x="3845" y="19223"/>
                      <a:pt x="3845" y="3845"/>
                      <a:pt x="2563" y="0"/>
                    </a:cubicBezTo>
                    <a:cubicBezTo>
                      <a:pt x="2563" y="0"/>
                      <a:pt x="2563" y="0"/>
                      <a:pt x="2563" y="0"/>
                    </a:cubicBezTo>
                    <a:cubicBezTo>
                      <a:pt x="0" y="5126"/>
                      <a:pt x="0" y="14097"/>
                      <a:pt x="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1" name="Freeform: Shape 379757">
                <a:extLst>
                  <a:ext uri="{FF2B5EF4-FFF2-40B4-BE49-F238E27FC236}">
                    <a16:creationId xmlns:a16="http://schemas.microsoft.com/office/drawing/2014/main" id="{797E0C35-34BA-4A59-B4D0-B6B5B81E6C3C}"/>
                  </a:ext>
                </a:extLst>
              </p:cNvPr>
              <p:cNvSpPr/>
              <p:nvPr/>
            </p:nvSpPr>
            <p:spPr>
              <a:xfrm>
                <a:off x="4131063" y="3642017"/>
                <a:ext cx="29919" cy="287066"/>
              </a:xfrm>
              <a:custGeom>
                <a:avLst/>
                <a:gdLst>
                  <a:gd name="connsiteX0" fmla="*/ 320 w 29919"/>
                  <a:gd name="connsiteY0" fmla="*/ 17942 h 287066"/>
                  <a:gd name="connsiteX1" fmla="*/ 1602 w 29919"/>
                  <a:gd name="connsiteY1" fmla="*/ 26912 h 287066"/>
                  <a:gd name="connsiteX2" fmla="*/ 2884 w 29919"/>
                  <a:gd name="connsiteY2" fmla="*/ 24349 h 287066"/>
                  <a:gd name="connsiteX3" fmla="*/ 8010 w 29919"/>
                  <a:gd name="connsiteY3" fmla="*/ 48699 h 287066"/>
                  <a:gd name="connsiteX4" fmla="*/ 24670 w 29919"/>
                  <a:gd name="connsiteY4" fmla="*/ 261435 h 287066"/>
                  <a:gd name="connsiteX5" fmla="*/ 28514 w 29919"/>
                  <a:gd name="connsiteY5" fmla="*/ 287066 h 287066"/>
                  <a:gd name="connsiteX6" fmla="*/ 25951 w 29919"/>
                  <a:gd name="connsiteY6" fmla="*/ 260154 h 287066"/>
                  <a:gd name="connsiteX7" fmla="*/ 9291 w 29919"/>
                  <a:gd name="connsiteY7" fmla="*/ 44854 h 287066"/>
                  <a:gd name="connsiteX8" fmla="*/ 2884 w 29919"/>
                  <a:gd name="connsiteY8" fmla="*/ 0 h 287066"/>
                  <a:gd name="connsiteX9" fmla="*/ 1602 w 29919"/>
                  <a:gd name="connsiteY9" fmla="*/ 0 h 287066"/>
                  <a:gd name="connsiteX10" fmla="*/ 320 w 29919"/>
                  <a:gd name="connsiteY10" fmla="*/ 17942 h 28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19" h="287066">
                    <a:moveTo>
                      <a:pt x="320" y="17942"/>
                    </a:moveTo>
                    <a:cubicBezTo>
                      <a:pt x="320" y="23068"/>
                      <a:pt x="320" y="24349"/>
                      <a:pt x="1602" y="26912"/>
                    </a:cubicBezTo>
                    <a:cubicBezTo>
                      <a:pt x="2884" y="26912"/>
                      <a:pt x="2884" y="25631"/>
                      <a:pt x="2884" y="24349"/>
                    </a:cubicBezTo>
                    <a:lnTo>
                      <a:pt x="8010" y="48699"/>
                    </a:lnTo>
                    <a:cubicBezTo>
                      <a:pt x="9291" y="119184"/>
                      <a:pt x="15699" y="189669"/>
                      <a:pt x="24670" y="261435"/>
                    </a:cubicBezTo>
                    <a:cubicBezTo>
                      <a:pt x="23388" y="269125"/>
                      <a:pt x="24670" y="283221"/>
                      <a:pt x="28514" y="287066"/>
                    </a:cubicBezTo>
                    <a:cubicBezTo>
                      <a:pt x="32359" y="280658"/>
                      <a:pt x="27233" y="261435"/>
                      <a:pt x="25951" y="260154"/>
                    </a:cubicBezTo>
                    <a:cubicBezTo>
                      <a:pt x="15699" y="188387"/>
                      <a:pt x="10573" y="116621"/>
                      <a:pt x="9291" y="44854"/>
                    </a:cubicBezTo>
                    <a:cubicBezTo>
                      <a:pt x="5446" y="29475"/>
                      <a:pt x="6728" y="14097"/>
                      <a:pt x="2884" y="0"/>
                    </a:cubicBezTo>
                    <a:cubicBezTo>
                      <a:pt x="2884" y="0"/>
                      <a:pt x="2884" y="0"/>
                      <a:pt x="1602" y="0"/>
                    </a:cubicBezTo>
                    <a:cubicBezTo>
                      <a:pt x="-961" y="5126"/>
                      <a:pt x="320" y="14097"/>
                      <a:pt x="32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2" name="Freeform: Shape 379758">
                <a:extLst>
                  <a:ext uri="{FF2B5EF4-FFF2-40B4-BE49-F238E27FC236}">
                    <a16:creationId xmlns:a16="http://schemas.microsoft.com/office/drawing/2014/main" id="{74193886-8E39-4335-A71C-033C42A8AF60}"/>
                  </a:ext>
                </a:extLst>
              </p:cNvPr>
              <p:cNvSpPr/>
              <p:nvPr/>
            </p:nvSpPr>
            <p:spPr>
              <a:xfrm>
                <a:off x="4262876" y="3793240"/>
                <a:ext cx="68627" cy="44738"/>
              </a:xfrm>
              <a:custGeom>
                <a:avLst/>
                <a:gdLst>
                  <a:gd name="connsiteX0" fmla="*/ 506 w 68627"/>
                  <a:gd name="connsiteY0" fmla="*/ 21786 h 44738"/>
                  <a:gd name="connsiteX1" fmla="*/ 8196 w 68627"/>
                  <a:gd name="connsiteY1" fmla="*/ 28194 h 44738"/>
                  <a:gd name="connsiteX2" fmla="*/ 10759 w 68627"/>
                  <a:gd name="connsiteY2" fmla="*/ 17942 h 44738"/>
                  <a:gd name="connsiteX3" fmla="*/ 38953 w 68627"/>
                  <a:gd name="connsiteY3" fmla="*/ 6408 h 44738"/>
                  <a:gd name="connsiteX4" fmla="*/ 55613 w 68627"/>
                  <a:gd name="connsiteY4" fmla="*/ 28194 h 44738"/>
                  <a:gd name="connsiteX5" fmla="*/ 60739 w 68627"/>
                  <a:gd name="connsiteY5" fmla="*/ 43573 h 44738"/>
                  <a:gd name="connsiteX6" fmla="*/ 68428 w 68627"/>
                  <a:gd name="connsiteY6" fmla="*/ 35883 h 44738"/>
                  <a:gd name="connsiteX7" fmla="*/ 59458 w 68627"/>
                  <a:gd name="connsiteY7" fmla="*/ 17942 h 44738"/>
                  <a:gd name="connsiteX8" fmla="*/ 56894 w 68627"/>
                  <a:gd name="connsiteY8" fmla="*/ 21786 h 44738"/>
                  <a:gd name="connsiteX9" fmla="*/ 38953 w 68627"/>
                  <a:gd name="connsiteY9" fmla="*/ 0 h 44738"/>
                  <a:gd name="connsiteX10" fmla="*/ 10759 w 68627"/>
                  <a:gd name="connsiteY10" fmla="*/ 11534 h 44738"/>
                  <a:gd name="connsiteX11" fmla="*/ 4351 w 68627"/>
                  <a:gd name="connsiteY11" fmla="*/ 3844 h 44738"/>
                  <a:gd name="connsiteX12" fmla="*/ 506 w 68627"/>
                  <a:gd name="connsiteY12" fmla="*/ 21786 h 4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627" h="44738">
                    <a:moveTo>
                      <a:pt x="506" y="21786"/>
                    </a:moveTo>
                    <a:cubicBezTo>
                      <a:pt x="1788" y="28194"/>
                      <a:pt x="5632" y="33320"/>
                      <a:pt x="8196" y="28194"/>
                    </a:cubicBezTo>
                    <a:cubicBezTo>
                      <a:pt x="10759" y="25631"/>
                      <a:pt x="10759" y="19223"/>
                      <a:pt x="10759" y="17942"/>
                    </a:cubicBezTo>
                    <a:lnTo>
                      <a:pt x="38953" y="6408"/>
                    </a:lnTo>
                    <a:cubicBezTo>
                      <a:pt x="44079" y="12815"/>
                      <a:pt x="56894" y="20505"/>
                      <a:pt x="55613" y="28194"/>
                    </a:cubicBezTo>
                    <a:cubicBezTo>
                      <a:pt x="55613" y="29475"/>
                      <a:pt x="55613" y="38446"/>
                      <a:pt x="60739" y="43573"/>
                    </a:cubicBezTo>
                    <a:cubicBezTo>
                      <a:pt x="63302" y="46135"/>
                      <a:pt x="67147" y="44854"/>
                      <a:pt x="68428" y="35883"/>
                    </a:cubicBezTo>
                    <a:cubicBezTo>
                      <a:pt x="69710" y="24349"/>
                      <a:pt x="64584" y="14097"/>
                      <a:pt x="59458" y="17942"/>
                    </a:cubicBezTo>
                    <a:cubicBezTo>
                      <a:pt x="58176" y="19223"/>
                      <a:pt x="58176" y="20505"/>
                      <a:pt x="56894" y="21786"/>
                    </a:cubicBezTo>
                    <a:lnTo>
                      <a:pt x="38953" y="0"/>
                    </a:lnTo>
                    <a:cubicBezTo>
                      <a:pt x="29982" y="3844"/>
                      <a:pt x="18448" y="7689"/>
                      <a:pt x="10759" y="11534"/>
                    </a:cubicBezTo>
                    <a:cubicBezTo>
                      <a:pt x="9477" y="5126"/>
                      <a:pt x="6914" y="2563"/>
                      <a:pt x="4351" y="3844"/>
                    </a:cubicBezTo>
                    <a:cubicBezTo>
                      <a:pt x="-2057" y="7689"/>
                      <a:pt x="506" y="21786"/>
                      <a:pt x="506" y="2178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3" name="Freeform: Shape 379759">
                <a:extLst>
                  <a:ext uri="{FF2B5EF4-FFF2-40B4-BE49-F238E27FC236}">
                    <a16:creationId xmlns:a16="http://schemas.microsoft.com/office/drawing/2014/main" id="{2C755587-60F9-4B06-A50A-E61D969CA651}"/>
                  </a:ext>
                </a:extLst>
              </p:cNvPr>
              <p:cNvSpPr/>
              <p:nvPr/>
            </p:nvSpPr>
            <p:spPr>
              <a:xfrm>
                <a:off x="5971760" y="3324514"/>
                <a:ext cx="54609" cy="139699"/>
              </a:xfrm>
              <a:custGeom>
                <a:avLst/>
                <a:gdLst>
                  <a:gd name="connsiteX0" fmla="*/ 1211 w 54609"/>
                  <a:gd name="connsiteY0" fmla="*/ 18903 h 139699"/>
                  <a:gd name="connsiteX1" fmla="*/ 14027 w 54609"/>
                  <a:gd name="connsiteY1" fmla="*/ 26592 h 139699"/>
                  <a:gd name="connsiteX2" fmla="*/ 34531 w 54609"/>
                  <a:gd name="connsiteY2" fmla="*/ 113737 h 139699"/>
                  <a:gd name="connsiteX3" fmla="*/ 38376 w 54609"/>
                  <a:gd name="connsiteY3" fmla="*/ 139368 h 139699"/>
                  <a:gd name="connsiteX4" fmla="*/ 52473 w 54609"/>
                  <a:gd name="connsiteY4" fmla="*/ 118863 h 139699"/>
                  <a:gd name="connsiteX5" fmla="*/ 40939 w 54609"/>
                  <a:gd name="connsiteY5" fmla="*/ 112456 h 139699"/>
                  <a:gd name="connsiteX6" fmla="*/ 20434 w 54609"/>
                  <a:gd name="connsiteY6" fmla="*/ 25310 h 139699"/>
                  <a:gd name="connsiteX7" fmla="*/ 19153 w 54609"/>
                  <a:gd name="connsiteY7" fmla="*/ 961 h 139699"/>
                  <a:gd name="connsiteX8" fmla="*/ 11463 w 54609"/>
                  <a:gd name="connsiteY8" fmla="*/ 961 h 139699"/>
                  <a:gd name="connsiteX9" fmla="*/ 1211 w 54609"/>
                  <a:gd name="connsiteY9" fmla="*/ 18903 h 13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609" h="139699">
                    <a:moveTo>
                      <a:pt x="1211" y="18903"/>
                    </a:moveTo>
                    <a:cubicBezTo>
                      <a:pt x="2493" y="22747"/>
                      <a:pt x="6338" y="26592"/>
                      <a:pt x="14027" y="26592"/>
                    </a:cubicBezTo>
                    <a:cubicBezTo>
                      <a:pt x="20434" y="56068"/>
                      <a:pt x="28124" y="84262"/>
                      <a:pt x="34531" y="113737"/>
                    </a:cubicBezTo>
                    <a:cubicBezTo>
                      <a:pt x="20434" y="121426"/>
                      <a:pt x="26842" y="138087"/>
                      <a:pt x="38376" y="139368"/>
                    </a:cubicBezTo>
                    <a:cubicBezTo>
                      <a:pt x="49910" y="141931"/>
                      <a:pt x="58881" y="129116"/>
                      <a:pt x="52473" y="118863"/>
                    </a:cubicBezTo>
                    <a:cubicBezTo>
                      <a:pt x="48629" y="113737"/>
                      <a:pt x="43502" y="112456"/>
                      <a:pt x="40939" y="112456"/>
                    </a:cubicBezTo>
                    <a:cubicBezTo>
                      <a:pt x="34531" y="82980"/>
                      <a:pt x="26842" y="53505"/>
                      <a:pt x="20434" y="25310"/>
                    </a:cubicBezTo>
                    <a:cubicBezTo>
                      <a:pt x="33250" y="17621"/>
                      <a:pt x="29405" y="4806"/>
                      <a:pt x="19153" y="961"/>
                    </a:cubicBezTo>
                    <a:cubicBezTo>
                      <a:pt x="16590" y="-320"/>
                      <a:pt x="12745" y="-320"/>
                      <a:pt x="11463" y="961"/>
                    </a:cubicBezTo>
                    <a:cubicBezTo>
                      <a:pt x="-5196" y="6087"/>
                      <a:pt x="1211" y="18903"/>
                      <a:pt x="1211" y="189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4" name="Freeform: Shape 379760">
                <a:extLst>
                  <a:ext uri="{FF2B5EF4-FFF2-40B4-BE49-F238E27FC236}">
                    <a16:creationId xmlns:a16="http://schemas.microsoft.com/office/drawing/2014/main" id="{8187A996-596E-4DB5-B571-235A890332C8}"/>
                  </a:ext>
                </a:extLst>
              </p:cNvPr>
              <p:cNvSpPr/>
              <p:nvPr/>
            </p:nvSpPr>
            <p:spPr>
              <a:xfrm>
                <a:off x="6492371" y="3216544"/>
                <a:ext cx="96785" cy="329688"/>
              </a:xfrm>
              <a:custGeom>
                <a:avLst/>
                <a:gdLst>
                  <a:gd name="connsiteX0" fmla="*/ 909 w 96785"/>
                  <a:gd name="connsiteY0" fmla="*/ 16660 h 329688"/>
                  <a:gd name="connsiteX1" fmla="*/ 13724 w 96785"/>
                  <a:gd name="connsiteY1" fmla="*/ 25631 h 329688"/>
                  <a:gd name="connsiteX2" fmla="*/ 48326 w 96785"/>
                  <a:gd name="connsiteY2" fmla="*/ 164038 h 329688"/>
                  <a:gd name="connsiteX3" fmla="*/ 79083 w 96785"/>
                  <a:gd name="connsiteY3" fmla="*/ 303726 h 329688"/>
                  <a:gd name="connsiteX4" fmla="*/ 81646 w 96785"/>
                  <a:gd name="connsiteY4" fmla="*/ 329357 h 329688"/>
                  <a:gd name="connsiteX5" fmla="*/ 94462 w 96785"/>
                  <a:gd name="connsiteY5" fmla="*/ 308852 h 329688"/>
                  <a:gd name="connsiteX6" fmla="*/ 84210 w 96785"/>
                  <a:gd name="connsiteY6" fmla="*/ 302445 h 329688"/>
                  <a:gd name="connsiteX7" fmla="*/ 53452 w 96785"/>
                  <a:gd name="connsiteY7" fmla="*/ 162756 h 329688"/>
                  <a:gd name="connsiteX8" fmla="*/ 18851 w 96785"/>
                  <a:gd name="connsiteY8" fmla="*/ 24349 h 329688"/>
                  <a:gd name="connsiteX9" fmla="*/ 15006 w 96785"/>
                  <a:gd name="connsiteY9" fmla="*/ 0 h 329688"/>
                  <a:gd name="connsiteX10" fmla="*/ 9880 w 96785"/>
                  <a:gd name="connsiteY10" fmla="*/ 0 h 329688"/>
                  <a:gd name="connsiteX11" fmla="*/ 909 w 96785"/>
                  <a:gd name="connsiteY11" fmla="*/ 16660 h 32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785" h="329688">
                    <a:moveTo>
                      <a:pt x="909" y="16660"/>
                    </a:moveTo>
                    <a:cubicBezTo>
                      <a:pt x="2191" y="20505"/>
                      <a:pt x="6035" y="24349"/>
                      <a:pt x="13724" y="25631"/>
                    </a:cubicBezTo>
                    <a:cubicBezTo>
                      <a:pt x="25258" y="71767"/>
                      <a:pt x="36792" y="117902"/>
                      <a:pt x="48326" y="164038"/>
                    </a:cubicBezTo>
                    <a:cubicBezTo>
                      <a:pt x="59860" y="210174"/>
                      <a:pt x="68831" y="257591"/>
                      <a:pt x="79083" y="303726"/>
                    </a:cubicBezTo>
                    <a:cubicBezTo>
                      <a:pt x="66268" y="311416"/>
                      <a:pt x="71394" y="326794"/>
                      <a:pt x="81646" y="329357"/>
                    </a:cubicBezTo>
                    <a:cubicBezTo>
                      <a:pt x="93180" y="331920"/>
                      <a:pt x="100870" y="319105"/>
                      <a:pt x="94462" y="308852"/>
                    </a:cubicBezTo>
                    <a:cubicBezTo>
                      <a:pt x="90617" y="303726"/>
                      <a:pt x="85491" y="302445"/>
                      <a:pt x="84210" y="302445"/>
                    </a:cubicBezTo>
                    <a:cubicBezTo>
                      <a:pt x="75239" y="256309"/>
                      <a:pt x="64986" y="210174"/>
                      <a:pt x="53452" y="162756"/>
                    </a:cubicBezTo>
                    <a:cubicBezTo>
                      <a:pt x="41918" y="115339"/>
                      <a:pt x="30385" y="69203"/>
                      <a:pt x="18851" y="24349"/>
                    </a:cubicBezTo>
                    <a:cubicBezTo>
                      <a:pt x="31666" y="16660"/>
                      <a:pt x="25258" y="1282"/>
                      <a:pt x="15006" y="0"/>
                    </a:cubicBezTo>
                    <a:cubicBezTo>
                      <a:pt x="13724" y="0"/>
                      <a:pt x="11161" y="0"/>
                      <a:pt x="9880" y="0"/>
                    </a:cubicBezTo>
                    <a:cubicBezTo>
                      <a:pt x="-4217" y="3845"/>
                      <a:pt x="909" y="16660"/>
                      <a:pt x="909"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5" name="Freeform: Shape 379761">
                <a:extLst>
                  <a:ext uri="{FF2B5EF4-FFF2-40B4-BE49-F238E27FC236}">
                    <a16:creationId xmlns:a16="http://schemas.microsoft.com/office/drawing/2014/main" id="{01B9327A-8E33-45EE-9730-BF131D31A86C}"/>
                  </a:ext>
                </a:extLst>
              </p:cNvPr>
              <p:cNvSpPr/>
              <p:nvPr/>
            </p:nvSpPr>
            <p:spPr>
              <a:xfrm>
                <a:off x="6855989" y="3151185"/>
                <a:ext cx="112776" cy="443503"/>
              </a:xfrm>
              <a:custGeom>
                <a:avLst/>
                <a:gdLst>
                  <a:gd name="connsiteX0" fmla="*/ 1251 w 112776"/>
                  <a:gd name="connsiteY0" fmla="*/ 16660 h 443503"/>
                  <a:gd name="connsiteX1" fmla="*/ 12785 w 112776"/>
                  <a:gd name="connsiteY1" fmla="*/ 25631 h 443503"/>
                  <a:gd name="connsiteX2" fmla="*/ 48669 w 112776"/>
                  <a:gd name="connsiteY2" fmla="*/ 164038 h 443503"/>
                  <a:gd name="connsiteX3" fmla="*/ 97367 w 112776"/>
                  <a:gd name="connsiteY3" fmla="*/ 417784 h 443503"/>
                  <a:gd name="connsiteX4" fmla="*/ 101212 w 112776"/>
                  <a:gd name="connsiteY4" fmla="*/ 443415 h 443503"/>
                  <a:gd name="connsiteX5" fmla="*/ 110183 w 112776"/>
                  <a:gd name="connsiteY5" fmla="*/ 421628 h 443503"/>
                  <a:gd name="connsiteX6" fmla="*/ 102494 w 112776"/>
                  <a:gd name="connsiteY6" fmla="*/ 416502 h 443503"/>
                  <a:gd name="connsiteX7" fmla="*/ 53795 w 112776"/>
                  <a:gd name="connsiteY7" fmla="*/ 162756 h 443503"/>
                  <a:gd name="connsiteX8" fmla="*/ 17911 w 112776"/>
                  <a:gd name="connsiteY8" fmla="*/ 24349 h 443503"/>
                  <a:gd name="connsiteX9" fmla="*/ 10222 w 112776"/>
                  <a:gd name="connsiteY9" fmla="*/ 0 h 443503"/>
                  <a:gd name="connsiteX10" fmla="*/ 7659 w 112776"/>
                  <a:gd name="connsiteY10" fmla="*/ 0 h 443503"/>
                  <a:gd name="connsiteX11" fmla="*/ 1251 w 112776"/>
                  <a:gd name="connsiteY11" fmla="*/ 16660 h 443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776" h="443503">
                    <a:moveTo>
                      <a:pt x="1251" y="16660"/>
                    </a:moveTo>
                    <a:cubicBezTo>
                      <a:pt x="3814" y="23068"/>
                      <a:pt x="8941" y="24349"/>
                      <a:pt x="12785" y="25631"/>
                    </a:cubicBezTo>
                    <a:cubicBezTo>
                      <a:pt x="25601" y="70485"/>
                      <a:pt x="37135" y="117902"/>
                      <a:pt x="48669" y="164038"/>
                    </a:cubicBezTo>
                    <a:cubicBezTo>
                      <a:pt x="67892" y="248620"/>
                      <a:pt x="84552" y="334483"/>
                      <a:pt x="97367" y="417784"/>
                    </a:cubicBezTo>
                    <a:cubicBezTo>
                      <a:pt x="84552" y="426755"/>
                      <a:pt x="92242" y="442133"/>
                      <a:pt x="101212" y="443415"/>
                    </a:cubicBezTo>
                    <a:cubicBezTo>
                      <a:pt x="110183" y="444696"/>
                      <a:pt x="116591" y="431881"/>
                      <a:pt x="110183" y="421628"/>
                    </a:cubicBezTo>
                    <a:cubicBezTo>
                      <a:pt x="108901" y="419065"/>
                      <a:pt x="106338" y="417784"/>
                      <a:pt x="102494" y="416502"/>
                    </a:cubicBezTo>
                    <a:cubicBezTo>
                      <a:pt x="89678" y="331920"/>
                      <a:pt x="73018" y="247338"/>
                      <a:pt x="53795" y="162756"/>
                    </a:cubicBezTo>
                    <a:cubicBezTo>
                      <a:pt x="42261" y="115339"/>
                      <a:pt x="30727" y="69203"/>
                      <a:pt x="17911" y="24349"/>
                    </a:cubicBezTo>
                    <a:cubicBezTo>
                      <a:pt x="30727" y="14097"/>
                      <a:pt x="17911" y="0"/>
                      <a:pt x="10222" y="0"/>
                    </a:cubicBezTo>
                    <a:cubicBezTo>
                      <a:pt x="8941" y="0"/>
                      <a:pt x="8941" y="0"/>
                      <a:pt x="7659" y="0"/>
                    </a:cubicBezTo>
                    <a:cubicBezTo>
                      <a:pt x="-2593" y="3845"/>
                      <a:pt x="-30" y="11534"/>
                      <a:pt x="125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6" name="Freeform: Shape 379762">
                <a:extLst>
                  <a:ext uri="{FF2B5EF4-FFF2-40B4-BE49-F238E27FC236}">
                    <a16:creationId xmlns:a16="http://schemas.microsoft.com/office/drawing/2014/main" id="{2C5A14E3-8AF9-4C4A-B002-56724382BFB7}"/>
                  </a:ext>
                </a:extLst>
              </p:cNvPr>
              <p:cNvSpPr/>
              <p:nvPr/>
            </p:nvSpPr>
            <p:spPr>
              <a:xfrm>
                <a:off x="7142356" y="3108813"/>
                <a:ext cx="19626" cy="25614"/>
              </a:xfrm>
              <a:custGeom>
                <a:avLst/>
                <a:gdLst>
                  <a:gd name="connsiteX0" fmla="*/ 670 w 19626"/>
                  <a:gd name="connsiteY0" fmla="*/ 15460 h 25614"/>
                  <a:gd name="connsiteX1" fmla="*/ 18612 w 19626"/>
                  <a:gd name="connsiteY1" fmla="*/ 20587 h 25614"/>
                  <a:gd name="connsiteX2" fmla="*/ 5796 w 19626"/>
                  <a:gd name="connsiteY2" fmla="*/ 82 h 25614"/>
                  <a:gd name="connsiteX3" fmla="*/ 670 w 19626"/>
                  <a:gd name="connsiteY3" fmla="*/ 15460 h 25614"/>
                </a:gdLst>
                <a:ahLst/>
                <a:cxnLst>
                  <a:cxn ang="0">
                    <a:pos x="connsiteX0" y="connsiteY0"/>
                  </a:cxn>
                  <a:cxn ang="0">
                    <a:pos x="connsiteX1" y="connsiteY1"/>
                  </a:cxn>
                  <a:cxn ang="0">
                    <a:pos x="connsiteX2" y="connsiteY2"/>
                  </a:cxn>
                  <a:cxn ang="0">
                    <a:pos x="connsiteX3" y="connsiteY3"/>
                  </a:cxn>
                </a:cxnLst>
                <a:rect l="l" t="t" r="r" b="b"/>
                <a:pathLst>
                  <a:path w="19626" h="25614">
                    <a:moveTo>
                      <a:pt x="670" y="15460"/>
                    </a:moveTo>
                    <a:cubicBezTo>
                      <a:pt x="4515" y="25713"/>
                      <a:pt x="16048" y="29557"/>
                      <a:pt x="18612" y="20587"/>
                    </a:cubicBezTo>
                    <a:cubicBezTo>
                      <a:pt x="22456" y="12897"/>
                      <a:pt x="14767" y="-1200"/>
                      <a:pt x="5796" y="82"/>
                    </a:cubicBezTo>
                    <a:cubicBezTo>
                      <a:pt x="-612" y="1363"/>
                      <a:pt x="-612" y="9053"/>
                      <a:pt x="670" y="154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7" name="Freeform: Shape 379763">
                <a:extLst>
                  <a:ext uri="{FF2B5EF4-FFF2-40B4-BE49-F238E27FC236}">
                    <a16:creationId xmlns:a16="http://schemas.microsoft.com/office/drawing/2014/main" id="{8C30DE83-B58D-47CC-9C26-DD0E582FF7B7}"/>
                  </a:ext>
                </a:extLst>
              </p:cNvPr>
              <p:cNvSpPr/>
              <p:nvPr/>
            </p:nvSpPr>
            <p:spPr>
              <a:xfrm>
                <a:off x="7379346" y="3084545"/>
                <a:ext cx="16001" cy="25104"/>
              </a:xfrm>
              <a:custGeom>
                <a:avLst/>
                <a:gdLst>
                  <a:gd name="connsiteX0" fmla="*/ 767 w 16001"/>
                  <a:gd name="connsiteY0" fmla="*/ 14097 h 25104"/>
                  <a:gd name="connsiteX1" fmla="*/ 14864 w 16001"/>
                  <a:gd name="connsiteY1" fmla="*/ 23068 h 25104"/>
                  <a:gd name="connsiteX2" fmla="*/ 3330 w 16001"/>
                  <a:gd name="connsiteY2" fmla="*/ 0 h 25104"/>
                  <a:gd name="connsiteX3" fmla="*/ 767 w 16001"/>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6001" h="25104">
                    <a:moveTo>
                      <a:pt x="767" y="14097"/>
                    </a:moveTo>
                    <a:cubicBezTo>
                      <a:pt x="4611" y="23068"/>
                      <a:pt x="12301" y="28194"/>
                      <a:pt x="14864" y="23068"/>
                    </a:cubicBezTo>
                    <a:cubicBezTo>
                      <a:pt x="18708" y="16660"/>
                      <a:pt x="12301" y="0"/>
                      <a:pt x="3330" y="0"/>
                    </a:cubicBezTo>
                    <a:cubicBezTo>
                      <a:pt x="-515" y="0"/>
                      <a:pt x="-515" y="8971"/>
                      <a:pt x="767"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8" name="Freeform: Shape 379764">
                <a:extLst>
                  <a:ext uri="{FF2B5EF4-FFF2-40B4-BE49-F238E27FC236}">
                    <a16:creationId xmlns:a16="http://schemas.microsoft.com/office/drawing/2014/main" id="{F05D2A31-8BEA-43B3-8061-35161742D123}"/>
                  </a:ext>
                </a:extLst>
              </p:cNvPr>
              <p:cNvSpPr/>
              <p:nvPr/>
            </p:nvSpPr>
            <p:spPr>
              <a:xfrm>
                <a:off x="7402034" y="3083263"/>
                <a:ext cx="16266" cy="25104"/>
              </a:xfrm>
              <a:custGeom>
                <a:avLst/>
                <a:gdLst>
                  <a:gd name="connsiteX0" fmla="*/ 1146 w 16266"/>
                  <a:gd name="connsiteY0" fmla="*/ 14097 h 25104"/>
                  <a:gd name="connsiteX1" fmla="*/ 15244 w 16266"/>
                  <a:gd name="connsiteY1" fmla="*/ 23068 h 25104"/>
                  <a:gd name="connsiteX2" fmla="*/ 3710 w 16266"/>
                  <a:gd name="connsiteY2" fmla="*/ 0 h 25104"/>
                  <a:gd name="connsiteX3" fmla="*/ 1146 w 16266"/>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6266" h="25104">
                    <a:moveTo>
                      <a:pt x="1146" y="14097"/>
                    </a:moveTo>
                    <a:cubicBezTo>
                      <a:pt x="4991" y="23068"/>
                      <a:pt x="12680" y="28194"/>
                      <a:pt x="15244" y="23068"/>
                    </a:cubicBezTo>
                    <a:cubicBezTo>
                      <a:pt x="19088" y="16660"/>
                      <a:pt x="11399" y="0"/>
                      <a:pt x="3710" y="0"/>
                    </a:cubicBezTo>
                    <a:cubicBezTo>
                      <a:pt x="-1417" y="0"/>
                      <a:pt x="-135" y="7689"/>
                      <a:pt x="1146"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29" name="Freeform: Shape 379765">
                <a:extLst>
                  <a:ext uri="{FF2B5EF4-FFF2-40B4-BE49-F238E27FC236}">
                    <a16:creationId xmlns:a16="http://schemas.microsoft.com/office/drawing/2014/main" id="{41B49104-2B56-4743-936A-C0DFAB152321}"/>
                  </a:ext>
                </a:extLst>
              </p:cNvPr>
              <p:cNvSpPr/>
              <p:nvPr/>
            </p:nvSpPr>
            <p:spPr>
              <a:xfrm>
                <a:off x="7465977" y="3079419"/>
                <a:ext cx="14671" cy="25104"/>
              </a:xfrm>
              <a:custGeom>
                <a:avLst/>
                <a:gdLst>
                  <a:gd name="connsiteX0" fmla="*/ 1282 w 14671"/>
                  <a:gd name="connsiteY0" fmla="*/ 14097 h 25104"/>
                  <a:gd name="connsiteX1" fmla="*/ 14097 w 14671"/>
                  <a:gd name="connsiteY1" fmla="*/ 23068 h 25104"/>
                  <a:gd name="connsiteX2" fmla="*/ 2563 w 14671"/>
                  <a:gd name="connsiteY2" fmla="*/ 0 h 25104"/>
                  <a:gd name="connsiteX3" fmla="*/ 1282 w 14671"/>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4671" h="25104">
                    <a:moveTo>
                      <a:pt x="1282" y="14097"/>
                    </a:moveTo>
                    <a:cubicBezTo>
                      <a:pt x="5126" y="23068"/>
                      <a:pt x="11534" y="28194"/>
                      <a:pt x="14097" y="23068"/>
                    </a:cubicBezTo>
                    <a:cubicBezTo>
                      <a:pt x="16660" y="16660"/>
                      <a:pt x="10253" y="0"/>
                      <a:pt x="2563" y="0"/>
                    </a:cubicBezTo>
                    <a:cubicBezTo>
                      <a:pt x="-1281" y="0"/>
                      <a:pt x="0" y="7689"/>
                      <a:pt x="128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0" name="Freeform: Shape 379766">
                <a:extLst>
                  <a:ext uri="{FF2B5EF4-FFF2-40B4-BE49-F238E27FC236}">
                    <a16:creationId xmlns:a16="http://schemas.microsoft.com/office/drawing/2014/main" id="{7B23A0F9-2C61-4AAF-8655-FD69DD6D906F}"/>
                  </a:ext>
                </a:extLst>
              </p:cNvPr>
              <p:cNvSpPr/>
              <p:nvPr/>
            </p:nvSpPr>
            <p:spPr>
              <a:xfrm>
                <a:off x="7485520" y="3078137"/>
                <a:ext cx="15632" cy="25104"/>
              </a:xfrm>
              <a:custGeom>
                <a:avLst/>
                <a:gdLst>
                  <a:gd name="connsiteX0" fmla="*/ 2243 w 15632"/>
                  <a:gd name="connsiteY0" fmla="*/ 14097 h 25104"/>
                  <a:gd name="connsiteX1" fmla="*/ 15058 w 15632"/>
                  <a:gd name="connsiteY1" fmla="*/ 23068 h 25104"/>
                  <a:gd name="connsiteX2" fmla="*/ 3524 w 15632"/>
                  <a:gd name="connsiteY2" fmla="*/ 0 h 25104"/>
                  <a:gd name="connsiteX3" fmla="*/ 2243 w 15632"/>
                  <a:gd name="connsiteY3" fmla="*/ 14097 h 25104"/>
                </a:gdLst>
                <a:ahLst/>
                <a:cxnLst>
                  <a:cxn ang="0">
                    <a:pos x="connsiteX0" y="connsiteY0"/>
                  </a:cxn>
                  <a:cxn ang="0">
                    <a:pos x="connsiteX1" y="connsiteY1"/>
                  </a:cxn>
                  <a:cxn ang="0">
                    <a:pos x="connsiteX2" y="connsiteY2"/>
                  </a:cxn>
                  <a:cxn ang="0">
                    <a:pos x="connsiteX3" y="connsiteY3"/>
                  </a:cxn>
                </a:cxnLst>
                <a:rect l="l" t="t" r="r" b="b"/>
                <a:pathLst>
                  <a:path w="15632" h="25104">
                    <a:moveTo>
                      <a:pt x="2243" y="14097"/>
                    </a:moveTo>
                    <a:cubicBezTo>
                      <a:pt x="6087" y="23068"/>
                      <a:pt x="12495" y="28194"/>
                      <a:pt x="15058" y="23068"/>
                    </a:cubicBezTo>
                    <a:cubicBezTo>
                      <a:pt x="17621" y="16660"/>
                      <a:pt x="11214" y="0"/>
                      <a:pt x="3524" y="0"/>
                    </a:cubicBezTo>
                    <a:cubicBezTo>
                      <a:pt x="-1602" y="1282"/>
                      <a:pt x="-320" y="8971"/>
                      <a:pt x="224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1" name="Freeform: Shape 379767">
                <a:extLst>
                  <a:ext uri="{FF2B5EF4-FFF2-40B4-BE49-F238E27FC236}">
                    <a16:creationId xmlns:a16="http://schemas.microsoft.com/office/drawing/2014/main" id="{C7AE56F8-A569-4892-B1A1-9A905D20392C}"/>
                  </a:ext>
                </a:extLst>
              </p:cNvPr>
              <p:cNvSpPr/>
              <p:nvPr/>
            </p:nvSpPr>
            <p:spPr>
              <a:xfrm>
                <a:off x="7504744" y="3078137"/>
                <a:ext cx="71570" cy="252464"/>
              </a:xfrm>
              <a:custGeom>
                <a:avLst/>
                <a:gdLst>
                  <a:gd name="connsiteX0" fmla="*/ 2242 w 71570"/>
                  <a:gd name="connsiteY0" fmla="*/ 15379 h 252464"/>
                  <a:gd name="connsiteX1" fmla="*/ 9932 w 71570"/>
                  <a:gd name="connsiteY1" fmla="*/ 25631 h 252464"/>
                  <a:gd name="connsiteX2" fmla="*/ 47097 w 71570"/>
                  <a:gd name="connsiteY2" fmla="*/ 164038 h 252464"/>
                  <a:gd name="connsiteX3" fmla="*/ 61194 w 71570"/>
                  <a:gd name="connsiteY3" fmla="*/ 226834 h 252464"/>
                  <a:gd name="connsiteX4" fmla="*/ 68883 w 71570"/>
                  <a:gd name="connsiteY4" fmla="*/ 252464 h 252464"/>
                  <a:gd name="connsiteX5" fmla="*/ 63757 w 71570"/>
                  <a:gd name="connsiteY5" fmla="*/ 226834 h 252464"/>
                  <a:gd name="connsiteX6" fmla="*/ 49660 w 71570"/>
                  <a:gd name="connsiteY6" fmla="*/ 164038 h 252464"/>
                  <a:gd name="connsiteX7" fmla="*/ 12495 w 71570"/>
                  <a:gd name="connsiteY7" fmla="*/ 25631 h 252464"/>
                  <a:gd name="connsiteX8" fmla="*/ 3524 w 71570"/>
                  <a:gd name="connsiteY8" fmla="*/ 0 h 252464"/>
                  <a:gd name="connsiteX9" fmla="*/ 2242 w 71570"/>
                  <a:gd name="connsiteY9" fmla="*/ 15379 h 25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70" h="252464">
                    <a:moveTo>
                      <a:pt x="2242" y="15379"/>
                    </a:moveTo>
                    <a:cubicBezTo>
                      <a:pt x="3524" y="19223"/>
                      <a:pt x="6087" y="23068"/>
                      <a:pt x="9932" y="25631"/>
                    </a:cubicBezTo>
                    <a:cubicBezTo>
                      <a:pt x="24029" y="70485"/>
                      <a:pt x="36844" y="116621"/>
                      <a:pt x="47097" y="164038"/>
                    </a:cubicBezTo>
                    <a:cubicBezTo>
                      <a:pt x="52223" y="184543"/>
                      <a:pt x="56068" y="206329"/>
                      <a:pt x="61194" y="226834"/>
                    </a:cubicBezTo>
                    <a:cubicBezTo>
                      <a:pt x="56068" y="233241"/>
                      <a:pt x="59912" y="252464"/>
                      <a:pt x="68883" y="252464"/>
                    </a:cubicBezTo>
                    <a:cubicBezTo>
                      <a:pt x="75291" y="244775"/>
                      <a:pt x="68883" y="229397"/>
                      <a:pt x="63757" y="226834"/>
                    </a:cubicBezTo>
                    <a:cubicBezTo>
                      <a:pt x="59912" y="206329"/>
                      <a:pt x="54786" y="184543"/>
                      <a:pt x="49660" y="164038"/>
                    </a:cubicBezTo>
                    <a:cubicBezTo>
                      <a:pt x="38126" y="116621"/>
                      <a:pt x="26592" y="70485"/>
                      <a:pt x="12495" y="25631"/>
                    </a:cubicBezTo>
                    <a:cubicBezTo>
                      <a:pt x="17621" y="17942"/>
                      <a:pt x="9932" y="1282"/>
                      <a:pt x="3524" y="0"/>
                    </a:cubicBezTo>
                    <a:cubicBezTo>
                      <a:pt x="-1602" y="2563"/>
                      <a:pt x="-320" y="10252"/>
                      <a:pt x="224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2" name="Freeform: Shape 379768">
                <a:extLst>
                  <a:ext uri="{FF2B5EF4-FFF2-40B4-BE49-F238E27FC236}">
                    <a16:creationId xmlns:a16="http://schemas.microsoft.com/office/drawing/2014/main" id="{97825FE3-F8FC-47A5-8F0B-DB80A55832D4}"/>
                  </a:ext>
                </a:extLst>
              </p:cNvPr>
              <p:cNvSpPr/>
              <p:nvPr/>
            </p:nvSpPr>
            <p:spPr>
              <a:xfrm>
                <a:off x="4154771" y="3945744"/>
                <a:ext cx="5650" cy="27155"/>
              </a:xfrm>
              <a:custGeom>
                <a:avLst/>
                <a:gdLst>
                  <a:gd name="connsiteX0" fmla="*/ 961 w 5650"/>
                  <a:gd name="connsiteY0" fmla="*/ 16660 h 27155"/>
                  <a:gd name="connsiteX1" fmla="*/ 4806 w 5650"/>
                  <a:gd name="connsiteY1" fmla="*/ 26913 h 27155"/>
                  <a:gd name="connsiteX2" fmla="*/ 961 w 5650"/>
                  <a:gd name="connsiteY2" fmla="*/ 0 h 27155"/>
                  <a:gd name="connsiteX3" fmla="*/ 961 w 5650"/>
                  <a:gd name="connsiteY3" fmla="*/ 0 h 27155"/>
                  <a:gd name="connsiteX4" fmla="*/ 961 w 5650"/>
                  <a:gd name="connsiteY4" fmla="*/ 16660 h 2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50" h="27155">
                    <a:moveTo>
                      <a:pt x="961" y="16660"/>
                    </a:moveTo>
                    <a:cubicBezTo>
                      <a:pt x="2243" y="24349"/>
                      <a:pt x="4806" y="28194"/>
                      <a:pt x="4806" y="26913"/>
                    </a:cubicBezTo>
                    <a:cubicBezTo>
                      <a:pt x="7369" y="23068"/>
                      <a:pt x="3524" y="0"/>
                      <a:pt x="961" y="0"/>
                    </a:cubicBezTo>
                    <a:cubicBezTo>
                      <a:pt x="961" y="0"/>
                      <a:pt x="961" y="0"/>
                      <a:pt x="961" y="0"/>
                    </a:cubicBezTo>
                    <a:cubicBezTo>
                      <a:pt x="-320" y="2563"/>
                      <a:pt x="-320" y="11534"/>
                      <a:pt x="96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3" name="Freeform: Shape 379769">
                <a:extLst>
                  <a:ext uri="{FF2B5EF4-FFF2-40B4-BE49-F238E27FC236}">
                    <a16:creationId xmlns:a16="http://schemas.microsoft.com/office/drawing/2014/main" id="{B24B90DA-52F0-47E9-8B51-E6C32A121640}"/>
                  </a:ext>
                </a:extLst>
              </p:cNvPr>
              <p:cNvSpPr/>
              <p:nvPr/>
            </p:nvSpPr>
            <p:spPr>
              <a:xfrm>
                <a:off x="4161571" y="3940617"/>
                <a:ext cx="20622" cy="103805"/>
              </a:xfrm>
              <a:custGeom>
                <a:avLst/>
                <a:gdLst>
                  <a:gd name="connsiteX0" fmla="*/ 570 w 20622"/>
                  <a:gd name="connsiteY0" fmla="*/ 17942 h 103805"/>
                  <a:gd name="connsiteX1" fmla="*/ 4414 w 20622"/>
                  <a:gd name="connsiteY1" fmla="*/ 26912 h 103805"/>
                  <a:gd name="connsiteX2" fmla="*/ 14667 w 20622"/>
                  <a:gd name="connsiteY2" fmla="*/ 78174 h 103805"/>
                  <a:gd name="connsiteX3" fmla="*/ 19793 w 20622"/>
                  <a:gd name="connsiteY3" fmla="*/ 103805 h 103805"/>
                  <a:gd name="connsiteX4" fmla="*/ 19793 w 20622"/>
                  <a:gd name="connsiteY4" fmla="*/ 103805 h 103805"/>
                  <a:gd name="connsiteX5" fmla="*/ 14667 w 20622"/>
                  <a:gd name="connsiteY5" fmla="*/ 76893 h 103805"/>
                  <a:gd name="connsiteX6" fmla="*/ 4414 w 20622"/>
                  <a:gd name="connsiteY6" fmla="*/ 25631 h 103805"/>
                  <a:gd name="connsiteX7" fmla="*/ 570 w 20622"/>
                  <a:gd name="connsiteY7" fmla="*/ 0 h 103805"/>
                  <a:gd name="connsiteX8" fmla="*/ 570 w 20622"/>
                  <a:gd name="connsiteY8" fmla="*/ 0 h 103805"/>
                  <a:gd name="connsiteX9" fmla="*/ 570 w 20622"/>
                  <a:gd name="connsiteY9" fmla="*/ 17942 h 10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22" h="103805">
                    <a:moveTo>
                      <a:pt x="570" y="17942"/>
                    </a:moveTo>
                    <a:cubicBezTo>
                      <a:pt x="1851" y="21786"/>
                      <a:pt x="1851" y="25631"/>
                      <a:pt x="4414" y="26912"/>
                    </a:cubicBezTo>
                    <a:cubicBezTo>
                      <a:pt x="6977" y="43573"/>
                      <a:pt x="10822" y="60233"/>
                      <a:pt x="14667" y="78174"/>
                    </a:cubicBezTo>
                    <a:cubicBezTo>
                      <a:pt x="13385" y="84582"/>
                      <a:pt x="17230" y="101242"/>
                      <a:pt x="19793" y="103805"/>
                    </a:cubicBezTo>
                    <a:cubicBezTo>
                      <a:pt x="19793" y="103805"/>
                      <a:pt x="19793" y="103805"/>
                      <a:pt x="19793" y="103805"/>
                    </a:cubicBezTo>
                    <a:cubicBezTo>
                      <a:pt x="22356" y="99960"/>
                      <a:pt x="18511" y="79456"/>
                      <a:pt x="14667" y="76893"/>
                    </a:cubicBezTo>
                    <a:cubicBezTo>
                      <a:pt x="10822" y="60233"/>
                      <a:pt x="8259" y="43573"/>
                      <a:pt x="4414" y="25631"/>
                    </a:cubicBezTo>
                    <a:cubicBezTo>
                      <a:pt x="5696" y="19223"/>
                      <a:pt x="3133" y="2563"/>
                      <a:pt x="570" y="0"/>
                    </a:cubicBezTo>
                    <a:cubicBezTo>
                      <a:pt x="570" y="0"/>
                      <a:pt x="570" y="0"/>
                      <a:pt x="570" y="0"/>
                    </a:cubicBezTo>
                    <a:cubicBezTo>
                      <a:pt x="-712" y="2563"/>
                      <a:pt x="570" y="14097"/>
                      <a:pt x="57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4" name="Freeform: Shape 379770">
                <a:extLst>
                  <a:ext uri="{FF2B5EF4-FFF2-40B4-BE49-F238E27FC236}">
                    <a16:creationId xmlns:a16="http://schemas.microsoft.com/office/drawing/2014/main" id="{8FC9D0A8-6AC4-49BA-8BA0-8DF96C745231}"/>
                  </a:ext>
                </a:extLst>
              </p:cNvPr>
              <p:cNvSpPr/>
              <p:nvPr/>
            </p:nvSpPr>
            <p:spPr>
              <a:xfrm>
                <a:off x="4168683" y="3934210"/>
                <a:ext cx="22656" cy="104025"/>
              </a:xfrm>
              <a:custGeom>
                <a:avLst/>
                <a:gdLst>
                  <a:gd name="connsiteX0" fmla="*/ 1146 w 22656"/>
                  <a:gd name="connsiteY0" fmla="*/ 17942 h 104025"/>
                  <a:gd name="connsiteX1" fmla="*/ 4991 w 22656"/>
                  <a:gd name="connsiteY1" fmla="*/ 26913 h 104025"/>
                  <a:gd name="connsiteX2" fmla="*/ 15243 w 22656"/>
                  <a:gd name="connsiteY2" fmla="*/ 78174 h 104025"/>
                  <a:gd name="connsiteX3" fmla="*/ 21651 w 22656"/>
                  <a:gd name="connsiteY3" fmla="*/ 103805 h 104025"/>
                  <a:gd name="connsiteX4" fmla="*/ 16525 w 22656"/>
                  <a:gd name="connsiteY4" fmla="*/ 76893 h 104025"/>
                  <a:gd name="connsiteX5" fmla="*/ 7554 w 22656"/>
                  <a:gd name="connsiteY5" fmla="*/ 25631 h 104025"/>
                  <a:gd name="connsiteX6" fmla="*/ 3709 w 22656"/>
                  <a:gd name="connsiteY6" fmla="*/ 0 h 104025"/>
                  <a:gd name="connsiteX7" fmla="*/ 3709 w 22656"/>
                  <a:gd name="connsiteY7" fmla="*/ 0 h 104025"/>
                  <a:gd name="connsiteX8" fmla="*/ 1146 w 22656"/>
                  <a:gd name="connsiteY8" fmla="*/ 17942 h 104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656" h="104025">
                    <a:moveTo>
                      <a:pt x="1146" y="17942"/>
                    </a:moveTo>
                    <a:cubicBezTo>
                      <a:pt x="2428" y="21786"/>
                      <a:pt x="3709" y="25631"/>
                      <a:pt x="4991" y="26913"/>
                    </a:cubicBezTo>
                    <a:cubicBezTo>
                      <a:pt x="7554" y="43573"/>
                      <a:pt x="11399" y="60233"/>
                      <a:pt x="15243" y="78174"/>
                    </a:cubicBezTo>
                    <a:cubicBezTo>
                      <a:pt x="12680" y="85864"/>
                      <a:pt x="19088" y="106368"/>
                      <a:pt x="21651" y="103805"/>
                    </a:cubicBezTo>
                    <a:cubicBezTo>
                      <a:pt x="24214" y="102524"/>
                      <a:pt x="21651" y="79456"/>
                      <a:pt x="16525" y="76893"/>
                    </a:cubicBezTo>
                    <a:cubicBezTo>
                      <a:pt x="12680" y="60233"/>
                      <a:pt x="10117" y="43573"/>
                      <a:pt x="7554" y="25631"/>
                    </a:cubicBezTo>
                    <a:cubicBezTo>
                      <a:pt x="10117" y="19223"/>
                      <a:pt x="6273" y="2563"/>
                      <a:pt x="3709" y="0"/>
                    </a:cubicBezTo>
                    <a:cubicBezTo>
                      <a:pt x="3709" y="0"/>
                      <a:pt x="3709" y="0"/>
                      <a:pt x="3709" y="0"/>
                    </a:cubicBezTo>
                    <a:cubicBezTo>
                      <a:pt x="-1417" y="3845"/>
                      <a:pt x="-135" y="14097"/>
                      <a:pt x="1146"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5" name="Freeform: Shape 379771">
                <a:extLst>
                  <a:ext uri="{FF2B5EF4-FFF2-40B4-BE49-F238E27FC236}">
                    <a16:creationId xmlns:a16="http://schemas.microsoft.com/office/drawing/2014/main" id="{C8EB89E5-3F71-4201-9E77-22118351C547}"/>
                  </a:ext>
                </a:extLst>
              </p:cNvPr>
              <p:cNvSpPr/>
              <p:nvPr/>
            </p:nvSpPr>
            <p:spPr>
              <a:xfrm>
                <a:off x="4218528" y="3902171"/>
                <a:ext cx="51514" cy="217862"/>
              </a:xfrm>
              <a:custGeom>
                <a:avLst/>
                <a:gdLst>
                  <a:gd name="connsiteX0" fmla="*/ 1282 w 51514"/>
                  <a:gd name="connsiteY0" fmla="*/ 17942 h 217862"/>
                  <a:gd name="connsiteX1" fmla="*/ 6408 w 51514"/>
                  <a:gd name="connsiteY1" fmla="*/ 26913 h 217862"/>
                  <a:gd name="connsiteX2" fmla="*/ 26912 w 51514"/>
                  <a:gd name="connsiteY2" fmla="*/ 129436 h 217862"/>
                  <a:gd name="connsiteX3" fmla="*/ 42291 w 51514"/>
                  <a:gd name="connsiteY3" fmla="*/ 192232 h 217862"/>
                  <a:gd name="connsiteX4" fmla="*/ 49980 w 51514"/>
                  <a:gd name="connsiteY4" fmla="*/ 217863 h 217862"/>
                  <a:gd name="connsiteX5" fmla="*/ 43573 w 51514"/>
                  <a:gd name="connsiteY5" fmla="*/ 190950 h 217862"/>
                  <a:gd name="connsiteX6" fmla="*/ 28194 w 51514"/>
                  <a:gd name="connsiteY6" fmla="*/ 128155 h 217862"/>
                  <a:gd name="connsiteX7" fmla="*/ 7689 w 51514"/>
                  <a:gd name="connsiteY7" fmla="*/ 25631 h 217862"/>
                  <a:gd name="connsiteX8" fmla="*/ 2563 w 51514"/>
                  <a:gd name="connsiteY8" fmla="*/ 0 h 217862"/>
                  <a:gd name="connsiteX9" fmla="*/ 1282 w 51514"/>
                  <a:gd name="connsiteY9" fmla="*/ 17942 h 21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14" h="217862">
                    <a:moveTo>
                      <a:pt x="1282" y="17942"/>
                    </a:moveTo>
                    <a:cubicBezTo>
                      <a:pt x="2563" y="24349"/>
                      <a:pt x="5126" y="25631"/>
                      <a:pt x="6408" y="26913"/>
                    </a:cubicBezTo>
                    <a:cubicBezTo>
                      <a:pt x="12816" y="61514"/>
                      <a:pt x="19223" y="94835"/>
                      <a:pt x="26912" y="129436"/>
                    </a:cubicBezTo>
                    <a:cubicBezTo>
                      <a:pt x="32039" y="149941"/>
                      <a:pt x="37165" y="171727"/>
                      <a:pt x="42291" y="192232"/>
                    </a:cubicBezTo>
                    <a:cubicBezTo>
                      <a:pt x="39728" y="197358"/>
                      <a:pt x="43573" y="216581"/>
                      <a:pt x="49980" y="217863"/>
                    </a:cubicBezTo>
                    <a:cubicBezTo>
                      <a:pt x="53825" y="211455"/>
                      <a:pt x="49980" y="194795"/>
                      <a:pt x="43573" y="190950"/>
                    </a:cubicBezTo>
                    <a:cubicBezTo>
                      <a:pt x="38446" y="170446"/>
                      <a:pt x="33320" y="149941"/>
                      <a:pt x="28194" y="128155"/>
                    </a:cubicBezTo>
                    <a:cubicBezTo>
                      <a:pt x="20505" y="93553"/>
                      <a:pt x="12816" y="60233"/>
                      <a:pt x="7689" y="25631"/>
                    </a:cubicBezTo>
                    <a:cubicBezTo>
                      <a:pt x="10252" y="20505"/>
                      <a:pt x="8971" y="0"/>
                      <a:pt x="2563" y="0"/>
                    </a:cubicBezTo>
                    <a:cubicBezTo>
                      <a:pt x="-1282" y="5126"/>
                      <a:pt x="0" y="12816"/>
                      <a:pt x="1282"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6" name="Freeform: Shape 379772">
                <a:extLst>
                  <a:ext uri="{FF2B5EF4-FFF2-40B4-BE49-F238E27FC236}">
                    <a16:creationId xmlns:a16="http://schemas.microsoft.com/office/drawing/2014/main" id="{AD27F397-2A8A-43D1-9CDA-D577D16B9879}"/>
                  </a:ext>
                </a:extLst>
              </p:cNvPr>
              <p:cNvSpPr/>
              <p:nvPr/>
            </p:nvSpPr>
            <p:spPr>
              <a:xfrm>
                <a:off x="4231479" y="3895694"/>
                <a:ext cx="63471" cy="253815"/>
              </a:xfrm>
              <a:custGeom>
                <a:avLst/>
                <a:gdLst>
                  <a:gd name="connsiteX0" fmla="*/ 1146 w 63471"/>
                  <a:gd name="connsiteY0" fmla="*/ 16730 h 253815"/>
                  <a:gd name="connsiteX1" fmla="*/ 6272 w 63471"/>
                  <a:gd name="connsiteY1" fmla="*/ 25701 h 253815"/>
                  <a:gd name="connsiteX2" fmla="*/ 26777 w 63471"/>
                  <a:gd name="connsiteY2" fmla="*/ 128224 h 253815"/>
                  <a:gd name="connsiteX3" fmla="*/ 52408 w 63471"/>
                  <a:gd name="connsiteY3" fmla="*/ 228185 h 253815"/>
                  <a:gd name="connsiteX4" fmla="*/ 61379 w 63471"/>
                  <a:gd name="connsiteY4" fmla="*/ 253816 h 253815"/>
                  <a:gd name="connsiteX5" fmla="*/ 54971 w 63471"/>
                  <a:gd name="connsiteY5" fmla="*/ 228185 h 253815"/>
                  <a:gd name="connsiteX6" fmla="*/ 29340 w 63471"/>
                  <a:gd name="connsiteY6" fmla="*/ 128224 h 253815"/>
                  <a:gd name="connsiteX7" fmla="*/ 8836 w 63471"/>
                  <a:gd name="connsiteY7" fmla="*/ 25701 h 253815"/>
                  <a:gd name="connsiteX8" fmla="*/ 3709 w 63471"/>
                  <a:gd name="connsiteY8" fmla="*/ 70 h 253815"/>
                  <a:gd name="connsiteX9" fmla="*/ 1146 w 63471"/>
                  <a:gd name="connsiteY9" fmla="*/ 16730 h 25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71" h="253815">
                    <a:moveTo>
                      <a:pt x="1146" y="16730"/>
                    </a:moveTo>
                    <a:cubicBezTo>
                      <a:pt x="2428" y="20575"/>
                      <a:pt x="3709" y="24419"/>
                      <a:pt x="6272" y="25701"/>
                    </a:cubicBezTo>
                    <a:cubicBezTo>
                      <a:pt x="12680" y="60302"/>
                      <a:pt x="19088" y="93623"/>
                      <a:pt x="26777" y="128224"/>
                    </a:cubicBezTo>
                    <a:cubicBezTo>
                      <a:pt x="34466" y="161545"/>
                      <a:pt x="43437" y="194865"/>
                      <a:pt x="52408" y="228185"/>
                    </a:cubicBezTo>
                    <a:cubicBezTo>
                      <a:pt x="49845" y="235874"/>
                      <a:pt x="53690" y="252534"/>
                      <a:pt x="61379" y="253816"/>
                    </a:cubicBezTo>
                    <a:cubicBezTo>
                      <a:pt x="66505" y="247408"/>
                      <a:pt x="61379" y="230748"/>
                      <a:pt x="54971" y="228185"/>
                    </a:cubicBezTo>
                    <a:cubicBezTo>
                      <a:pt x="46000" y="194865"/>
                      <a:pt x="37030" y="161545"/>
                      <a:pt x="29340" y="128224"/>
                    </a:cubicBezTo>
                    <a:cubicBezTo>
                      <a:pt x="21651" y="93623"/>
                      <a:pt x="13962" y="60302"/>
                      <a:pt x="8836" y="25701"/>
                    </a:cubicBezTo>
                    <a:cubicBezTo>
                      <a:pt x="13962" y="15448"/>
                      <a:pt x="7554" y="-1212"/>
                      <a:pt x="3709" y="70"/>
                    </a:cubicBezTo>
                    <a:cubicBezTo>
                      <a:pt x="-1417" y="3915"/>
                      <a:pt x="-135" y="12885"/>
                      <a:pt x="1146" y="1673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7" name="Freeform: Shape 379773">
                <a:extLst>
                  <a:ext uri="{FF2B5EF4-FFF2-40B4-BE49-F238E27FC236}">
                    <a16:creationId xmlns:a16="http://schemas.microsoft.com/office/drawing/2014/main" id="{AE30132D-12D6-445B-B552-F7E6330695D8}"/>
                  </a:ext>
                </a:extLst>
              </p:cNvPr>
              <p:cNvSpPr/>
              <p:nvPr/>
            </p:nvSpPr>
            <p:spPr>
              <a:xfrm>
                <a:off x="4225711" y="3857219"/>
                <a:ext cx="37633" cy="96447"/>
              </a:xfrm>
              <a:custGeom>
                <a:avLst/>
                <a:gdLst>
                  <a:gd name="connsiteX0" fmla="*/ 506 w 37633"/>
                  <a:gd name="connsiteY0" fmla="*/ 18040 h 96447"/>
                  <a:gd name="connsiteX1" fmla="*/ 8196 w 37633"/>
                  <a:gd name="connsiteY1" fmla="*/ 25729 h 96447"/>
                  <a:gd name="connsiteX2" fmla="*/ 9477 w 37633"/>
                  <a:gd name="connsiteY2" fmla="*/ 23166 h 96447"/>
                  <a:gd name="connsiteX3" fmla="*/ 19730 w 37633"/>
                  <a:gd name="connsiteY3" fmla="*/ 41108 h 96447"/>
                  <a:gd name="connsiteX4" fmla="*/ 26137 w 37633"/>
                  <a:gd name="connsiteY4" fmla="*/ 57768 h 96447"/>
                  <a:gd name="connsiteX5" fmla="*/ 28700 w 37633"/>
                  <a:gd name="connsiteY5" fmla="*/ 70583 h 96447"/>
                  <a:gd name="connsiteX6" fmla="*/ 35108 w 37633"/>
                  <a:gd name="connsiteY6" fmla="*/ 96214 h 96447"/>
                  <a:gd name="connsiteX7" fmla="*/ 31263 w 37633"/>
                  <a:gd name="connsiteY7" fmla="*/ 69302 h 96447"/>
                  <a:gd name="connsiteX8" fmla="*/ 28700 w 37633"/>
                  <a:gd name="connsiteY8" fmla="*/ 56486 h 96447"/>
                  <a:gd name="connsiteX9" fmla="*/ 23574 w 37633"/>
                  <a:gd name="connsiteY9" fmla="*/ 30856 h 96447"/>
                  <a:gd name="connsiteX10" fmla="*/ 21011 w 37633"/>
                  <a:gd name="connsiteY10" fmla="*/ 34700 h 96447"/>
                  <a:gd name="connsiteX11" fmla="*/ 10759 w 37633"/>
                  <a:gd name="connsiteY11" fmla="*/ 16758 h 96447"/>
                  <a:gd name="connsiteX12" fmla="*/ 4351 w 37633"/>
                  <a:gd name="connsiteY12" fmla="*/ 98 h 96447"/>
                  <a:gd name="connsiteX13" fmla="*/ 506 w 37633"/>
                  <a:gd name="connsiteY13" fmla="*/ 18040 h 96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633" h="96447">
                    <a:moveTo>
                      <a:pt x="506" y="18040"/>
                    </a:moveTo>
                    <a:cubicBezTo>
                      <a:pt x="1788" y="23166"/>
                      <a:pt x="4351" y="29574"/>
                      <a:pt x="8196" y="25729"/>
                    </a:cubicBezTo>
                    <a:cubicBezTo>
                      <a:pt x="8196" y="24448"/>
                      <a:pt x="9477" y="24448"/>
                      <a:pt x="9477" y="23166"/>
                    </a:cubicBezTo>
                    <a:cubicBezTo>
                      <a:pt x="13322" y="28292"/>
                      <a:pt x="19730" y="34700"/>
                      <a:pt x="19730" y="41108"/>
                    </a:cubicBezTo>
                    <a:cubicBezTo>
                      <a:pt x="19730" y="46234"/>
                      <a:pt x="21011" y="56486"/>
                      <a:pt x="26137" y="57768"/>
                    </a:cubicBezTo>
                    <a:cubicBezTo>
                      <a:pt x="27419" y="61613"/>
                      <a:pt x="27419" y="65457"/>
                      <a:pt x="28700" y="70583"/>
                    </a:cubicBezTo>
                    <a:cubicBezTo>
                      <a:pt x="23574" y="79554"/>
                      <a:pt x="31263" y="98777"/>
                      <a:pt x="35108" y="96214"/>
                    </a:cubicBezTo>
                    <a:cubicBezTo>
                      <a:pt x="38953" y="93651"/>
                      <a:pt x="38953" y="71865"/>
                      <a:pt x="31263" y="69302"/>
                    </a:cubicBezTo>
                    <a:cubicBezTo>
                      <a:pt x="29982" y="65457"/>
                      <a:pt x="29982" y="61613"/>
                      <a:pt x="28700" y="56486"/>
                    </a:cubicBezTo>
                    <a:cubicBezTo>
                      <a:pt x="33827" y="47516"/>
                      <a:pt x="27419" y="28292"/>
                      <a:pt x="23574" y="30856"/>
                    </a:cubicBezTo>
                    <a:cubicBezTo>
                      <a:pt x="22293" y="30856"/>
                      <a:pt x="21011" y="33418"/>
                      <a:pt x="21011" y="34700"/>
                    </a:cubicBezTo>
                    <a:cubicBezTo>
                      <a:pt x="17167" y="29574"/>
                      <a:pt x="10759" y="23166"/>
                      <a:pt x="10759" y="16758"/>
                    </a:cubicBezTo>
                    <a:cubicBezTo>
                      <a:pt x="10759" y="10351"/>
                      <a:pt x="8196" y="-1183"/>
                      <a:pt x="4351" y="98"/>
                    </a:cubicBezTo>
                    <a:cubicBezTo>
                      <a:pt x="-2057" y="3943"/>
                      <a:pt x="506" y="18040"/>
                      <a:pt x="506" y="180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8" name="Freeform: Shape 379774">
                <a:extLst>
                  <a:ext uri="{FF2B5EF4-FFF2-40B4-BE49-F238E27FC236}">
                    <a16:creationId xmlns:a16="http://schemas.microsoft.com/office/drawing/2014/main" id="{C235C361-45B9-4972-BBB3-F6A74404C17F}"/>
                  </a:ext>
                </a:extLst>
              </p:cNvPr>
              <p:cNvSpPr/>
              <p:nvPr/>
            </p:nvSpPr>
            <p:spPr>
              <a:xfrm>
                <a:off x="4362197" y="3832968"/>
                <a:ext cx="21181" cy="65358"/>
              </a:xfrm>
              <a:custGeom>
                <a:avLst/>
                <a:gdLst>
                  <a:gd name="connsiteX0" fmla="*/ 1146 w 21181"/>
                  <a:gd name="connsiteY0" fmla="*/ 17942 h 65358"/>
                  <a:gd name="connsiteX1" fmla="*/ 7554 w 21181"/>
                  <a:gd name="connsiteY1" fmla="*/ 26912 h 65358"/>
                  <a:gd name="connsiteX2" fmla="*/ 10117 w 21181"/>
                  <a:gd name="connsiteY2" fmla="*/ 39728 h 65358"/>
                  <a:gd name="connsiteX3" fmla="*/ 15243 w 21181"/>
                  <a:gd name="connsiteY3" fmla="*/ 65359 h 65358"/>
                  <a:gd name="connsiteX4" fmla="*/ 16525 w 21181"/>
                  <a:gd name="connsiteY4" fmla="*/ 39728 h 65358"/>
                  <a:gd name="connsiteX5" fmla="*/ 12680 w 21181"/>
                  <a:gd name="connsiteY5" fmla="*/ 38446 h 65358"/>
                  <a:gd name="connsiteX6" fmla="*/ 10117 w 21181"/>
                  <a:gd name="connsiteY6" fmla="*/ 25631 h 65358"/>
                  <a:gd name="connsiteX7" fmla="*/ 4991 w 21181"/>
                  <a:gd name="connsiteY7" fmla="*/ 0 h 65358"/>
                  <a:gd name="connsiteX8" fmla="*/ 3709 w 21181"/>
                  <a:gd name="connsiteY8" fmla="*/ 0 h 65358"/>
                  <a:gd name="connsiteX9" fmla="*/ 1146 w 21181"/>
                  <a:gd name="connsiteY9" fmla="*/ 17942 h 6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81" h="65358">
                    <a:moveTo>
                      <a:pt x="1146" y="17942"/>
                    </a:moveTo>
                    <a:cubicBezTo>
                      <a:pt x="2428" y="21786"/>
                      <a:pt x="3709" y="25631"/>
                      <a:pt x="7554" y="26912"/>
                    </a:cubicBezTo>
                    <a:cubicBezTo>
                      <a:pt x="8836" y="30757"/>
                      <a:pt x="8836" y="34602"/>
                      <a:pt x="10117" y="39728"/>
                    </a:cubicBezTo>
                    <a:cubicBezTo>
                      <a:pt x="3709" y="48699"/>
                      <a:pt x="8836" y="65359"/>
                      <a:pt x="15243" y="65359"/>
                    </a:cubicBezTo>
                    <a:cubicBezTo>
                      <a:pt x="22933" y="65359"/>
                      <a:pt x="22933" y="47417"/>
                      <a:pt x="16525" y="39728"/>
                    </a:cubicBezTo>
                    <a:cubicBezTo>
                      <a:pt x="15243" y="38446"/>
                      <a:pt x="13962" y="38446"/>
                      <a:pt x="12680" y="38446"/>
                    </a:cubicBezTo>
                    <a:cubicBezTo>
                      <a:pt x="11399" y="34602"/>
                      <a:pt x="11399" y="30757"/>
                      <a:pt x="10117" y="25631"/>
                    </a:cubicBezTo>
                    <a:cubicBezTo>
                      <a:pt x="17807" y="16660"/>
                      <a:pt x="11399" y="0"/>
                      <a:pt x="4991" y="0"/>
                    </a:cubicBezTo>
                    <a:cubicBezTo>
                      <a:pt x="4991" y="0"/>
                      <a:pt x="3709" y="0"/>
                      <a:pt x="3709" y="0"/>
                    </a:cubicBezTo>
                    <a:cubicBezTo>
                      <a:pt x="-1417" y="3845"/>
                      <a:pt x="-135" y="15378"/>
                      <a:pt x="1146"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39" name="Freeform: Shape 379775">
                <a:extLst>
                  <a:ext uri="{FF2B5EF4-FFF2-40B4-BE49-F238E27FC236}">
                    <a16:creationId xmlns:a16="http://schemas.microsoft.com/office/drawing/2014/main" id="{ED3D3309-6333-45F9-B649-EEC64211E86D}"/>
                  </a:ext>
                </a:extLst>
              </p:cNvPr>
              <p:cNvSpPr/>
              <p:nvPr/>
            </p:nvSpPr>
            <p:spPr>
              <a:xfrm>
                <a:off x="4403307" y="3816307"/>
                <a:ext cx="22872" cy="65358"/>
              </a:xfrm>
              <a:custGeom>
                <a:avLst/>
                <a:gdLst>
                  <a:gd name="connsiteX0" fmla="*/ 1046 w 22872"/>
                  <a:gd name="connsiteY0" fmla="*/ 17942 h 65358"/>
                  <a:gd name="connsiteX1" fmla="*/ 8736 w 22872"/>
                  <a:gd name="connsiteY1" fmla="*/ 26913 h 65358"/>
                  <a:gd name="connsiteX2" fmla="*/ 11299 w 22872"/>
                  <a:gd name="connsiteY2" fmla="*/ 39728 h 65358"/>
                  <a:gd name="connsiteX3" fmla="*/ 16425 w 22872"/>
                  <a:gd name="connsiteY3" fmla="*/ 65359 h 65358"/>
                  <a:gd name="connsiteX4" fmla="*/ 17707 w 22872"/>
                  <a:gd name="connsiteY4" fmla="*/ 39728 h 65358"/>
                  <a:gd name="connsiteX5" fmla="*/ 13862 w 22872"/>
                  <a:gd name="connsiteY5" fmla="*/ 38447 h 65358"/>
                  <a:gd name="connsiteX6" fmla="*/ 11299 w 22872"/>
                  <a:gd name="connsiteY6" fmla="*/ 25631 h 65358"/>
                  <a:gd name="connsiteX7" fmla="*/ 6173 w 22872"/>
                  <a:gd name="connsiteY7" fmla="*/ 0 h 65358"/>
                  <a:gd name="connsiteX8" fmla="*/ 4891 w 22872"/>
                  <a:gd name="connsiteY8" fmla="*/ 0 h 65358"/>
                  <a:gd name="connsiteX9" fmla="*/ 1046 w 22872"/>
                  <a:gd name="connsiteY9" fmla="*/ 17942 h 6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72" h="65358">
                    <a:moveTo>
                      <a:pt x="1046" y="17942"/>
                    </a:moveTo>
                    <a:cubicBezTo>
                      <a:pt x="2328" y="21786"/>
                      <a:pt x="3609" y="25631"/>
                      <a:pt x="8736" y="26913"/>
                    </a:cubicBezTo>
                    <a:cubicBezTo>
                      <a:pt x="10017" y="30757"/>
                      <a:pt x="10017" y="34602"/>
                      <a:pt x="11299" y="39728"/>
                    </a:cubicBezTo>
                    <a:cubicBezTo>
                      <a:pt x="3609" y="48699"/>
                      <a:pt x="10017" y="65359"/>
                      <a:pt x="16425" y="65359"/>
                    </a:cubicBezTo>
                    <a:cubicBezTo>
                      <a:pt x="24114" y="65359"/>
                      <a:pt x="25396" y="46136"/>
                      <a:pt x="17707" y="39728"/>
                    </a:cubicBezTo>
                    <a:cubicBezTo>
                      <a:pt x="16425" y="38447"/>
                      <a:pt x="15143" y="38447"/>
                      <a:pt x="13862" y="38447"/>
                    </a:cubicBezTo>
                    <a:cubicBezTo>
                      <a:pt x="12580" y="34602"/>
                      <a:pt x="12580" y="30757"/>
                      <a:pt x="11299" y="25631"/>
                    </a:cubicBezTo>
                    <a:cubicBezTo>
                      <a:pt x="18988" y="16660"/>
                      <a:pt x="12580" y="0"/>
                      <a:pt x="6173" y="0"/>
                    </a:cubicBezTo>
                    <a:cubicBezTo>
                      <a:pt x="6173" y="0"/>
                      <a:pt x="4891" y="0"/>
                      <a:pt x="4891" y="0"/>
                    </a:cubicBezTo>
                    <a:cubicBezTo>
                      <a:pt x="-1517" y="3845"/>
                      <a:pt x="-235" y="15379"/>
                      <a:pt x="1046"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0" name="Freeform: Shape 379776">
                <a:extLst>
                  <a:ext uri="{FF2B5EF4-FFF2-40B4-BE49-F238E27FC236}">
                    <a16:creationId xmlns:a16="http://schemas.microsoft.com/office/drawing/2014/main" id="{2820CB17-192D-4981-BBC2-FCECF435D34A}"/>
                  </a:ext>
                </a:extLst>
              </p:cNvPr>
              <p:cNvSpPr/>
              <p:nvPr/>
            </p:nvSpPr>
            <p:spPr>
              <a:xfrm>
                <a:off x="5855610" y="3391155"/>
                <a:ext cx="141680" cy="320823"/>
              </a:xfrm>
              <a:custGeom>
                <a:avLst/>
                <a:gdLst>
                  <a:gd name="connsiteX0" fmla="*/ 740 w 141680"/>
                  <a:gd name="connsiteY0" fmla="*/ 18903 h 320823"/>
                  <a:gd name="connsiteX1" fmla="*/ 13555 w 141680"/>
                  <a:gd name="connsiteY1" fmla="*/ 26592 h 320823"/>
                  <a:gd name="connsiteX2" fmla="*/ 37905 w 141680"/>
                  <a:gd name="connsiteY2" fmla="*/ 129116 h 320823"/>
                  <a:gd name="connsiteX3" fmla="*/ 37905 w 141680"/>
                  <a:gd name="connsiteY3" fmla="*/ 129116 h 320823"/>
                  <a:gd name="connsiteX4" fmla="*/ 89167 w 141680"/>
                  <a:gd name="connsiteY4" fmla="*/ 157310 h 320823"/>
                  <a:gd name="connsiteX5" fmla="*/ 121206 w 141680"/>
                  <a:gd name="connsiteY5" fmla="*/ 295717 h 320823"/>
                  <a:gd name="connsiteX6" fmla="*/ 122487 w 141680"/>
                  <a:gd name="connsiteY6" fmla="*/ 320066 h 320823"/>
                  <a:gd name="connsiteX7" fmla="*/ 140429 w 141680"/>
                  <a:gd name="connsiteY7" fmla="*/ 302124 h 320823"/>
                  <a:gd name="connsiteX8" fmla="*/ 127613 w 141680"/>
                  <a:gd name="connsiteY8" fmla="*/ 294435 h 320823"/>
                  <a:gd name="connsiteX9" fmla="*/ 95574 w 141680"/>
                  <a:gd name="connsiteY9" fmla="*/ 153465 h 320823"/>
                  <a:gd name="connsiteX10" fmla="*/ 44313 w 141680"/>
                  <a:gd name="connsiteY10" fmla="*/ 125271 h 320823"/>
                  <a:gd name="connsiteX11" fmla="*/ 21245 w 141680"/>
                  <a:gd name="connsiteY11" fmla="*/ 25311 h 320823"/>
                  <a:gd name="connsiteX12" fmla="*/ 19963 w 141680"/>
                  <a:gd name="connsiteY12" fmla="*/ 961 h 320823"/>
                  <a:gd name="connsiteX13" fmla="*/ 12274 w 141680"/>
                  <a:gd name="connsiteY13" fmla="*/ 961 h 320823"/>
                  <a:gd name="connsiteX14" fmla="*/ 740 w 141680"/>
                  <a:gd name="connsiteY14" fmla="*/ 18903 h 32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1680" h="320823">
                    <a:moveTo>
                      <a:pt x="740" y="18903"/>
                    </a:moveTo>
                    <a:cubicBezTo>
                      <a:pt x="2021" y="22747"/>
                      <a:pt x="5866" y="26592"/>
                      <a:pt x="13555" y="26592"/>
                    </a:cubicBezTo>
                    <a:cubicBezTo>
                      <a:pt x="21245" y="59912"/>
                      <a:pt x="28934" y="94514"/>
                      <a:pt x="37905" y="129116"/>
                    </a:cubicBezTo>
                    <a:cubicBezTo>
                      <a:pt x="37905" y="129116"/>
                      <a:pt x="37905" y="129116"/>
                      <a:pt x="37905" y="129116"/>
                    </a:cubicBezTo>
                    <a:lnTo>
                      <a:pt x="89167" y="157310"/>
                    </a:lnTo>
                    <a:cubicBezTo>
                      <a:pt x="99419" y="203445"/>
                      <a:pt x="110953" y="249581"/>
                      <a:pt x="121206" y="295717"/>
                    </a:cubicBezTo>
                    <a:cubicBezTo>
                      <a:pt x="108390" y="303406"/>
                      <a:pt x="112235" y="317503"/>
                      <a:pt x="122487" y="320066"/>
                    </a:cubicBezTo>
                    <a:cubicBezTo>
                      <a:pt x="134021" y="323911"/>
                      <a:pt x="145555" y="312377"/>
                      <a:pt x="140429" y="302124"/>
                    </a:cubicBezTo>
                    <a:cubicBezTo>
                      <a:pt x="139147" y="298280"/>
                      <a:pt x="135303" y="294435"/>
                      <a:pt x="127613" y="294435"/>
                    </a:cubicBezTo>
                    <a:cubicBezTo>
                      <a:pt x="117361" y="248299"/>
                      <a:pt x="105827" y="200882"/>
                      <a:pt x="95574" y="153465"/>
                    </a:cubicBezTo>
                    <a:lnTo>
                      <a:pt x="44313" y="125271"/>
                    </a:lnTo>
                    <a:cubicBezTo>
                      <a:pt x="36623" y="91951"/>
                      <a:pt x="28934" y="58631"/>
                      <a:pt x="21245" y="25311"/>
                    </a:cubicBezTo>
                    <a:cubicBezTo>
                      <a:pt x="34060" y="17621"/>
                      <a:pt x="30216" y="3524"/>
                      <a:pt x="19963" y="961"/>
                    </a:cubicBezTo>
                    <a:cubicBezTo>
                      <a:pt x="17400" y="-320"/>
                      <a:pt x="13555" y="-320"/>
                      <a:pt x="12274" y="961"/>
                    </a:cubicBezTo>
                    <a:cubicBezTo>
                      <a:pt x="-1823" y="4806"/>
                      <a:pt x="-542" y="15058"/>
                      <a:pt x="740" y="189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1" name="Freeform: Shape 379777">
                <a:extLst>
                  <a:ext uri="{FF2B5EF4-FFF2-40B4-BE49-F238E27FC236}">
                    <a16:creationId xmlns:a16="http://schemas.microsoft.com/office/drawing/2014/main" id="{C75238FE-C3B2-443E-9BE1-614AD6D581C8}"/>
                  </a:ext>
                </a:extLst>
              </p:cNvPr>
              <p:cNvSpPr/>
              <p:nvPr/>
            </p:nvSpPr>
            <p:spPr>
              <a:xfrm>
                <a:off x="5941393" y="3029759"/>
                <a:ext cx="108440" cy="350363"/>
              </a:xfrm>
              <a:custGeom>
                <a:avLst/>
                <a:gdLst>
                  <a:gd name="connsiteX0" fmla="*/ 820 w 108440"/>
                  <a:gd name="connsiteY0" fmla="*/ 17621 h 350363"/>
                  <a:gd name="connsiteX1" fmla="*/ 13636 w 108440"/>
                  <a:gd name="connsiteY1" fmla="*/ 25310 h 350363"/>
                  <a:gd name="connsiteX2" fmla="*/ 87966 w 108440"/>
                  <a:gd name="connsiteY2" fmla="*/ 325192 h 350363"/>
                  <a:gd name="connsiteX3" fmla="*/ 89247 w 108440"/>
                  <a:gd name="connsiteY3" fmla="*/ 349542 h 350363"/>
                  <a:gd name="connsiteX4" fmla="*/ 107189 w 108440"/>
                  <a:gd name="connsiteY4" fmla="*/ 331600 h 350363"/>
                  <a:gd name="connsiteX5" fmla="*/ 94373 w 108440"/>
                  <a:gd name="connsiteY5" fmla="*/ 323911 h 350363"/>
                  <a:gd name="connsiteX6" fmla="*/ 20044 w 108440"/>
                  <a:gd name="connsiteY6" fmla="*/ 24029 h 350363"/>
                  <a:gd name="connsiteX7" fmla="*/ 18762 w 108440"/>
                  <a:gd name="connsiteY7" fmla="*/ 961 h 350363"/>
                  <a:gd name="connsiteX8" fmla="*/ 11073 w 108440"/>
                  <a:gd name="connsiteY8" fmla="*/ 961 h 350363"/>
                  <a:gd name="connsiteX9" fmla="*/ 820 w 108440"/>
                  <a:gd name="connsiteY9" fmla="*/ 17621 h 35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440" h="350363">
                    <a:moveTo>
                      <a:pt x="820" y="17621"/>
                    </a:moveTo>
                    <a:cubicBezTo>
                      <a:pt x="2102" y="20184"/>
                      <a:pt x="5947" y="24029"/>
                      <a:pt x="13636" y="25310"/>
                    </a:cubicBezTo>
                    <a:cubicBezTo>
                      <a:pt x="37985" y="121426"/>
                      <a:pt x="63616" y="221387"/>
                      <a:pt x="87966" y="325192"/>
                    </a:cubicBezTo>
                    <a:cubicBezTo>
                      <a:pt x="75150" y="332881"/>
                      <a:pt x="78995" y="345697"/>
                      <a:pt x="89247" y="349542"/>
                    </a:cubicBezTo>
                    <a:cubicBezTo>
                      <a:pt x="100781" y="353386"/>
                      <a:pt x="112315" y="343134"/>
                      <a:pt x="107189" y="331600"/>
                    </a:cubicBezTo>
                    <a:cubicBezTo>
                      <a:pt x="105907" y="327755"/>
                      <a:pt x="102063" y="323911"/>
                      <a:pt x="94373" y="323911"/>
                    </a:cubicBezTo>
                    <a:cubicBezTo>
                      <a:pt x="70024" y="220105"/>
                      <a:pt x="44393" y="120145"/>
                      <a:pt x="20044" y="24029"/>
                    </a:cubicBezTo>
                    <a:cubicBezTo>
                      <a:pt x="31578" y="17621"/>
                      <a:pt x="27733" y="4806"/>
                      <a:pt x="18762" y="961"/>
                    </a:cubicBezTo>
                    <a:cubicBezTo>
                      <a:pt x="16199" y="-320"/>
                      <a:pt x="13636" y="-320"/>
                      <a:pt x="11073" y="961"/>
                    </a:cubicBezTo>
                    <a:cubicBezTo>
                      <a:pt x="-4306" y="4806"/>
                      <a:pt x="820" y="17621"/>
                      <a:pt x="820" y="1762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2" name="Freeform: Shape 379778">
                <a:extLst>
                  <a:ext uri="{FF2B5EF4-FFF2-40B4-BE49-F238E27FC236}">
                    <a16:creationId xmlns:a16="http://schemas.microsoft.com/office/drawing/2014/main" id="{7E617F62-1DA1-4880-89F5-3401871CF38C}"/>
                  </a:ext>
                </a:extLst>
              </p:cNvPr>
              <p:cNvSpPr/>
              <p:nvPr/>
            </p:nvSpPr>
            <p:spPr>
              <a:xfrm>
                <a:off x="6186065" y="3317688"/>
                <a:ext cx="28161" cy="26273"/>
              </a:xfrm>
              <a:custGeom>
                <a:avLst/>
                <a:gdLst>
                  <a:gd name="connsiteX0" fmla="*/ 924 w 28161"/>
                  <a:gd name="connsiteY0" fmla="*/ 16758 h 26273"/>
                  <a:gd name="connsiteX1" fmla="*/ 26556 w 28161"/>
                  <a:gd name="connsiteY1" fmla="*/ 19321 h 26273"/>
                  <a:gd name="connsiteX2" fmla="*/ 11177 w 28161"/>
                  <a:gd name="connsiteY2" fmla="*/ 98 h 26273"/>
                  <a:gd name="connsiteX3" fmla="*/ 924 w 28161"/>
                  <a:gd name="connsiteY3" fmla="*/ 16758 h 26273"/>
                </a:gdLst>
                <a:ahLst/>
                <a:cxnLst>
                  <a:cxn ang="0">
                    <a:pos x="connsiteX0" y="connsiteY0"/>
                  </a:cxn>
                  <a:cxn ang="0">
                    <a:pos x="connsiteX1" y="connsiteY1"/>
                  </a:cxn>
                  <a:cxn ang="0">
                    <a:pos x="connsiteX2" y="connsiteY2"/>
                  </a:cxn>
                  <a:cxn ang="0">
                    <a:pos x="connsiteX3" y="connsiteY3"/>
                  </a:cxn>
                </a:cxnLst>
                <a:rect l="l" t="t" r="r" b="b"/>
                <a:pathLst>
                  <a:path w="28161" h="26273">
                    <a:moveTo>
                      <a:pt x="924" y="16758"/>
                    </a:moveTo>
                    <a:cubicBezTo>
                      <a:pt x="4769" y="28292"/>
                      <a:pt x="20148" y="29574"/>
                      <a:pt x="26556" y="19321"/>
                    </a:cubicBezTo>
                    <a:cubicBezTo>
                      <a:pt x="31682" y="10350"/>
                      <a:pt x="23992" y="-1183"/>
                      <a:pt x="11177" y="98"/>
                    </a:cubicBezTo>
                    <a:cubicBezTo>
                      <a:pt x="924" y="2661"/>
                      <a:pt x="-1639" y="11632"/>
                      <a:pt x="924" y="1675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3" name="Freeform: Shape 379779">
                <a:extLst>
                  <a:ext uri="{FF2B5EF4-FFF2-40B4-BE49-F238E27FC236}">
                    <a16:creationId xmlns:a16="http://schemas.microsoft.com/office/drawing/2014/main" id="{AC01F7E3-6E1F-4EFC-B36A-F8994F182DFF}"/>
                  </a:ext>
                </a:extLst>
              </p:cNvPr>
              <p:cNvSpPr/>
              <p:nvPr/>
            </p:nvSpPr>
            <p:spPr>
              <a:xfrm>
                <a:off x="7153322" y="3144778"/>
                <a:ext cx="20194" cy="26814"/>
              </a:xfrm>
              <a:custGeom>
                <a:avLst/>
                <a:gdLst>
                  <a:gd name="connsiteX0" fmla="*/ 1237 w 20194"/>
                  <a:gd name="connsiteY0" fmla="*/ 16660 h 26814"/>
                  <a:gd name="connsiteX1" fmla="*/ 19180 w 20194"/>
                  <a:gd name="connsiteY1" fmla="*/ 21786 h 26814"/>
                  <a:gd name="connsiteX2" fmla="*/ 6364 w 20194"/>
                  <a:gd name="connsiteY2" fmla="*/ 0 h 26814"/>
                  <a:gd name="connsiteX3" fmla="*/ 1237 w 20194"/>
                  <a:gd name="connsiteY3" fmla="*/ 16660 h 26814"/>
                </a:gdLst>
                <a:ahLst/>
                <a:cxnLst>
                  <a:cxn ang="0">
                    <a:pos x="connsiteX0" y="connsiteY0"/>
                  </a:cxn>
                  <a:cxn ang="0">
                    <a:pos x="connsiteX1" y="connsiteY1"/>
                  </a:cxn>
                  <a:cxn ang="0">
                    <a:pos x="connsiteX2" y="connsiteY2"/>
                  </a:cxn>
                  <a:cxn ang="0">
                    <a:pos x="connsiteX3" y="connsiteY3"/>
                  </a:cxn>
                </a:cxnLst>
                <a:rect l="l" t="t" r="r" b="b"/>
                <a:pathLst>
                  <a:path w="20194" h="26814">
                    <a:moveTo>
                      <a:pt x="1237" y="16660"/>
                    </a:moveTo>
                    <a:cubicBezTo>
                      <a:pt x="5082" y="26912"/>
                      <a:pt x="16616" y="30757"/>
                      <a:pt x="19180" y="21786"/>
                    </a:cubicBezTo>
                    <a:cubicBezTo>
                      <a:pt x="23024" y="14097"/>
                      <a:pt x="15335" y="0"/>
                      <a:pt x="6364" y="0"/>
                    </a:cubicBezTo>
                    <a:cubicBezTo>
                      <a:pt x="-44" y="2563"/>
                      <a:pt x="-1325" y="10252"/>
                      <a:pt x="123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4" name="Freeform: Shape 379780">
                <a:extLst>
                  <a:ext uri="{FF2B5EF4-FFF2-40B4-BE49-F238E27FC236}">
                    <a16:creationId xmlns:a16="http://schemas.microsoft.com/office/drawing/2014/main" id="{F3906A19-D523-4E75-BD85-4BC55355DD9E}"/>
                  </a:ext>
                </a:extLst>
              </p:cNvPr>
              <p:cNvSpPr/>
              <p:nvPr/>
            </p:nvSpPr>
            <p:spPr>
              <a:xfrm>
                <a:off x="4161609" y="3984190"/>
                <a:ext cx="6355" cy="27155"/>
              </a:xfrm>
              <a:custGeom>
                <a:avLst/>
                <a:gdLst>
                  <a:gd name="connsiteX0" fmla="*/ 1812 w 6355"/>
                  <a:gd name="connsiteY0" fmla="*/ 16660 h 27155"/>
                  <a:gd name="connsiteX1" fmla="*/ 5657 w 6355"/>
                  <a:gd name="connsiteY1" fmla="*/ 26912 h 27155"/>
                  <a:gd name="connsiteX2" fmla="*/ 531 w 6355"/>
                  <a:gd name="connsiteY2" fmla="*/ 0 h 27155"/>
                  <a:gd name="connsiteX3" fmla="*/ 531 w 6355"/>
                  <a:gd name="connsiteY3" fmla="*/ 0 h 27155"/>
                  <a:gd name="connsiteX4" fmla="*/ 1812 w 6355"/>
                  <a:gd name="connsiteY4" fmla="*/ 16660 h 2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55" h="27155">
                    <a:moveTo>
                      <a:pt x="1812" y="16660"/>
                    </a:moveTo>
                    <a:cubicBezTo>
                      <a:pt x="3094" y="24349"/>
                      <a:pt x="5657" y="28194"/>
                      <a:pt x="5657" y="26912"/>
                    </a:cubicBezTo>
                    <a:cubicBezTo>
                      <a:pt x="8220" y="23068"/>
                      <a:pt x="3094" y="0"/>
                      <a:pt x="531" y="0"/>
                    </a:cubicBezTo>
                    <a:cubicBezTo>
                      <a:pt x="531" y="0"/>
                      <a:pt x="531" y="0"/>
                      <a:pt x="531" y="0"/>
                    </a:cubicBezTo>
                    <a:cubicBezTo>
                      <a:pt x="-751" y="2563"/>
                      <a:pt x="531" y="11534"/>
                      <a:pt x="181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5" name="Freeform: Shape 379781">
                <a:extLst>
                  <a:ext uri="{FF2B5EF4-FFF2-40B4-BE49-F238E27FC236}">
                    <a16:creationId xmlns:a16="http://schemas.microsoft.com/office/drawing/2014/main" id="{794F7959-027A-4D53-A4E5-B391B30E7F21}"/>
                  </a:ext>
                </a:extLst>
              </p:cNvPr>
              <p:cNvSpPr/>
              <p:nvPr/>
            </p:nvSpPr>
            <p:spPr>
              <a:xfrm>
                <a:off x="4183728" y="3966187"/>
                <a:ext cx="22990" cy="104086"/>
              </a:xfrm>
              <a:custGeom>
                <a:avLst/>
                <a:gdLst>
                  <a:gd name="connsiteX0" fmla="*/ 1480 w 22990"/>
                  <a:gd name="connsiteY0" fmla="*/ 18003 h 104086"/>
                  <a:gd name="connsiteX1" fmla="*/ 5325 w 22990"/>
                  <a:gd name="connsiteY1" fmla="*/ 26974 h 104086"/>
                  <a:gd name="connsiteX2" fmla="*/ 15577 w 22990"/>
                  <a:gd name="connsiteY2" fmla="*/ 78235 h 104086"/>
                  <a:gd name="connsiteX3" fmla="*/ 21985 w 22990"/>
                  <a:gd name="connsiteY3" fmla="*/ 103866 h 104086"/>
                  <a:gd name="connsiteX4" fmla="*/ 16858 w 22990"/>
                  <a:gd name="connsiteY4" fmla="*/ 76954 h 104086"/>
                  <a:gd name="connsiteX5" fmla="*/ 6606 w 22990"/>
                  <a:gd name="connsiteY5" fmla="*/ 25692 h 104086"/>
                  <a:gd name="connsiteX6" fmla="*/ 1480 w 22990"/>
                  <a:gd name="connsiteY6" fmla="*/ 61 h 104086"/>
                  <a:gd name="connsiteX7" fmla="*/ 1480 w 22990"/>
                  <a:gd name="connsiteY7" fmla="*/ 18003 h 104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90" h="104086">
                    <a:moveTo>
                      <a:pt x="1480" y="18003"/>
                    </a:moveTo>
                    <a:cubicBezTo>
                      <a:pt x="2761" y="21847"/>
                      <a:pt x="4043" y="25692"/>
                      <a:pt x="5325" y="26974"/>
                    </a:cubicBezTo>
                    <a:cubicBezTo>
                      <a:pt x="9169" y="43634"/>
                      <a:pt x="11732" y="60294"/>
                      <a:pt x="15577" y="78235"/>
                    </a:cubicBezTo>
                    <a:cubicBezTo>
                      <a:pt x="13014" y="85925"/>
                      <a:pt x="19421" y="106429"/>
                      <a:pt x="21985" y="103866"/>
                    </a:cubicBezTo>
                    <a:cubicBezTo>
                      <a:pt x="24548" y="102585"/>
                      <a:pt x="21985" y="79517"/>
                      <a:pt x="16858" y="76954"/>
                    </a:cubicBezTo>
                    <a:cubicBezTo>
                      <a:pt x="13014" y="60294"/>
                      <a:pt x="9169" y="43634"/>
                      <a:pt x="6606" y="25692"/>
                    </a:cubicBezTo>
                    <a:cubicBezTo>
                      <a:pt x="9169" y="18003"/>
                      <a:pt x="5325" y="-1220"/>
                      <a:pt x="1480" y="61"/>
                    </a:cubicBezTo>
                    <a:cubicBezTo>
                      <a:pt x="-1083" y="3906"/>
                      <a:pt x="198" y="14158"/>
                      <a:pt x="1480" y="180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6" name="Freeform: Shape 379782">
                <a:extLst>
                  <a:ext uri="{FF2B5EF4-FFF2-40B4-BE49-F238E27FC236}">
                    <a16:creationId xmlns:a16="http://schemas.microsoft.com/office/drawing/2014/main" id="{E31BF1EA-04BB-4189-B259-0695E4A5B24B}"/>
                  </a:ext>
                </a:extLst>
              </p:cNvPr>
              <p:cNvSpPr/>
              <p:nvPr/>
            </p:nvSpPr>
            <p:spPr>
              <a:xfrm>
                <a:off x="4202951" y="3953372"/>
                <a:ext cx="36334" cy="141096"/>
              </a:xfrm>
              <a:custGeom>
                <a:avLst/>
                <a:gdLst>
                  <a:gd name="connsiteX0" fmla="*/ 1480 w 36334"/>
                  <a:gd name="connsiteY0" fmla="*/ 18003 h 141096"/>
                  <a:gd name="connsiteX1" fmla="*/ 6606 w 36334"/>
                  <a:gd name="connsiteY1" fmla="*/ 26973 h 141096"/>
                  <a:gd name="connsiteX2" fmla="*/ 20703 w 36334"/>
                  <a:gd name="connsiteY2" fmla="*/ 91051 h 141096"/>
                  <a:gd name="connsiteX3" fmla="*/ 27111 w 36334"/>
                  <a:gd name="connsiteY3" fmla="*/ 115400 h 141096"/>
                  <a:gd name="connsiteX4" fmla="*/ 34800 w 36334"/>
                  <a:gd name="connsiteY4" fmla="*/ 141031 h 141096"/>
                  <a:gd name="connsiteX5" fmla="*/ 28393 w 36334"/>
                  <a:gd name="connsiteY5" fmla="*/ 114119 h 141096"/>
                  <a:gd name="connsiteX6" fmla="*/ 21985 w 36334"/>
                  <a:gd name="connsiteY6" fmla="*/ 89769 h 141096"/>
                  <a:gd name="connsiteX7" fmla="*/ 7888 w 36334"/>
                  <a:gd name="connsiteY7" fmla="*/ 25692 h 141096"/>
                  <a:gd name="connsiteX8" fmla="*/ 1480 w 36334"/>
                  <a:gd name="connsiteY8" fmla="*/ 61 h 141096"/>
                  <a:gd name="connsiteX9" fmla="*/ 1480 w 36334"/>
                  <a:gd name="connsiteY9" fmla="*/ 18003 h 14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34" h="141096">
                    <a:moveTo>
                      <a:pt x="1480" y="18003"/>
                    </a:moveTo>
                    <a:cubicBezTo>
                      <a:pt x="2761" y="21847"/>
                      <a:pt x="4043" y="25692"/>
                      <a:pt x="6606" y="26973"/>
                    </a:cubicBezTo>
                    <a:cubicBezTo>
                      <a:pt x="10451" y="48760"/>
                      <a:pt x="15577" y="70546"/>
                      <a:pt x="20703" y="91051"/>
                    </a:cubicBezTo>
                    <a:cubicBezTo>
                      <a:pt x="21985" y="98740"/>
                      <a:pt x="24548" y="107711"/>
                      <a:pt x="27111" y="115400"/>
                    </a:cubicBezTo>
                    <a:cubicBezTo>
                      <a:pt x="23266" y="124371"/>
                      <a:pt x="30955" y="142312"/>
                      <a:pt x="34800" y="141031"/>
                    </a:cubicBezTo>
                    <a:cubicBezTo>
                      <a:pt x="38645" y="138468"/>
                      <a:pt x="34800" y="116682"/>
                      <a:pt x="28393" y="114119"/>
                    </a:cubicBezTo>
                    <a:cubicBezTo>
                      <a:pt x="25829" y="106429"/>
                      <a:pt x="24548" y="97458"/>
                      <a:pt x="21985" y="89769"/>
                    </a:cubicBezTo>
                    <a:cubicBezTo>
                      <a:pt x="16859" y="67983"/>
                      <a:pt x="11732" y="46197"/>
                      <a:pt x="7888" y="25692"/>
                    </a:cubicBezTo>
                    <a:cubicBezTo>
                      <a:pt x="10451" y="18003"/>
                      <a:pt x="6606" y="-1220"/>
                      <a:pt x="1480" y="61"/>
                    </a:cubicBezTo>
                    <a:cubicBezTo>
                      <a:pt x="-1083" y="3906"/>
                      <a:pt x="198" y="14158"/>
                      <a:pt x="1480" y="180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7" name="Freeform: Shape 379783">
                <a:extLst>
                  <a:ext uri="{FF2B5EF4-FFF2-40B4-BE49-F238E27FC236}">
                    <a16:creationId xmlns:a16="http://schemas.microsoft.com/office/drawing/2014/main" id="{3549ECBE-F218-4618-A901-26F7CFE500CF}"/>
                  </a:ext>
                </a:extLst>
              </p:cNvPr>
              <p:cNvSpPr/>
              <p:nvPr/>
            </p:nvSpPr>
            <p:spPr>
              <a:xfrm>
                <a:off x="4213402" y="3946964"/>
                <a:ext cx="46034" cy="179477"/>
              </a:xfrm>
              <a:custGeom>
                <a:avLst/>
                <a:gdLst>
                  <a:gd name="connsiteX0" fmla="*/ 1282 w 46034"/>
                  <a:gd name="connsiteY0" fmla="*/ 18003 h 179477"/>
                  <a:gd name="connsiteX1" fmla="*/ 6408 w 46034"/>
                  <a:gd name="connsiteY1" fmla="*/ 26974 h 179477"/>
                  <a:gd name="connsiteX2" fmla="*/ 20505 w 46034"/>
                  <a:gd name="connsiteY2" fmla="*/ 91051 h 179477"/>
                  <a:gd name="connsiteX3" fmla="*/ 35883 w 46034"/>
                  <a:gd name="connsiteY3" fmla="*/ 153847 h 179477"/>
                  <a:gd name="connsiteX4" fmla="*/ 43573 w 46034"/>
                  <a:gd name="connsiteY4" fmla="*/ 179477 h 179477"/>
                  <a:gd name="connsiteX5" fmla="*/ 38447 w 46034"/>
                  <a:gd name="connsiteY5" fmla="*/ 152565 h 179477"/>
                  <a:gd name="connsiteX6" fmla="*/ 23068 w 46034"/>
                  <a:gd name="connsiteY6" fmla="*/ 89769 h 179477"/>
                  <a:gd name="connsiteX7" fmla="*/ 8971 w 46034"/>
                  <a:gd name="connsiteY7" fmla="*/ 25692 h 179477"/>
                  <a:gd name="connsiteX8" fmla="*/ 2563 w 46034"/>
                  <a:gd name="connsiteY8" fmla="*/ 61 h 179477"/>
                  <a:gd name="connsiteX9" fmla="*/ 1282 w 46034"/>
                  <a:gd name="connsiteY9" fmla="*/ 18003 h 179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034" h="179477">
                    <a:moveTo>
                      <a:pt x="1282" y="18003"/>
                    </a:moveTo>
                    <a:cubicBezTo>
                      <a:pt x="2563" y="21847"/>
                      <a:pt x="3845" y="25692"/>
                      <a:pt x="6408" y="26974"/>
                    </a:cubicBezTo>
                    <a:cubicBezTo>
                      <a:pt x="10252" y="48760"/>
                      <a:pt x="15379" y="70546"/>
                      <a:pt x="20505" y="91051"/>
                    </a:cubicBezTo>
                    <a:cubicBezTo>
                      <a:pt x="25631" y="111556"/>
                      <a:pt x="30757" y="133342"/>
                      <a:pt x="35883" y="153847"/>
                    </a:cubicBezTo>
                    <a:cubicBezTo>
                      <a:pt x="33320" y="160254"/>
                      <a:pt x="38447" y="176915"/>
                      <a:pt x="43573" y="179477"/>
                    </a:cubicBezTo>
                    <a:cubicBezTo>
                      <a:pt x="49981" y="175633"/>
                      <a:pt x="42291" y="155128"/>
                      <a:pt x="38447" y="152565"/>
                    </a:cubicBezTo>
                    <a:cubicBezTo>
                      <a:pt x="33320" y="132060"/>
                      <a:pt x="28194" y="111556"/>
                      <a:pt x="23068" y="89769"/>
                    </a:cubicBezTo>
                    <a:cubicBezTo>
                      <a:pt x="17942" y="67983"/>
                      <a:pt x="12816" y="46197"/>
                      <a:pt x="8971" y="25692"/>
                    </a:cubicBezTo>
                    <a:cubicBezTo>
                      <a:pt x="12816" y="18003"/>
                      <a:pt x="7689" y="-1220"/>
                      <a:pt x="2563" y="61"/>
                    </a:cubicBezTo>
                    <a:cubicBezTo>
                      <a:pt x="-1282" y="3906"/>
                      <a:pt x="0" y="14158"/>
                      <a:pt x="1282" y="180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8" name="Freeform: Shape 379784">
                <a:extLst>
                  <a:ext uri="{FF2B5EF4-FFF2-40B4-BE49-F238E27FC236}">
                    <a16:creationId xmlns:a16="http://schemas.microsoft.com/office/drawing/2014/main" id="{61C3A410-CF87-49C7-8DC6-1E468FA6E326}"/>
                  </a:ext>
                </a:extLst>
              </p:cNvPr>
              <p:cNvSpPr/>
              <p:nvPr/>
            </p:nvSpPr>
            <p:spPr>
              <a:xfrm>
                <a:off x="4356295" y="3795704"/>
                <a:ext cx="48097" cy="93651"/>
              </a:xfrm>
              <a:custGeom>
                <a:avLst/>
                <a:gdLst>
                  <a:gd name="connsiteX0" fmla="*/ 641 w 48097"/>
                  <a:gd name="connsiteY0" fmla="*/ 18040 h 93651"/>
                  <a:gd name="connsiteX1" fmla="*/ 12175 w 48097"/>
                  <a:gd name="connsiteY1" fmla="*/ 23166 h 93651"/>
                  <a:gd name="connsiteX2" fmla="*/ 12175 w 48097"/>
                  <a:gd name="connsiteY2" fmla="*/ 23166 h 93651"/>
                  <a:gd name="connsiteX3" fmla="*/ 32680 w 48097"/>
                  <a:gd name="connsiteY3" fmla="*/ 46234 h 93651"/>
                  <a:gd name="connsiteX4" fmla="*/ 36524 w 48097"/>
                  <a:gd name="connsiteY4" fmla="*/ 68020 h 93651"/>
                  <a:gd name="connsiteX5" fmla="*/ 41650 w 48097"/>
                  <a:gd name="connsiteY5" fmla="*/ 93651 h 93651"/>
                  <a:gd name="connsiteX6" fmla="*/ 42932 w 48097"/>
                  <a:gd name="connsiteY6" fmla="*/ 68020 h 93651"/>
                  <a:gd name="connsiteX7" fmla="*/ 39087 w 48097"/>
                  <a:gd name="connsiteY7" fmla="*/ 66739 h 93651"/>
                  <a:gd name="connsiteX8" fmla="*/ 33961 w 48097"/>
                  <a:gd name="connsiteY8" fmla="*/ 42389 h 93651"/>
                  <a:gd name="connsiteX9" fmla="*/ 12175 w 48097"/>
                  <a:gd name="connsiteY9" fmla="*/ 18040 h 93651"/>
                  <a:gd name="connsiteX10" fmla="*/ 3204 w 48097"/>
                  <a:gd name="connsiteY10" fmla="*/ 98 h 93651"/>
                  <a:gd name="connsiteX11" fmla="*/ 641 w 48097"/>
                  <a:gd name="connsiteY11" fmla="*/ 18040 h 9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097" h="93651">
                    <a:moveTo>
                      <a:pt x="641" y="18040"/>
                    </a:moveTo>
                    <a:cubicBezTo>
                      <a:pt x="3204" y="27011"/>
                      <a:pt x="8330" y="28292"/>
                      <a:pt x="12175" y="23166"/>
                    </a:cubicBezTo>
                    <a:cubicBezTo>
                      <a:pt x="12175" y="23166"/>
                      <a:pt x="12175" y="23166"/>
                      <a:pt x="12175" y="23166"/>
                    </a:cubicBezTo>
                    <a:lnTo>
                      <a:pt x="32680" y="46234"/>
                    </a:lnTo>
                    <a:cubicBezTo>
                      <a:pt x="33961" y="53923"/>
                      <a:pt x="35243" y="61613"/>
                      <a:pt x="36524" y="68020"/>
                    </a:cubicBezTo>
                    <a:cubicBezTo>
                      <a:pt x="28835" y="76991"/>
                      <a:pt x="35243" y="93651"/>
                      <a:pt x="41650" y="93651"/>
                    </a:cubicBezTo>
                    <a:cubicBezTo>
                      <a:pt x="49340" y="93651"/>
                      <a:pt x="50621" y="75710"/>
                      <a:pt x="42932" y="68020"/>
                    </a:cubicBezTo>
                    <a:cubicBezTo>
                      <a:pt x="41650" y="66739"/>
                      <a:pt x="40369" y="66739"/>
                      <a:pt x="39087" y="66739"/>
                    </a:cubicBezTo>
                    <a:cubicBezTo>
                      <a:pt x="37806" y="59050"/>
                      <a:pt x="36524" y="50079"/>
                      <a:pt x="33961" y="42389"/>
                    </a:cubicBezTo>
                    <a:cubicBezTo>
                      <a:pt x="27553" y="34700"/>
                      <a:pt x="18582" y="24448"/>
                      <a:pt x="12175" y="18040"/>
                    </a:cubicBezTo>
                    <a:cubicBezTo>
                      <a:pt x="13456" y="10351"/>
                      <a:pt x="9612" y="-1183"/>
                      <a:pt x="3204" y="98"/>
                    </a:cubicBezTo>
                    <a:cubicBezTo>
                      <a:pt x="-1922" y="3943"/>
                      <a:pt x="641" y="18040"/>
                      <a:pt x="641" y="180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49" name="Freeform: Shape 379785">
                <a:extLst>
                  <a:ext uri="{FF2B5EF4-FFF2-40B4-BE49-F238E27FC236}">
                    <a16:creationId xmlns:a16="http://schemas.microsoft.com/office/drawing/2014/main" id="{9A91F448-614D-47BB-A8D3-83BAF0BDEB93}"/>
                  </a:ext>
                </a:extLst>
              </p:cNvPr>
              <p:cNvSpPr/>
              <p:nvPr/>
            </p:nvSpPr>
            <p:spPr>
              <a:xfrm>
                <a:off x="4425093" y="3809900"/>
                <a:ext cx="22872" cy="64077"/>
              </a:xfrm>
              <a:custGeom>
                <a:avLst/>
                <a:gdLst>
                  <a:gd name="connsiteX0" fmla="*/ 1046 w 22872"/>
                  <a:gd name="connsiteY0" fmla="*/ 16660 h 64077"/>
                  <a:gd name="connsiteX1" fmla="*/ 8736 w 22872"/>
                  <a:gd name="connsiteY1" fmla="*/ 25631 h 64077"/>
                  <a:gd name="connsiteX2" fmla="*/ 11299 w 22872"/>
                  <a:gd name="connsiteY2" fmla="*/ 38446 h 64077"/>
                  <a:gd name="connsiteX3" fmla="*/ 16425 w 22872"/>
                  <a:gd name="connsiteY3" fmla="*/ 64077 h 64077"/>
                  <a:gd name="connsiteX4" fmla="*/ 17707 w 22872"/>
                  <a:gd name="connsiteY4" fmla="*/ 38446 h 64077"/>
                  <a:gd name="connsiteX5" fmla="*/ 13862 w 22872"/>
                  <a:gd name="connsiteY5" fmla="*/ 37165 h 64077"/>
                  <a:gd name="connsiteX6" fmla="*/ 11299 w 22872"/>
                  <a:gd name="connsiteY6" fmla="*/ 25631 h 64077"/>
                  <a:gd name="connsiteX7" fmla="*/ 6173 w 22872"/>
                  <a:gd name="connsiteY7" fmla="*/ 0 h 64077"/>
                  <a:gd name="connsiteX8" fmla="*/ 4891 w 22872"/>
                  <a:gd name="connsiteY8" fmla="*/ 0 h 64077"/>
                  <a:gd name="connsiteX9" fmla="*/ 1046 w 22872"/>
                  <a:gd name="connsiteY9" fmla="*/ 16660 h 6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72" h="64077">
                    <a:moveTo>
                      <a:pt x="1046" y="16660"/>
                    </a:moveTo>
                    <a:cubicBezTo>
                      <a:pt x="2328" y="20505"/>
                      <a:pt x="3609" y="24349"/>
                      <a:pt x="8736" y="25631"/>
                    </a:cubicBezTo>
                    <a:cubicBezTo>
                      <a:pt x="10017" y="29475"/>
                      <a:pt x="10017" y="34602"/>
                      <a:pt x="11299" y="38446"/>
                    </a:cubicBezTo>
                    <a:cubicBezTo>
                      <a:pt x="3609" y="47417"/>
                      <a:pt x="10017" y="64077"/>
                      <a:pt x="16425" y="64077"/>
                    </a:cubicBezTo>
                    <a:cubicBezTo>
                      <a:pt x="24114" y="64077"/>
                      <a:pt x="25396" y="44854"/>
                      <a:pt x="17707" y="38446"/>
                    </a:cubicBezTo>
                    <a:cubicBezTo>
                      <a:pt x="16425" y="37165"/>
                      <a:pt x="15143" y="37165"/>
                      <a:pt x="13862" y="37165"/>
                    </a:cubicBezTo>
                    <a:cubicBezTo>
                      <a:pt x="13862" y="33320"/>
                      <a:pt x="12580" y="28194"/>
                      <a:pt x="11299" y="25631"/>
                    </a:cubicBezTo>
                    <a:cubicBezTo>
                      <a:pt x="20270" y="16660"/>
                      <a:pt x="13862" y="0"/>
                      <a:pt x="6173" y="0"/>
                    </a:cubicBezTo>
                    <a:cubicBezTo>
                      <a:pt x="6173" y="0"/>
                      <a:pt x="4891" y="0"/>
                      <a:pt x="4891" y="0"/>
                    </a:cubicBezTo>
                    <a:cubicBezTo>
                      <a:pt x="-1517" y="1282"/>
                      <a:pt x="-235" y="12816"/>
                      <a:pt x="1046"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0" name="Freeform: Shape 379786">
                <a:extLst>
                  <a:ext uri="{FF2B5EF4-FFF2-40B4-BE49-F238E27FC236}">
                    <a16:creationId xmlns:a16="http://schemas.microsoft.com/office/drawing/2014/main" id="{C88FFBE4-D888-4E6F-922A-02BD0367BAD7}"/>
                  </a:ext>
                </a:extLst>
              </p:cNvPr>
              <p:cNvSpPr/>
              <p:nvPr/>
            </p:nvSpPr>
            <p:spPr>
              <a:xfrm>
                <a:off x="6154541" y="3362308"/>
                <a:ext cx="27646" cy="27591"/>
              </a:xfrm>
              <a:custGeom>
                <a:avLst/>
                <a:gdLst>
                  <a:gd name="connsiteX0" fmla="*/ 410 w 27646"/>
                  <a:gd name="connsiteY0" fmla="*/ 18274 h 27591"/>
                  <a:gd name="connsiteX1" fmla="*/ 26041 w 27646"/>
                  <a:gd name="connsiteY1" fmla="*/ 19556 h 27591"/>
                  <a:gd name="connsiteX2" fmla="*/ 10663 w 27646"/>
                  <a:gd name="connsiteY2" fmla="*/ 332 h 27591"/>
                  <a:gd name="connsiteX3" fmla="*/ 410 w 27646"/>
                  <a:gd name="connsiteY3" fmla="*/ 18274 h 27591"/>
                </a:gdLst>
                <a:ahLst/>
                <a:cxnLst>
                  <a:cxn ang="0">
                    <a:pos x="connsiteX0" y="connsiteY0"/>
                  </a:cxn>
                  <a:cxn ang="0">
                    <a:pos x="connsiteX1" y="connsiteY1"/>
                  </a:cxn>
                  <a:cxn ang="0">
                    <a:pos x="connsiteX2" y="connsiteY2"/>
                  </a:cxn>
                  <a:cxn ang="0">
                    <a:pos x="connsiteX3" y="connsiteY3"/>
                  </a:cxn>
                </a:cxnLst>
                <a:rect l="l" t="t" r="r" b="b"/>
                <a:pathLst>
                  <a:path w="27646" h="27591">
                    <a:moveTo>
                      <a:pt x="410" y="18274"/>
                    </a:moveTo>
                    <a:cubicBezTo>
                      <a:pt x="4255" y="29808"/>
                      <a:pt x="20915" y="31090"/>
                      <a:pt x="26041" y="19556"/>
                    </a:cubicBezTo>
                    <a:cubicBezTo>
                      <a:pt x="31167" y="10585"/>
                      <a:pt x="23478" y="-2231"/>
                      <a:pt x="10663" y="332"/>
                    </a:cubicBezTo>
                    <a:cubicBezTo>
                      <a:pt x="410" y="4177"/>
                      <a:pt x="-871" y="13148"/>
                      <a:pt x="410" y="1827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1" name="Freeform: Shape 379787">
                <a:extLst>
                  <a:ext uri="{FF2B5EF4-FFF2-40B4-BE49-F238E27FC236}">
                    <a16:creationId xmlns:a16="http://schemas.microsoft.com/office/drawing/2014/main" id="{386E81D4-FAD7-411F-B927-89BCDF8437C1}"/>
                  </a:ext>
                </a:extLst>
              </p:cNvPr>
              <p:cNvSpPr/>
              <p:nvPr/>
            </p:nvSpPr>
            <p:spPr>
              <a:xfrm>
                <a:off x="7134137" y="3185787"/>
                <a:ext cx="21550" cy="27180"/>
              </a:xfrm>
              <a:custGeom>
                <a:avLst/>
                <a:gdLst>
                  <a:gd name="connsiteX0" fmla="*/ 1200 w 21550"/>
                  <a:gd name="connsiteY0" fmla="*/ 16660 h 27180"/>
                  <a:gd name="connsiteX1" fmla="*/ 20423 w 21550"/>
                  <a:gd name="connsiteY1" fmla="*/ 21786 h 27180"/>
                  <a:gd name="connsiteX2" fmla="*/ 7607 w 21550"/>
                  <a:gd name="connsiteY2" fmla="*/ 0 h 27180"/>
                  <a:gd name="connsiteX3" fmla="*/ 1200 w 21550"/>
                  <a:gd name="connsiteY3" fmla="*/ 16660 h 27180"/>
                </a:gdLst>
                <a:ahLst/>
                <a:cxnLst>
                  <a:cxn ang="0">
                    <a:pos x="connsiteX0" y="connsiteY0"/>
                  </a:cxn>
                  <a:cxn ang="0">
                    <a:pos x="connsiteX1" y="connsiteY1"/>
                  </a:cxn>
                  <a:cxn ang="0">
                    <a:pos x="connsiteX2" y="connsiteY2"/>
                  </a:cxn>
                  <a:cxn ang="0">
                    <a:pos x="connsiteX3" y="connsiteY3"/>
                  </a:cxn>
                </a:cxnLst>
                <a:rect l="l" t="t" r="r" b="b"/>
                <a:pathLst>
                  <a:path w="21550" h="27180">
                    <a:moveTo>
                      <a:pt x="1200" y="16660"/>
                    </a:moveTo>
                    <a:cubicBezTo>
                      <a:pt x="5044" y="28194"/>
                      <a:pt x="16578" y="30757"/>
                      <a:pt x="20423" y="21786"/>
                    </a:cubicBezTo>
                    <a:cubicBezTo>
                      <a:pt x="24268" y="12816"/>
                      <a:pt x="17860" y="0"/>
                      <a:pt x="7607" y="0"/>
                    </a:cubicBezTo>
                    <a:cubicBezTo>
                      <a:pt x="-82" y="2563"/>
                      <a:pt x="-1363" y="11534"/>
                      <a:pt x="1200"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2" name="Freeform: Shape 379788">
                <a:extLst>
                  <a:ext uri="{FF2B5EF4-FFF2-40B4-BE49-F238E27FC236}">
                    <a16:creationId xmlns:a16="http://schemas.microsoft.com/office/drawing/2014/main" id="{0099EC0F-CF93-4D65-9B74-26B749B675ED}"/>
                  </a:ext>
                </a:extLst>
              </p:cNvPr>
              <p:cNvSpPr/>
              <p:nvPr/>
            </p:nvSpPr>
            <p:spPr>
              <a:xfrm>
                <a:off x="7163575" y="3183149"/>
                <a:ext cx="20306" cy="25921"/>
              </a:xfrm>
              <a:custGeom>
                <a:avLst/>
                <a:gdLst>
                  <a:gd name="connsiteX0" fmla="*/ 1238 w 20306"/>
                  <a:gd name="connsiteY0" fmla="*/ 15454 h 25921"/>
                  <a:gd name="connsiteX1" fmla="*/ 19179 w 20306"/>
                  <a:gd name="connsiteY1" fmla="*/ 21862 h 25921"/>
                  <a:gd name="connsiteX2" fmla="*/ 6364 w 20306"/>
                  <a:gd name="connsiteY2" fmla="*/ 75 h 25921"/>
                  <a:gd name="connsiteX3" fmla="*/ 1238 w 20306"/>
                  <a:gd name="connsiteY3" fmla="*/ 15454 h 25921"/>
                </a:gdLst>
                <a:ahLst/>
                <a:cxnLst>
                  <a:cxn ang="0">
                    <a:pos x="connsiteX0" y="connsiteY0"/>
                  </a:cxn>
                  <a:cxn ang="0">
                    <a:pos x="connsiteX1" y="connsiteY1"/>
                  </a:cxn>
                  <a:cxn ang="0">
                    <a:pos x="connsiteX2" y="connsiteY2"/>
                  </a:cxn>
                  <a:cxn ang="0">
                    <a:pos x="connsiteX3" y="connsiteY3"/>
                  </a:cxn>
                </a:cxnLst>
                <a:rect l="l" t="t" r="r" b="b"/>
                <a:pathLst>
                  <a:path w="20306" h="25921">
                    <a:moveTo>
                      <a:pt x="1238" y="15454"/>
                    </a:moveTo>
                    <a:cubicBezTo>
                      <a:pt x="5082" y="25706"/>
                      <a:pt x="15335" y="29551"/>
                      <a:pt x="19179" y="21862"/>
                    </a:cubicBezTo>
                    <a:cubicBezTo>
                      <a:pt x="23024" y="14172"/>
                      <a:pt x="16616" y="-1206"/>
                      <a:pt x="6364" y="75"/>
                    </a:cubicBezTo>
                    <a:cubicBezTo>
                      <a:pt x="-44" y="1357"/>
                      <a:pt x="-1326" y="9046"/>
                      <a:pt x="1238" y="154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3" name="Freeform: Shape 379789">
                <a:extLst>
                  <a:ext uri="{FF2B5EF4-FFF2-40B4-BE49-F238E27FC236}">
                    <a16:creationId xmlns:a16="http://schemas.microsoft.com/office/drawing/2014/main" id="{ADEECFC1-9661-41D4-9334-2B2AC574B057}"/>
                  </a:ext>
                </a:extLst>
              </p:cNvPr>
              <p:cNvSpPr/>
              <p:nvPr/>
            </p:nvSpPr>
            <p:spPr>
              <a:xfrm>
                <a:off x="7491892" y="3040972"/>
                <a:ext cx="65238" cy="135843"/>
              </a:xfrm>
              <a:custGeom>
                <a:avLst/>
                <a:gdLst>
                  <a:gd name="connsiteX0" fmla="*/ 2278 w 65238"/>
                  <a:gd name="connsiteY0" fmla="*/ 15379 h 135843"/>
                  <a:gd name="connsiteX1" fmla="*/ 13812 w 65238"/>
                  <a:gd name="connsiteY1" fmla="*/ 23068 h 135843"/>
                  <a:gd name="connsiteX2" fmla="*/ 35598 w 65238"/>
                  <a:gd name="connsiteY2" fmla="*/ 49980 h 135843"/>
                  <a:gd name="connsiteX3" fmla="*/ 53541 w 65238"/>
                  <a:gd name="connsiteY3" fmla="*/ 110213 h 135843"/>
                  <a:gd name="connsiteX4" fmla="*/ 62511 w 65238"/>
                  <a:gd name="connsiteY4" fmla="*/ 135844 h 135843"/>
                  <a:gd name="connsiteX5" fmla="*/ 58666 w 65238"/>
                  <a:gd name="connsiteY5" fmla="*/ 111494 h 135843"/>
                  <a:gd name="connsiteX6" fmla="*/ 56104 w 65238"/>
                  <a:gd name="connsiteY6" fmla="*/ 110213 h 135843"/>
                  <a:gd name="connsiteX7" fmla="*/ 36880 w 65238"/>
                  <a:gd name="connsiteY7" fmla="*/ 47417 h 135843"/>
                  <a:gd name="connsiteX8" fmla="*/ 13812 w 65238"/>
                  <a:gd name="connsiteY8" fmla="*/ 17942 h 135843"/>
                  <a:gd name="connsiteX9" fmla="*/ 2278 w 65238"/>
                  <a:gd name="connsiteY9" fmla="*/ 0 h 135843"/>
                  <a:gd name="connsiteX10" fmla="*/ 2278 w 65238"/>
                  <a:gd name="connsiteY10" fmla="*/ 15379 h 135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238" h="135843">
                    <a:moveTo>
                      <a:pt x="2278" y="15379"/>
                    </a:moveTo>
                    <a:cubicBezTo>
                      <a:pt x="4842" y="21786"/>
                      <a:pt x="11249" y="29476"/>
                      <a:pt x="13812" y="23068"/>
                    </a:cubicBezTo>
                    <a:lnTo>
                      <a:pt x="35598" y="49980"/>
                    </a:lnTo>
                    <a:cubicBezTo>
                      <a:pt x="42007" y="70485"/>
                      <a:pt x="48414" y="89708"/>
                      <a:pt x="53541" y="110213"/>
                    </a:cubicBezTo>
                    <a:cubicBezTo>
                      <a:pt x="47132" y="116621"/>
                      <a:pt x="57385" y="135844"/>
                      <a:pt x="62511" y="135844"/>
                    </a:cubicBezTo>
                    <a:cubicBezTo>
                      <a:pt x="67637" y="135844"/>
                      <a:pt x="65075" y="119184"/>
                      <a:pt x="58666" y="111494"/>
                    </a:cubicBezTo>
                    <a:cubicBezTo>
                      <a:pt x="58666" y="111494"/>
                      <a:pt x="57385" y="110213"/>
                      <a:pt x="56104" y="110213"/>
                    </a:cubicBezTo>
                    <a:cubicBezTo>
                      <a:pt x="49696" y="88427"/>
                      <a:pt x="43288" y="67922"/>
                      <a:pt x="36880" y="47417"/>
                    </a:cubicBezTo>
                    <a:cubicBezTo>
                      <a:pt x="29191" y="38446"/>
                      <a:pt x="13812" y="29476"/>
                      <a:pt x="13812" y="17942"/>
                    </a:cubicBezTo>
                    <a:cubicBezTo>
                      <a:pt x="13812" y="12816"/>
                      <a:pt x="8686" y="1282"/>
                      <a:pt x="2278" y="0"/>
                    </a:cubicBezTo>
                    <a:cubicBezTo>
                      <a:pt x="-2848" y="2563"/>
                      <a:pt x="2278" y="15379"/>
                      <a:pt x="2278"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4" name="Freeform: Shape 379790">
                <a:extLst>
                  <a:ext uri="{FF2B5EF4-FFF2-40B4-BE49-F238E27FC236}">
                    <a16:creationId xmlns:a16="http://schemas.microsoft.com/office/drawing/2014/main" id="{22526093-8BF0-4D7E-BF1D-E7BEAF2425DB}"/>
                  </a:ext>
                </a:extLst>
              </p:cNvPr>
              <p:cNvSpPr/>
              <p:nvPr/>
            </p:nvSpPr>
            <p:spPr>
              <a:xfrm>
                <a:off x="7580035" y="2860275"/>
                <a:ext cx="131999" cy="346017"/>
              </a:xfrm>
              <a:custGeom>
                <a:avLst/>
                <a:gdLst>
                  <a:gd name="connsiteX0" fmla="*/ 5126 w 131999"/>
                  <a:gd name="connsiteY0" fmla="*/ 12816 h 346017"/>
                  <a:gd name="connsiteX1" fmla="*/ 10252 w 131999"/>
                  <a:gd name="connsiteY1" fmla="*/ 23068 h 346017"/>
                  <a:gd name="connsiteX2" fmla="*/ 124310 w 131999"/>
                  <a:gd name="connsiteY2" fmla="*/ 320386 h 346017"/>
                  <a:gd name="connsiteX3" fmla="*/ 132000 w 131999"/>
                  <a:gd name="connsiteY3" fmla="*/ 346017 h 346017"/>
                  <a:gd name="connsiteX4" fmla="*/ 125592 w 131999"/>
                  <a:gd name="connsiteY4" fmla="*/ 320386 h 346017"/>
                  <a:gd name="connsiteX5" fmla="*/ 11533 w 131999"/>
                  <a:gd name="connsiteY5" fmla="*/ 23068 h 346017"/>
                  <a:gd name="connsiteX6" fmla="*/ 0 w 131999"/>
                  <a:gd name="connsiteY6" fmla="*/ 0 h 346017"/>
                  <a:gd name="connsiteX7" fmla="*/ 5126 w 131999"/>
                  <a:gd name="connsiteY7" fmla="*/ 12816 h 346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999" h="346017">
                    <a:moveTo>
                      <a:pt x="5126" y="12816"/>
                    </a:moveTo>
                    <a:cubicBezTo>
                      <a:pt x="7689" y="19223"/>
                      <a:pt x="8971" y="21786"/>
                      <a:pt x="10252" y="23068"/>
                    </a:cubicBezTo>
                    <a:cubicBezTo>
                      <a:pt x="56388" y="117902"/>
                      <a:pt x="94834" y="216581"/>
                      <a:pt x="124310" y="320386"/>
                    </a:cubicBezTo>
                    <a:cubicBezTo>
                      <a:pt x="125592" y="326794"/>
                      <a:pt x="129436" y="340891"/>
                      <a:pt x="132000" y="346017"/>
                    </a:cubicBezTo>
                    <a:cubicBezTo>
                      <a:pt x="132000" y="339610"/>
                      <a:pt x="125592" y="321668"/>
                      <a:pt x="125592" y="320386"/>
                    </a:cubicBezTo>
                    <a:cubicBezTo>
                      <a:pt x="96116" y="216581"/>
                      <a:pt x="57669" y="116621"/>
                      <a:pt x="11533" y="23068"/>
                    </a:cubicBezTo>
                    <a:cubicBezTo>
                      <a:pt x="8971" y="17942"/>
                      <a:pt x="2563" y="3845"/>
                      <a:pt x="0" y="0"/>
                    </a:cubicBezTo>
                    <a:cubicBezTo>
                      <a:pt x="0" y="2563"/>
                      <a:pt x="1281" y="3845"/>
                      <a:pt x="5126"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5" name="Freeform: Shape 379791">
                <a:extLst>
                  <a:ext uri="{FF2B5EF4-FFF2-40B4-BE49-F238E27FC236}">
                    <a16:creationId xmlns:a16="http://schemas.microsoft.com/office/drawing/2014/main" id="{B574F40D-94B9-4C94-8D16-6CFED8B23A40}"/>
                  </a:ext>
                </a:extLst>
              </p:cNvPr>
              <p:cNvSpPr/>
              <p:nvPr/>
            </p:nvSpPr>
            <p:spPr>
              <a:xfrm>
                <a:off x="4259034" y="3964967"/>
                <a:ext cx="62747" cy="215299"/>
              </a:xfrm>
              <a:custGeom>
                <a:avLst/>
                <a:gdLst>
                  <a:gd name="connsiteX0" fmla="*/ 1785 w 62747"/>
                  <a:gd name="connsiteY0" fmla="*/ 17942 h 215299"/>
                  <a:gd name="connsiteX1" fmla="*/ 8193 w 62747"/>
                  <a:gd name="connsiteY1" fmla="*/ 26912 h 215299"/>
                  <a:gd name="connsiteX2" fmla="*/ 14601 w 62747"/>
                  <a:gd name="connsiteY2" fmla="*/ 52543 h 215299"/>
                  <a:gd name="connsiteX3" fmla="*/ 51766 w 62747"/>
                  <a:gd name="connsiteY3" fmla="*/ 189669 h 215299"/>
                  <a:gd name="connsiteX4" fmla="*/ 59455 w 62747"/>
                  <a:gd name="connsiteY4" fmla="*/ 215299 h 215299"/>
                  <a:gd name="connsiteX5" fmla="*/ 55610 w 62747"/>
                  <a:gd name="connsiteY5" fmla="*/ 189669 h 215299"/>
                  <a:gd name="connsiteX6" fmla="*/ 53047 w 62747"/>
                  <a:gd name="connsiteY6" fmla="*/ 188387 h 215299"/>
                  <a:gd name="connsiteX7" fmla="*/ 15882 w 62747"/>
                  <a:gd name="connsiteY7" fmla="*/ 51262 h 215299"/>
                  <a:gd name="connsiteX8" fmla="*/ 9474 w 62747"/>
                  <a:gd name="connsiteY8" fmla="*/ 25631 h 215299"/>
                  <a:gd name="connsiteX9" fmla="*/ 3067 w 62747"/>
                  <a:gd name="connsiteY9" fmla="*/ 0 h 215299"/>
                  <a:gd name="connsiteX10" fmla="*/ 1785 w 62747"/>
                  <a:gd name="connsiteY10" fmla="*/ 17942 h 21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47" h="215299">
                    <a:moveTo>
                      <a:pt x="1785" y="17942"/>
                    </a:moveTo>
                    <a:cubicBezTo>
                      <a:pt x="3067" y="21786"/>
                      <a:pt x="4348" y="25631"/>
                      <a:pt x="8193" y="26912"/>
                    </a:cubicBezTo>
                    <a:cubicBezTo>
                      <a:pt x="9474" y="35883"/>
                      <a:pt x="12038" y="44854"/>
                      <a:pt x="14601" y="52543"/>
                    </a:cubicBezTo>
                    <a:cubicBezTo>
                      <a:pt x="24853" y="98679"/>
                      <a:pt x="37668" y="144815"/>
                      <a:pt x="51766" y="189669"/>
                    </a:cubicBezTo>
                    <a:cubicBezTo>
                      <a:pt x="47921" y="198639"/>
                      <a:pt x="56892" y="215299"/>
                      <a:pt x="59455" y="215299"/>
                    </a:cubicBezTo>
                    <a:cubicBezTo>
                      <a:pt x="65863" y="214018"/>
                      <a:pt x="62018" y="194795"/>
                      <a:pt x="55610" y="189669"/>
                    </a:cubicBezTo>
                    <a:cubicBezTo>
                      <a:pt x="55610" y="189669"/>
                      <a:pt x="54329" y="188387"/>
                      <a:pt x="53047" y="188387"/>
                    </a:cubicBezTo>
                    <a:cubicBezTo>
                      <a:pt x="38950" y="143533"/>
                      <a:pt x="26135" y="97397"/>
                      <a:pt x="15882" y="51262"/>
                    </a:cubicBezTo>
                    <a:cubicBezTo>
                      <a:pt x="13319" y="42291"/>
                      <a:pt x="12038" y="33320"/>
                      <a:pt x="9474" y="25631"/>
                    </a:cubicBezTo>
                    <a:cubicBezTo>
                      <a:pt x="12038" y="20505"/>
                      <a:pt x="10756" y="0"/>
                      <a:pt x="3067" y="0"/>
                    </a:cubicBezTo>
                    <a:cubicBezTo>
                      <a:pt x="-2060" y="2563"/>
                      <a:pt x="504" y="14097"/>
                      <a:pt x="1785"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6" name="Freeform: Shape 379792">
                <a:extLst>
                  <a:ext uri="{FF2B5EF4-FFF2-40B4-BE49-F238E27FC236}">
                    <a16:creationId xmlns:a16="http://schemas.microsoft.com/office/drawing/2014/main" id="{4CBAEF24-568F-4FA4-B55E-BA656A56E27C}"/>
                  </a:ext>
                </a:extLst>
              </p:cNvPr>
              <p:cNvSpPr/>
              <p:nvPr/>
            </p:nvSpPr>
            <p:spPr>
              <a:xfrm>
                <a:off x="6057494" y="3409890"/>
                <a:ext cx="93228" cy="122261"/>
              </a:xfrm>
              <a:custGeom>
                <a:avLst/>
                <a:gdLst>
                  <a:gd name="connsiteX0" fmla="*/ 1341 w 93228"/>
                  <a:gd name="connsiteY0" fmla="*/ 114225 h 122261"/>
                  <a:gd name="connsiteX1" fmla="*/ 26972 w 93228"/>
                  <a:gd name="connsiteY1" fmla="*/ 112944 h 122261"/>
                  <a:gd name="connsiteX2" fmla="*/ 24409 w 93228"/>
                  <a:gd name="connsiteY2" fmla="*/ 98847 h 122261"/>
                  <a:gd name="connsiteX3" fmla="*/ 74389 w 93228"/>
                  <a:gd name="connsiteY3" fmla="*/ 25798 h 122261"/>
                  <a:gd name="connsiteX4" fmla="*/ 92331 w 93228"/>
                  <a:gd name="connsiteY4" fmla="*/ 7857 h 122261"/>
                  <a:gd name="connsiteX5" fmla="*/ 76952 w 93228"/>
                  <a:gd name="connsiteY5" fmla="*/ 168 h 122261"/>
                  <a:gd name="connsiteX6" fmla="*/ 70545 w 93228"/>
                  <a:gd name="connsiteY6" fmla="*/ 23235 h 122261"/>
                  <a:gd name="connsiteX7" fmla="*/ 20564 w 93228"/>
                  <a:gd name="connsiteY7" fmla="*/ 96284 h 122261"/>
                  <a:gd name="connsiteX8" fmla="*/ 1341 w 93228"/>
                  <a:gd name="connsiteY8" fmla="*/ 114225 h 122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228" h="122261">
                    <a:moveTo>
                      <a:pt x="1341" y="114225"/>
                    </a:moveTo>
                    <a:cubicBezTo>
                      <a:pt x="6467" y="125759"/>
                      <a:pt x="23127" y="124478"/>
                      <a:pt x="26972" y="112944"/>
                    </a:cubicBezTo>
                    <a:cubicBezTo>
                      <a:pt x="28253" y="110380"/>
                      <a:pt x="29535" y="105254"/>
                      <a:pt x="24409" y="98847"/>
                    </a:cubicBezTo>
                    <a:cubicBezTo>
                      <a:pt x="39787" y="77060"/>
                      <a:pt x="59011" y="47585"/>
                      <a:pt x="74389" y="25798"/>
                    </a:cubicBezTo>
                    <a:cubicBezTo>
                      <a:pt x="87205" y="29643"/>
                      <a:pt x="96176" y="18109"/>
                      <a:pt x="92331" y="7857"/>
                    </a:cubicBezTo>
                    <a:cubicBezTo>
                      <a:pt x="91049" y="5294"/>
                      <a:pt x="87205" y="-1114"/>
                      <a:pt x="76952" y="168"/>
                    </a:cubicBezTo>
                    <a:cubicBezTo>
                      <a:pt x="64137" y="4012"/>
                      <a:pt x="64137" y="16828"/>
                      <a:pt x="70545" y="23235"/>
                    </a:cubicBezTo>
                    <a:cubicBezTo>
                      <a:pt x="55166" y="45022"/>
                      <a:pt x="35943" y="74497"/>
                      <a:pt x="20564" y="96284"/>
                    </a:cubicBezTo>
                    <a:cubicBezTo>
                      <a:pt x="6467" y="91157"/>
                      <a:pt x="-3786" y="103973"/>
                      <a:pt x="1341" y="11422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7" name="Freeform: Shape 379793">
                <a:extLst>
                  <a:ext uri="{FF2B5EF4-FFF2-40B4-BE49-F238E27FC236}">
                    <a16:creationId xmlns:a16="http://schemas.microsoft.com/office/drawing/2014/main" id="{E91A21AC-B4F6-4EF6-A903-2D0F408C723C}"/>
                  </a:ext>
                </a:extLst>
              </p:cNvPr>
              <p:cNvSpPr/>
              <p:nvPr/>
            </p:nvSpPr>
            <p:spPr>
              <a:xfrm>
                <a:off x="6482607" y="3335395"/>
                <a:ext cx="25878" cy="26507"/>
              </a:xfrm>
              <a:custGeom>
                <a:avLst/>
                <a:gdLst>
                  <a:gd name="connsiteX0" fmla="*/ 421 w 25878"/>
                  <a:gd name="connsiteY0" fmla="*/ 16993 h 26507"/>
                  <a:gd name="connsiteX1" fmla="*/ 24770 w 25878"/>
                  <a:gd name="connsiteY1" fmla="*/ 19556 h 26507"/>
                  <a:gd name="connsiteX2" fmla="*/ 9392 w 25878"/>
                  <a:gd name="connsiteY2" fmla="*/ 332 h 26507"/>
                  <a:gd name="connsiteX3" fmla="*/ 421 w 25878"/>
                  <a:gd name="connsiteY3" fmla="*/ 16993 h 26507"/>
                </a:gdLst>
                <a:ahLst/>
                <a:cxnLst>
                  <a:cxn ang="0">
                    <a:pos x="connsiteX0" y="connsiteY0"/>
                  </a:cxn>
                  <a:cxn ang="0">
                    <a:pos x="connsiteX1" y="connsiteY1"/>
                  </a:cxn>
                  <a:cxn ang="0">
                    <a:pos x="connsiteX2" y="connsiteY2"/>
                  </a:cxn>
                  <a:cxn ang="0">
                    <a:pos x="connsiteX3" y="connsiteY3"/>
                  </a:cxn>
                </a:cxnLst>
                <a:rect l="l" t="t" r="r" b="b"/>
                <a:pathLst>
                  <a:path w="25878" h="26507">
                    <a:moveTo>
                      <a:pt x="421" y="16993"/>
                    </a:moveTo>
                    <a:cubicBezTo>
                      <a:pt x="4265" y="28527"/>
                      <a:pt x="19644" y="29808"/>
                      <a:pt x="24770" y="19556"/>
                    </a:cubicBezTo>
                    <a:cubicBezTo>
                      <a:pt x="28615" y="10585"/>
                      <a:pt x="22207" y="-2231"/>
                      <a:pt x="9392" y="332"/>
                    </a:cubicBezTo>
                    <a:cubicBezTo>
                      <a:pt x="421" y="2896"/>
                      <a:pt x="-861" y="11866"/>
                      <a:pt x="421" y="1699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8" name="Freeform: Shape 379794">
                <a:extLst>
                  <a:ext uri="{FF2B5EF4-FFF2-40B4-BE49-F238E27FC236}">
                    <a16:creationId xmlns:a16="http://schemas.microsoft.com/office/drawing/2014/main" id="{626A2A6F-EE22-45ED-9354-DBEC3901A37F}"/>
                  </a:ext>
                </a:extLst>
              </p:cNvPr>
              <p:cNvSpPr/>
              <p:nvPr/>
            </p:nvSpPr>
            <p:spPr>
              <a:xfrm>
                <a:off x="7625025" y="3083263"/>
                <a:ext cx="53962" cy="140970"/>
              </a:xfrm>
              <a:custGeom>
                <a:avLst/>
                <a:gdLst>
                  <a:gd name="connsiteX0" fmla="*/ 2427 w 53962"/>
                  <a:gd name="connsiteY0" fmla="*/ 15379 h 140970"/>
                  <a:gd name="connsiteX1" fmla="*/ 8834 w 53962"/>
                  <a:gd name="connsiteY1" fmla="*/ 25631 h 140970"/>
                  <a:gd name="connsiteX2" fmla="*/ 28058 w 53962"/>
                  <a:gd name="connsiteY2" fmla="*/ 88427 h 140970"/>
                  <a:gd name="connsiteX3" fmla="*/ 44718 w 53962"/>
                  <a:gd name="connsiteY3" fmla="*/ 121747 h 140970"/>
                  <a:gd name="connsiteX4" fmla="*/ 52407 w 53962"/>
                  <a:gd name="connsiteY4" fmla="*/ 140970 h 140970"/>
                  <a:gd name="connsiteX5" fmla="*/ 45999 w 53962"/>
                  <a:gd name="connsiteY5" fmla="*/ 114058 h 140970"/>
                  <a:gd name="connsiteX6" fmla="*/ 44718 w 53962"/>
                  <a:gd name="connsiteY6" fmla="*/ 115339 h 140970"/>
                  <a:gd name="connsiteX7" fmla="*/ 29339 w 53962"/>
                  <a:gd name="connsiteY7" fmla="*/ 85864 h 140970"/>
                  <a:gd name="connsiteX8" fmla="*/ 11397 w 53962"/>
                  <a:gd name="connsiteY8" fmla="*/ 25631 h 140970"/>
                  <a:gd name="connsiteX9" fmla="*/ 2427 w 53962"/>
                  <a:gd name="connsiteY9" fmla="*/ 0 h 140970"/>
                  <a:gd name="connsiteX10" fmla="*/ 2427 w 53962"/>
                  <a:gd name="connsiteY10" fmla="*/ 15379 h 140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962" h="140970">
                    <a:moveTo>
                      <a:pt x="2427" y="15379"/>
                    </a:moveTo>
                    <a:cubicBezTo>
                      <a:pt x="3708" y="19223"/>
                      <a:pt x="6271" y="23068"/>
                      <a:pt x="8834" y="25631"/>
                    </a:cubicBezTo>
                    <a:cubicBezTo>
                      <a:pt x="15242" y="46136"/>
                      <a:pt x="21650" y="67922"/>
                      <a:pt x="28058" y="88427"/>
                    </a:cubicBezTo>
                    <a:cubicBezTo>
                      <a:pt x="33184" y="98679"/>
                      <a:pt x="43436" y="110213"/>
                      <a:pt x="44718" y="121747"/>
                    </a:cubicBezTo>
                    <a:cubicBezTo>
                      <a:pt x="44718" y="125592"/>
                      <a:pt x="48563" y="138407"/>
                      <a:pt x="52407" y="140970"/>
                    </a:cubicBezTo>
                    <a:cubicBezTo>
                      <a:pt x="57533" y="137125"/>
                      <a:pt x="48563" y="116621"/>
                      <a:pt x="45999" y="114058"/>
                    </a:cubicBezTo>
                    <a:cubicBezTo>
                      <a:pt x="44718" y="114058"/>
                      <a:pt x="44718" y="114058"/>
                      <a:pt x="44718" y="115339"/>
                    </a:cubicBezTo>
                    <a:lnTo>
                      <a:pt x="29339" y="85864"/>
                    </a:lnTo>
                    <a:cubicBezTo>
                      <a:pt x="24213" y="65359"/>
                      <a:pt x="17805" y="44854"/>
                      <a:pt x="11397" y="25631"/>
                    </a:cubicBezTo>
                    <a:cubicBezTo>
                      <a:pt x="13961" y="19223"/>
                      <a:pt x="6271" y="2563"/>
                      <a:pt x="2427" y="0"/>
                    </a:cubicBezTo>
                    <a:cubicBezTo>
                      <a:pt x="-1418" y="2563"/>
                      <a:pt x="-137" y="10252"/>
                      <a:pt x="2427"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59" name="Freeform: Shape 379795">
                <a:extLst>
                  <a:ext uri="{FF2B5EF4-FFF2-40B4-BE49-F238E27FC236}">
                    <a16:creationId xmlns:a16="http://schemas.microsoft.com/office/drawing/2014/main" id="{B2CD6711-07AF-4858-AF7E-D71C809DAB3C}"/>
                  </a:ext>
                </a:extLst>
              </p:cNvPr>
              <p:cNvSpPr/>
              <p:nvPr/>
            </p:nvSpPr>
            <p:spPr>
              <a:xfrm>
                <a:off x="7712034" y="3215263"/>
                <a:ext cx="43830" cy="217862"/>
              </a:xfrm>
              <a:custGeom>
                <a:avLst/>
                <a:gdLst>
                  <a:gd name="connsiteX0" fmla="*/ 2563 w 43830"/>
                  <a:gd name="connsiteY0" fmla="*/ 14097 h 217862"/>
                  <a:gd name="connsiteX1" fmla="*/ 6408 w 43830"/>
                  <a:gd name="connsiteY1" fmla="*/ 25631 h 217862"/>
                  <a:gd name="connsiteX2" fmla="*/ 12815 w 43830"/>
                  <a:gd name="connsiteY2" fmla="*/ 51262 h 217862"/>
                  <a:gd name="connsiteX3" fmla="*/ 39728 w 43830"/>
                  <a:gd name="connsiteY3" fmla="*/ 190950 h 217862"/>
                  <a:gd name="connsiteX4" fmla="*/ 43573 w 43830"/>
                  <a:gd name="connsiteY4" fmla="*/ 217863 h 217862"/>
                  <a:gd name="connsiteX5" fmla="*/ 39728 w 43830"/>
                  <a:gd name="connsiteY5" fmla="*/ 192232 h 217862"/>
                  <a:gd name="connsiteX6" fmla="*/ 12815 w 43830"/>
                  <a:gd name="connsiteY6" fmla="*/ 52543 h 217862"/>
                  <a:gd name="connsiteX7" fmla="*/ 6408 w 43830"/>
                  <a:gd name="connsiteY7" fmla="*/ 26912 h 217862"/>
                  <a:gd name="connsiteX8" fmla="*/ 0 w 43830"/>
                  <a:gd name="connsiteY8" fmla="*/ 0 h 217862"/>
                  <a:gd name="connsiteX9" fmla="*/ 2563 w 43830"/>
                  <a:gd name="connsiteY9" fmla="*/ 14097 h 21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30" h="217862">
                    <a:moveTo>
                      <a:pt x="2563" y="14097"/>
                    </a:moveTo>
                    <a:cubicBezTo>
                      <a:pt x="3844" y="17942"/>
                      <a:pt x="5126" y="23068"/>
                      <a:pt x="6408" y="25631"/>
                    </a:cubicBezTo>
                    <a:cubicBezTo>
                      <a:pt x="8971" y="34602"/>
                      <a:pt x="10252" y="43573"/>
                      <a:pt x="12815" y="51262"/>
                    </a:cubicBezTo>
                    <a:cubicBezTo>
                      <a:pt x="23068" y="97397"/>
                      <a:pt x="33320" y="144815"/>
                      <a:pt x="39728" y="190950"/>
                    </a:cubicBezTo>
                    <a:cubicBezTo>
                      <a:pt x="39728" y="196077"/>
                      <a:pt x="41010" y="212737"/>
                      <a:pt x="43573" y="217863"/>
                    </a:cubicBezTo>
                    <a:cubicBezTo>
                      <a:pt x="44854" y="212737"/>
                      <a:pt x="41010" y="194795"/>
                      <a:pt x="39728" y="192232"/>
                    </a:cubicBezTo>
                    <a:cubicBezTo>
                      <a:pt x="32039" y="146096"/>
                      <a:pt x="23068" y="98679"/>
                      <a:pt x="12815" y="52543"/>
                    </a:cubicBezTo>
                    <a:cubicBezTo>
                      <a:pt x="10252" y="43573"/>
                      <a:pt x="8971" y="34602"/>
                      <a:pt x="6408" y="26912"/>
                    </a:cubicBezTo>
                    <a:cubicBezTo>
                      <a:pt x="6408" y="21786"/>
                      <a:pt x="2563" y="5126"/>
                      <a:pt x="0" y="0"/>
                    </a:cubicBezTo>
                    <a:cubicBezTo>
                      <a:pt x="0" y="1282"/>
                      <a:pt x="0" y="2563"/>
                      <a:pt x="256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0" name="Freeform: Shape 379796">
                <a:extLst>
                  <a:ext uri="{FF2B5EF4-FFF2-40B4-BE49-F238E27FC236}">
                    <a16:creationId xmlns:a16="http://schemas.microsoft.com/office/drawing/2014/main" id="{F88CB6F9-4EBA-4EFF-9E4E-E67585E591BE}"/>
                  </a:ext>
                </a:extLst>
              </p:cNvPr>
              <p:cNvSpPr/>
              <p:nvPr/>
            </p:nvSpPr>
            <p:spPr>
              <a:xfrm>
                <a:off x="4191085" y="4049549"/>
                <a:ext cx="7628" cy="27155"/>
              </a:xfrm>
              <a:custGeom>
                <a:avLst/>
                <a:gdLst>
                  <a:gd name="connsiteX0" fmla="*/ 1812 w 7628"/>
                  <a:gd name="connsiteY0" fmla="*/ 16660 h 27155"/>
                  <a:gd name="connsiteX1" fmla="*/ 6939 w 7628"/>
                  <a:gd name="connsiteY1" fmla="*/ 26912 h 27155"/>
                  <a:gd name="connsiteX2" fmla="*/ 531 w 7628"/>
                  <a:gd name="connsiteY2" fmla="*/ 0 h 27155"/>
                  <a:gd name="connsiteX3" fmla="*/ 531 w 7628"/>
                  <a:gd name="connsiteY3" fmla="*/ 0 h 27155"/>
                  <a:gd name="connsiteX4" fmla="*/ 1812 w 7628"/>
                  <a:gd name="connsiteY4" fmla="*/ 16660 h 27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28" h="27155">
                    <a:moveTo>
                      <a:pt x="1812" y="16660"/>
                    </a:moveTo>
                    <a:cubicBezTo>
                      <a:pt x="3094" y="24349"/>
                      <a:pt x="5657" y="28194"/>
                      <a:pt x="6939" y="26912"/>
                    </a:cubicBezTo>
                    <a:cubicBezTo>
                      <a:pt x="9502" y="23068"/>
                      <a:pt x="4376" y="0"/>
                      <a:pt x="531" y="0"/>
                    </a:cubicBezTo>
                    <a:cubicBezTo>
                      <a:pt x="531" y="0"/>
                      <a:pt x="531" y="0"/>
                      <a:pt x="531" y="0"/>
                    </a:cubicBezTo>
                    <a:cubicBezTo>
                      <a:pt x="-751" y="2563"/>
                      <a:pt x="531" y="11534"/>
                      <a:pt x="181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1" name="Freeform: Shape 379797">
                <a:extLst>
                  <a:ext uri="{FF2B5EF4-FFF2-40B4-BE49-F238E27FC236}">
                    <a16:creationId xmlns:a16="http://schemas.microsoft.com/office/drawing/2014/main" id="{6F88F7B8-3E00-45C6-A39B-ABC527452681}"/>
                  </a:ext>
                </a:extLst>
              </p:cNvPr>
              <p:cNvSpPr/>
              <p:nvPr/>
            </p:nvSpPr>
            <p:spPr>
              <a:xfrm>
                <a:off x="4176380" y="3927713"/>
                <a:ext cx="39309" cy="134716"/>
              </a:xfrm>
              <a:custGeom>
                <a:avLst/>
                <a:gdLst>
                  <a:gd name="connsiteX0" fmla="*/ 1139 w 39309"/>
                  <a:gd name="connsiteY0" fmla="*/ 18031 h 134716"/>
                  <a:gd name="connsiteX1" fmla="*/ 4984 w 39309"/>
                  <a:gd name="connsiteY1" fmla="*/ 27002 h 134716"/>
                  <a:gd name="connsiteX2" fmla="*/ 6265 w 39309"/>
                  <a:gd name="connsiteY2" fmla="*/ 24439 h 134716"/>
                  <a:gd name="connsiteX3" fmla="*/ 19081 w 39309"/>
                  <a:gd name="connsiteY3" fmla="*/ 48788 h 134716"/>
                  <a:gd name="connsiteX4" fmla="*/ 31896 w 39309"/>
                  <a:gd name="connsiteY4" fmla="*/ 109021 h 134716"/>
                  <a:gd name="connsiteX5" fmla="*/ 38304 w 39309"/>
                  <a:gd name="connsiteY5" fmla="*/ 134652 h 134716"/>
                  <a:gd name="connsiteX6" fmla="*/ 33178 w 39309"/>
                  <a:gd name="connsiteY6" fmla="*/ 107739 h 134716"/>
                  <a:gd name="connsiteX7" fmla="*/ 20362 w 39309"/>
                  <a:gd name="connsiteY7" fmla="*/ 44944 h 134716"/>
                  <a:gd name="connsiteX8" fmla="*/ 7547 w 39309"/>
                  <a:gd name="connsiteY8" fmla="*/ 18031 h 134716"/>
                  <a:gd name="connsiteX9" fmla="*/ 1139 w 39309"/>
                  <a:gd name="connsiteY9" fmla="*/ 89 h 134716"/>
                  <a:gd name="connsiteX10" fmla="*/ 1139 w 39309"/>
                  <a:gd name="connsiteY10" fmla="*/ 18031 h 13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09" h="134716">
                    <a:moveTo>
                      <a:pt x="1139" y="18031"/>
                    </a:moveTo>
                    <a:cubicBezTo>
                      <a:pt x="2421" y="25720"/>
                      <a:pt x="4984" y="27002"/>
                      <a:pt x="4984" y="27002"/>
                    </a:cubicBezTo>
                    <a:cubicBezTo>
                      <a:pt x="6265" y="27002"/>
                      <a:pt x="6265" y="27002"/>
                      <a:pt x="6265" y="24439"/>
                    </a:cubicBezTo>
                    <a:lnTo>
                      <a:pt x="19081" y="48788"/>
                    </a:lnTo>
                    <a:cubicBezTo>
                      <a:pt x="22926" y="69293"/>
                      <a:pt x="26770" y="89798"/>
                      <a:pt x="31896" y="109021"/>
                    </a:cubicBezTo>
                    <a:cubicBezTo>
                      <a:pt x="29333" y="117992"/>
                      <a:pt x="35741" y="135933"/>
                      <a:pt x="38304" y="134652"/>
                    </a:cubicBezTo>
                    <a:cubicBezTo>
                      <a:pt x="40867" y="133370"/>
                      <a:pt x="38304" y="110302"/>
                      <a:pt x="33178" y="107739"/>
                    </a:cubicBezTo>
                    <a:cubicBezTo>
                      <a:pt x="28052" y="87235"/>
                      <a:pt x="24207" y="65448"/>
                      <a:pt x="20362" y="44944"/>
                    </a:cubicBezTo>
                    <a:cubicBezTo>
                      <a:pt x="16518" y="37254"/>
                      <a:pt x="7547" y="27002"/>
                      <a:pt x="7547" y="18031"/>
                    </a:cubicBezTo>
                    <a:cubicBezTo>
                      <a:pt x="7547" y="11623"/>
                      <a:pt x="4984" y="-1192"/>
                      <a:pt x="1139" y="89"/>
                    </a:cubicBezTo>
                    <a:cubicBezTo>
                      <a:pt x="-1424" y="5216"/>
                      <a:pt x="1139" y="18031"/>
                      <a:pt x="1139" y="1803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2" name="Freeform: Shape 379798">
                <a:extLst>
                  <a:ext uri="{FF2B5EF4-FFF2-40B4-BE49-F238E27FC236}">
                    <a16:creationId xmlns:a16="http://schemas.microsoft.com/office/drawing/2014/main" id="{D6F4188E-E28F-4A24-B74D-BAE51FB0E499}"/>
                  </a:ext>
                </a:extLst>
              </p:cNvPr>
              <p:cNvSpPr/>
              <p:nvPr/>
            </p:nvSpPr>
            <p:spPr>
              <a:xfrm>
                <a:off x="6861194" y="3306252"/>
                <a:ext cx="61927" cy="218224"/>
              </a:xfrm>
              <a:custGeom>
                <a:avLst/>
                <a:gdLst>
                  <a:gd name="connsiteX0" fmla="*/ 1172 w 61927"/>
                  <a:gd name="connsiteY0" fmla="*/ 17942 h 218224"/>
                  <a:gd name="connsiteX1" fmla="*/ 12706 w 61927"/>
                  <a:gd name="connsiteY1" fmla="*/ 26912 h 218224"/>
                  <a:gd name="connsiteX2" fmla="*/ 46027 w 61927"/>
                  <a:gd name="connsiteY2" fmla="*/ 192232 h 218224"/>
                  <a:gd name="connsiteX3" fmla="*/ 48590 w 61927"/>
                  <a:gd name="connsiteY3" fmla="*/ 217863 h 218224"/>
                  <a:gd name="connsiteX4" fmla="*/ 60124 w 61927"/>
                  <a:gd name="connsiteY4" fmla="*/ 198640 h 218224"/>
                  <a:gd name="connsiteX5" fmla="*/ 51153 w 61927"/>
                  <a:gd name="connsiteY5" fmla="*/ 190950 h 218224"/>
                  <a:gd name="connsiteX6" fmla="*/ 17833 w 61927"/>
                  <a:gd name="connsiteY6" fmla="*/ 25631 h 218224"/>
                  <a:gd name="connsiteX7" fmla="*/ 13988 w 61927"/>
                  <a:gd name="connsiteY7" fmla="*/ 0 h 218224"/>
                  <a:gd name="connsiteX8" fmla="*/ 8862 w 61927"/>
                  <a:gd name="connsiteY8" fmla="*/ 0 h 218224"/>
                  <a:gd name="connsiteX9" fmla="*/ 1172 w 61927"/>
                  <a:gd name="connsiteY9" fmla="*/ 17942 h 21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927" h="218224">
                    <a:moveTo>
                      <a:pt x="1172" y="17942"/>
                    </a:moveTo>
                    <a:cubicBezTo>
                      <a:pt x="2454" y="21786"/>
                      <a:pt x="5017" y="25631"/>
                      <a:pt x="12706" y="26912"/>
                    </a:cubicBezTo>
                    <a:cubicBezTo>
                      <a:pt x="25522" y="82019"/>
                      <a:pt x="37056" y="137125"/>
                      <a:pt x="46027" y="192232"/>
                    </a:cubicBezTo>
                    <a:cubicBezTo>
                      <a:pt x="34493" y="198640"/>
                      <a:pt x="39619" y="215300"/>
                      <a:pt x="48590" y="217863"/>
                    </a:cubicBezTo>
                    <a:cubicBezTo>
                      <a:pt x="58842" y="220426"/>
                      <a:pt x="65250" y="208892"/>
                      <a:pt x="60124" y="198640"/>
                    </a:cubicBezTo>
                    <a:cubicBezTo>
                      <a:pt x="57560" y="192232"/>
                      <a:pt x="52435" y="192232"/>
                      <a:pt x="51153" y="190950"/>
                    </a:cubicBezTo>
                    <a:cubicBezTo>
                      <a:pt x="40901" y="135844"/>
                      <a:pt x="30648" y="80737"/>
                      <a:pt x="17833" y="25631"/>
                    </a:cubicBezTo>
                    <a:cubicBezTo>
                      <a:pt x="29367" y="19223"/>
                      <a:pt x="22959" y="2563"/>
                      <a:pt x="13988" y="0"/>
                    </a:cubicBezTo>
                    <a:cubicBezTo>
                      <a:pt x="12706" y="0"/>
                      <a:pt x="10143" y="0"/>
                      <a:pt x="8862" y="0"/>
                    </a:cubicBezTo>
                    <a:cubicBezTo>
                      <a:pt x="-2672" y="3845"/>
                      <a:pt x="-109" y="14097"/>
                      <a:pt x="1172"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3" name="Freeform: Shape 379799">
                <a:extLst>
                  <a:ext uri="{FF2B5EF4-FFF2-40B4-BE49-F238E27FC236}">
                    <a16:creationId xmlns:a16="http://schemas.microsoft.com/office/drawing/2014/main" id="{5E82298F-9695-4A6A-82BD-A16BA3C3737F}"/>
                  </a:ext>
                </a:extLst>
              </p:cNvPr>
              <p:cNvSpPr/>
              <p:nvPr/>
            </p:nvSpPr>
            <p:spPr>
              <a:xfrm>
                <a:off x="6798716" y="3357514"/>
                <a:ext cx="88349" cy="406611"/>
              </a:xfrm>
              <a:custGeom>
                <a:avLst/>
                <a:gdLst>
                  <a:gd name="connsiteX0" fmla="*/ 855 w 88349"/>
                  <a:gd name="connsiteY0" fmla="*/ 16660 h 406611"/>
                  <a:gd name="connsiteX1" fmla="*/ 12388 w 88349"/>
                  <a:gd name="connsiteY1" fmla="*/ 25631 h 406611"/>
                  <a:gd name="connsiteX2" fmla="*/ 72621 w 88349"/>
                  <a:gd name="connsiteY2" fmla="*/ 380619 h 406611"/>
                  <a:gd name="connsiteX3" fmla="*/ 73903 w 88349"/>
                  <a:gd name="connsiteY3" fmla="*/ 406250 h 406611"/>
                  <a:gd name="connsiteX4" fmla="*/ 86718 w 88349"/>
                  <a:gd name="connsiteY4" fmla="*/ 387027 h 406611"/>
                  <a:gd name="connsiteX5" fmla="*/ 77747 w 88349"/>
                  <a:gd name="connsiteY5" fmla="*/ 380619 h 406611"/>
                  <a:gd name="connsiteX6" fmla="*/ 17514 w 88349"/>
                  <a:gd name="connsiteY6" fmla="*/ 25631 h 406611"/>
                  <a:gd name="connsiteX7" fmla="*/ 11107 w 88349"/>
                  <a:gd name="connsiteY7" fmla="*/ 0 h 406611"/>
                  <a:gd name="connsiteX8" fmla="*/ 8544 w 88349"/>
                  <a:gd name="connsiteY8" fmla="*/ 0 h 406611"/>
                  <a:gd name="connsiteX9" fmla="*/ 855 w 88349"/>
                  <a:gd name="connsiteY9" fmla="*/ 16660 h 40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349" h="406611">
                    <a:moveTo>
                      <a:pt x="855" y="16660"/>
                    </a:moveTo>
                    <a:cubicBezTo>
                      <a:pt x="2136" y="20505"/>
                      <a:pt x="4699" y="24349"/>
                      <a:pt x="12388" y="25631"/>
                    </a:cubicBezTo>
                    <a:cubicBezTo>
                      <a:pt x="38019" y="144815"/>
                      <a:pt x="58524" y="263998"/>
                      <a:pt x="72621" y="380619"/>
                    </a:cubicBezTo>
                    <a:cubicBezTo>
                      <a:pt x="58524" y="389590"/>
                      <a:pt x="67495" y="403687"/>
                      <a:pt x="73903" y="406250"/>
                    </a:cubicBezTo>
                    <a:cubicBezTo>
                      <a:pt x="84155" y="408813"/>
                      <a:pt x="91844" y="397279"/>
                      <a:pt x="86718" y="387027"/>
                    </a:cubicBezTo>
                    <a:cubicBezTo>
                      <a:pt x="84155" y="381901"/>
                      <a:pt x="79029" y="380619"/>
                      <a:pt x="77747" y="380619"/>
                    </a:cubicBezTo>
                    <a:cubicBezTo>
                      <a:pt x="63650" y="263998"/>
                      <a:pt x="44427" y="144815"/>
                      <a:pt x="17514" y="25631"/>
                    </a:cubicBezTo>
                    <a:cubicBezTo>
                      <a:pt x="31611" y="15379"/>
                      <a:pt x="20077" y="0"/>
                      <a:pt x="11107" y="0"/>
                    </a:cubicBezTo>
                    <a:cubicBezTo>
                      <a:pt x="9825" y="0"/>
                      <a:pt x="9825" y="0"/>
                      <a:pt x="8544" y="0"/>
                    </a:cubicBezTo>
                    <a:cubicBezTo>
                      <a:pt x="-1709" y="2563"/>
                      <a:pt x="-427" y="12815"/>
                      <a:pt x="85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4" name="Freeform: Shape 379800">
                <a:extLst>
                  <a:ext uri="{FF2B5EF4-FFF2-40B4-BE49-F238E27FC236}">
                    <a16:creationId xmlns:a16="http://schemas.microsoft.com/office/drawing/2014/main" id="{F76C6D6E-6F10-451F-A58A-CB899A66ACC0}"/>
                  </a:ext>
                </a:extLst>
              </p:cNvPr>
              <p:cNvSpPr/>
              <p:nvPr/>
            </p:nvSpPr>
            <p:spPr>
              <a:xfrm>
                <a:off x="6740995" y="3130681"/>
                <a:ext cx="115688" cy="246368"/>
              </a:xfrm>
              <a:custGeom>
                <a:avLst/>
                <a:gdLst>
                  <a:gd name="connsiteX0" fmla="*/ 906 w 115688"/>
                  <a:gd name="connsiteY0" fmla="*/ 17942 h 246368"/>
                  <a:gd name="connsiteX1" fmla="*/ 12440 w 115688"/>
                  <a:gd name="connsiteY1" fmla="*/ 26912 h 246368"/>
                  <a:gd name="connsiteX2" fmla="*/ 58576 w 115688"/>
                  <a:gd name="connsiteY2" fmla="*/ 202484 h 246368"/>
                  <a:gd name="connsiteX3" fmla="*/ 58576 w 115688"/>
                  <a:gd name="connsiteY3" fmla="*/ 202484 h 246368"/>
                  <a:gd name="connsiteX4" fmla="*/ 93178 w 115688"/>
                  <a:gd name="connsiteY4" fmla="*/ 228115 h 246368"/>
                  <a:gd name="connsiteX5" fmla="*/ 111120 w 115688"/>
                  <a:gd name="connsiteY5" fmla="*/ 244775 h 246368"/>
                  <a:gd name="connsiteX6" fmla="*/ 103430 w 115688"/>
                  <a:gd name="connsiteY6" fmla="*/ 219144 h 246368"/>
                  <a:gd name="connsiteX7" fmla="*/ 95741 w 115688"/>
                  <a:gd name="connsiteY7" fmla="*/ 222989 h 246368"/>
                  <a:gd name="connsiteX8" fmla="*/ 62421 w 115688"/>
                  <a:gd name="connsiteY8" fmla="*/ 198640 h 246368"/>
                  <a:gd name="connsiteX9" fmla="*/ 17566 w 115688"/>
                  <a:gd name="connsiteY9" fmla="*/ 24349 h 246368"/>
                  <a:gd name="connsiteX10" fmla="*/ 12440 w 115688"/>
                  <a:gd name="connsiteY10" fmla="*/ 0 h 246368"/>
                  <a:gd name="connsiteX11" fmla="*/ 7314 w 115688"/>
                  <a:gd name="connsiteY11" fmla="*/ 0 h 246368"/>
                  <a:gd name="connsiteX12" fmla="*/ 906 w 115688"/>
                  <a:gd name="connsiteY12" fmla="*/ 17942 h 24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688" h="246368">
                    <a:moveTo>
                      <a:pt x="906" y="17942"/>
                    </a:moveTo>
                    <a:cubicBezTo>
                      <a:pt x="2188" y="21786"/>
                      <a:pt x="6033" y="25631"/>
                      <a:pt x="12440" y="26912"/>
                    </a:cubicBezTo>
                    <a:cubicBezTo>
                      <a:pt x="29100" y="84582"/>
                      <a:pt x="44479" y="142252"/>
                      <a:pt x="58576" y="202484"/>
                    </a:cubicBezTo>
                    <a:cubicBezTo>
                      <a:pt x="58576" y="202484"/>
                      <a:pt x="58576" y="202484"/>
                      <a:pt x="58576" y="202484"/>
                    </a:cubicBezTo>
                    <a:cubicBezTo>
                      <a:pt x="68828" y="210174"/>
                      <a:pt x="82925" y="220426"/>
                      <a:pt x="93178" y="228115"/>
                    </a:cubicBezTo>
                    <a:cubicBezTo>
                      <a:pt x="90615" y="242212"/>
                      <a:pt x="104712" y="249901"/>
                      <a:pt x="111120" y="244775"/>
                    </a:cubicBezTo>
                    <a:cubicBezTo>
                      <a:pt x="120091" y="238368"/>
                      <a:pt x="114964" y="220426"/>
                      <a:pt x="103430" y="219144"/>
                    </a:cubicBezTo>
                    <a:cubicBezTo>
                      <a:pt x="99586" y="219144"/>
                      <a:pt x="97023" y="221707"/>
                      <a:pt x="95741" y="222989"/>
                    </a:cubicBezTo>
                    <a:lnTo>
                      <a:pt x="62421" y="198640"/>
                    </a:lnTo>
                    <a:cubicBezTo>
                      <a:pt x="48324" y="139688"/>
                      <a:pt x="32945" y="82019"/>
                      <a:pt x="17566" y="24349"/>
                    </a:cubicBezTo>
                    <a:cubicBezTo>
                      <a:pt x="29100" y="17942"/>
                      <a:pt x="22692" y="2563"/>
                      <a:pt x="12440" y="0"/>
                    </a:cubicBezTo>
                    <a:cubicBezTo>
                      <a:pt x="11158" y="0"/>
                      <a:pt x="8595" y="0"/>
                      <a:pt x="7314" y="0"/>
                    </a:cubicBezTo>
                    <a:cubicBezTo>
                      <a:pt x="-1657" y="3845"/>
                      <a:pt x="-375" y="14097"/>
                      <a:pt x="906"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5" name="Freeform: Shape 379801">
                <a:extLst>
                  <a:ext uri="{FF2B5EF4-FFF2-40B4-BE49-F238E27FC236}">
                    <a16:creationId xmlns:a16="http://schemas.microsoft.com/office/drawing/2014/main" id="{24FAEB07-D677-4782-97D4-A1BC139E07A3}"/>
                  </a:ext>
                </a:extLst>
              </p:cNvPr>
              <p:cNvSpPr/>
              <p:nvPr/>
            </p:nvSpPr>
            <p:spPr>
              <a:xfrm>
                <a:off x="6971674" y="3328039"/>
                <a:ext cx="67910" cy="295117"/>
              </a:xfrm>
              <a:custGeom>
                <a:avLst/>
                <a:gdLst>
                  <a:gd name="connsiteX0" fmla="*/ 906 w 67910"/>
                  <a:gd name="connsiteY0" fmla="*/ 17942 h 295117"/>
                  <a:gd name="connsiteX1" fmla="*/ 11158 w 67910"/>
                  <a:gd name="connsiteY1" fmla="*/ 26912 h 295117"/>
                  <a:gd name="connsiteX2" fmla="*/ 53450 w 67910"/>
                  <a:gd name="connsiteY2" fmla="*/ 269125 h 295117"/>
                  <a:gd name="connsiteX3" fmla="*/ 54731 w 67910"/>
                  <a:gd name="connsiteY3" fmla="*/ 294755 h 295117"/>
                  <a:gd name="connsiteX4" fmla="*/ 66265 w 67910"/>
                  <a:gd name="connsiteY4" fmla="*/ 275532 h 295117"/>
                  <a:gd name="connsiteX5" fmla="*/ 57294 w 67910"/>
                  <a:gd name="connsiteY5" fmla="*/ 267843 h 295117"/>
                  <a:gd name="connsiteX6" fmla="*/ 15003 w 67910"/>
                  <a:gd name="connsiteY6" fmla="*/ 25631 h 295117"/>
                  <a:gd name="connsiteX7" fmla="*/ 11158 w 67910"/>
                  <a:gd name="connsiteY7" fmla="*/ 0 h 295117"/>
                  <a:gd name="connsiteX8" fmla="*/ 7314 w 67910"/>
                  <a:gd name="connsiteY8" fmla="*/ 0 h 295117"/>
                  <a:gd name="connsiteX9" fmla="*/ 906 w 67910"/>
                  <a:gd name="connsiteY9" fmla="*/ 17942 h 295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910" h="295117">
                    <a:moveTo>
                      <a:pt x="906" y="17942"/>
                    </a:moveTo>
                    <a:cubicBezTo>
                      <a:pt x="2187" y="21786"/>
                      <a:pt x="4751" y="25631"/>
                      <a:pt x="11158" y="26912"/>
                    </a:cubicBezTo>
                    <a:cubicBezTo>
                      <a:pt x="29100" y="107650"/>
                      <a:pt x="43197" y="188387"/>
                      <a:pt x="53450" y="269125"/>
                    </a:cubicBezTo>
                    <a:cubicBezTo>
                      <a:pt x="41916" y="275532"/>
                      <a:pt x="45760" y="290911"/>
                      <a:pt x="54731" y="294755"/>
                    </a:cubicBezTo>
                    <a:cubicBezTo>
                      <a:pt x="63702" y="297319"/>
                      <a:pt x="71391" y="285785"/>
                      <a:pt x="66265" y="275532"/>
                    </a:cubicBezTo>
                    <a:cubicBezTo>
                      <a:pt x="63702" y="269125"/>
                      <a:pt x="59857" y="269125"/>
                      <a:pt x="57294" y="267843"/>
                    </a:cubicBezTo>
                    <a:cubicBezTo>
                      <a:pt x="47042" y="187106"/>
                      <a:pt x="32945" y="106368"/>
                      <a:pt x="15003" y="25631"/>
                    </a:cubicBezTo>
                    <a:cubicBezTo>
                      <a:pt x="25255" y="19223"/>
                      <a:pt x="20130" y="2563"/>
                      <a:pt x="11158" y="0"/>
                    </a:cubicBezTo>
                    <a:cubicBezTo>
                      <a:pt x="9877" y="0"/>
                      <a:pt x="8596" y="0"/>
                      <a:pt x="7314" y="0"/>
                    </a:cubicBezTo>
                    <a:cubicBezTo>
                      <a:pt x="-1657" y="2563"/>
                      <a:pt x="-375" y="14097"/>
                      <a:pt x="906"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6" name="Freeform: Shape 379802">
                <a:extLst>
                  <a:ext uri="{FF2B5EF4-FFF2-40B4-BE49-F238E27FC236}">
                    <a16:creationId xmlns:a16="http://schemas.microsoft.com/office/drawing/2014/main" id="{49B74645-D3FA-4054-A5B9-CDE223000C8C}"/>
                  </a:ext>
                </a:extLst>
              </p:cNvPr>
              <p:cNvSpPr/>
              <p:nvPr/>
            </p:nvSpPr>
            <p:spPr>
              <a:xfrm>
                <a:off x="7495588" y="3269088"/>
                <a:ext cx="30152" cy="102581"/>
              </a:xfrm>
              <a:custGeom>
                <a:avLst/>
                <a:gdLst>
                  <a:gd name="connsiteX0" fmla="*/ 1146 w 30152"/>
                  <a:gd name="connsiteY0" fmla="*/ 15379 h 102581"/>
                  <a:gd name="connsiteX1" fmla="*/ 8836 w 30152"/>
                  <a:gd name="connsiteY1" fmla="*/ 25631 h 102581"/>
                  <a:gd name="connsiteX2" fmla="*/ 19088 w 30152"/>
                  <a:gd name="connsiteY2" fmla="*/ 76893 h 102581"/>
                  <a:gd name="connsiteX3" fmla="*/ 25496 w 30152"/>
                  <a:gd name="connsiteY3" fmla="*/ 102524 h 102581"/>
                  <a:gd name="connsiteX4" fmla="*/ 24214 w 30152"/>
                  <a:gd name="connsiteY4" fmla="*/ 78174 h 102581"/>
                  <a:gd name="connsiteX5" fmla="*/ 21651 w 30152"/>
                  <a:gd name="connsiteY5" fmla="*/ 76893 h 102581"/>
                  <a:gd name="connsiteX6" fmla="*/ 11399 w 30152"/>
                  <a:gd name="connsiteY6" fmla="*/ 25631 h 102581"/>
                  <a:gd name="connsiteX7" fmla="*/ 3710 w 30152"/>
                  <a:gd name="connsiteY7" fmla="*/ 0 h 102581"/>
                  <a:gd name="connsiteX8" fmla="*/ 1146 w 30152"/>
                  <a:gd name="connsiteY8" fmla="*/ 15379 h 10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52" h="102581">
                    <a:moveTo>
                      <a:pt x="1146" y="15379"/>
                    </a:moveTo>
                    <a:cubicBezTo>
                      <a:pt x="2428" y="19223"/>
                      <a:pt x="4991" y="23068"/>
                      <a:pt x="8836" y="25631"/>
                    </a:cubicBezTo>
                    <a:cubicBezTo>
                      <a:pt x="12680" y="42291"/>
                      <a:pt x="15244" y="58951"/>
                      <a:pt x="19088" y="76893"/>
                    </a:cubicBezTo>
                    <a:cubicBezTo>
                      <a:pt x="10117" y="83301"/>
                      <a:pt x="19088" y="103805"/>
                      <a:pt x="25496" y="102524"/>
                    </a:cubicBezTo>
                    <a:cubicBezTo>
                      <a:pt x="31903" y="102524"/>
                      <a:pt x="31903" y="84582"/>
                      <a:pt x="24214" y="78174"/>
                    </a:cubicBezTo>
                    <a:cubicBezTo>
                      <a:pt x="24214" y="78174"/>
                      <a:pt x="22933" y="76893"/>
                      <a:pt x="21651" y="76893"/>
                    </a:cubicBezTo>
                    <a:cubicBezTo>
                      <a:pt x="19088" y="60233"/>
                      <a:pt x="15244" y="43573"/>
                      <a:pt x="11399" y="25631"/>
                    </a:cubicBezTo>
                    <a:cubicBezTo>
                      <a:pt x="17807" y="20505"/>
                      <a:pt x="12680" y="0"/>
                      <a:pt x="3710" y="0"/>
                    </a:cubicBezTo>
                    <a:cubicBezTo>
                      <a:pt x="-1417" y="0"/>
                      <a:pt x="-135" y="11534"/>
                      <a:pt x="1146"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7" name="Freeform: Shape 379803">
                <a:extLst>
                  <a:ext uri="{FF2B5EF4-FFF2-40B4-BE49-F238E27FC236}">
                    <a16:creationId xmlns:a16="http://schemas.microsoft.com/office/drawing/2014/main" id="{232A3A95-AB36-43AB-BA6A-C3DD6BC1B666}"/>
                  </a:ext>
                </a:extLst>
              </p:cNvPr>
              <p:cNvSpPr/>
              <p:nvPr/>
            </p:nvSpPr>
            <p:spPr>
              <a:xfrm>
                <a:off x="7487763" y="2744936"/>
                <a:ext cx="267992" cy="833004"/>
              </a:xfrm>
              <a:custGeom>
                <a:avLst/>
                <a:gdLst>
                  <a:gd name="connsiteX0" fmla="*/ 102524 w 267992"/>
                  <a:gd name="connsiteY0" fmla="*/ 279377 h 833004"/>
                  <a:gd name="connsiteX1" fmla="*/ 108932 w 267992"/>
                  <a:gd name="connsiteY1" fmla="*/ 289629 h 833004"/>
                  <a:gd name="connsiteX2" fmla="*/ 152504 w 267992"/>
                  <a:gd name="connsiteY2" fmla="*/ 425473 h 833004"/>
                  <a:gd name="connsiteX3" fmla="*/ 212737 w 267992"/>
                  <a:gd name="connsiteY3" fmla="*/ 545938 h 833004"/>
                  <a:gd name="connsiteX4" fmla="*/ 217864 w 267992"/>
                  <a:gd name="connsiteY4" fmla="*/ 570288 h 833004"/>
                  <a:gd name="connsiteX5" fmla="*/ 222989 w 267992"/>
                  <a:gd name="connsiteY5" fmla="*/ 595919 h 833004"/>
                  <a:gd name="connsiteX6" fmla="*/ 219145 w 267992"/>
                  <a:gd name="connsiteY6" fmla="*/ 570288 h 833004"/>
                  <a:gd name="connsiteX7" fmla="*/ 215300 w 267992"/>
                  <a:gd name="connsiteY7" fmla="*/ 552346 h 833004"/>
                  <a:gd name="connsiteX8" fmla="*/ 229398 w 267992"/>
                  <a:gd name="connsiteY8" fmla="*/ 586948 h 833004"/>
                  <a:gd name="connsiteX9" fmla="*/ 235805 w 267992"/>
                  <a:gd name="connsiteY9" fmla="*/ 624113 h 833004"/>
                  <a:gd name="connsiteX10" fmla="*/ 251184 w 267992"/>
                  <a:gd name="connsiteY10" fmla="*/ 739452 h 833004"/>
                  <a:gd name="connsiteX11" fmla="*/ 251184 w 267992"/>
                  <a:gd name="connsiteY11" fmla="*/ 740733 h 833004"/>
                  <a:gd name="connsiteX12" fmla="*/ 262718 w 267992"/>
                  <a:gd name="connsiteY12" fmla="*/ 781743 h 833004"/>
                  <a:gd name="connsiteX13" fmla="*/ 263999 w 267992"/>
                  <a:gd name="connsiteY13" fmla="*/ 806092 h 833004"/>
                  <a:gd name="connsiteX14" fmla="*/ 266562 w 267992"/>
                  <a:gd name="connsiteY14" fmla="*/ 833005 h 833004"/>
                  <a:gd name="connsiteX15" fmla="*/ 265281 w 267992"/>
                  <a:gd name="connsiteY15" fmla="*/ 807374 h 833004"/>
                  <a:gd name="connsiteX16" fmla="*/ 262718 w 267992"/>
                  <a:gd name="connsiteY16" fmla="*/ 780461 h 833004"/>
                  <a:gd name="connsiteX17" fmla="*/ 251184 w 267992"/>
                  <a:gd name="connsiteY17" fmla="*/ 739452 h 833004"/>
                  <a:gd name="connsiteX18" fmla="*/ 235805 w 267992"/>
                  <a:gd name="connsiteY18" fmla="*/ 625394 h 833004"/>
                  <a:gd name="connsiteX19" fmla="*/ 228116 w 267992"/>
                  <a:gd name="connsiteY19" fmla="*/ 585666 h 833004"/>
                  <a:gd name="connsiteX20" fmla="*/ 211456 w 267992"/>
                  <a:gd name="connsiteY20" fmla="*/ 544657 h 833004"/>
                  <a:gd name="connsiteX21" fmla="*/ 203767 w 267992"/>
                  <a:gd name="connsiteY21" fmla="*/ 508773 h 833004"/>
                  <a:gd name="connsiteX22" fmla="*/ 185825 w 267992"/>
                  <a:gd name="connsiteY22" fmla="*/ 438288 h 833004"/>
                  <a:gd name="connsiteX23" fmla="*/ 201203 w 267992"/>
                  <a:gd name="connsiteY23" fmla="*/ 472890 h 833004"/>
                  <a:gd name="connsiteX24" fmla="*/ 210174 w 267992"/>
                  <a:gd name="connsiteY24" fmla="*/ 510055 h 833004"/>
                  <a:gd name="connsiteX25" fmla="*/ 219145 w 267992"/>
                  <a:gd name="connsiteY25" fmla="*/ 548501 h 833004"/>
                  <a:gd name="connsiteX26" fmla="*/ 235805 w 267992"/>
                  <a:gd name="connsiteY26" fmla="*/ 599763 h 833004"/>
                  <a:gd name="connsiteX27" fmla="*/ 231960 w 267992"/>
                  <a:gd name="connsiteY27" fmla="*/ 575414 h 833004"/>
                  <a:gd name="connsiteX28" fmla="*/ 230679 w 267992"/>
                  <a:gd name="connsiteY28" fmla="*/ 576695 h 833004"/>
                  <a:gd name="connsiteX29" fmla="*/ 219145 w 267992"/>
                  <a:gd name="connsiteY29" fmla="*/ 545938 h 833004"/>
                  <a:gd name="connsiteX30" fmla="*/ 211456 w 267992"/>
                  <a:gd name="connsiteY30" fmla="*/ 510055 h 833004"/>
                  <a:gd name="connsiteX31" fmla="*/ 203767 w 267992"/>
                  <a:gd name="connsiteY31" fmla="*/ 478016 h 833004"/>
                  <a:gd name="connsiteX32" fmla="*/ 217864 w 267992"/>
                  <a:gd name="connsiteY32" fmla="*/ 512618 h 833004"/>
                  <a:gd name="connsiteX33" fmla="*/ 222989 w 267992"/>
                  <a:gd name="connsiteY33" fmla="*/ 536968 h 833004"/>
                  <a:gd name="connsiteX34" fmla="*/ 228116 w 267992"/>
                  <a:gd name="connsiteY34" fmla="*/ 562598 h 833004"/>
                  <a:gd name="connsiteX35" fmla="*/ 222989 w 267992"/>
                  <a:gd name="connsiteY35" fmla="*/ 536968 h 833004"/>
                  <a:gd name="connsiteX36" fmla="*/ 217864 w 267992"/>
                  <a:gd name="connsiteY36" fmla="*/ 512618 h 833004"/>
                  <a:gd name="connsiteX37" fmla="*/ 217864 w 267992"/>
                  <a:gd name="connsiteY37" fmla="*/ 510055 h 833004"/>
                  <a:gd name="connsiteX38" fmla="*/ 201203 w 267992"/>
                  <a:gd name="connsiteY38" fmla="*/ 469046 h 833004"/>
                  <a:gd name="connsiteX39" fmla="*/ 161475 w 267992"/>
                  <a:gd name="connsiteY39" fmla="*/ 334483 h 833004"/>
                  <a:gd name="connsiteX40" fmla="*/ 152504 w 267992"/>
                  <a:gd name="connsiteY40" fmla="*/ 310134 h 833004"/>
                  <a:gd name="connsiteX41" fmla="*/ 160194 w 267992"/>
                  <a:gd name="connsiteY41" fmla="*/ 334483 h 833004"/>
                  <a:gd name="connsiteX42" fmla="*/ 198640 w 267992"/>
                  <a:gd name="connsiteY42" fmla="*/ 463919 h 833004"/>
                  <a:gd name="connsiteX43" fmla="*/ 181980 w 267992"/>
                  <a:gd name="connsiteY43" fmla="*/ 429318 h 833004"/>
                  <a:gd name="connsiteX44" fmla="*/ 12815 w 267992"/>
                  <a:gd name="connsiteY44" fmla="*/ 21786 h 833004"/>
                  <a:gd name="connsiteX45" fmla="*/ 0 w 267992"/>
                  <a:gd name="connsiteY45" fmla="*/ 0 h 833004"/>
                  <a:gd name="connsiteX46" fmla="*/ 11534 w 267992"/>
                  <a:gd name="connsiteY46" fmla="*/ 21786 h 833004"/>
                  <a:gd name="connsiteX47" fmla="*/ 179417 w 267992"/>
                  <a:gd name="connsiteY47" fmla="*/ 424191 h 833004"/>
                  <a:gd name="connsiteX48" fmla="*/ 161475 w 267992"/>
                  <a:gd name="connsiteY48" fmla="*/ 390871 h 833004"/>
                  <a:gd name="connsiteX49" fmla="*/ 55107 w 267992"/>
                  <a:gd name="connsiteY49" fmla="*/ 119184 h 833004"/>
                  <a:gd name="connsiteX50" fmla="*/ 43573 w 267992"/>
                  <a:gd name="connsiteY50" fmla="*/ 96116 h 833004"/>
                  <a:gd name="connsiteX51" fmla="*/ 53825 w 267992"/>
                  <a:gd name="connsiteY51" fmla="*/ 119184 h 833004"/>
                  <a:gd name="connsiteX52" fmla="*/ 160194 w 267992"/>
                  <a:gd name="connsiteY52" fmla="*/ 392153 h 833004"/>
                  <a:gd name="connsiteX53" fmla="*/ 180699 w 267992"/>
                  <a:gd name="connsiteY53" fmla="*/ 431881 h 833004"/>
                  <a:gd name="connsiteX54" fmla="*/ 199922 w 267992"/>
                  <a:gd name="connsiteY54" fmla="*/ 507492 h 833004"/>
                  <a:gd name="connsiteX55" fmla="*/ 206330 w 267992"/>
                  <a:gd name="connsiteY55" fmla="*/ 538249 h 833004"/>
                  <a:gd name="connsiteX56" fmla="*/ 148660 w 267992"/>
                  <a:gd name="connsiteY56" fmla="*/ 424191 h 833004"/>
                  <a:gd name="connsiteX57" fmla="*/ 106368 w 267992"/>
                  <a:gd name="connsiteY57" fmla="*/ 290911 h 833004"/>
                  <a:gd name="connsiteX58" fmla="*/ 97398 w 267992"/>
                  <a:gd name="connsiteY58" fmla="*/ 266561 h 833004"/>
                  <a:gd name="connsiteX59" fmla="*/ 102524 w 267992"/>
                  <a:gd name="connsiteY59" fmla="*/ 279377 h 83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67992" h="833004">
                    <a:moveTo>
                      <a:pt x="102524" y="279377"/>
                    </a:moveTo>
                    <a:cubicBezTo>
                      <a:pt x="103805" y="281940"/>
                      <a:pt x="106368" y="287066"/>
                      <a:pt x="108932" y="289629"/>
                    </a:cubicBezTo>
                    <a:cubicBezTo>
                      <a:pt x="125592" y="334483"/>
                      <a:pt x="139689" y="379337"/>
                      <a:pt x="152504" y="425473"/>
                    </a:cubicBezTo>
                    <a:cubicBezTo>
                      <a:pt x="170446" y="461356"/>
                      <a:pt x="196077" y="508773"/>
                      <a:pt x="212737" y="545938"/>
                    </a:cubicBezTo>
                    <a:cubicBezTo>
                      <a:pt x="214019" y="553628"/>
                      <a:pt x="216582" y="562598"/>
                      <a:pt x="217864" y="570288"/>
                    </a:cubicBezTo>
                    <a:cubicBezTo>
                      <a:pt x="217864" y="574132"/>
                      <a:pt x="216582" y="584385"/>
                      <a:pt x="222989" y="595919"/>
                    </a:cubicBezTo>
                    <a:cubicBezTo>
                      <a:pt x="228116" y="584385"/>
                      <a:pt x="219145" y="570288"/>
                      <a:pt x="219145" y="570288"/>
                    </a:cubicBezTo>
                    <a:cubicBezTo>
                      <a:pt x="217864" y="563880"/>
                      <a:pt x="216582" y="557472"/>
                      <a:pt x="215300" y="552346"/>
                    </a:cubicBezTo>
                    <a:lnTo>
                      <a:pt x="229398" y="586948"/>
                    </a:lnTo>
                    <a:cubicBezTo>
                      <a:pt x="231960" y="599763"/>
                      <a:pt x="234523" y="611297"/>
                      <a:pt x="235805" y="624113"/>
                    </a:cubicBezTo>
                    <a:cubicBezTo>
                      <a:pt x="242213" y="662559"/>
                      <a:pt x="247339" y="701005"/>
                      <a:pt x="251184" y="739452"/>
                    </a:cubicBezTo>
                    <a:cubicBezTo>
                      <a:pt x="251184" y="739452"/>
                      <a:pt x="251184" y="740733"/>
                      <a:pt x="251184" y="740733"/>
                    </a:cubicBezTo>
                    <a:lnTo>
                      <a:pt x="262718" y="781743"/>
                    </a:lnTo>
                    <a:cubicBezTo>
                      <a:pt x="263999" y="789432"/>
                      <a:pt x="263999" y="797121"/>
                      <a:pt x="263999" y="806092"/>
                    </a:cubicBezTo>
                    <a:cubicBezTo>
                      <a:pt x="262718" y="809937"/>
                      <a:pt x="261436" y="820189"/>
                      <a:pt x="266562" y="833005"/>
                    </a:cubicBezTo>
                    <a:cubicBezTo>
                      <a:pt x="270407" y="820189"/>
                      <a:pt x="265281" y="807374"/>
                      <a:pt x="265281" y="807374"/>
                    </a:cubicBezTo>
                    <a:cubicBezTo>
                      <a:pt x="265281" y="798403"/>
                      <a:pt x="263999" y="789432"/>
                      <a:pt x="262718" y="780461"/>
                    </a:cubicBezTo>
                    <a:lnTo>
                      <a:pt x="251184" y="739452"/>
                    </a:lnTo>
                    <a:cubicBezTo>
                      <a:pt x="247339" y="701005"/>
                      <a:pt x="242213" y="663840"/>
                      <a:pt x="235805" y="625394"/>
                    </a:cubicBezTo>
                    <a:cubicBezTo>
                      <a:pt x="233242" y="612579"/>
                      <a:pt x="230679" y="598482"/>
                      <a:pt x="228116" y="585666"/>
                    </a:cubicBezTo>
                    <a:lnTo>
                      <a:pt x="211456" y="544657"/>
                    </a:lnTo>
                    <a:cubicBezTo>
                      <a:pt x="208893" y="533123"/>
                      <a:pt x="206330" y="520307"/>
                      <a:pt x="203767" y="508773"/>
                    </a:cubicBezTo>
                    <a:cubicBezTo>
                      <a:pt x="198640" y="485706"/>
                      <a:pt x="192233" y="461356"/>
                      <a:pt x="185825" y="438288"/>
                    </a:cubicBezTo>
                    <a:lnTo>
                      <a:pt x="201203" y="472890"/>
                    </a:lnTo>
                    <a:cubicBezTo>
                      <a:pt x="203767" y="485706"/>
                      <a:pt x="207611" y="498521"/>
                      <a:pt x="210174" y="510055"/>
                    </a:cubicBezTo>
                    <a:cubicBezTo>
                      <a:pt x="212737" y="522871"/>
                      <a:pt x="216582" y="535686"/>
                      <a:pt x="219145" y="548501"/>
                    </a:cubicBezTo>
                    <a:cubicBezTo>
                      <a:pt x="225553" y="565162"/>
                      <a:pt x="229398" y="583103"/>
                      <a:pt x="235805" y="599763"/>
                    </a:cubicBezTo>
                    <a:cubicBezTo>
                      <a:pt x="237087" y="594637"/>
                      <a:pt x="238368" y="589511"/>
                      <a:pt x="231960" y="575414"/>
                    </a:cubicBezTo>
                    <a:cubicBezTo>
                      <a:pt x="231960" y="575414"/>
                      <a:pt x="230679" y="576695"/>
                      <a:pt x="230679" y="576695"/>
                    </a:cubicBezTo>
                    <a:lnTo>
                      <a:pt x="219145" y="545938"/>
                    </a:lnTo>
                    <a:cubicBezTo>
                      <a:pt x="216582" y="534404"/>
                      <a:pt x="214019" y="521589"/>
                      <a:pt x="211456" y="510055"/>
                    </a:cubicBezTo>
                    <a:cubicBezTo>
                      <a:pt x="208893" y="499803"/>
                      <a:pt x="206330" y="488269"/>
                      <a:pt x="203767" y="478016"/>
                    </a:cubicBezTo>
                    <a:lnTo>
                      <a:pt x="217864" y="512618"/>
                    </a:lnTo>
                    <a:cubicBezTo>
                      <a:pt x="219145" y="520307"/>
                      <a:pt x="221708" y="529278"/>
                      <a:pt x="222989" y="536968"/>
                    </a:cubicBezTo>
                    <a:cubicBezTo>
                      <a:pt x="222989" y="540812"/>
                      <a:pt x="222989" y="551064"/>
                      <a:pt x="228116" y="562598"/>
                    </a:cubicBezTo>
                    <a:cubicBezTo>
                      <a:pt x="230679" y="551064"/>
                      <a:pt x="224271" y="536968"/>
                      <a:pt x="222989" y="536968"/>
                    </a:cubicBezTo>
                    <a:cubicBezTo>
                      <a:pt x="221708" y="529278"/>
                      <a:pt x="219145" y="520307"/>
                      <a:pt x="217864" y="512618"/>
                    </a:cubicBezTo>
                    <a:cubicBezTo>
                      <a:pt x="217864" y="511337"/>
                      <a:pt x="217864" y="511337"/>
                      <a:pt x="217864" y="510055"/>
                    </a:cubicBezTo>
                    <a:lnTo>
                      <a:pt x="201203" y="469046"/>
                    </a:lnTo>
                    <a:cubicBezTo>
                      <a:pt x="189669" y="422910"/>
                      <a:pt x="175572" y="378056"/>
                      <a:pt x="161475" y="334483"/>
                    </a:cubicBezTo>
                    <a:cubicBezTo>
                      <a:pt x="161475" y="330639"/>
                      <a:pt x="160194" y="321668"/>
                      <a:pt x="152504" y="310134"/>
                    </a:cubicBezTo>
                    <a:cubicBezTo>
                      <a:pt x="149941" y="320386"/>
                      <a:pt x="160194" y="334483"/>
                      <a:pt x="160194" y="334483"/>
                    </a:cubicBezTo>
                    <a:cubicBezTo>
                      <a:pt x="174291" y="376774"/>
                      <a:pt x="187106" y="420347"/>
                      <a:pt x="198640" y="463919"/>
                    </a:cubicBezTo>
                    <a:lnTo>
                      <a:pt x="181980" y="429318"/>
                    </a:lnTo>
                    <a:cubicBezTo>
                      <a:pt x="140970" y="283221"/>
                      <a:pt x="83300" y="147378"/>
                      <a:pt x="12815" y="21786"/>
                    </a:cubicBezTo>
                    <a:cubicBezTo>
                      <a:pt x="8971" y="7689"/>
                      <a:pt x="0" y="0"/>
                      <a:pt x="0" y="0"/>
                    </a:cubicBezTo>
                    <a:cubicBezTo>
                      <a:pt x="1281" y="10252"/>
                      <a:pt x="8971" y="19223"/>
                      <a:pt x="11534" y="21786"/>
                    </a:cubicBezTo>
                    <a:cubicBezTo>
                      <a:pt x="82019" y="146096"/>
                      <a:pt x="138407" y="280658"/>
                      <a:pt x="179417" y="424191"/>
                    </a:cubicBezTo>
                    <a:lnTo>
                      <a:pt x="161475" y="390871"/>
                    </a:lnTo>
                    <a:cubicBezTo>
                      <a:pt x="133281" y="296037"/>
                      <a:pt x="97398" y="206329"/>
                      <a:pt x="55107" y="119184"/>
                    </a:cubicBezTo>
                    <a:cubicBezTo>
                      <a:pt x="55107" y="115339"/>
                      <a:pt x="53825" y="106368"/>
                      <a:pt x="43573" y="96116"/>
                    </a:cubicBezTo>
                    <a:cubicBezTo>
                      <a:pt x="43573" y="99961"/>
                      <a:pt x="43573" y="107650"/>
                      <a:pt x="53825" y="119184"/>
                    </a:cubicBezTo>
                    <a:cubicBezTo>
                      <a:pt x="96116" y="206329"/>
                      <a:pt x="132000" y="297319"/>
                      <a:pt x="160194" y="392153"/>
                    </a:cubicBezTo>
                    <a:lnTo>
                      <a:pt x="180699" y="431881"/>
                    </a:lnTo>
                    <a:cubicBezTo>
                      <a:pt x="187106" y="456230"/>
                      <a:pt x="193514" y="481861"/>
                      <a:pt x="199922" y="507492"/>
                    </a:cubicBezTo>
                    <a:cubicBezTo>
                      <a:pt x="202485" y="517744"/>
                      <a:pt x="205048" y="527997"/>
                      <a:pt x="206330" y="538249"/>
                    </a:cubicBezTo>
                    <a:cubicBezTo>
                      <a:pt x="189669" y="503647"/>
                      <a:pt x="167883" y="457512"/>
                      <a:pt x="148660" y="424191"/>
                    </a:cubicBezTo>
                    <a:cubicBezTo>
                      <a:pt x="135844" y="379337"/>
                      <a:pt x="121747" y="334483"/>
                      <a:pt x="106368" y="290911"/>
                    </a:cubicBezTo>
                    <a:cubicBezTo>
                      <a:pt x="106368" y="287066"/>
                      <a:pt x="107650" y="278095"/>
                      <a:pt x="97398" y="266561"/>
                    </a:cubicBezTo>
                    <a:cubicBezTo>
                      <a:pt x="98679" y="271688"/>
                      <a:pt x="98679" y="271688"/>
                      <a:pt x="102524" y="27937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8" name="Freeform: Shape 379804">
                <a:extLst>
                  <a:ext uri="{FF2B5EF4-FFF2-40B4-BE49-F238E27FC236}">
                    <a16:creationId xmlns:a16="http://schemas.microsoft.com/office/drawing/2014/main" id="{7DBAD706-9EBC-4923-BE06-117F097858A8}"/>
                  </a:ext>
                </a:extLst>
              </p:cNvPr>
              <p:cNvSpPr/>
              <p:nvPr/>
            </p:nvSpPr>
            <p:spPr>
              <a:xfrm>
                <a:off x="6066881" y="3543006"/>
                <a:ext cx="28161" cy="27591"/>
              </a:xfrm>
              <a:custGeom>
                <a:avLst/>
                <a:gdLst>
                  <a:gd name="connsiteX0" fmla="*/ 924 w 28161"/>
                  <a:gd name="connsiteY0" fmla="*/ 18274 h 27591"/>
                  <a:gd name="connsiteX1" fmla="*/ 26556 w 28161"/>
                  <a:gd name="connsiteY1" fmla="*/ 19556 h 27591"/>
                  <a:gd name="connsiteX2" fmla="*/ 11177 w 28161"/>
                  <a:gd name="connsiteY2" fmla="*/ 332 h 27591"/>
                  <a:gd name="connsiteX3" fmla="*/ 924 w 28161"/>
                  <a:gd name="connsiteY3" fmla="*/ 18274 h 27591"/>
                </a:gdLst>
                <a:ahLst/>
                <a:cxnLst>
                  <a:cxn ang="0">
                    <a:pos x="connsiteX0" y="connsiteY0"/>
                  </a:cxn>
                  <a:cxn ang="0">
                    <a:pos x="connsiteX1" y="connsiteY1"/>
                  </a:cxn>
                  <a:cxn ang="0">
                    <a:pos x="connsiteX2" y="connsiteY2"/>
                  </a:cxn>
                  <a:cxn ang="0">
                    <a:pos x="connsiteX3" y="connsiteY3"/>
                  </a:cxn>
                </a:cxnLst>
                <a:rect l="l" t="t" r="r" b="b"/>
                <a:pathLst>
                  <a:path w="28161" h="27591">
                    <a:moveTo>
                      <a:pt x="924" y="18274"/>
                    </a:moveTo>
                    <a:cubicBezTo>
                      <a:pt x="4769" y="29808"/>
                      <a:pt x="21429" y="31090"/>
                      <a:pt x="26556" y="19556"/>
                    </a:cubicBezTo>
                    <a:cubicBezTo>
                      <a:pt x="31682" y="10585"/>
                      <a:pt x="23992" y="-2231"/>
                      <a:pt x="11177" y="332"/>
                    </a:cubicBezTo>
                    <a:cubicBezTo>
                      <a:pt x="924" y="2896"/>
                      <a:pt x="-1639" y="13148"/>
                      <a:pt x="924" y="1827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69" name="Freeform: Shape 379805">
                <a:extLst>
                  <a:ext uri="{FF2B5EF4-FFF2-40B4-BE49-F238E27FC236}">
                    <a16:creationId xmlns:a16="http://schemas.microsoft.com/office/drawing/2014/main" id="{9493F808-6C56-4534-B69F-CCE0BAA10D62}"/>
                  </a:ext>
                </a:extLst>
              </p:cNvPr>
              <p:cNvSpPr/>
              <p:nvPr/>
            </p:nvSpPr>
            <p:spPr>
              <a:xfrm>
                <a:off x="6530907" y="3208855"/>
                <a:ext cx="81317" cy="252795"/>
              </a:xfrm>
              <a:custGeom>
                <a:avLst/>
                <a:gdLst>
                  <a:gd name="connsiteX0" fmla="*/ 820 w 81317"/>
                  <a:gd name="connsiteY0" fmla="*/ 16660 h 252795"/>
                  <a:gd name="connsiteX1" fmla="*/ 13636 w 81317"/>
                  <a:gd name="connsiteY1" fmla="*/ 25631 h 252795"/>
                  <a:gd name="connsiteX2" fmla="*/ 48237 w 81317"/>
                  <a:gd name="connsiteY2" fmla="*/ 164038 h 252795"/>
                  <a:gd name="connsiteX3" fmla="*/ 62335 w 81317"/>
                  <a:gd name="connsiteY3" fmla="*/ 226833 h 252795"/>
                  <a:gd name="connsiteX4" fmla="*/ 66179 w 81317"/>
                  <a:gd name="connsiteY4" fmla="*/ 252464 h 252795"/>
                  <a:gd name="connsiteX5" fmla="*/ 78994 w 81317"/>
                  <a:gd name="connsiteY5" fmla="*/ 231960 h 252795"/>
                  <a:gd name="connsiteX6" fmla="*/ 68742 w 81317"/>
                  <a:gd name="connsiteY6" fmla="*/ 225552 h 252795"/>
                  <a:gd name="connsiteX7" fmla="*/ 54645 w 81317"/>
                  <a:gd name="connsiteY7" fmla="*/ 162756 h 252795"/>
                  <a:gd name="connsiteX8" fmla="*/ 20043 w 81317"/>
                  <a:gd name="connsiteY8" fmla="*/ 24349 h 252795"/>
                  <a:gd name="connsiteX9" fmla="*/ 16199 w 81317"/>
                  <a:gd name="connsiteY9" fmla="*/ 0 h 252795"/>
                  <a:gd name="connsiteX10" fmla="*/ 11072 w 81317"/>
                  <a:gd name="connsiteY10" fmla="*/ 0 h 252795"/>
                  <a:gd name="connsiteX11" fmla="*/ 820 w 81317"/>
                  <a:gd name="connsiteY11" fmla="*/ 16660 h 252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317" h="252795">
                    <a:moveTo>
                      <a:pt x="820" y="16660"/>
                    </a:moveTo>
                    <a:cubicBezTo>
                      <a:pt x="2102" y="20505"/>
                      <a:pt x="5946" y="24349"/>
                      <a:pt x="13636" y="25631"/>
                    </a:cubicBezTo>
                    <a:cubicBezTo>
                      <a:pt x="25170" y="71766"/>
                      <a:pt x="36703" y="117902"/>
                      <a:pt x="48237" y="164038"/>
                    </a:cubicBezTo>
                    <a:cubicBezTo>
                      <a:pt x="53364" y="184542"/>
                      <a:pt x="58490" y="206329"/>
                      <a:pt x="62335" y="226833"/>
                    </a:cubicBezTo>
                    <a:cubicBezTo>
                      <a:pt x="49519" y="234523"/>
                      <a:pt x="55927" y="249901"/>
                      <a:pt x="66179" y="252464"/>
                    </a:cubicBezTo>
                    <a:cubicBezTo>
                      <a:pt x="77713" y="255028"/>
                      <a:pt x="85403" y="242212"/>
                      <a:pt x="78994" y="231960"/>
                    </a:cubicBezTo>
                    <a:cubicBezTo>
                      <a:pt x="75150" y="226833"/>
                      <a:pt x="70024" y="225552"/>
                      <a:pt x="68742" y="225552"/>
                    </a:cubicBezTo>
                    <a:cubicBezTo>
                      <a:pt x="63616" y="205047"/>
                      <a:pt x="59771" y="183261"/>
                      <a:pt x="54645" y="162756"/>
                    </a:cubicBezTo>
                    <a:cubicBezTo>
                      <a:pt x="43111" y="115339"/>
                      <a:pt x="31577" y="69203"/>
                      <a:pt x="20043" y="24349"/>
                    </a:cubicBezTo>
                    <a:cubicBezTo>
                      <a:pt x="32859" y="17942"/>
                      <a:pt x="26451" y="1281"/>
                      <a:pt x="16199" y="0"/>
                    </a:cubicBezTo>
                    <a:cubicBezTo>
                      <a:pt x="14917" y="0"/>
                      <a:pt x="12354" y="0"/>
                      <a:pt x="11072" y="0"/>
                    </a:cubicBezTo>
                    <a:cubicBezTo>
                      <a:pt x="-4306" y="3845"/>
                      <a:pt x="820" y="16660"/>
                      <a:pt x="820"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0" name="Freeform: Shape 379806">
                <a:extLst>
                  <a:ext uri="{FF2B5EF4-FFF2-40B4-BE49-F238E27FC236}">
                    <a16:creationId xmlns:a16="http://schemas.microsoft.com/office/drawing/2014/main" id="{14735690-767A-466D-A20A-69C04223D9B4}"/>
                  </a:ext>
                </a:extLst>
              </p:cNvPr>
              <p:cNvSpPr/>
              <p:nvPr/>
            </p:nvSpPr>
            <p:spPr>
              <a:xfrm>
                <a:off x="6842690" y="3389553"/>
                <a:ext cx="74998" cy="331000"/>
              </a:xfrm>
              <a:custGeom>
                <a:avLst/>
                <a:gdLst>
                  <a:gd name="connsiteX0" fmla="*/ 1735 w 74998"/>
                  <a:gd name="connsiteY0" fmla="*/ 16660 h 331000"/>
                  <a:gd name="connsiteX1" fmla="*/ 13269 w 74998"/>
                  <a:gd name="connsiteY1" fmla="*/ 25631 h 331000"/>
                  <a:gd name="connsiteX2" fmla="*/ 59404 w 74998"/>
                  <a:gd name="connsiteY2" fmla="*/ 305008 h 331000"/>
                  <a:gd name="connsiteX3" fmla="*/ 60686 w 74998"/>
                  <a:gd name="connsiteY3" fmla="*/ 330639 h 331000"/>
                  <a:gd name="connsiteX4" fmla="*/ 73502 w 74998"/>
                  <a:gd name="connsiteY4" fmla="*/ 311415 h 331000"/>
                  <a:gd name="connsiteX5" fmla="*/ 64531 w 74998"/>
                  <a:gd name="connsiteY5" fmla="*/ 305008 h 331000"/>
                  <a:gd name="connsiteX6" fmla="*/ 18395 w 74998"/>
                  <a:gd name="connsiteY6" fmla="*/ 25631 h 331000"/>
                  <a:gd name="connsiteX7" fmla="*/ 14550 w 74998"/>
                  <a:gd name="connsiteY7" fmla="*/ 0 h 331000"/>
                  <a:gd name="connsiteX8" fmla="*/ 9424 w 74998"/>
                  <a:gd name="connsiteY8" fmla="*/ 0 h 331000"/>
                  <a:gd name="connsiteX9" fmla="*/ 1735 w 74998"/>
                  <a:gd name="connsiteY9" fmla="*/ 16660 h 33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998" h="331000">
                    <a:moveTo>
                      <a:pt x="1735" y="16660"/>
                    </a:moveTo>
                    <a:cubicBezTo>
                      <a:pt x="3016" y="20505"/>
                      <a:pt x="5579" y="24349"/>
                      <a:pt x="13269" y="25631"/>
                    </a:cubicBezTo>
                    <a:cubicBezTo>
                      <a:pt x="32492" y="119184"/>
                      <a:pt x="47871" y="212737"/>
                      <a:pt x="59404" y="305008"/>
                    </a:cubicBezTo>
                    <a:cubicBezTo>
                      <a:pt x="47871" y="311415"/>
                      <a:pt x="51715" y="328076"/>
                      <a:pt x="60686" y="330639"/>
                    </a:cubicBezTo>
                    <a:cubicBezTo>
                      <a:pt x="69657" y="333202"/>
                      <a:pt x="78627" y="321668"/>
                      <a:pt x="73502" y="311415"/>
                    </a:cubicBezTo>
                    <a:cubicBezTo>
                      <a:pt x="70938" y="306289"/>
                      <a:pt x="65812" y="305008"/>
                      <a:pt x="64531" y="305008"/>
                    </a:cubicBezTo>
                    <a:cubicBezTo>
                      <a:pt x="52997" y="212737"/>
                      <a:pt x="37618" y="119184"/>
                      <a:pt x="18395" y="25631"/>
                    </a:cubicBezTo>
                    <a:cubicBezTo>
                      <a:pt x="29929" y="19223"/>
                      <a:pt x="24803" y="2563"/>
                      <a:pt x="14550" y="0"/>
                    </a:cubicBezTo>
                    <a:cubicBezTo>
                      <a:pt x="13269" y="0"/>
                      <a:pt x="10705" y="0"/>
                      <a:pt x="9424" y="0"/>
                    </a:cubicBezTo>
                    <a:cubicBezTo>
                      <a:pt x="-2110" y="2563"/>
                      <a:pt x="-829" y="14097"/>
                      <a:pt x="173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1" name="Freeform: Shape 379807">
                <a:extLst>
                  <a:ext uri="{FF2B5EF4-FFF2-40B4-BE49-F238E27FC236}">
                    <a16:creationId xmlns:a16="http://schemas.microsoft.com/office/drawing/2014/main" id="{83F42B03-6518-48BE-87A3-153A04A755E5}"/>
                  </a:ext>
                </a:extLst>
              </p:cNvPr>
              <p:cNvSpPr/>
              <p:nvPr/>
            </p:nvSpPr>
            <p:spPr>
              <a:xfrm>
                <a:off x="6923765" y="3098642"/>
                <a:ext cx="142908" cy="285201"/>
              </a:xfrm>
              <a:custGeom>
                <a:avLst/>
                <a:gdLst>
                  <a:gd name="connsiteX0" fmla="*/ 1397 w 142908"/>
                  <a:gd name="connsiteY0" fmla="*/ 58951 h 285201"/>
                  <a:gd name="connsiteX1" fmla="*/ 20620 w 142908"/>
                  <a:gd name="connsiteY1" fmla="*/ 64077 h 285201"/>
                  <a:gd name="connsiteX2" fmla="*/ 52659 w 142908"/>
                  <a:gd name="connsiteY2" fmla="*/ 88427 h 285201"/>
                  <a:gd name="connsiteX3" fmla="*/ 78290 w 142908"/>
                  <a:gd name="connsiteY3" fmla="*/ 187106 h 285201"/>
                  <a:gd name="connsiteX4" fmla="*/ 82135 w 142908"/>
                  <a:gd name="connsiteY4" fmla="*/ 212737 h 285201"/>
                  <a:gd name="connsiteX5" fmla="*/ 92387 w 142908"/>
                  <a:gd name="connsiteY5" fmla="*/ 193513 h 285201"/>
                  <a:gd name="connsiteX6" fmla="*/ 82135 w 142908"/>
                  <a:gd name="connsiteY6" fmla="*/ 185824 h 285201"/>
                  <a:gd name="connsiteX7" fmla="*/ 57785 w 142908"/>
                  <a:gd name="connsiteY7" fmla="*/ 92271 h 285201"/>
                  <a:gd name="connsiteX8" fmla="*/ 93669 w 142908"/>
                  <a:gd name="connsiteY8" fmla="*/ 120465 h 285201"/>
                  <a:gd name="connsiteX9" fmla="*/ 112892 w 142908"/>
                  <a:gd name="connsiteY9" fmla="*/ 196077 h 285201"/>
                  <a:gd name="connsiteX10" fmla="*/ 126989 w 142908"/>
                  <a:gd name="connsiteY10" fmla="*/ 258872 h 285201"/>
                  <a:gd name="connsiteX11" fmla="*/ 130834 w 142908"/>
                  <a:gd name="connsiteY11" fmla="*/ 284503 h 285201"/>
                  <a:gd name="connsiteX12" fmla="*/ 141086 w 142908"/>
                  <a:gd name="connsiteY12" fmla="*/ 265280 h 285201"/>
                  <a:gd name="connsiteX13" fmla="*/ 132115 w 142908"/>
                  <a:gd name="connsiteY13" fmla="*/ 257591 h 285201"/>
                  <a:gd name="connsiteX14" fmla="*/ 118018 w 142908"/>
                  <a:gd name="connsiteY14" fmla="*/ 194795 h 285201"/>
                  <a:gd name="connsiteX15" fmla="*/ 98795 w 142908"/>
                  <a:gd name="connsiteY15" fmla="*/ 116621 h 285201"/>
                  <a:gd name="connsiteX16" fmla="*/ 56504 w 142908"/>
                  <a:gd name="connsiteY16" fmla="*/ 84582 h 285201"/>
                  <a:gd name="connsiteX17" fmla="*/ 38562 w 142908"/>
                  <a:gd name="connsiteY17" fmla="*/ 24349 h 285201"/>
                  <a:gd name="connsiteX18" fmla="*/ 33436 w 142908"/>
                  <a:gd name="connsiteY18" fmla="*/ 0 h 285201"/>
                  <a:gd name="connsiteX19" fmla="*/ 29591 w 142908"/>
                  <a:gd name="connsiteY19" fmla="*/ 0 h 285201"/>
                  <a:gd name="connsiteX20" fmla="*/ 30873 w 142908"/>
                  <a:gd name="connsiteY20" fmla="*/ 24349 h 285201"/>
                  <a:gd name="connsiteX21" fmla="*/ 34717 w 142908"/>
                  <a:gd name="connsiteY21" fmla="*/ 25631 h 285201"/>
                  <a:gd name="connsiteX22" fmla="*/ 50096 w 142908"/>
                  <a:gd name="connsiteY22" fmla="*/ 80737 h 285201"/>
                  <a:gd name="connsiteX23" fmla="*/ 21902 w 142908"/>
                  <a:gd name="connsiteY23" fmla="*/ 60233 h 285201"/>
                  <a:gd name="connsiteX24" fmla="*/ 2679 w 142908"/>
                  <a:gd name="connsiteY24" fmla="*/ 43573 h 285201"/>
                  <a:gd name="connsiteX25" fmla="*/ 1397 w 142908"/>
                  <a:gd name="connsiteY25" fmla="*/ 58951 h 28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908" h="285201">
                    <a:moveTo>
                      <a:pt x="1397" y="58951"/>
                    </a:moveTo>
                    <a:cubicBezTo>
                      <a:pt x="5242" y="65359"/>
                      <a:pt x="14213" y="71767"/>
                      <a:pt x="20620" y="64077"/>
                    </a:cubicBezTo>
                    <a:lnTo>
                      <a:pt x="52659" y="88427"/>
                    </a:lnTo>
                    <a:cubicBezTo>
                      <a:pt x="61630" y="120465"/>
                      <a:pt x="70601" y="153785"/>
                      <a:pt x="78290" y="187106"/>
                    </a:cubicBezTo>
                    <a:cubicBezTo>
                      <a:pt x="68038" y="193513"/>
                      <a:pt x="73164" y="210174"/>
                      <a:pt x="82135" y="212737"/>
                    </a:cubicBezTo>
                    <a:cubicBezTo>
                      <a:pt x="92387" y="215300"/>
                      <a:pt x="97513" y="203766"/>
                      <a:pt x="92387" y="193513"/>
                    </a:cubicBezTo>
                    <a:cubicBezTo>
                      <a:pt x="88543" y="187106"/>
                      <a:pt x="84698" y="187106"/>
                      <a:pt x="82135" y="185824"/>
                    </a:cubicBezTo>
                    <a:cubicBezTo>
                      <a:pt x="74446" y="153785"/>
                      <a:pt x="66756" y="123028"/>
                      <a:pt x="57785" y="92271"/>
                    </a:cubicBezTo>
                    <a:lnTo>
                      <a:pt x="93669" y="120465"/>
                    </a:lnTo>
                    <a:cubicBezTo>
                      <a:pt x="100077" y="144815"/>
                      <a:pt x="106484" y="170446"/>
                      <a:pt x="112892" y="196077"/>
                    </a:cubicBezTo>
                    <a:cubicBezTo>
                      <a:pt x="118018" y="216581"/>
                      <a:pt x="121863" y="238368"/>
                      <a:pt x="126989" y="258872"/>
                    </a:cubicBezTo>
                    <a:cubicBezTo>
                      <a:pt x="116736" y="265280"/>
                      <a:pt x="121863" y="281940"/>
                      <a:pt x="130834" y="284503"/>
                    </a:cubicBezTo>
                    <a:cubicBezTo>
                      <a:pt x="139804" y="288348"/>
                      <a:pt x="146212" y="275532"/>
                      <a:pt x="141086" y="265280"/>
                    </a:cubicBezTo>
                    <a:cubicBezTo>
                      <a:pt x="138523" y="258872"/>
                      <a:pt x="133397" y="258872"/>
                      <a:pt x="132115" y="257591"/>
                    </a:cubicBezTo>
                    <a:cubicBezTo>
                      <a:pt x="128270" y="237086"/>
                      <a:pt x="123144" y="215300"/>
                      <a:pt x="118018" y="194795"/>
                    </a:cubicBezTo>
                    <a:cubicBezTo>
                      <a:pt x="111611" y="169164"/>
                      <a:pt x="105202" y="142252"/>
                      <a:pt x="98795" y="116621"/>
                    </a:cubicBezTo>
                    <a:lnTo>
                      <a:pt x="56504" y="84582"/>
                    </a:lnTo>
                    <a:cubicBezTo>
                      <a:pt x="51378" y="64077"/>
                      <a:pt x="44970" y="44854"/>
                      <a:pt x="38562" y="24349"/>
                    </a:cubicBezTo>
                    <a:cubicBezTo>
                      <a:pt x="48814" y="17942"/>
                      <a:pt x="42407" y="2563"/>
                      <a:pt x="33436" y="0"/>
                    </a:cubicBezTo>
                    <a:cubicBezTo>
                      <a:pt x="32154" y="0"/>
                      <a:pt x="30873" y="0"/>
                      <a:pt x="29591" y="0"/>
                    </a:cubicBezTo>
                    <a:cubicBezTo>
                      <a:pt x="16776" y="3845"/>
                      <a:pt x="21902" y="19223"/>
                      <a:pt x="30873" y="24349"/>
                    </a:cubicBezTo>
                    <a:cubicBezTo>
                      <a:pt x="32154" y="24349"/>
                      <a:pt x="33436" y="25631"/>
                      <a:pt x="34717" y="25631"/>
                    </a:cubicBezTo>
                    <a:cubicBezTo>
                      <a:pt x="39844" y="43573"/>
                      <a:pt x="44970" y="61514"/>
                      <a:pt x="50096" y="80737"/>
                    </a:cubicBezTo>
                    <a:cubicBezTo>
                      <a:pt x="41125" y="74330"/>
                      <a:pt x="30873" y="66640"/>
                      <a:pt x="21902" y="60233"/>
                    </a:cubicBezTo>
                    <a:cubicBezTo>
                      <a:pt x="23183" y="46136"/>
                      <a:pt x="10368" y="38446"/>
                      <a:pt x="2679" y="43573"/>
                    </a:cubicBezTo>
                    <a:cubicBezTo>
                      <a:pt x="115" y="46136"/>
                      <a:pt x="-1166" y="52543"/>
                      <a:pt x="1397" y="589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2" name="Freeform: Shape 379808">
                <a:extLst>
                  <a:ext uri="{FF2B5EF4-FFF2-40B4-BE49-F238E27FC236}">
                    <a16:creationId xmlns:a16="http://schemas.microsoft.com/office/drawing/2014/main" id="{882C8ACC-EF2C-417E-A25F-123BC62D0FA8}"/>
                  </a:ext>
                </a:extLst>
              </p:cNvPr>
              <p:cNvSpPr/>
              <p:nvPr/>
            </p:nvSpPr>
            <p:spPr>
              <a:xfrm>
                <a:off x="7744996" y="3337010"/>
                <a:ext cx="11892" cy="65358"/>
              </a:xfrm>
              <a:custGeom>
                <a:avLst/>
                <a:gdLst>
                  <a:gd name="connsiteX0" fmla="*/ 1641 w 11892"/>
                  <a:gd name="connsiteY0" fmla="*/ 14097 h 65358"/>
                  <a:gd name="connsiteX1" fmla="*/ 4204 w 11892"/>
                  <a:gd name="connsiteY1" fmla="*/ 25631 h 65358"/>
                  <a:gd name="connsiteX2" fmla="*/ 6766 w 11892"/>
                  <a:gd name="connsiteY2" fmla="*/ 38446 h 65358"/>
                  <a:gd name="connsiteX3" fmla="*/ 11893 w 11892"/>
                  <a:gd name="connsiteY3" fmla="*/ 65359 h 65358"/>
                  <a:gd name="connsiteX4" fmla="*/ 8048 w 11892"/>
                  <a:gd name="connsiteY4" fmla="*/ 39728 h 65358"/>
                  <a:gd name="connsiteX5" fmla="*/ 5485 w 11892"/>
                  <a:gd name="connsiteY5" fmla="*/ 26912 h 65358"/>
                  <a:gd name="connsiteX6" fmla="*/ 359 w 11892"/>
                  <a:gd name="connsiteY6" fmla="*/ 0 h 65358"/>
                  <a:gd name="connsiteX7" fmla="*/ 1641 w 11892"/>
                  <a:gd name="connsiteY7" fmla="*/ 14097 h 6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92" h="65358">
                    <a:moveTo>
                      <a:pt x="1641" y="14097"/>
                    </a:moveTo>
                    <a:cubicBezTo>
                      <a:pt x="2922" y="17942"/>
                      <a:pt x="2922" y="23068"/>
                      <a:pt x="4204" y="25631"/>
                    </a:cubicBezTo>
                    <a:cubicBezTo>
                      <a:pt x="5485" y="29475"/>
                      <a:pt x="5485" y="33320"/>
                      <a:pt x="6766" y="38446"/>
                    </a:cubicBezTo>
                    <a:cubicBezTo>
                      <a:pt x="6766" y="42291"/>
                      <a:pt x="10611" y="61514"/>
                      <a:pt x="11893" y="65359"/>
                    </a:cubicBezTo>
                    <a:cubicBezTo>
                      <a:pt x="11893" y="62796"/>
                      <a:pt x="9330" y="43572"/>
                      <a:pt x="8048" y="39728"/>
                    </a:cubicBezTo>
                    <a:cubicBezTo>
                      <a:pt x="6766" y="35883"/>
                      <a:pt x="6766" y="32039"/>
                      <a:pt x="5485" y="26912"/>
                    </a:cubicBezTo>
                    <a:cubicBezTo>
                      <a:pt x="5485" y="23068"/>
                      <a:pt x="1641" y="3845"/>
                      <a:pt x="359" y="0"/>
                    </a:cubicBezTo>
                    <a:cubicBezTo>
                      <a:pt x="-923" y="1281"/>
                      <a:pt x="1641" y="10252"/>
                      <a:pt x="1641"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3" name="Freeform: Shape 379809">
                <a:extLst>
                  <a:ext uri="{FF2B5EF4-FFF2-40B4-BE49-F238E27FC236}">
                    <a16:creationId xmlns:a16="http://schemas.microsoft.com/office/drawing/2014/main" id="{1B54DA2A-36DE-4F32-BF4D-805A88983721}"/>
                  </a:ext>
                </a:extLst>
              </p:cNvPr>
              <p:cNvSpPr/>
              <p:nvPr/>
            </p:nvSpPr>
            <p:spPr>
              <a:xfrm>
                <a:off x="6075085" y="3581452"/>
                <a:ext cx="27646" cy="27591"/>
              </a:xfrm>
              <a:custGeom>
                <a:avLst/>
                <a:gdLst>
                  <a:gd name="connsiteX0" fmla="*/ 410 w 27646"/>
                  <a:gd name="connsiteY0" fmla="*/ 18274 h 27591"/>
                  <a:gd name="connsiteX1" fmla="*/ 26041 w 27646"/>
                  <a:gd name="connsiteY1" fmla="*/ 19556 h 27591"/>
                  <a:gd name="connsiteX2" fmla="*/ 10662 w 27646"/>
                  <a:gd name="connsiteY2" fmla="*/ 332 h 27591"/>
                  <a:gd name="connsiteX3" fmla="*/ 410 w 27646"/>
                  <a:gd name="connsiteY3" fmla="*/ 18274 h 27591"/>
                </a:gdLst>
                <a:ahLst/>
                <a:cxnLst>
                  <a:cxn ang="0">
                    <a:pos x="connsiteX0" y="connsiteY0"/>
                  </a:cxn>
                  <a:cxn ang="0">
                    <a:pos x="connsiteX1" y="connsiteY1"/>
                  </a:cxn>
                  <a:cxn ang="0">
                    <a:pos x="connsiteX2" y="connsiteY2"/>
                  </a:cxn>
                  <a:cxn ang="0">
                    <a:pos x="connsiteX3" y="connsiteY3"/>
                  </a:cxn>
                </a:cxnLst>
                <a:rect l="l" t="t" r="r" b="b"/>
                <a:pathLst>
                  <a:path w="27646" h="27591">
                    <a:moveTo>
                      <a:pt x="410" y="18274"/>
                    </a:moveTo>
                    <a:cubicBezTo>
                      <a:pt x="4255" y="29808"/>
                      <a:pt x="20915" y="31090"/>
                      <a:pt x="26041" y="19556"/>
                    </a:cubicBezTo>
                    <a:cubicBezTo>
                      <a:pt x="31167" y="10585"/>
                      <a:pt x="23478" y="-2231"/>
                      <a:pt x="10662" y="332"/>
                    </a:cubicBezTo>
                    <a:cubicBezTo>
                      <a:pt x="410" y="2896"/>
                      <a:pt x="-871" y="11866"/>
                      <a:pt x="410" y="1827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4" name="Freeform: Shape 379810">
                <a:extLst>
                  <a:ext uri="{FF2B5EF4-FFF2-40B4-BE49-F238E27FC236}">
                    <a16:creationId xmlns:a16="http://schemas.microsoft.com/office/drawing/2014/main" id="{6A4AECF0-F0BF-43E4-9007-0B76E4EB06E1}"/>
                  </a:ext>
                </a:extLst>
              </p:cNvPr>
              <p:cNvSpPr/>
              <p:nvPr/>
            </p:nvSpPr>
            <p:spPr>
              <a:xfrm>
                <a:off x="6439926" y="3503610"/>
                <a:ext cx="62661" cy="218195"/>
              </a:xfrm>
              <a:custGeom>
                <a:avLst/>
                <a:gdLst>
                  <a:gd name="connsiteX0" fmla="*/ 810 w 62661"/>
                  <a:gd name="connsiteY0" fmla="*/ 19223 h 218195"/>
                  <a:gd name="connsiteX1" fmla="*/ 12344 w 62661"/>
                  <a:gd name="connsiteY1" fmla="*/ 28194 h 218195"/>
                  <a:gd name="connsiteX2" fmla="*/ 44383 w 62661"/>
                  <a:gd name="connsiteY2" fmla="*/ 192232 h 218195"/>
                  <a:gd name="connsiteX3" fmla="*/ 46946 w 62661"/>
                  <a:gd name="connsiteY3" fmla="*/ 217863 h 218195"/>
                  <a:gd name="connsiteX4" fmla="*/ 61043 w 62661"/>
                  <a:gd name="connsiteY4" fmla="*/ 198640 h 218195"/>
                  <a:gd name="connsiteX5" fmla="*/ 50791 w 62661"/>
                  <a:gd name="connsiteY5" fmla="*/ 192232 h 218195"/>
                  <a:gd name="connsiteX6" fmla="*/ 18753 w 62661"/>
                  <a:gd name="connsiteY6" fmla="*/ 25631 h 218195"/>
                  <a:gd name="connsiteX7" fmla="*/ 14908 w 62661"/>
                  <a:gd name="connsiteY7" fmla="*/ 0 h 218195"/>
                  <a:gd name="connsiteX8" fmla="*/ 9781 w 62661"/>
                  <a:gd name="connsiteY8" fmla="*/ 0 h 218195"/>
                  <a:gd name="connsiteX9" fmla="*/ 810 w 62661"/>
                  <a:gd name="connsiteY9" fmla="*/ 19223 h 21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61" h="218195">
                    <a:moveTo>
                      <a:pt x="810" y="19223"/>
                    </a:moveTo>
                    <a:cubicBezTo>
                      <a:pt x="2092" y="23068"/>
                      <a:pt x="5937" y="26912"/>
                      <a:pt x="12344" y="28194"/>
                    </a:cubicBezTo>
                    <a:cubicBezTo>
                      <a:pt x="23878" y="83301"/>
                      <a:pt x="35412" y="138407"/>
                      <a:pt x="44383" y="192232"/>
                    </a:cubicBezTo>
                    <a:cubicBezTo>
                      <a:pt x="31568" y="199921"/>
                      <a:pt x="36694" y="215300"/>
                      <a:pt x="46946" y="217863"/>
                    </a:cubicBezTo>
                    <a:cubicBezTo>
                      <a:pt x="58480" y="220426"/>
                      <a:pt x="66170" y="207610"/>
                      <a:pt x="61043" y="198640"/>
                    </a:cubicBezTo>
                    <a:cubicBezTo>
                      <a:pt x="58480" y="193514"/>
                      <a:pt x="53354" y="192232"/>
                      <a:pt x="50791" y="192232"/>
                    </a:cubicBezTo>
                    <a:cubicBezTo>
                      <a:pt x="40539" y="135844"/>
                      <a:pt x="30286" y="80737"/>
                      <a:pt x="18753" y="25631"/>
                    </a:cubicBezTo>
                    <a:cubicBezTo>
                      <a:pt x="31568" y="17942"/>
                      <a:pt x="26442" y="2563"/>
                      <a:pt x="14908" y="0"/>
                    </a:cubicBezTo>
                    <a:cubicBezTo>
                      <a:pt x="13626" y="0"/>
                      <a:pt x="11063" y="0"/>
                      <a:pt x="9781" y="0"/>
                    </a:cubicBezTo>
                    <a:cubicBezTo>
                      <a:pt x="-1753" y="3845"/>
                      <a:pt x="-471" y="15379"/>
                      <a:pt x="810"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5" name="Freeform: Shape 379811">
                <a:extLst>
                  <a:ext uri="{FF2B5EF4-FFF2-40B4-BE49-F238E27FC236}">
                    <a16:creationId xmlns:a16="http://schemas.microsoft.com/office/drawing/2014/main" id="{D1F7B8D6-9779-4C97-A52E-A24F1AEFAAD9}"/>
                  </a:ext>
                </a:extLst>
              </p:cNvPr>
              <p:cNvSpPr/>
              <p:nvPr/>
            </p:nvSpPr>
            <p:spPr>
              <a:xfrm>
                <a:off x="6953828" y="3410058"/>
                <a:ext cx="53087" cy="218224"/>
              </a:xfrm>
              <a:custGeom>
                <a:avLst/>
                <a:gdLst>
                  <a:gd name="connsiteX0" fmla="*/ 811 w 53087"/>
                  <a:gd name="connsiteY0" fmla="*/ 17942 h 218224"/>
                  <a:gd name="connsiteX1" fmla="*/ 11063 w 53087"/>
                  <a:gd name="connsiteY1" fmla="*/ 26912 h 218224"/>
                  <a:gd name="connsiteX2" fmla="*/ 37976 w 53087"/>
                  <a:gd name="connsiteY2" fmla="*/ 192232 h 218224"/>
                  <a:gd name="connsiteX3" fmla="*/ 39257 w 53087"/>
                  <a:gd name="connsiteY3" fmla="*/ 217863 h 218224"/>
                  <a:gd name="connsiteX4" fmla="*/ 52072 w 53087"/>
                  <a:gd name="connsiteY4" fmla="*/ 198640 h 218224"/>
                  <a:gd name="connsiteX5" fmla="*/ 43102 w 53087"/>
                  <a:gd name="connsiteY5" fmla="*/ 190950 h 218224"/>
                  <a:gd name="connsiteX6" fmla="*/ 16189 w 53087"/>
                  <a:gd name="connsiteY6" fmla="*/ 25631 h 218224"/>
                  <a:gd name="connsiteX7" fmla="*/ 13626 w 53087"/>
                  <a:gd name="connsiteY7" fmla="*/ 0 h 218224"/>
                  <a:gd name="connsiteX8" fmla="*/ 9781 w 53087"/>
                  <a:gd name="connsiteY8" fmla="*/ 0 h 218224"/>
                  <a:gd name="connsiteX9" fmla="*/ 811 w 53087"/>
                  <a:gd name="connsiteY9" fmla="*/ 17942 h 21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87" h="218224">
                    <a:moveTo>
                      <a:pt x="811" y="17942"/>
                    </a:moveTo>
                    <a:cubicBezTo>
                      <a:pt x="2092" y="21786"/>
                      <a:pt x="4655" y="25631"/>
                      <a:pt x="11063" y="26912"/>
                    </a:cubicBezTo>
                    <a:cubicBezTo>
                      <a:pt x="21315" y="82019"/>
                      <a:pt x="30286" y="137125"/>
                      <a:pt x="37976" y="192232"/>
                    </a:cubicBezTo>
                    <a:cubicBezTo>
                      <a:pt x="26442" y="198640"/>
                      <a:pt x="30286" y="215300"/>
                      <a:pt x="39257" y="217863"/>
                    </a:cubicBezTo>
                    <a:cubicBezTo>
                      <a:pt x="48228" y="220426"/>
                      <a:pt x="55917" y="208892"/>
                      <a:pt x="52072" y="198640"/>
                    </a:cubicBezTo>
                    <a:cubicBezTo>
                      <a:pt x="49510" y="192232"/>
                      <a:pt x="45665" y="192232"/>
                      <a:pt x="43102" y="190950"/>
                    </a:cubicBezTo>
                    <a:cubicBezTo>
                      <a:pt x="35413" y="135844"/>
                      <a:pt x="26442" y="80737"/>
                      <a:pt x="16189" y="25631"/>
                    </a:cubicBezTo>
                    <a:cubicBezTo>
                      <a:pt x="27723" y="19223"/>
                      <a:pt x="22597" y="2563"/>
                      <a:pt x="13626" y="0"/>
                    </a:cubicBezTo>
                    <a:cubicBezTo>
                      <a:pt x="12345" y="0"/>
                      <a:pt x="11063" y="0"/>
                      <a:pt x="9781" y="0"/>
                    </a:cubicBezTo>
                    <a:cubicBezTo>
                      <a:pt x="-1753" y="3845"/>
                      <a:pt x="-471" y="14097"/>
                      <a:pt x="811"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6" name="Freeform: Shape 379812">
                <a:extLst>
                  <a:ext uri="{FF2B5EF4-FFF2-40B4-BE49-F238E27FC236}">
                    <a16:creationId xmlns:a16="http://schemas.microsoft.com/office/drawing/2014/main" id="{2A8FCDF0-26AC-4C3F-9CB0-B8145246E57E}"/>
                  </a:ext>
                </a:extLst>
              </p:cNvPr>
              <p:cNvSpPr/>
              <p:nvPr/>
            </p:nvSpPr>
            <p:spPr>
              <a:xfrm>
                <a:off x="7445408" y="3078137"/>
                <a:ext cx="137608" cy="329357"/>
              </a:xfrm>
              <a:custGeom>
                <a:avLst/>
                <a:gdLst>
                  <a:gd name="connsiteX0" fmla="*/ 1345 w 137608"/>
                  <a:gd name="connsiteY0" fmla="*/ 16660 h 329357"/>
                  <a:gd name="connsiteX1" fmla="*/ 10316 w 137608"/>
                  <a:gd name="connsiteY1" fmla="*/ 26912 h 329357"/>
                  <a:gd name="connsiteX2" fmla="*/ 47481 w 137608"/>
                  <a:gd name="connsiteY2" fmla="*/ 165319 h 329357"/>
                  <a:gd name="connsiteX3" fmla="*/ 47481 w 137608"/>
                  <a:gd name="connsiteY3" fmla="*/ 165319 h 329357"/>
                  <a:gd name="connsiteX4" fmla="*/ 76957 w 137608"/>
                  <a:gd name="connsiteY4" fmla="*/ 202484 h 329357"/>
                  <a:gd name="connsiteX5" fmla="*/ 96180 w 137608"/>
                  <a:gd name="connsiteY5" fmla="*/ 303726 h 329357"/>
                  <a:gd name="connsiteX6" fmla="*/ 101306 w 137608"/>
                  <a:gd name="connsiteY6" fmla="*/ 329357 h 329357"/>
                  <a:gd name="connsiteX7" fmla="*/ 98743 w 137608"/>
                  <a:gd name="connsiteY7" fmla="*/ 302445 h 329357"/>
                  <a:gd name="connsiteX8" fmla="*/ 80801 w 137608"/>
                  <a:gd name="connsiteY8" fmla="*/ 207610 h 329357"/>
                  <a:gd name="connsiteX9" fmla="*/ 103869 w 137608"/>
                  <a:gd name="connsiteY9" fmla="*/ 239649 h 329357"/>
                  <a:gd name="connsiteX10" fmla="*/ 115403 w 137608"/>
                  <a:gd name="connsiteY10" fmla="*/ 302445 h 329357"/>
                  <a:gd name="connsiteX11" fmla="*/ 120530 w 137608"/>
                  <a:gd name="connsiteY11" fmla="*/ 328076 h 329357"/>
                  <a:gd name="connsiteX12" fmla="*/ 117966 w 137608"/>
                  <a:gd name="connsiteY12" fmla="*/ 301163 h 329357"/>
                  <a:gd name="connsiteX13" fmla="*/ 107714 w 137608"/>
                  <a:gd name="connsiteY13" fmla="*/ 244775 h 329357"/>
                  <a:gd name="connsiteX14" fmla="*/ 124374 w 137608"/>
                  <a:gd name="connsiteY14" fmla="*/ 271688 h 329357"/>
                  <a:gd name="connsiteX15" fmla="*/ 133345 w 137608"/>
                  <a:gd name="connsiteY15" fmla="*/ 289629 h 329357"/>
                  <a:gd name="connsiteX16" fmla="*/ 128219 w 137608"/>
                  <a:gd name="connsiteY16" fmla="*/ 262717 h 329357"/>
                  <a:gd name="connsiteX17" fmla="*/ 125655 w 137608"/>
                  <a:gd name="connsiteY17" fmla="*/ 265280 h 329357"/>
                  <a:gd name="connsiteX18" fmla="*/ 106432 w 137608"/>
                  <a:gd name="connsiteY18" fmla="*/ 237086 h 329357"/>
                  <a:gd name="connsiteX19" fmla="*/ 91054 w 137608"/>
                  <a:gd name="connsiteY19" fmla="*/ 162756 h 329357"/>
                  <a:gd name="connsiteX20" fmla="*/ 64141 w 137608"/>
                  <a:gd name="connsiteY20" fmla="*/ 61514 h 329357"/>
                  <a:gd name="connsiteX21" fmla="*/ 55170 w 137608"/>
                  <a:gd name="connsiteY21" fmla="*/ 35883 h 329357"/>
                  <a:gd name="connsiteX22" fmla="*/ 61578 w 137608"/>
                  <a:gd name="connsiteY22" fmla="*/ 61514 h 329357"/>
                  <a:gd name="connsiteX23" fmla="*/ 88491 w 137608"/>
                  <a:gd name="connsiteY23" fmla="*/ 162756 h 329357"/>
                  <a:gd name="connsiteX24" fmla="*/ 103869 w 137608"/>
                  <a:gd name="connsiteY24" fmla="*/ 231960 h 329357"/>
                  <a:gd name="connsiteX25" fmla="*/ 80801 w 137608"/>
                  <a:gd name="connsiteY25" fmla="*/ 199921 h 329357"/>
                  <a:gd name="connsiteX26" fmla="*/ 73112 w 137608"/>
                  <a:gd name="connsiteY26" fmla="*/ 164038 h 329357"/>
                  <a:gd name="connsiteX27" fmla="*/ 46199 w 137608"/>
                  <a:gd name="connsiteY27" fmla="*/ 62796 h 329357"/>
                  <a:gd name="connsiteX28" fmla="*/ 37229 w 137608"/>
                  <a:gd name="connsiteY28" fmla="*/ 37165 h 329357"/>
                  <a:gd name="connsiteX29" fmla="*/ 41073 w 137608"/>
                  <a:gd name="connsiteY29" fmla="*/ 61514 h 329357"/>
                  <a:gd name="connsiteX30" fmla="*/ 43636 w 137608"/>
                  <a:gd name="connsiteY30" fmla="*/ 62796 h 329357"/>
                  <a:gd name="connsiteX31" fmla="*/ 70549 w 137608"/>
                  <a:gd name="connsiteY31" fmla="*/ 164038 h 329357"/>
                  <a:gd name="connsiteX32" fmla="*/ 76957 w 137608"/>
                  <a:gd name="connsiteY32" fmla="*/ 194795 h 329357"/>
                  <a:gd name="connsiteX33" fmla="*/ 52607 w 137608"/>
                  <a:gd name="connsiteY33" fmla="*/ 162756 h 329357"/>
                  <a:gd name="connsiteX34" fmla="*/ 15443 w 137608"/>
                  <a:gd name="connsiteY34" fmla="*/ 25631 h 329357"/>
                  <a:gd name="connsiteX35" fmla="*/ 6472 w 137608"/>
                  <a:gd name="connsiteY35" fmla="*/ 0 h 329357"/>
                  <a:gd name="connsiteX36" fmla="*/ 1345 w 137608"/>
                  <a:gd name="connsiteY36" fmla="*/ 16660 h 329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7608" h="329357">
                    <a:moveTo>
                      <a:pt x="1345" y="16660"/>
                    </a:moveTo>
                    <a:cubicBezTo>
                      <a:pt x="3909" y="23068"/>
                      <a:pt x="7753" y="25631"/>
                      <a:pt x="10316" y="26912"/>
                    </a:cubicBezTo>
                    <a:cubicBezTo>
                      <a:pt x="24413" y="71767"/>
                      <a:pt x="37229" y="117902"/>
                      <a:pt x="47481" y="165319"/>
                    </a:cubicBezTo>
                    <a:cubicBezTo>
                      <a:pt x="47481" y="165319"/>
                      <a:pt x="47481" y="165319"/>
                      <a:pt x="47481" y="165319"/>
                    </a:cubicBezTo>
                    <a:lnTo>
                      <a:pt x="76957" y="202484"/>
                    </a:lnTo>
                    <a:cubicBezTo>
                      <a:pt x="84646" y="235804"/>
                      <a:pt x="91054" y="269125"/>
                      <a:pt x="96180" y="303726"/>
                    </a:cubicBezTo>
                    <a:cubicBezTo>
                      <a:pt x="89772" y="310134"/>
                      <a:pt x="92335" y="326794"/>
                      <a:pt x="101306" y="329357"/>
                    </a:cubicBezTo>
                    <a:cubicBezTo>
                      <a:pt x="110277" y="325513"/>
                      <a:pt x="105151" y="306289"/>
                      <a:pt x="98743" y="302445"/>
                    </a:cubicBezTo>
                    <a:cubicBezTo>
                      <a:pt x="93617" y="270406"/>
                      <a:pt x="87209" y="238367"/>
                      <a:pt x="80801" y="207610"/>
                    </a:cubicBezTo>
                    <a:lnTo>
                      <a:pt x="103869" y="239649"/>
                    </a:lnTo>
                    <a:cubicBezTo>
                      <a:pt x="107714" y="260154"/>
                      <a:pt x="111559" y="281940"/>
                      <a:pt x="115403" y="302445"/>
                    </a:cubicBezTo>
                    <a:cubicBezTo>
                      <a:pt x="110277" y="308852"/>
                      <a:pt x="111559" y="325513"/>
                      <a:pt x="120530" y="328076"/>
                    </a:cubicBezTo>
                    <a:cubicBezTo>
                      <a:pt x="128219" y="324231"/>
                      <a:pt x="124374" y="305008"/>
                      <a:pt x="117966" y="301163"/>
                    </a:cubicBezTo>
                    <a:cubicBezTo>
                      <a:pt x="115403" y="281940"/>
                      <a:pt x="111559" y="262717"/>
                      <a:pt x="107714" y="244775"/>
                    </a:cubicBezTo>
                    <a:cubicBezTo>
                      <a:pt x="112840" y="252464"/>
                      <a:pt x="124374" y="262717"/>
                      <a:pt x="124374" y="271688"/>
                    </a:cubicBezTo>
                    <a:cubicBezTo>
                      <a:pt x="124374" y="271688"/>
                      <a:pt x="124374" y="285785"/>
                      <a:pt x="133345" y="289629"/>
                    </a:cubicBezTo>
                    <a:cubicBezTo>
                      <a:pt x="144879" y="283222"/>
                      <a:pt x="129500" y="262717"/>
                      <a:pt x="128219" y="262717"/>
                    </a:cubicBezTo>
                    <a:cubicBezTo>
                      <a:pt x="126937" y="262717"/>
                      <a:pt x="125655" y="263998"/>
                      <a:pt x="125655" y="265280"/>
                    </a:cubicBezTo>
                    <a:lnTo>
                      <a:pt x="106432" y="237086"/>
                    </a:lnTo>
                    <a:cubicBezTo>
                      <a:pt x="101306" y="212737"/>
                      <a:pt x="96180" y="187106"/>
                      <a:pt x="91054" y="162756"/>
                    </a:cubicBezTo>
                    <a:cubicBezTo>
                      <a:pt x="83365" y="128155"/>
                      <a:pt x="74394" y="94834"/>
                      <a:pt x="64141" y="61514"/>
                    </a:cubicBezTo>
                    <a:cubicBezTo>
                      <a:pt x="69267" y="55106"/>
                      <a:pt x="64141" y="39728"/>
                      <a:pt x="55170" y="35883"/>
                    </a:cubicBezTo>
                    <a:cubicBezTo>
                      <a:pt x="48763" y="39728"/>
                      <a:pt x="52607" y="55106"/>
                      <a:pt x="61578" y="61514"/>
                    </a:cubicBezTo>
                    <a:cubicBezTo>
                      <a:pt x="71831" y="94834"/>
                      <a:pt x="79520" y="128155"/>
                      <a:pt x="88491" y="162756"/>
                    </a:cubicBezTo>
                    <a:cubicBezTo>
                      <a:pt x="93617" y="185824"/>
                      <a:pt x="98743" y="208892"/>
                      <a:pt x="103869" y="231960"/>
                    </a:cubicBezTo>
                    <a:lnTo>
                      <a:pt x="80801" y="199921"/>
                    </a:lnTo>
                    <a:cubicBezTo>
                      <a:pt x="78238" y="188387"/>
                      <a:pt x="75675" y="175572"/>
                      <a:pt x="73112" y="164038"/>
                    </a:cubicBezTo>
                    <a:cubicBezTo>
                      <a:pt x="65423" y="129436"/>
                      <a:pt x="56452" y="96116"/>
                      <a:pt x="46199" y="62796"/>
                    </a:cubicBezTo>
                    <a:cubicBezTo>
                      <a:pt x="53889" y="55106"/>
                      <a:pt x="42355" y="37165"/>
                      <a:pt x="37229" y="37165"/>
                    </a:cubicBezTo>
                    <a:cubicBezTo>
                      <a:pt x="29539" y="37165"/>
                      <a:pt x="33384" y="55106"/>
                      <a:pt x="41073" y="61514"/>
                    </a:cubicBezTo>
                    <a:cubicBezTo>
                      <a:pt x="42355" y="61514"/>
                      <a:pt x="42355" y="62796"/>
                      <a:pt x="43636" y="62796"/>
                    </a:cubicBezTo>
                    <a:cubicBezTo>
                      <a:pt x="52607" y="96116"/>
                      <a:pt x="61578" y="129436"/>
                      <a:pt x="70549" y="164038"/>
                    </a:cubicBezTo>
                    <a:cubicBezTo>
                      <a:pt x="73112" y="174290"/>
                      <a:pt x="75675" y="184543"/>
                      <a:pt x="76957" y="194795"/>
                    </a:cubicBezTo>
                    <a:lnTo>
                      <a:pt x="52607" y="162756"/>
                    </a:lnTo>
                    <a:cubicBezTo>
                      <a:pt x="42355" y="116621"/>
                      <a:pt x="29539" y="70485"/>
                      <a:pt x="15443" y="25631"/>
                    </a:cubicBezTo>
                    <a:cubicBezTo>
                      <a:pt x="20568" y="19223"/>
                      <a:pt x="15443" y="3845"/>
                      <a:pt x="6472" y="0"/>
                    </a:cubicBezTo>
                    <a:cubicBezTo>
                      <a:pt x="-2500" y="5126"/>
                      <a:pt x="64" y="12816"/>
                      <a:pt x="134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7" name="Freeform: Shape 379813">
                <a:extLst>
                  <a:ext uri="{FF2B5EF4-FFF2-40B4-BE49-F238E27FC236}">
                    <a16:creationId xmlns:a16="http://schemas.microsoft.com/office/drawing/2014/main" id="{66230561-05CD-4805-B2A6-9B49A435FB89}"/>
                  </a:ext>
                </a:extLst>
              </p:cNvPr>
              <p:cNvSpPr/>
              <p:nvPr/>
            </p:nvSpPr>
            <p:spPr>
              <a:xfrm>
                <a:off x="4467790" y="4081588"/>
                <a:ext cx="41009" cy="99960"/>
              </a:xfrm>
              <a:custGeom>
                <a:avLst/>
                <a:gdLst>
                  <a:gd name="connsiteX0" fmla="*/ 1922 w 41009"/>
                  <a:gd name="connsiteY0" fmla="*/ 19223 h 99960"/>
                  <a:gd name="connsiteX1" fmla="*/ 10893 w 41009"/>
                  <a:gd name="connsiteY1" fmla="*/ 26912 h 99960"/>
                  <a:gd name="connsiteX2" fmla="*/ 26272 w 41009"/>
                  <a:gd name="connsiteY2" fmla="*/ 75611 h 99960"/>
                  <a:gd name="connsiteX3" fmla="*/ 35243 w 41009"/>
                  <a:gd name="connsiteY3" fmla="*/ 99960 h 99960"/>
                  <a:gd name="connsiteX4" fmla="*/ 35243 w 41009"/>
                  <a:gd name="connsiteY4" fmla="*/ 76893 h 99960"/>
                  <a:gd name="connsiteX5" fmla="*/ 30117 w 41009"/>
                  <a:gd name="connsiteY5" fmla="*/ 74330 h 99960"/>
                  <a:gd name="connsiteX6" fmla="*/ 14738 w 41009"/>
                  <a:gd name="connsiteY6" fmla="*/ 25631 h 99960"/>
                  <a:gd name="connsiteX7" fmla="*/ 7049 w 41009"/>
                  <a:gd name="connsiteY7" fmla="*/ 0 h 99960"/>
                  <a:gd name="connsiteX8" fmla="*/ 5767 w 41009"/>
                  <a:gd name="connsiteY8" fmla="*/ 0 h 99960"/>
                  <a:gd name="connsiteX9" fmla="*/ 1922 w 41009"/>
                  <a:gd name="connsiteY9" fmla="*/ 19223 h 9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009" h="99960">
                    <a:moveTo>
                      <a:pt x="1922" y="19223"/>
                    </a:moveTo>
                    <a:cubicBezTo>
                      <a:pt x="3204" y="23068"/>
                      <a:pt x="5767" y="26912"/>
                      <a:pt x="10893" y="26912"/>
                    </a:cubicBezTo>
                    <a:cubicBezTo>
                      <a:pt x="16019" y="43573"/>
                      <a:pt x="21145" y="58951"/>
                      <a:pt x="26272" y="75611"/>
                    </a:cubicBezTo>
                    <a:cubicBezTo>
                      <a:pt x="19864" y="84582"/>
                      <a:pt x="27553" y="99960"/>
                      <a:pt x="35243" y="99960"/>
                    </a:cubicBezTo>
                    <a:cubicBezTo>
                      <a:pt x="42932" y="99960"/>
                      <a:pt x="42932" y="84582"/>
                      <a:pt x="35243" y="76893"/>
                    </a:cubicBezTo>
                    <a:cubicBezTo>
                      <a:pt x="32679" y="74330"/>
                      <a:pt x="31398" y="74330"/>
                      <a:pt x="30117" y="74330"/>
                    </a:cubicBezTo>
                    <a:cubicBezTo>
                      <a:pt x="24990" y="57669"/>
                      <a:pt x="19864" y="42291"/>
                      <a:pt x="14738" y="25631"/>
                    </a:cubicBezTo>
                    <a:cubicBezTo>
                      <a:pt x="21145" y="16660"/>
                      <a:pt x="13456" y="0"/>
                      <a:pt x="7049" y="0"/>
                    </a:cubicBezTo>
                    <a:cubicBezTo>
                      <a:pt x="7049" y="0"/>
                      <a:pt x="5767" y="0"/>
                      <a:pt x="5767" y="0"/>
                    </a:cubicBezTo>
                    <a:cubicBezTo>
                      <a:pt x="-3204" y="5126"/>
                      <a:pt x="641" y="15378"/>
                      <a:pt x="1922"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8" name="Freeform: Shape 379814">
                <a:extLst>
                  <a:ext uri="{FF2B5EF4-FFF2-40B4-BE49-F238E27FC236}">
                    <a16:creationId xmlns:a16="http://schemas.microsoft.com/office/drawing/2014/main" id="{31CE47E4-1251-4558-A75B-1A6E7CC2D0E8}"/>
                  </a:ext>
                </a:extLst>
              </p:cNvPr>
              <p:cNvSpPr/>
              <p:nvPr/>
            </p:nvSpPr>
            <p:spPr>
              <a:xfrm>
                <a:off x="4534412" y="4055847"/>
                <a:ext cx="149809" cy="303835"/>
              </a:xfrm>
              <a:custGeom>
                <a:avLst/>
                <a:gdLst>
                  <a:gd name="connsiteX0" fmla="*/ 1941 w 149809"/>
                  <a:gd name="connsiteY0" fmla="*/ 19332 h 303835"/>
                  <a:gd name="connsiteX1" fmla="*/ 16038 w 149809"/>
                  <a:gd name="connsiteY1" fmla="*/ 23177 h 303835"/>
                  <a:gd name="connsiteX2" fmla="*/ 42951 w 149809"/>
                  <a:gd name="connsiteY2" fmla="*/ 43682 h 303835"/>
                  <a:gd name="connsiteX3" fmla="*/ 133941 w 149809"/>
                  <a:gd name="connsiteY3" fmla="*/ 280768 h 303835"/>
                  <a:gd name="connsiteX4" fmla="*/ 144193 w 149809"/>
                  <a:gd name="connsiteY4" fmla="*/ 303836 h 303835"/>
                  <a:gd name="connsiteX5" fmla="*/ 142912 w 149809"/>
                  <a:gd name="connsiteY5" fmla="*/ 282049 h 303835"/>
                  <a:gd name="connsiteX6" fmla="*/ 136504 w 149809"/>
                  <a:gd name="connsiteY6" fmla="*/ 279486 h 303835"/>
                  <a:gd name="connsiteX7" fmla="*/ 44232 w 149809"/>
                  <a:gd name="connsiteY7" fmla="*/ 39837 h 303835"/>
                  <a:gd name="connsiteX8" fmla="*/ 16038 w 149809"/>
                  <a:gd name="connsiteY8" fmla="*/ 18051 h 303835"/>
                  <a:gd name="connsiteX9" fmla="*/ 3223 w 149809"/>
                  <a:gd name="connsiteY9" fmla="*/ 109 h 303835"/>
                  <a:gd name="connsiteX10" fmla="*/ 1941 w 149809"/>
                  <a:gd name="connsiteY10" fmla="*/ 19332 h 30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9809" h="303835">
                    <a:moveTo>
                      <a:pt x="1941" y="19332"/>
                    </a:moveTo>
                    <a:cubicBezTo>
                      <a:pt x="4504" y="25740"/>
                      <a:pt x="12194" y="30866"/>
                      <a:pt x="16038" y="23177"/>
                    </a:cubicBezTo>
                    <a:lnTo>
                      <a:pt x="42951" y="43682"/>
                    </a:lnTo>
                    <a:cubicBezTo>
                      <a:pt x="68582" y="115448"/>
                      <a:pt x="104465" y="210282"/>
                      <a:pt x="133941" y="280768"/>
                    </a:cubicBezTo>
                    <a:cubicBezTo>
                      <a:pt x="126252" y="291020"/>
                      <a:pt x="139067" y="303836"/>
                      <a:pt x="144193" y="303836"/>
                    </a:cubicBezTo>
                    <a:cubicBezTo>
                      <a:pt x="151883" y="303836"/>
                      <a:pt x="151883" y="288457"/>
                      <a:pt x="142912" y="282049"/>
                    </a:cubicBezTo>
                    <a:cubicBezTo>
                      <a:pt x="140349" y="279486"/>
                      <a:pt x="139067" y="279486"/>
                      <a:pt x="136504" y="279486"/>
                    </a:cubicBezTo>
                    <a:cubicBezTo>
                      <a:pt x="107028" y="207720"/>
                      <a:pt x="69863" y="112885"/>
                      <a:pt x="44232" y="39837"/>
                    </a:cubicBezTo>
                    <a:cubicBezTo>
                      <a:pt x="35262" y="33429"/>
                      <a:pt x="23728" y="24459"/>
                      <a:pt x="16038" y="18051"/>
                    </a:cubicBezTo>
                    <a:cubicBezTo>
                      <a:pt x="16038" y="9080"/>
                      <a:pt x="10912" y="-1172"/>
                      <a:pt x="3223" y="109"/>
                    </a:cubicBezTo>
                    <a:cubicBezTo>
                      <a:pt x="-3185" y="5235"/>
                      <a:pt x="1941" y="18051"/>
                      <a:pt x="1941" y="1933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79" name="Freeform: Shape 379815">
                <a:extLst>
                  <a:ext uri="{FF2B5EF4-FFF2-40B4-BE49-F238E27FC236}">
                    <a16:creationId xmlns:a16="http://schemas.microsoft.com/office/drawing/2014/main" id="{4673CAC2-27AE-44E0-B53B-CCA1A636ABD0}"/>
                  </a:ext>
                </a:extLst>
              </p:cNvPr>
              <p:cNvSpPr/>
              <p:nvPr/>
            </p:nvSpPr>
            <p:spPr>
              <a:xfrm>
                <a:off x="5590744" y="2949983"/>
                <a:ext cx="214343" cy="785676"/>
              </a:xfrm>
              <a:custGeom>
                <a:avLst/>
                <a:gdLst>
                  <a:gd name="connsiteX0" fmla="*/ 4169 w 214343"/>
                  <a:gd name="connsiteY0" fmla="*/ 484424 h 785676"/>
                  <a:gd name="connsiteX1" fmla="*/ 29800 w 214343"/>
                  <a:gd name="connsiteY1" fmla="*/ 483143 h 785676"/>
                  <a:gd name="connsiteX2" fmla="*/ 27237 w 214343"/>
                  <a:gd name="connsiteY2" fmla="*/ 469046 h 785676"/>
                  <a:gd name="connsiteX3" fmla="*/ 49023 w 214343"/>
                  <a:gd name="connsiteY3" fmla="*/ 438289 h 785676"/>
                  <a:gd name="connsiteX4" fmla="*/ 55431 w 214343"/>
                  <a:gd name="connsiteY4" fmla="*/ 467764 h 785676"/>
                  <a:gd name="connsiteX5" fmla="*/ 29800 w 214343"/>
                  <a:gd name="connsiteY5" fmla="*/ 503647 h 785676"/>
                  <a:gd name="connsiteX6" fmla="*/ 13140 w 214343"/>
                  <a:gd name="connsiteY6" fmla="*/ 524152 h 785676"/>
                  <a:gd name="connsiteX7" fmla="*/ 38771 w 214343"/>
                  <a:gd name="connsiteY7" fmla="*/ 517744 h 785676"/>
                  <a:gd name="connsiteX8" fmla="*/ 34926 w 214343"/>
                  <a:gd name="connsiteY8" fmla="*/ 506210 h 785676"/>
                  <a:gd name="connsiteX9" fmla="*/ 56712 w 214343"/>
                  <a:gd name="connsiteY9" fmla="*/ 475453 h 785676"/>
                  <a:gd name="connsiteX10" fmla="*/ 90033 w 214343"/>
                  <a:gd name="connsiteY10" fmla="*/ 621550 h 785676"/>
                  <a:gd name="connsiteX11" fmla="*/ 123353 w 214343"/>
                  <a:gd name="connsiteY11" fmla="*/ 759956 h 785676"/>
                  <a:gd name="connsiteX12" fmla="*/ 127198 w 214343"/>
                  <a:gd name="connsiteY12" fmla="*/ 785587 h 785676"/>
                  <a:gd name="connsiteX13" fmla="*/ 141295 w 214343"/>
                  <a:gd name="connsiteY13" fmla="*/ 765083 h 785676"/>
                  <a:gd name="connsiteX14" fmla="*/ 129761 w 214343"/>
                  <a:gd name="connsiteY14" fmla="*/ 758675 h 785676"/>
                  <a:gd name="connsiteX15" fmla="*/ 96441 w 214343"/>
                  <a:gd name="connsiteY15" fmla="*/ 620268 h 785676"/>
                  <a:gd name="connsiteX16" fmla="*/ 61839 w 214343"/>
                  <a:gd name="connsiteY16" fmla="*/ 469046 h 785676"/>
                  <a:gd name="connsiteX17" fmla="*/ 124634 w 214343"/>
                  <a:gd name="connsiteY17" fmla="*/ 380619 h 785676"/>
                  <a:gd name="connsiteX18" fmla="*/ 140013 w 214343"/>
                  <a:gd name="connsiteY18" fmla="*/ 447259 h 785676"/>
                  <a:gd name="connsiteX19" fmla="*/ 106693 w 214343"/>
                  <a:gd name="connsiteY19" fmla="*/ 494677 h 785676"/>
                  <a:gd name="connsiteX20" fmla="*/ 113100 w 214343"/>
                  <a:gd name="connsiteY20" fmla="*/ 520308 h 785676"/>
                  <a:gd name="connsiteX21" fmla="*/ 116945 w 214343"/>
                  <a:gd name="connsiteY21" fmla="*/ 545938 h 785676"/>
                  <a:gd name="connsiteX22" fmla="*/ 131043 w 214343"/>
                  <a:gd name="connsiteY22" fmla="*/ 525434 h 785676"/>
                  <a:gd name="connsiteX23" fmla="*/ 119509 w 214343"/>
                  <a:gd name="connsiteY23" fmla="*/ 519026 h 785676"/>
                  <a:gd name="connsiteX24" fmla="*/ 114382 w 214343"/>
                  <a:gd name="connsiteY24" fmla="*/ 495958 h 785676"/>
                  <a:gd name="connsiteX25" fmla="*/ 142576 w 214343"/>
                  <a:gd name="connsiteY25" fmla="*/ 454949 h 785676"/>
                  <a:gd name="connsiteX26" fmla="*/ 157955 w 214343"/>
                  <a:gd name="connsiteY26" fmla="*/ 521589 h 785676"/>
                  <a:gd name="connsiteX27" fmla="*/ 124634 w 214343"/>
                  <a:gd name="connsiteY27" fmla="*/ 570288 h 785676"/>
                  <a:gd name="connsiteX28" fmla="*/ 133605 w 214343"/>
                  <a:gd name="connsiteY28" fmla="*/ 610016 h 785676"/>
                  <a:gd name="connsiteX29" fmla="*/ 157955 w 214343"/>
                  <a:gd name="connsiteY29" fmla="*/ 711258 h 785676"/>
                  <a:gd name="connsiteX30" fmla="*/ 161800 w 214343"/>
                  <a:gd name="connsiteY30" fmla="*/ 736889 h 785676"/>
                  <a:gd name="connsiteX31" fmla="*/ 175897 w 214343"/>
                  <a:gd name="connsiteY31" fmla="*/ 716384 h 785676"/>
                  <a:gd name="connsiteX32" fmla="*/ 164363 w 214343"/>
                  <a:gd name="connsiteY32" fmla="*/ 709976 h 785676"/>
                  <a:gd name="connsiteX33" fmla="*/ 140013 w 214343"/>
                  <a:gd name="connsiteY33" fmla="*/ 608734 h 785676"/>
                  <a:gd name="connsiteX34" fmla="*/ 131043 w 214343"/>
                  <a:gd name="connsiteY34" fmla="*/ 571569 h 785676"/>
                  <a:gd name="connsiteX35" fmla="*/ 164363 w 214343"/>
                  <a:gd name="connsiteY35" fmla="*/ 522871 h 785676"/>
                  <a:gd name="connsiteX36" fmla="*/ 147702 w 214343"/>
                  <a:gd name="connsiteY36" fmla="*/ 447259 h 785676"/>
                  <a:gd name="connsiteX37" fmla="*/ 214343 w 214343"/>
                  <a:gd name="connsiteY37" fmla="*/ 353707 h 785676"/>
                  <a:gd name="connsiteX38" fmla="*/ 152829 w 214343"/>
                  <a:gd name="connsiteY38" fmla="*/ 80737 h 785676"/>
                  <a:gd name="connsiteX39" fmla="*/ 150266 w 214343"/>
                  <a:gd name="connsiteY39" fmla="*/ 57670 h 785676"/>
                  <a:gd name="connsiteX40" fmla="*/ 136168 w 214343"/>
                  <a:gd name="connsiteY40" fmla="*/ 76893 h 785676"/>
                  <a:gd name="connsiteX41" fmla="*/ 147702 w 214343"/>
                  <a:gd name="connsiteY41" fmla="*/ 82019 h 785676"/>
                  <a:gd name="connsiteX42" fmla="*/ 209217 w 214343"/>
                  <a:gd name="connsiteY42" fmla="*/ 352425 h 785676"/>
                  <a:gd name="connsiteX43" fmla="*/ 146421 w 214343"/>
                  <a:gd name="connsiteY43" fmla="*/ 439570 h 785676"/>
                  <a:gd name="connsiteX44" fmla="*/ 131043 w 214343"/>
                  <a:gd name="connsiteY44" fmla="*/ 372930 h 785676"/>
                  <a:gd name="connsiteX45" fmla="*/ 164363 w 214343"/>
                  <a:gd name="connsiteY45" fmla="*/ 326794 h 785676"/>
                  <a:gd name="connsiteX46" fmla="*/ 97722 w 214343"/>
                  <a:gd name="connsiteY46" fmla="*/ 23068 h 785676"/>
                  <a:gd name="connsiteX47" fmla="*/ 95159 w 214343"/>
                  <a:gd name="connsiteY47" fmla="*/ 0 h 785676"/>
                  <a:gd name="connsiteX48" fmla="*/ 90033 w 214343"/>
                  <a:gd name="connsiteY48" fmla="*/ 0 h 785676"/>
                  <a:gd name="connsiteX49" fmla="*/ 87470 w 214343"/>
                  <a:gd name="connsiteY49" fmla="*/ 23068 h 785676"/>
                  <a:gd name="connsiteX50" fmla="*/ 91314 w 214343"/>
                  <a:gd name="connsiteY50" fmla="*/ 23068 h 785676"/>
                  <a:gd name="connsiteX51" fmla="*/ 157955 w 214343"/>
                  <a:gd name="connsiteY51" fmla="*/ 324231 h 785676"/>
                  <a:gd name="connsiteX52" fmla="*/ 129761 w 214343"/>
                  <a:gd name="connsiteY52" fmla="*/ 363959 h 785676"/>
                  <a:gd name="connsiteX53" fmla="*/ 118227 w 214343"/>
                  <a:gd name="connsiteY53" fmla="*/ 310134 h 785676"/>
                  <a:gd name="connsiteX54" fmla="*/ 115664 w 214343"/>
                  <a:gd name="connsiteY54" fmla="*/ 285785 h 785676"/>
                  <a:gd name="connsiteX55" fmla="*/ 101566 w 214343"/>
                  <a:gd name="connsiteY55" fmla="*/ 306289 h 785676"/>
                  <a:gd name="connsiteX56" fmla="*/ 113100 w 214343"/>
                  <a:gd name="connsiteY56" fmla="*/ 311416 h 785676"/>
                  <a:gd name="connsiteX57" fmla="*/ 125916 w 214343"/>
                  <a:gd name="connsiteY57" fmla="*/ 370367 h 785676"/>
                  <a:gd name="connsiteX58" fmla="*/ 63120 w 214343"/>
                  <a:gd name="connsiteY58" fmla="*/ 457512 h 785676"/>
                  <a:gd name="connsiteX59" fmla="*/ 56712 w 214343"/>
                  <a:gd name="connsiteY59" fmla="*/ 428036 h 785676"/>
                  <a:gd name="connsiteX60" fmla="*/ 91314 w 214343"/>
                  <a:gd name="connsiteY60" fmla="*/ 380619 h 785676"/>
                  <a:gd name="connsiteX61" fmla="*/ 69528 w 214343"/>
                  <a:gd name="connsiteY61" fmla="*/ 283222 h 785676"/>
                  <a:gd name="connsiteX62" fmla="*/ 66965 w 214343"/>
                  <a:gd name="connsiteY62" fmla="*/ 258872 h 785676"/>
                  <a:gd name="connsiteX63" fmla="*/ 51586 w 214343"/>
                  <a:gd name="connsiteY63" fmla="*/ 279377 h 785676"/>
                  <a:gd name="connsiteX64" fmla="*/ 63120 w 214343"/>
                  <a:gd name="connsiteY64" fmla="*/ 284503 h 785676"/>
                  <a:gd name="connsiteX65" fmla="*/ 83625 w 214343"/>
                  <a:gd name="connsiteY65" fmla="*/ 380619 h 785676"/>
                  <a:gd name="connsiteX66" fmla="*/ 54149 w 214343"/>
                  <a:gd name="connsiteY66" fmla="*/ 420347 h 785676"/>
                  <a:gd name="connsiteX67" fmla="*/ 19547 w 214343"/>
                  <a:gd name="connsiteY67" fmla="*/ 257591 h 785676"/>
                  <a:gd name="connsiteX68" fmla="*/ 16984 w 214343"/>
                  <a:gd name="connsiteY68" fmla="*/ 233241 h 785676"/>
                  <a:gd name="connsiteX69" fmla="*/ 1606 w 214343"/>
                  <a:gd name="connsiteY69" fmla="*/ 253746 h 785676"/>
                  <a:gd name="connsiteX70" fmla="*/ 13140 w 214343"/>
                  <a:gd name="connsiteY70" fmla="*/ 258872 h 785676"/>
                  <a:gd name="connsiteX71" fmla="*/ 49023 w 214343"/>
                  <a:gd name="connsiteY71" fmla="*/ 426755 h 785676"/>
                  <a:gd name="connsiteX72" fmla="*/ 23392 w 214343"/>
                  <a:gd name="connsiteY72" fmla="*/ 462638 h 785676"/>
                  <a:gd name="connsiteX73" fmla="*/ 4169 w 214343"/>
                  <a:gd name="connsiteY73" fmla="*/ 484424 h 78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14343" h="785676">
                    <a:moveTo>
                      <a:pt x="4169" y="484424"/>
                    </a:moveTo>
                    <a:cubicBezTo>
                      <a:pt x="10577" y="495958"/>
                      <a:pt x="25955" y="493395"/>
                      <a:pt x="29800" y="483143"/>
                    </a:cubicBezTo>
                    <a:cubicBezTo>
                      <a:pt x="31081" y="480580"/>
                      <a:pt x="32363" y="474172"/>
                      <a:pt x="27237" y="469046"/>
                    </a:cubicBezTo>
                    <a:lnTo>
                      <a:pt x="49023" y="438289"/>
                    </a:lnTo>
                    <a:cubicBezTo>
                      <a:pt x="51586" y="448541"/>
                      <a:pt x="52868" y="457512"/>
                      <a:pt x="55431" y="467764"/>
                    </a:cubicBezTo>
                    <a:cubicBezTo>
                      <a:pt x="47742" y="478017"/>
                      <a:pt x="37489" y="493395"/>
                      <a:pt x="29800" y="503647"/>
                    </a:cubicBezTo>
                    <a:cubicBezTo>
                      <a:pt x="11858" y="499803"/>
                      <a:pt x="8013" y="517744"/>
                      <a:pt x="13140" y="524152"/>
                    </a:cubicBezTo>
                    <a:cubicBezTo>
                      <a:pt x="19547" y="533123"/>
                      <a:pt x="36208" y="529278"/>
                      <a:pt x="38771" y="517744"/>
                    </a:cubicBezTo>
                    <a:cubicBezTo>
                      <a:pt x="40052" y="512618"/>
                      <a:pt x="38771" y="510055"/>
                      <a:pt x="34926" y="506210"/>
                    </a:cubicBezTo>
                    <a:lnTo>
                      <a:pt x="56712" y="475453"/>
                    </a:lnTo>
                    <a:cubicBezTo>
                      <a:pt x="66965" y="522871"/>
                      <a:pt x="78499" y="571569"/>
                      <a:pt x="90033" y="621550"/>
                    </a:cubicBezTo>
                    <a:cubicBezTo>
                      <a:pt x="101566" y="667685"/>
                      <a:pt x="111819" y="715103"/>
                      <a:pt x="123353" y="759956"/>
                    </a:cubicBezTo>
                    <a:cubicBezTo>
                      <a:pt x="106693" y="771490"/>
                      <a:pt x="120790" y="784306"/>
                      <a:pt x="127198" y="785587"/>
                    </a:cubicBezTo>
                    <a:cubicBezTo>
                      <a:pt x="140013" y="786869"/>
                      <a:pt x="147702" y="774053"/>
                      <a:pt x="141295" y="765083"/>
                    </a:cubicBezTo>
                    <a:cubicBezTo>
                      <a:pt x="137450" y="759956"/>
                      <a:pt x="132324" y="759956"/>
                      <a:pt x="129761" y="758675"/>
                    </a:cubicBezTo>
                    <a:cubicBezTo>
                      <a:pt x="118227" y="712539"/>
                      <a:pt x="107975" y="666404"/>
                      <a:pt x="96441" y="620268"/>
                    </a:cubicBezTo>
                    <a:cubicBezTo>
                      <a:pt x="84907" y="569006"/>
                      <a:pt x="73373" y="519026"/>
                      <a:pt x="61839" y="469046"/>
                    </a:cubicBezTo>
                    <a:lnTo>
                      <a:pt x="124634" y="380619"/>
                    </a:lnTo>
                    <a:cubicBezTo>
                      <a:pt x="129761" y="402405"/>
                      <a:pt x="134887" y="424192"/>
                      <a:pt x="140013" y="447259"/>
                    </a:cubicBezTo>
                    <a:lnTo>
                      <a:pt x="106693" y="494677"/>
                    </a:lnTo>
                    <a:cubicBezTo>
                      <a:pt x="109256" y="503647"/>
                      <a:pt x="110537" y="512618"/>
                      <a:pt x="113100" y="520308"/>
                    </a:cubicBezTo>
                    <a:cubicBezTo>
                      <a:pt x="96441" y="531841"/>
                      <a:pt x="109256" y="544657"/>
                      <a:pt x="116945" y="545938"/>
                    </a:cubicBezTo>
                    <a:cubicBezTo>
                      <a:pt x="129761" y="547220"/>
                      <a:pt x="137450" y="534404"/>
                      <a:pt x="131043" y="525434"/>
                    </a:cubicBezTo>
                    <a:cubicBezTo>
                      <a:pt x="128479" y="520308"/>
                      <a:pt x="122071" y="520308"/>
                      <a:pt x="119509" y="519026"/>
                    </a:cubicBezTo>
                    <a:cubicBezTo>
                      <a:pt x="118227" y="511337"/>
                      <a:pt x="115664" y="503647"/>
                      <a:pt x="114382" y="495958"/>
                    </a:cubicBezTo>
                    <a:lnTo>
                      <a:pt x="142576" y="454949"/>
                    </a:lnTo>
                    <a:cubicBezTo>
                      <a:pt x="147702" y="476735"/>
                      <a:pt x="152829" y="499803"/>
                      <a:pt x="157955" y="521589"/>
                    </a:cubicBezTo>
                    <a:lnTo>
                      <a:pt x="124634" y="570288"/>
                    </a:lnTo>
                    <a:cubicBezTo>
                      <a:pt x="127198" y="583103"/>
                      <a:pt x="131043" y="597200"/>
                      <a:pt x="133605" y="610016"/>
                    </a:cubicBezTo>
                    <a:cubicBezTo>
                      <a:pt x="141295" y="643336"/>
                      <a:pt x="148984" y="677938"/>
                      <a:pt x="157955" y="711258"/>
                    </a:cubicBezTo>
                    <a:cubicBezTo>
                      <a:pt x="141295" y="722792"/>
                      <a:pt x="155392" y="735607"/>
                      <a:pt x="161800" y="736889"/>
                    </a:cubicBezTo>
                    <a:cubicBezTo>
                      <a:pt x="174615" y="738170"/>
                      <a:pt x="182304" y="725355"/>
                      <a:pt x="175897" y="716384"/>
                    </a:cubicBezTo>
                    <a:cubicBezTo>
                      <a:pt x="172052" y="711258"/>
                      <a:pt x="166926" y="711258"/>
                      <a:pt x="164363" y="709976"/>
                    </a:cubicBezTo>
                    <a:cubicBezTo>
                      <a:pt x="156673" y="676656"/>
                      <a:pt x="148984" y="643336"/>
                      <a:pt x="140013" y="608734"/>
                    </a:cubicBezTo>
                    <a:cubicBezTo>
                      <a:pt x="137450" y="595919"/>
                      <a:pt x="133605" y="583103"/>
                      <a:pt x="131043" y="571569"/>
                    </a:cubicBezTo>
                    <a:lnTo>
                      <a:pt x="164363" y="522871"/>
                    </a:lnTo>
                    <a:cubicBezTo>
                      <a:pt x="157955" y="497240"/>
                      <a:pt x="152829" y="472890"/>
                      <a:pt x="147702" y="447259"/>
                    </a:cubicBezTo>
                    <a:lnTo>
                      <a:pt x="214343" y="353707"/>
                    </a:lnTo>
                    <a:cubicBezTo>
                      <a:pt x="192557" y="260154"/>
                      <a:pt x="172052" y="169164"/>
                      <a:pt x="152829" y="80737"/>
                    </a:cubicBezTo>
                    <a:cubicBezTo>
                      <a:pt x="169489" y="70485"/>
                      <a:pt x="156673" y="58951"/>
                      <a:pt x="150266" y="57670"/>
                    </a:cubicBezTo>
                    <a:cubicBezTo>
                      <a:pt x="137450" y="56388"/>
                      <a:pt x="131043" y="69203"/>
                      <a:pt x="136168" y="76893"/>
                    </a:cubicBezTo>
                    <a:cubicBezTo>
                      <a:pt x="138732" y="80737"/>
                      <a:pt x="143858" y="82019"/>
                      <a:pt x="147702" y="82019"/>
                    </a:cubicBezTo>
                    <a:cubicBezTo>
                      <a:pt x="166926" y="169164"/>
                      <a:pt x="187431" y="258872"/>
                      <a:pt x="209217" y="352425"/>
                    </a:cubicBezTo>
                    <a:lnTo>
                      <a:pt x="146421" y="439570"/>
                    </a:lnTo>
                    <a:cubicBezTo>
                      <a:pt x="141295" y="417784"/>
                      <a:pt x="136168" y="394716"/>
                      <a:pt x="131043" y="372930"/>
                    </a:cubicBezTo>
                    <a:lnTo>
                      <a:pt x="164363" y="326794"/>
                    </a:lnTo>
                    <a:cubicBezTo>
                      <a:pt x="140013" y="221707"/>
                      <a:pt x="118227" y="119184"/>
                      <a:pt x="97722" y="23068"/>
                    </a:cubicBezTo>
                    <a:cubicBezTo>
                      <a:pt x="114382" y="12816"/>
                      <a:pt x="101566" y="1282"/>
                      <a:pt x="95159" y="0"/>
                    </a:cubicBezTo>
                    <a:cubicBezTo>
                      <a:pt x="93878" y="0"/>
                      <a:pt x="91314" y="0"/>
                      <a:pt x="90033" y="0"/>
                    </a:cubicBezTo>
                    <a:cubicBezTo>
                      <a:pt x="72091" y="7689"/>
                      <a:pt x="79780" y="20505"/>
                      <a:pt x="87470" y="23068"/>
                    </a:cubicBezTo>
                    <a:cubicBezTo>
                      <a:pt x="88751" y="23068"/>
                      <a:pt x="90033" y="23068"/>
                      <a:pt x="91314" y="23068"/>
                    </a:cubicBezTo>
                    <a:cubicBezTo>
                      <a:pt x="111819" y="119184"/>
                      <a:pt x="133605" y="220426"/>
                      <a:pt x="157955" y="324231"/>
                    </a:cubicBezTo>
                    <a:lnTo>
                      <a:pt x="129761" y="363959"/>
                    </a:lnTo>
                    <a:cubicBezTo>
                      <a:pt x="125916" y="346017"/>
                      <a:pt x="122071" y="328076"/>
                      <a:pt x="118227" y="310134"/>
                    </a:cubicBezTo>
                    <a:cubicBezTo>
                      <a:pt x="134887" y="298600"/>
                      <a:pt x="122071" y="287066"/>
                      <a:pt x="115664" y="285785"/>
                    </a:cubicBezTo>
                    <a:cubicBezTo>
                      <a:pt x="102848" y="284503"/>
                      <a:pt x="95159" y="297319"/>
                      <a:pt x="101566" y="306289"/>
                    </a:cubicBezTo>
                    <a:cubicBezTo>
                      <a:pt x="104130" y="311416"/>
                      <a:pt x="110537" y="311416"/>
                      <a:pt x="113100" y="311416"/>
                    </a:cubicBezTo>
                    <a:cubicBezTo>
                      <a:pt x="116945" y="330639"/>
                      <a:pt x="122071" y="351143"/>
                      <a:pt x="125916" y="370367"/>
                    </a:cubicBezTo>
                    <a:lnTo>
                      <a:pt x="63120" y="457512"/>
                    </a:lnTo>
                    <a:cubicBezTo>
                      <a:pt x="60557" y="447259"/>
                      <a:pt x="59276" y="438289"/>
                      <a:pt x="56712" y="428036"/>
                    </a:cubicBezTo>
                    <a:lnTo>
                      <a:pt x="91314" y="380619"/>
                    </a:lnTo>
                    <a:cubicBezTo>
                      <a:pt x="83625" y="347299"/>
                      <a:pt x="77217" y="315260"/>
                      <a:pt x="69528" y="283222"/>
                    </a:cubicBezTo>
                    <a:cubicBezTo>
                      <a:pt x="86188" y="271688"/>
                      <a:pt x="73373" y="260154"/>
                      <a:pt x="66965" y="258872"/>
                    </a:cubicBezTo>
                    <a:cubicBezTo>
                      <a:pt x="54149" y="257591"/>
                      <a:pt x="46460" y="270406"/>
                      <a:pt x="51586" y="279377"/>
                    </a:cubicBezTo>
                    <a:cubicBezTo>
                      <a:pt x="54149" y="283222"/>
                      <a:pt x="60557" y="284503"/>
                      <a:pt x="63120" y="284503"/>
                    </a:cubicBezTo>
                    <a:cubicBezTo>
                      <a:pt x="69528" y="316542"/>
                      <a:pt x="77217" y="347299"/>
                      <a:pt x="83625" y="380619"/>
                    </a:cubicBezTo>
                    <a:lnTo>
                      <a:pt x="54149" y="420347"/>
                    </a:lnTo>
                    <a:cubicBezTo>
                      <a:pt x="42615" y="365241"/>
                      <a:pt x="31081" y="310134"/>
                      <a:pt x="19547" y="257591"/>
                    </a:cubicBezTo>
                    <a:cubicBezTo>
                      <a:pt x="36208" y="246057"/>
                      <a:pt x="23392" y="234523"/>
                      <a:pt x="16984" y="233241"/>
                    </a:cubicBezTo>
                    <a:cubicBezTo>
                      <a:pt x="4169" y="231960"/>
                      <a:pt x="-3521" y="244775"/>
                      <a:pt x="1606" y="253746"/>
                    </a:cubicBezTo>
                    <a:cubicBezTo>
                      <a:pt x="4169" y="257591"/>
                      <a:pt x="10577" y="258872"/>
                      <a:pt x="13140" y="258872"/>
                    </a:cubicBezTo>
                    <a:cubicBezTo>
                      <a:pt x="24674" y="313979"/>
                      <a:pt x="36208" y="370367"/>
                      <a:pt x="49023" y="426755"/>
                    </a:cubicBezTo>
                    <a:cubicBezTo>
                      <a:pt x="41334" y="437007"/>
                      <a:pt x="31081" y="451104"/>
                      <a:pt x="23392" y="462638"/>
                    </a:cubicBezTo>
                    <a:cubicBezTo>
                      <a:pt x="5450" y="462638"/>
                      <a:pt x="324" y="478017"/>
                      <a:pt x="4169" y="48442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0" name="Freeform: Shape 379816">
                <a:extLst>
                  <a:ext uri="{FF2B5EF4-FFF2-40B4-BE49-F238E27FC236}">
                    <a16:creationId xmlns:a16="http://schemas.microsoft.com/office/drawing/2014/main" id="{3F4D4984-A18F-4A41-BE38-84757413621A}"/>
                  </a:ext>
                </a:extLst>
              </p:cNvPr>
              <p:cNvSpPr/>
              <p:nvPr/>
            </p:nvSpPr>
            <p:spPr>
              <a:xfrm>
                <a:off x="6084056" y="3618617"/>
                <a:ext cx="27646" cy="27591"/>
              </a:xfrm>
              <a:custGeom>
                <a:avLst/>
                <a:gdLst>
                  <a:gd name="connsiteX0" fmla="*/ 410 w 27646"/>
                  <a:gd name="connsiteY0" fmla="*/ 18274 h 27591"/>
                  <a:gd name="connsiteX1" fmla="*/ 26041 w 27646"/>
                  <a:gd name="connsiteY1" fmla="*/ 19556 h 27591"/>
                  <a:gd name="connsiteX2" fmla="*/ 10663 w 27646"/>
                  <a:gd name="connsiteY2" fmla="*/ 332 h 27591"/>
                  <a:gd name="connsiteX3" fmla="*/ 410 w 27646"/>
                  <a:gd name="connsiteY3" fmla="*/ 18274 h 27591"/>
                </a:gdLst>
                <a:ahLst/>
                <a:cxnLst>
                  <a:cxn ang="0">
                    <a:pos x="connsiteX0" y="connsiteY0"/>
                  </a:cxn>
                  <a:cxn ang="0">
                    <a:pos x="connsiteX1" y="connsiteY1"/>
                  </a:cxn>
                  <a:cxn ang="0">
                    <a:pos x="connsiteX2" y="connsiteY2"/>
                  </a:cxn>
                  <a:cxn ang="0">
                    <a:pos x="connsiteX3" y="connsiteY3"/>
                  </a:cxn>
                </a:cxnLst>
                <a:rect l="l" t="t" r="r" b="b"/>
                <a:pathLst>
                  <a:path w="27646" h="27591">
                    <a:moveTo>
                      <a:pt x="410" y="18274"/>
                    </a:moveTo>
                    <a:cubicBezTo>
                      <a:pt x="4255" y="29808"/>
                      <a:pt x="19633" y="31090"/>
                      <a:pt x="26041" y="19556"/>
                    </a:cubicBezTo>
                    <a:cubicBezTo>
                      <a:pt x="31167" y="10585"/>
                      <a:pt x="23478" y="-2231"/>
                      <a:pt x="10663" y="332"/>
                    </a:cubicBezTo>
                    <a:cubicBezTo>
                      <a:pt x="410" y="4177"/>
                      <a:pt x="-871" y="13148"/>
                      <a:pt x="410" y="1827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1" name="Freeform: Shape 379817">
                <a:extLst>
                  <a:ext uri="{FF2B5EF4-FFF2-40B4-BE49-F238E27FC236}">
                    <a16:creationId xmlns:a16="http://schemas.microsoft.com/office/drawing/2014/main" id="{CCD5B07B-031B-497A-961A-DCB36932E638}"/>
                  </a:ext>
                </a:extLst>
              </p:cNvPr>
              <p:cNvSpPr/>
              <p:nvPr/>
            </p:nvSpPr>
            <p:spPr>
              <a:xfrm>
                <a:off x="6407887" y="3551028"/>
                <a:ext cx="40875" cy="102855"/>
              </a:xfrm>
              <a:custGeom>
                <a:avLst/>
                <a:gdLst>
                  <a:gd name="connsiteX0" fmla="*/ 810 w 40875"/>
                  <a:gd name="connsiteY0" fmla="*/ 17942 h 102855"/>
                  <a:gd name="connsiteX1" fmla="*/ 12344 w 40875"/>
                  <a:gd name="connsiteY1" fmla="*/ 26912 h 102855"/>
                  <a:gd name="connsiteX2" fmla="*/ 22597 w 40875"/>
                  <a:gd name="connsiteY2" fmla="*/ 76893 h 102855"/>
                  <a:gd name="connsiteX3" fmla="*/ 25160 w 40875"/>
                  <a:gd name="connsiteY3" fmla="*/ 102524 h 102855"/>
                  <a:gd name="connsiteX4" fmla="*/ 39257 w 40875"/>
                  <a:gd name="connsiteY4" fmla="*/ 82019 h 102855"/>
                  <a:gd name="connsiteX5" fmla="*/ 27723 w 40875"/>
                  <a:gd name="connsiteY5" fmla="*/ 75611 h 102855"/>
                  <a:gd name="connsiteX6" fmla="*/ 17471 w 40875"/>
                  <a:gd name="connsiteY6" fmla="*/ 25631 h 102855"/>
                  <a:gd name="connsiteX7" fmla="*/ 14908 w 40875"/>
                  <a:gd name="connsiteY7" fmla="*/ 0 h 102855"/>
                  <a:gd name="connsiteX8" fmla="*/ 9781 w 40875"/>
                  <a:gd name="connsiteY8" fmla="*/ 0 h 102855"/>
                  <a:gd name="connsiteX9" fmla="*/ 810 w 40875"/>
                  <a:gd name="connsiteY9" fmla="*/ 17942 h 102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75" h="102855">
                    <a:moveTo>
                      <a:pt x="810" y="17942"/>
                    </a:moveTo>
                    <a:cubicBezTo>
                      <a:pt x="2092" y="21786"/>
                      <a:pt x="5937" y="25631"/>
                      <a:pt x="12344" y="26912"/>
                    </a:cubicBezTo>
                    <a:cubicBezTo>
                      <a:pt x="16189" y="43572"/>
                      <a:pt x="18753" y="60233"/>
                      <a:pt x="22597" y="76893"/>
                    </a:cubicBezTo>
                    <a:cubicBezTo>
                      <a:pt x="9781" y="84582"/>
                      <a:pt x="14908" y="99961"/>
                      <a:pt x="25160" y="102524"/>
                    </a:cubicBezTo>
                    <a:cubicBezTo>
                      <a:pt x="36694" y="105087"/>
                      <a:pt x="44383" y="92271"/>
                      <a:pt x="39257" y="82019"/>
                    </a:cubicBezTo>
                    <a:cubicBezTo>
                      <a:pt x="35412" y="76893"/>
                      <a:pt x="30286" y="75611"/>
                      <a:pt x="27723" y="75611"/>
                    </a:cubicBezTo>
                    <a:cubicBezTo>
                      <a:pt x="23878" y="58951"/>
                      <a:pt x="21315" y="42291"/>
                      <a:pt x="17471" y="25631"/>
                    </a:cubicBezTo>
                    <a:cubicBezTo>
                      <a:pt x="30286" y="17942"/>
                      <a:pt x="25160" y="2563"/>
                      <a:pt x="14908" y="0"/>
                    </a:cubicBezTo>
                    <a:cubicBezTo>
                      <a:pt x="13626" y="0"/>
                      <a:pt x="11063" y="0"/>
                      <a:pt x="9781" y="0"/>
                    </a:cubicBezTo>
                    <a:cubicBezTo>
                      <a:pt x="-1753" y="2563"/>
                      <a:pt x="-471" y="14097"/>
                      <a:pt x="81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2" name="Freeform: Shape 379818">
                <a:extLst>
                  <a:ext uri="{FF2B5EF4-FFF2-40B4-BE49-F238E27FC236}">
                    <a16:creationId xmlns:a16="http://schemas.microsoft.com/office/drawing/2014/main" id="{0E749ABC-2D0E-46C1-96A8-DA93C5548723}"/>
                  </a:ext>
                </a:extLst>
              </p:cNvPr>
              <p:cNvSpPr/>
              <p:nvPr/>
            </p:nvSpPr>
            <p:spPr>
              <a:xfrm>
                <a:off x="6714134" y="3490795"/>
                <a:ext cx="61437" cy="254107"/>
              </a:xfrm>
              <a:custGeom>
                <a:avLst/>
                <a:gdLst>
                  <a:gd name="connsiteX0" fmla="*/ 855 w 61437"/>
                  <a:gd name="connsiteY0" fmla="*/ 17942 h 254107"/>
                  <a:gd name="connsiteX1" fmla="*/ 12388 w 61437"/>
                  <a:gd name="connsiteY1" fmla="*/ 26912 h 254107"/>
                  <a:gd name="connsiteX2" fmla="*/ 45709 w 61437"/>
                  <a:gd name="connsiteY2" fmla="*/ 228115 h 254107"/>
                  <a:gd name="connsiteX3" fmla="*/ 46990 w 61437"/>
                  <a:gd name="connsiteY3" fmla="*/ 253746 h 254107"/>
                  <a:gd name="connsiteX4" fmla="*/ 59806 w 61437"/>
                  <a:gd name="connsiteY4" fmla="*/ 234523 h 254107"/>
                  <a:gd name="connsiteX5" fmla="*/ 49553 w 61437"/>
                  <a:gd name="connsiteY5" fmla="*/ 228115 h 254107"/>
                  <a:gd name="connsiteX6" fmla="*/ 16233 w 61437"/>
                  <a:gd name="connsiteY6" fmla="*/ 25631 h 254107"/>
                  <a:gd name="connsiteX7" fmla="*/ 13670 w 61437"/>
                  <a:gd name="connsiteY7" fmla="*/ 0 h 254107"/>
                  <a:gd name="connsiteX8" fmla="*/ 8544 w 61437"/>
                  <a:gd name="connsiteY8" fmla="*/ 0 h 254107"/>
                  <a:gd name="connsiteX9" fmla="*/ 855 w 61437"/>
                  <a:gd name="connsiteY9" fmla="*/ 17942 h 254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37" h="254107">
                    <a:moveTo>
                      <a:pt x="855" y="17942"/>
                    </a:moveTo>
                    <a:cubicBezTo>
                      <a:pt x="2136" y="21786"/>
                      <a:pt x="4699" y="25631"/>
                      <a:pt x="12388" y="26912"/>
                    </a:cubicBezTo>
                    <a:cubicBezTo>
                      <a:pt x="25204" y="94834"/>
                      <a:pt x="36738" y="161475"/>
                      <a:pt x="45709" y="228115"/>
                    </a:cubicBezTo>
                    <a:cubicBezTo>
                      <a:pt x="32893" y="234523"/>
                      <a:pt x="38019" y="251183"/>
                      <a:pt x="46990" y="253746"/>
                    </a:cubicBezTo>
                    <a:cubicBezTo>
                      <a:pt x="57243" y="256309"/>
                      <a:pt x="64932" y="244775"/>
                      <a:pt x="59806" y="234523"/>
                    </a:cubicBezTo>
                    <a:cubicBezTo>
                      <a:pt x="57243" y="229397"/>
                      <a:pt x="52116" y="228115"/>
                      <a:pt x="49553" y="228115"/>
                    </a:cubicBezTo>
                    <a:cubicBezTo>
                      <a:pt x="40582" y="161475"/>
                      <a:pt x="29048" y="93553"/>
                      <a:pt x="16233" y="25631"/>
                    </a:cubicBezTo>
                    <a:cubicBezTo>
                      <a:pt x="27767" y="19223"/>
                      <a:pt x="22641" y="2563"/>
                      <a:pt x="13670" y="0"/>
                    </a:cubicBezTo>
                    <a:cubicBezTo>
                      <a:pt x="12388" y="0"/>
                      <a:pt x="9825" y="0"/>
                      <a:pt x="8544" y="0"/>
                    </a:cubicBezTo>
                    <a:cubicBezTo>
                      <a:pt x="-1709" y="3845"/>
                      <a:pt x="-427" y="14097"/>
                      <a:pt x="855"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3" name="Freeform: Shape 379819">
                <a:extLst>
                  <a:ext uri="{FF2B5EF4-FFF2-40B4-BE49-F238E27FC236}">
                    <a16:creationId xmlns:a16="http://schemas.microsoft.com/office/drawing/2014/main" id="{76801CE9-0826-484E-8A96-5FD8A87B491A}"/>
                  </a:ext>
                </a:extLst>
              </p:cNvPr>
              <p:cNvSpPr/>
              <p:nvPr/>
            </p:nvSpPr>
            <p:spPr>
              <a:xfrm>
                <a:off x="7069072" y="3311379"/>
                <a:ext cx="74169" cy="139088"/>
              </a:xfrm>
              <a:custGeom>
                <a:avLst/>
                <a:gdLst>
                  <a:gd name="connsiteX0" fmla="*/ 906 w 74169"/>
                  <a:gd name="connsiteY0" fmla="*/ 19223 h 139088"/>
                  <a:gd name="connsiteX1" fmla="*/ 11159 w 74169"/>
                  <a:gd name="connsiteY1" fmla="*/ 28194 h 139088"/>
                  <a:gd name="connsiteX2" fmla="*/ 23974 w 74169"/>
                  <a:gd name="connsiteY2" fmla="*/ 93553 h 139088"/>
                  <a:gd name="connsiteX3" fmla="*/ 54731 w 74169"/>
                  <a:gd name="connsiteY3" fmla="*/ 120465 h 139088"/>
                  <a:gd name="connsiteX4" fmla="*/ 70110 w 74169"/>
                  <a:gd name="connsiteY4" fmla="*/ 137125 h 139088"/>
                  <a:gd name="connsiteX5" fmla="*/ 63702 w 74169"/>
                  <a:gd name="connsiteY5" fmla="*/ 111495 h 139088"/>
                  <a:gd name="connsiteX6" fmla="*/ 56013 w 74169"/>
                  <a:gd name="connsiteY6" fmla="*/ 114058 h 139088"/>
                  <a:gd name="connsiteX7" fmla="*/ 27819 w 74169"/>
                  <a:gd name="connsiteY7" fmla="*/ 88427 h 139088"/>
                  <a:gd name="connsiteX8" fmla="*/ 15003 w 74169"/>
                  <a:gd name="connsiteY8" fmla="*/ 25631 h 139088"/>
                  <a:gd name="connsiteX9" fmla="*/ 11159 w 74169"/>
                  <a:gd name="connsiteY9" fmla="*/ 0 h 139088"/>
                  <a:gd name="connsiteX10" fmla="*/ 7314 w 74169"/>
                  <a:gd name="connsiteY10" fmla="*/ 0 h 139088"/>
                  <a:gd name="connsiteX11" fmla="*/ 906 w 74169"/>
                  <a:gd name="connsiteY11" fmla="*/ 19223 h 139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169" h="139088">
                    <a:moveTo>
                      <a:pt x="906" y="19223"/>
                    </a:moveTo>
                    <a:cubicBezTo>
                      <a:pt x="2188" y="23068"/>
                      <a:pt x="4751" y="26912"/>
                      <a:pt x="11159" y="28194"/>
                    </a:cubicBezTo>
                    <a:cubicBezTo>
                      <a:pt x="16285" y="49980"/>
                      <a:pt x="20129" y="71767"/>
                      <a:pt x="23974" y="93553"/>
                    </a:cubicBezTo>
                    <a:cubicBezTo>
                      <a:pt x="32945" y="101242"/>
                      <a:pt x="45761" y="112776"/>
                      <a:pt x="54731" y="120465"/>
                    </a:cubicBezTo>
                    <a:cubicBezTo>
                      <a:pt x="52168" y="133281"/>
                      <a:pt x="63702" y="143533"/>
                      <a:pt x="70110" y="137125"/>
                    </a:cubicBezTo>
                    <a:cubicBezTo>
                      <a:pt x="77799" y="130718"/>
                      <a:pt x="73954" y="112776"/>
                      <a:pt x="63702" y="111495"/>
                    </a:cubicBezTo>
                    <a:cubicBezTo>
                      <a:pt x="59858" y="111495"/>
                      <a:pt x="57295" y="114058"/>
                      <a:pt x="56013" y="114058"/>
                    </a:cubicBezTo>
                    <a:lnTo>
                      <a:pt x="27819" y="88427"/>
                    </a:lnTo>
                    <a:cubicBezTo>
                      <a:pt x="23974" y="67922"/>
                      <a:pt x="20129" y="47417"/>
                      <a:pt x="15003" y="25631"/>
                    </a:cubicBezTo>
                    <a:cubicBezTo>
                      <a:pt x="25256" y="19223"/>
                      <a:pt x="20129" y="2563"/>
                      <a:pt x="11159" y="0"/>
                    </a:cubicBezTo>
                    <a:cubicBezTo>
                      <a:pt x="9877" y="0"/>
                      <a:pt x="8595" y="0"/>
                      <a:pt x="7314" y="0"/>
                    </a:cubicBezTo>
                    <a:cubicBezTo>
                      <a:pt x="-1657" y="5126"/>
                      <a:pt x="-375" y="15379"/>
                      <a:pt x="906"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4" name="Freeform: Shape 379820">
                <a:extLst>
                  <a:ext uri="{FF2B5EF4-FFF2-40B4-BE49-F238E27FC236}">
                    <a16:creationId xmlns:a16="http://schemas.microsoft.com/office/drawing/2014/main" id="{17F31214-CFE3-4C1C-9AF4-6EA2F58EFD66}"/>
                  </a:ext>
                </a:extLst>
              </p:cNvPr>
              <p:cNvSpPr/>
              <p:nvPr/>
            </p:nvSpPr>
            <p:spPr>
              <a:xfrm>
                <a:off x="7628733" y="2985866"/>
                <a:ext cx="122465" cy="439570"/>
              </a:xfrm>
              <a:custGeom>
                <a:avLst/>
                <a:gdLst>
                  <a:gd name="connsiteX0" fmla="*/ 11534 w 122465"/>
                  <a:gd name="connsiteY0" fmla="*/ 48699 h 439570"/>
                  <a:gd name="connsiteX1" fmla="*/ 16660 w 122465"/>
                  <a:gd name="connsiteY1" fmla="*/ 58951 h 439570"/>
                  <a:gd name="connsiteX2" fmla="*/ 49980 w 122465"/>
                  <a:gd name="connsiteY2" fmla="*/ 157630 h 439570"/>
                  <a:gd name="connsiteX3" fmla="*/ 67922 w 122465"/>
                  <a:gd name="connsiteY3" fmla="*/ 197358 h 439570"/>
                  <a:gd name="connsiteX4" fmla="*/ 87145 w 122465"/>
                  <a:gd name="connsiteY4" fmla="*/ 272969 h 439570"/>
                  <a:gd name="connsiteX5" fmla="*/ 107650 w 122465"/>
                  <a:gd name="connsiteY5" fmla="*/ 374211 h 439570"/>
                  <a:gd name="connsiteX6" fmla="*/ 111495 w 122465"/>
                  <a:gd name="connsiteY6" fmla="*/ 399842 h 439570"/>
                  <a:gd name="connsiteX7" fmla="*/ 107650 w 122465"/>
                  <a:gd name="connsiteY7" fmla="*/ 374211 h 439570"/>
                  <a:gd name="connsiteX8" fmla="*/ 87145 w 122465"/>
                  <a:gd name="connsiteY8" fmla="*/ 272969 h 439570"/>
                  <a:gd name="connsiteX9" fmla="*/ 69204 w 122465"/>
                  <a:gd name="connsiteY9" fmla="*/ 202484 h 439570"/>
                  <a:gd name="connsiteX10" fmla="*/ 82019 w 122465"/>
                  <a:gd name="connsiteY10" fmla="*/ 237086 h 439570"/>
                  <a:gd name="connsiteX11" fmla="*/ 90990 w 122465"/>
                  <a:gd name="connsiteY11" fmla="*/ 274251 h 439570"/>
                  <a:gd name="connsiteX12" fmla="*/ 117903 w 122465"/>
                  <a:gd name="connsiteY12" fmla="*/ 413939 h 439570"/>
                  <a:gd name="connsiteX13" fmla="*/ 121747 w 122465"/>
                  <a:gd name="connsiteY13" fmla="*/ 439570 h 439570"/>
                  <a:gd name="connsiteX14" fmla="*/ 119184 w 122465"/>
                  <a:gd name="connsiteY14" fmla="*/ 413939 h 439570"/>
                  <a:gd name="connsiteX15" fmla="*/ 92272 w 122465"/>
                  <a:gd name="connsiteY15" fmla="*/ 274251 h 439570"/>
                  <a:gd name="connsiteX16" fmla="*/ 79456 w 122465"/>
                  <a:gd name="connsiteY16" fmla="*/ 222989 h 439570"/>
                  <a:gd name="connsiteX17" fmla="*/ 78175 w 122465"/>
                  <a:gd name="connsiteY17" fmla="*/ 222989 h 439570"/>
                  <a:gd name="connsiteX18" fmla="*/ 79456 w 122465"/>
                  <a:gd name="connsiteY18" fmla="*/ 228115 h 439570"/>
                  <a:gd name="connsiteX19" fmla="*/ 66641 w 122465"/>
                  <a:gd name="connsiteY19" fmla="*/ 193513 h 439570"/>
                  <a:gd name="connsiteX20" fmla="*/ 10253 w 122465"/>
                  <a:gd name="connsiteY20" fmla="*/ 24349 h 439570"/>
                  <a:gd name="connsiteX21" fmla="*/ 0 w 122465"/>
                  <a:gd name="connsiteY21" fmla="*/ 0 h 439570"/>
                  <a:gd name="connsiteX22" fmla="*/ 8971 w 122465"/>
                  <a:gd name="connsiteY22" fmla="*/ 24349 h 439570"/>
                  <a:gd name="connsiteX23" fmla="*/ 64078 w 122465"/>
                  <a:gd name="connsiteY23" fmla="*/ 188387 h 439570"/>
                  <a:gd name="connsiteX24" fmla="*/ 48699 w 122465"/>
                  <a:gd name="connsiteY24" fmla="*/ 153786 h 439570"/>
                  <a:gd name="connsiteX25" fmla="*/ 16660 w 122465"/>
                  <a:gd name="connsiteY25" fmla="*/ 57670 h 439570"/>
                  <a:gd name="connsiteX26" fmla="*/ 7689 w 122465"/>
                  <a:gd name="connsiteY26" fmla="*/ 33320 h 439570"/>
                  <a:gd name="connsiteX27" fmla="*/ 11534 w 122465"/>
                  <a:gd name="connsiteY27" fmla="*/ 48699 h 439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2465" h="439570">
                    <a:moveTo>
                      <a:pt x="11534" y="48699"/>
                    </a:moveTo>
                    <a:cubicBezTo>
                      <a:pt x="14097" y="55106"/>
                      <a:pt x="15379" y="57670"/>
                      <a:pt x="16660" y="58951"/>
                    </a:cubicBezTo>
                    <a:cubicBezTo>
                      <a:pt x="28194" y="90990"/>
                      <a:pt x="39728" y="124310"/>
                      <a:pt x="49980" y="157630"/>
                    </a:cubicBezTo>
                    <a:lnTo>
                      <a:pt x="67922" y="197358"/>
                    </a:lnTo>
                    <a:cubicBezTo>
                      <a:pt x="74330" y="221707"/>
                      <a:pt x="80738" y="247338"/>
                      <a:pt x="87145" y="272969"/>
                    </a:cubicBezTo>
                    <a:cubicBezTo>
                      <a:pt x="94835" y="306289"/>
                      <a:pt x="102524" y="340891"/>
                      <a:pt x="107650" y="374211"/>
                    </a:cubicBezTo>
                    <a:cubicBezTo>
                      <a:pt x="106369" y="381901"/>
                      <a:pt x="110213" y="394716"/>
                      <a:pt x="111495" y="399842"/>
                    </a:cubicBezTo>
                    <a:cubicBezTo>
                      <a:pt x="114058" y="392153"/>
                      <a:pt x="107650" y="374211"/>
                      <a:pt x="107650" y="374211"/>
                    </a:cubicBezTo>
                    <a:cubicBezTo>
                      <a:pt x="101243" y="340891"/>
                      <a:pt x="94835" y="306289"/>
                      <a:pt x="87145" y="272969"/>
                    </a:cubicBezTo>
                    <a:cubicBezTo>
                      <a:pt x="82019" y="249901"/>
                      <a:pt x="75611" y="225552"/>
                      <a:pt x="69204" y="202484"/>
                    </a:cubicBezTo>
                    <a:lnTo>
                      <a:pt x="82019" y="237086"/>
                    </a:lnTo>
                    <a:cubicBezTo>
                      <a:pt x="84582" y="249901"/>
                      <a:pt x="88427" y="262717"/>
                      <a:pt x="90990" y="274251"/>
                    </a:cubicBezTo>
                    <a:cubicBezTo>
                      <a:pt x="101243" y="320386"/>
                      <a:pt x="111495" y="367804"/>
                      <a:pt x="117903" y="413939"/>
                    </a:cubicBezTo>
                    <a:cubicBezTo>
                      <a:pt x="116621" y="421628"/>
                      <a:pt x="119184" y="434444"/>
                      <a:pt x="121747" y="439570"/>
                    </a:cubicBezTo>
                    <a:cubicBezTo>
                      <a:pt x="124311" y="433162"/>
                      <a:pt x="119184" y="413939"/>
                      <a:pt x="119184" y="413939"/>
                    </a:cubicBezTo>
                    <a:cubicBezTo>
                      <a:pt x="111495" y="367804"/>
                      <a:pt x="102524" y="320386"/>
                      <a:pt x="92272" y="274251"/>
                    </a:cubicBezTo>
                    <a:cubicBezTo>
                      <a:pt x="88427" y="257591"/>
                      <a:pt x="84582" y="239649"/>
                      <a:pt x="79456" y="222989"/>
                    </a:cubicBezTo>
                    <a:cubicBezTo>
                      <a:pt x="79456" y="222989"/>
                      <a:pt x="79456" y="222989"/>
                      <a:pt x="78175" y="222989"/>
                    </a:cubicBezTo>
                    <a:cubicBezTo>
                      <a:pt x="78175" y="224270"/>
                      <a:pt x="79456" y="226834"/>
                      <a:pt x="79456" y="228115"/>
                    </a:cubicBezTo>
                    <a:lnTo>
                      <a:pt x="66641" y="193513"/>
                    </a:lnTo>
                    <a:cubicBezTo>
                      <a:pt x="49980" y="135844"/>
                      <a:pt x="32039" y="79456"/>
                      <a:pt x="10253" y="24349"/>
                    </a:cubicBezTo>
                    <a:cubicBezTo>
                      <a:pt x="8971" y="16660"/>
                      <a:pt x="2563" y="1282"/>
                      <a:pt x="0" y="0"/>
                    </a:cubicBezTo>
                    <a:cubicBezTo>
                      <a:pt x="0" y="8971"/>
                      <a:pt x="8971" y="24349"/>
                      <a:pt x="8971" y="24349"/>
                    </a:cubicBezTo>
                    <a:cubicBezTo>
                      <a:pt x="29476" y="78174"/>
                      <a:pt x="48699" y="131999"/>
                      <a:pt x="64078" y="188387"/>
                    </a:cubicBezTo>
                    <a:lnTo>
                      <a:pt x="48699" y="153786"/>
                    </a:lnTo>
                    <a:cubicBezTo>
                      <a:pt x="38446" y="121747"/>
                      <a:pt x="28194" y="89708"/>
                      <a:pt x="16660" y="57670"/>
                    </a:cubicBezTo>
                    <a:cubicBezTo>
                      <a:pt x="16660" y="51262"/>
                      <a:pt x="11534" y="38446"/>
                      <a:pt x="7689" y="33320"/>
                    </a:cubicBezTo>
                    <a:cubicBezTo>
                      <a:pt x="7689" y="38446"/>
                      <a:pt x="7689" y="39728"/>
                      <a:pt x="11534" y="4869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5" name="Freeform: Shape 379821">
                <a:extLst>
                  <a:ext uri="{FF2B5EF4-FFF2-40B4-BE49-F238E27FC236}">
                    <a16:creationId xmlns:a16="http://schemas.microsoft.com/office/drawing/2014/main" id="{D07AEAB8-462E-4878-AA28-7B32F17AE5F4}"/>
                  </a:ext>
                </a:extLst>
              </p:cNvPr>
              <p:cNvSpPr/>
              <p:nvPr/>
            </p:nvSpPr>
            <p:spPr>
              <a:xfrm>
                <a:off x="7732539" y="3293437"/>
                <a:ext cx="25888" cy="142251"/>
              </a:xfrm>
              <a:custGeom>
                <a:avLst/>
                <a:gdLst>
                  <a:gd name="connsiteX0" fmla="*/ 3844 w 25888"/>
                  <a:gd name="connsiteY0" fmla="*/ 15379 h 142251"/>
                  <a:gd name="connsiteX1" fmla="*/ 6408 w 25888"/>
                  <a:gd name="connsiteY1" fmla="*/ 26912 h 142251"/>
                  <a:gd name="connsiteX2" fmla="*/ 21786 w 25888"/>
                  <a:gd name="connsiteY2" fmla="*/ 116621 h 142251"/>
                  <a:gd name="connsiteX3" fmla="*/ 25631 w 25888"/>
                  <a:gd name="connsiteY3" fmla="*/ 142252 h 142251"/>
                  <a:gd name="connsiteX4" fmla="*/ 21786 w 25888"/>
                  <a:gd name="connsiteY4" fmla="*/ 116621 h 142251"/>
                  <a:gd name="connsiteX5" fmla="*/ 6408 w 25888"/>
                  <a:gd name="connsiteY5" fmla="*/ 26912 h 142251"/>
                  <a:gd name="connsiteX6" fmla="*/ 0 w 25888"/>
                  <a:gd name="connsiteY6" fmla="*/ 0 h 142251"/>
                  <a:gd name="connsiteX7" fmla="*/ 3844 w 25888"/>
                  <a:gd name="connsiteY7" fmla="*/ 15379 h 142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88" h="142251">
                    <a:moveTo>
                      <a:pt x="3844" y="15379"/>
                    </a:moveTo>
                    <a:cubicBezTo>
                      <a:pt x="5126" y="19223"/>
                      <a:pt x="6408" y="24349"/>
                      <a:pt x="6408" y="26912"/>
                    </a:cubicBezTo>
                    <a:cubicBezTo>
                      <a:pt x="12815" y="56388"/>
                      <a:pt x="17942" y="85864"/>
                      <a:pt x="21786" y="116621"/>
                    </a:cubicBezTo>
                    <a:cubicBezTo>
                      <a:pt x="21786" y="121747"/>
                      <a:pt x="24349" y="138407"/>
                      <a:pt x="25631" y="142252"/>
                    </a:cubicBezTo>
                    <a:cubicBezTo>
                      <a:pt x="26912" y="139688"/>
                      <a:pt x="23068" y="117902"/>
                      <a:pt x="21786" y="116621"/>
                    </a:cubicBezTo>
                    <a:cubicBezTo>
                      <a:pt x="16660" y="87145"/>
                      <a:pt x="11534" y="57670"/>
                      <a:pt x="6408" y="26912"/>
                    </a:cubicBezTo>
                    <a:cubicBezTo>
                      <a:pt x="6408" y="21786"/>
                      <a:pt x="1281" y="2563"/>
                      <a:pt x="0" y="0"/>
                    </a:cubicBezTo>
                    <a:cubicBezTo>
                      <a:pt x="1281" y="2563"/>
                      <a:pt x="1281" y="5126"/>
                      <a:pt x="3844"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6" name="Freeform: Shape 379822">
                <a:extLst>
                  <a:ext uri="{FF2B5EF4-FFF2-40B4-BE49-F238E27FC236}">
                    <a16:creationId xmlns:a16="http://schemas.microsoft.com/office/drawing/2014/main" id="{22223C62-B237-4AE7-BC67-AAC36A7E3A6C}"/>
                  </a:ext>
                </a:extLst>
              </p:cNvPr>
              <p:cNvSpPr/>
              <p:nvPr/>
            </p:nvSpPr>
            <p:spPr>
              <a:xfrm>
                <a:off x="4382887" y="4160795"/>
                <a:ext cx="14925" cy="25650"/>
              </a:xfrm>
              <a:custGeom>
                <a:avLst/>
                <a:gdLst>
                  <a:gd name="connsiteX0" fmla="*/ 2243 w 14925"/>
                  <a:gd name="connsiteY0" fmla="*/ 16909 h 25650"/>
                  <a:gd name="connsiteX1" fmla="*/ 13777 w 14925"/>
                  <a:gd name="connsiteY1" fmla="*/ 23316 h 25650"/>
                  <a:gd name="connsiteX2" fmla="*/ 3524 w 14925"/>
                  <a:gd name="connsiteY2" fmla="*/ 248 h 25650"/>
                  <a:gd name="connsiteX3" fmla="*/ 2243 w 14925"/>
                  <a:gd name="connsiteY3" fmla="*/ 16909 h 25650"/>
                </a:gdLst>
                <a:ahLst/>
                <a:cxnLst>
                  <a:cxn ang="0">
                    <a:pos x="connsiteX0" y="connsiteY0"/>
                  </a:cxn>
                  <a:cxn ang="0">
                    <a:pos x="connsiteX1" y="connsiteY1"/>
                  </a:cxn>
                  <a:cxn ang="0">
                    <a:pos x="connsiteX2" y="connsiteY2"/>
                  </a:cxn>
                  <a:cxn ang="0">
                    <a:pos x="connsiteX3" y="connsiteY3"/>
                  </a:cxn>
                </a:cxnLst>
                <a:rect l="l" t="t" r="r" b="b"/>
                <a:pathLst>
                  <a:path w="14925" h="25650">
                    <a:moveTo>
                      <a:pt x="2243" y="16909"/>
                    </a:moveTo>
                    <a:cubicBezTo>
                      <a:pt x="6087" y="24598"/>
                      <a:pt x="11213" y="28443"/>
                      <a:pt x="13777" y="23316"/>
                    </a:cubicBezTo>
                    <a:cubicBezTo>
                      <a:pt x="17621" y="15627"/>
                      <a:pt x="11213" y="-2315"/>
                      <a:pt x="3524" y="248"/>
                    </a:cubicBezTo>
                    <a:cubicBezTo>
                      <a:pt x="-1602" y="2812"/>
                      <a:pt x="-320" y="10501"/>
                      <a:pt x="2243" y="1690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7" name="Freeform: Shape 379823">
                <a:extLst>
                  <a:ext uri="{FF2B5EF4-FFF2-40B4-BE49-F238E27FC236}">
                    <a16:creationId xmlns:a16="http://schemas.microsoft.com/office/drawing/2014/main" id="{4856B509-51E9-4EAA-96DD-8321796E98C1}"/>
                  </a:ext>
                </a:extLst>
              </p:cNvPr>
              <p:cNvSpPr/>
              <p:nvPr/>
            </p:nvSpPr>
            <p:spPr>
              <a:xfrm>
                <a:off x="4400481" y="4152072"/>
                <a:ext cx="40013" cy="98679"/>
              </a:xfrm>
              <a:custGeom>
                <a:avLst/>
                <a:gdLst>
                  <a:gd name="connsiteX0" fmla="*/ 2591 w 40013"/>
                  <a:gd name="connsiteY0" fmla="*/ 17942 h 98679"/>
                  <a:gd name="connsiteX1" fmla="*/ 10280 w 40013"/>
                  <a:gd name="connsiteY1" fmla="*/ 25631 h 98679"/>
                  <a:gd name="connsiteX2" fmla="*/ 26940 w 40013"/>
                  <a:gd name="connsiteY2" fmla="*/ 74330 h 98679"/>
                  <a:gd name="connsiteX3" fmla="*/ 35911 w 40013"/>
                  <a:gd name="connsiteY3" fmla="*/ 98679 h 98679"/>
                  <a:gd name="connsiteX4" fmla="*/ 33348 w 40013"/>
                  <a:gd name="connsiteY4" fmla="*/ 74330 h 98679"/>
                  <a:gd name="connsiteX5" fmla="*/ 29503 w 40013"/>
                  <a:gd name="connsiteY5" fmla="*/ 73048 h 98679"/>
                  <a:gd name="connsiteX6" fmla="*/ 12843 w 40013"/>
                  <a:gd name="connsiteY6" fmla="*/ 24349 h 98679"/>
                  <a:gd name="connsiteX7" fmla="*/ 3872 w 40013"/>
                  <a:gd name="connsiteY7" fmla="*/ 0 h 98679"/>
                  <a:gd name="connsiteX8" fmla="*/ 2591 w 40013"/>
                  <a:gd name="connsiteY8" fmla="*/ 0 h 98679"/>
                  <a:gd name="connsiteX9" fmla="*/ 2591 w 40013"/>
                  <a:gd name="connsiteY9" fmla="*/ 17942 h 98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13" h="98679">
                    <a:moveTo>
                      <a:pt x="2591" y="17942"/>
                    </a:moveTo>
                    <a:cubicBezTo>
                      <a:pt x="3872" y="21786"/>
                      <a:pt x="6435" y="25631"/>
                      <a:pt x="10280" y="25631"/>
                    </a:cubicBezTo>
                    <a:cubicBezTo>
                      <a:pt x="15406" y="42291"/>
                      <a:pt x="21814" y="57670"/>
                      <a:pt x="26940" y="74330"/>
                    </a:cubicBezTo>
                    <a:cubicBezTo>
                      <a:pt x="21814" y="82019"/>
                      <a:pt x="30785" y="98679"/>
                      <a:pt x="35911" y="98679"/>
                    </a:cubicBezTo>
                    <a:cubicBezTo>
                      <a:pt x="42319" y="98679"/>
                      <a:pt x="41037" y="80737"/>
                      <a:pt x="33348" y="74330"/>
                    </a:cubicBezTo>
                    <a:cubicBezTo>
                      <a:pt x="32066" y="73048"/>
                      <a:pt x="30785" y="73048"/>
                      <a:pt x="29503" y="73048"/>
                    </a:cubicBezTo>
                    <a:cubicBezTo>
                      <a:pt x="23096" y="57670"/>
                      <a:pt x="17969" y="41009"/>
                      <a:pt x="12843" y="24349"/>
                    </a:cubicBezTo>
                    <a:cubicBezTo>
                      <a:pt x="17969" y="16660"/>
                      <a:pt x="10280" y="0"/>
                      <a:pt x="3872" y="0"/>
                    </a:cubicBezTo>
                    <a:cubicBezTo>
                      <a:pt x="3872" y="0"/>
                      <a:pt x="2591" y="0"/>
                      <a:pt x="2591" y="0"/>
                    </a:cubicBezTo>
                    <a:cubicBezTo>
                      <a:pt x="-2536" y="3845"/>
                      <a:pt x="1309" y="14097"/>
                      <a:pt x="2591"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8" name="Freeform: Shape 379824">
                <a:extLst>
                  <a:ext uri="{FF2B5EF4-FFF2-40B4-BE49-F238E27FC236}">
                    <a16:creationId xmlns:a16="http://schemas.microsoft.com/office/drawing/2014/main" id="{713CA2F1-C818-450B-A58C-6612505A7792}"/>
                  </a:ext>
                </a:extLst>
              </p:cNvPr>
              <p:cNvSpPr/>
              <p:nvPr/>
            </p:nvSpPr>
            <p:spPr>
              <a:xfrm>
                <a:off x="4511825" y="4063646"/>
                <a:ext cx="27902" cy="62865"/>
              </a:xfrm>
              <a:custGeom>
                <a:avLst/>
                <a:gdLst>
                  <a:gd name="connsiteX0" fmla="*/ 1459 w 27902"/>
                  <a:gd name="connsiteY0" fmla="*/ 19223 h 62865"/>
                  <a:gd name="connsiteX1" fmla="*/ 10430 w 27902"/>
                  <a:gd name="connsiteY1" fmla="*/ 26913 h 62865"/>
                  <a:gd name="connsiteX2" fmla="*/ 14275 w 27902"/>
                  <a:gd name="connsiteY2" fmla="*/ 38447 h 62865"/>
                  <a:gd name="connsiteX3" fmla="*/ 21964 w 27902"/>
                  <a:gd name="connsiteY3" fmla="*/ 62796 h 62865"/>
                  <a:gd name="connsiteX4" fmla="*/ 23246 w 27902"/>
                  <a:gd name="connsiteY4" fmla="*/ 39728 h 62865"/>
                  <a:gd name="connsiteX5" fmla="*/ 18120 w 27902"/>
                  <a:gd name="connsiteY5" fmla="*/ 37165 h 62865"/>
                  <a:gd name="connsiteX6" fmla="*/ 14275 w 27902"/>
                  <a:gd name="connsiteY6" fmla="*/ 25631 h 62865"/>
                  <a:gd name="connsiteX7" fmla="*/ 6586 w 27902"/>
                  <a:gd name="connsiteY7" fmla="*/ 0 h 62865"/>
                  <a:gd name="connsiteX8" fmla="*/ 5304 w 27902"/>
                  <a:gd name="connsiteY8" fmla="*/ 0 h 62865"/>
                  <a:gd name="connsiteX9" fmla="*/ 1459 w 27902"/>
                  <a:gd name="connsiteY9" fmla="*/ 19223 h 6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902" h="62865">
                    <a:moveTo>
                      <a:pt x="1459" y="19223"/>
                    </a:moveTo>
                    <a:cubicBezTo>
                      <a:pt x="2741" y="23068"/>
                      <a:pt x="5304" y="26913"/>
                      <a:pt x="10430" y="26913"/>
                    </a:cubicBezTo>
                    <a:cubicBezTo>
                      <a:pt x="11712" y="30757"/>
                      <a:pt x="12993" y="34602"/>
                      <a:pt x="14275" y="38447"/>
                    </a:cubicBezTo>
                    <a:cubicBezTo>
                      <a:pt x="6586" y="47417"/>
                      <a:pt x="15557" y="64077"/>
                      <a:pt x="21964" y="62796"/>
                    </a:cubicBezTo>
                    <a:cubicBezTo>
                      <a:pt x="29654" y="62796"/>
                      <a:pt x="29654" y="47417"/>
                      <a:pt x="23246" y="39728"/>
                    </a:cubicBezTo>
                    <a:cubicBezTo>
                      <a:pt x="20683" y="37165"/>
                      <a:pt x="19401" y="37165"/>
                      <a:pt x="18120" y="37165"/>
                    </a:cubicBezTo>
                    <a:cubicBezTo>
                      <a:pt x="16838" y="33320"/>
                      <a:pt x="15557" y="29476"/>
                      <a:pt x="14275" y="25631"/>
                    </a:cubicBezTo>
                    <a:cubicBezTo>
                      <a:pt x="21964" y="16660"/>
                      <a:pt x="12993" y="0"/>
                      <a:pt x="6586" y="0"/>
                    </a:cubicBezTo>
                    <a:cubicBezTo>
                      <a:pt x="6586" y="0"/>
                      <a:pt x="5304" y="0"/>
                      <a:pt x="5304" y="0"/>
                    </a:cubicBezTo>
                    <a:cubicBezTo>
                      <a:pt x="-2385" y="5126"/>
                      <a:pt x="178" y="15379"/>
                      <a:pt x="1459"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89" name="Freeform: Shape 379825">
                <a:extLst>
                  <a:ext uri="{FF2B5EF4-FFF2-40B4-BE49-F238E27FC236}">
                    <a16:creationId xmlns:a16="http://schemas.microsoft.com/office/drawing/2014/main" id="{7B023F69-7F8B-44A1-B24D-A6E6C4AA8F16}"/>
                  </a:ext>
                </a:extLst>
              </p:cNvPr>
              <p:cNvSpPr/>
              <p:nvPr/>
            </p:nvSpPr>
            <p:spPr>
              <a:xfrm>
                <a:off x="5612964" y="3691428"/>
                <a:ext cx="88664" cy="91883"/>
              </a:xfrm>
              <a:custGeom>
                <a:avLst/>
                <a:gdLst>
                  <a:gd name="connsiteX0" fmla="*/ 1173 w 88664"/>
                  <a:gd name="connsiteY0" fmla="*/ 19793 h 91883"/>
                  <a:gd name="connsiteX1" fmla="*/ 13988 w 88664"/>
                  <a:gd name="connsiteY1" fmla="*/ 27482 h 91883"/>
                  <a:gd name="connsiteX2" fmla="*/ 20396 w 88664"/>
                  <a:gd name="connsiteY2" fmla="*/ 53113 h 91883"/>
                  <a:gd name="connsiteX3" fmla="*/ 61405 w 88664"/>
                  <a:gd name="connsiteY3" fmla="*/ 74899 h 91883"/>
                  <a:gd name="connsiteX4" fmla="*/ 80629 w 88664"/>
                  <a:gd name="connsiteY4" fmla="*/ 90278 h 91883"/>
                  <a:gd name="connsiteX5" fmla="*/ 79347 w 88664"/>
                  <a:gd name="connsiteY5" fmla="*/ 65928 h 91883"/>
                  <a:gd name="connsiteX6" fmla="*/ 63968 w 88664"/>
                  <a:gd name="connsiteY6" fmla="*/ 69773 h 91883"/>
                  <a:gd name="connsiteX7" fmla="*/ 25522 w 88664"/>
                  <a:gd name="connsiteY7" fmla="*/ 49268 h 91883"/>
                  <a:gd name="connsiteX8" fmla="*/ 19114 w 88664"/>
                  <a:gd name="connsiteY8" fmla="*/ 24919 h 91883"/>
                  <a:gd name="connsiteX9" fmla="*/ 17833 w 88664"/>
                  <a:gd name="connsiteY9" fmla="*/ 570 h 91883"/>
                  <a:gd name="connsiteX10" fmla="*/ 8862 w 88664"/>
                  <a:gd name="connsiteY10" fmla="*/ 570 h 91883"/>
                  <a:gd name="connsiteX11" fmla="*/ 1173 w 88664"/>
                  <a:gd name="connsiteY11" fmla="*/ 19793 h 91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664" h="91883">
                    <a:moveTo>
                      <a:pt x="1173" y="19793"/>
                    </a:moveTo>
                    <a:cubicBezTo>
                      <a:pt x="2454" y="23637"/>
                      <a:pt x="6299" y="27482"/>
                      <a:pt x="13988" y="27482"/>
                    </a:cubicBezTo>
                    <a:cubicBezTo>
                      <a:pt x="16551" y="36453"/>
                      <a:pt x="17833" y="45424"/>
                      <a:pt x="20396" y="53113"/>
                    </a:cubicBezTo>
                    <a:cubicBezTo>
                      <a:pt x="33211" y="59521"/>
                      <a:pt x="48590" y="68492"/>
                      <a:pt x="61405" y="74899"/>
                    </a:cubicBezTo>
                    <a:cubicBezTo>
                      <a:pt x="57561" y="87715"/>
                      <a:pt x="70376" y="95404"/>
                      <a:pt x="80629" y="90278"/>
                    </a:cubicBezTo>
                    <a:cubicBezTo>
                      <a:pt x="92163" y="85152"/>
                      <a:pt x="90881" y="69773"/>
                      <a:pt x="79347" y="65928"/>
                    </a:cubicBezTo>
                    <a:cubicBezTo>
                      <a:pt x="76784" y="64647"/>
                      <a:pt x="70376" y="63365"/>
                      <a:pt x="63968" y="69773"/>
                    </a:cubicBezTo>
                    <a:lnTo>
                      <a:pt x="25522" y="49268"/>
                    </a:lnTo>
                    <a:cubicBezTo>
                      <a:pt x="22959" y="41579"/>
                      <a:pt x="21677" y="33890"/>
                      <a:pt x="19114" y="24919"/>
                    </a:cubicBezTo>
                    <a:cubicBezTo>
                      <a:pt x="31930" y="17230"/>
                      <a:pt x="28085" y="3133"/>
                      <a:pt x="17833" y="570"/>
                    </a:cubicBezTo>
                    <a:cubicBezTo>
                      <a:pt x="15269" y="-712"/>
                      <a:pt x="11425" y="570"/>
                      <a:pt x="8862" y="570"/>
                    </a:cubicBezTo>
                    <a:cubicBezTo>
                      <a:pt x="-2672" y="4414"/>
                      <a:pt x="-109" y="15948"/>
                      <a:pt x="1173" y="1979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0" name="Freeform: Shape 379826">
                <a:extLst>
                  <a:ext uri="{FF2B5EF4-FFF2-40B4-BE49-F238E27FC236}">
                    <a16:creationId xmlns:a16="http://schemas.microsoft.com/office/drawing/2014/main" id="{777E4EBE-D4AF-43EA-8ADE-647DD91D3206}"/>
                  </a:ext>
                </a:extLst>
              </p:cNvPr>
              <p:cNvSpPr/>
              <p:nvPr/>
            </p:nvSpPr>
            <p:spPr>
              <a:xfrm>
                <a:off x="6376637" y="3597163"/>
                <a:ext cx="114750" cy="281651"/>
              </a:xfrm>
              <a:custGeom>
                <a:avLst/>
                <a:gdLst>
                  <a:gd name="connsiteX0" fmla="*/ 1303 w 114750"/>
                  <a:gd name="connsiteY0" fmla="*/ 17942 h 281651"/>
                  <a:gd name="connsiteX1" fmla="*/ 12837 w 114750"/>
                  <a:gd name="connsiteY1" fmla="*/ 26912 h 281651"/>
                  <a:gd name="connsiteX2" fmla="*/ 53847 w 114750"/>
                  <a:gd name="connsiteY2" fmla="*/ 240930 h 281651"/>
                  <a:gd name="connsiteX3" fmla="*/ 89730 w 114750"/>
                  <a:gd name="connsiteY3" fmla="*/ 263998 h 281651"/>
                  <a:gd name="connsiteX4" fmla="*/ 106390 w 114750"/>
                  <a:gd name="connsiteY4" fmla="*/ 280659 h 281651"/>
                  <a:gd name="connsiteX5" fmla="*/ 107672 w 114750"/>
                  <a:gd name="connsiteY5" fmla="*/ 256309 h 281651"/>
                  <a:gd name="connsiteX6" fmla="*/ 93575 w 114750"/>
                  <a:gd name="connsiteY6" fmla="*/ 258872 h 281651"/>
                  <a:gd name="connsiteX7" fmla="*/ 60255 w 114750"/>
                  <a:gd name="connsiteY7" fmla="*/ 237086 h 281651"/>
                  <a:gd name="connsiteX8" fmla="*/ 20526 w 114750"/>
                  <a:gd name="connsiteY8" fmla="*/ 25631 h 281651"/>
                  <a:gd name="connsiteX9" fmla="*/ 17964 w 114750"/>
                  <a:gd name="connsiteY9" fmla="*/ 0 h 281651"/>
                  <a:gd name="connsiteX10" fmla="*/ 12837 w 114750"/>
                  <a:gd name="connsiteY10" fmla="*/ 0 h 281651"/>
                  <a:gd name="connsiteX11" fmla="*/ 1303 w 114750"/>
                  <a:gd name="connsiteY11" fmla="*/ 17942 h 281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750" h="281651">
                    <a:moveTo>
                      <a:pt x="1303" y="17942"/>
                    </a:moveTo>
                    <a:cubicBezTo>
                      <a:pt x="2585" y="21786"/>
                      <a:pt x="6430" y="25631"/>
                      <a:pt x="12837" y="26912"/>
                    </a:cubicBezTo>
                    <a:cubicBezTo>
                      <a:pt x="26934" y="98679"/>
                      <a:pt x="41031" y="170446"/>
                      <a:pt x="53847" y="240930"/>
                    </a:cubicBezTo>
                    <a:cubicBezTo>
                      <a:pt x="64099" y="247338"/>
                      <a:pt x="78196" y="257591"/>
                      <a:pt x="89730" y="263998"/>
                    </a:cubicBezTo>
                    <a:cubicBezTo>
                      <a:pt x="85886" y="276814"/>
                      <a:pt x="97420" y="284503"/>
                      <a:pt x="106390" y="280659"/>
                    </a:cubicBezTo>
                    <a:cubicBezTo>
                      <a:pt x="116643" y="275532"/>
                      <a:pt x="117924" y="261435"/>
                      <a:pt x="107672" y="256309"/>
                    </a:cubicBezTo>
                    <a:cubicBezTo>
                      <a:pt x="102546" y="253746"/>
                      <a:pt x="98701" y="255028"/>
                      <a:pt x="93575" y="258872"/>
                    </a:cubicBezTo>
                    <a:lnTo>
                      <a:pt x="60255" y="237086"/>
                    </a:lnTo>
                    <a:cubicBezTo>
                      <a:pt x="48721" y="167882"/>
                      <a:pt x="34623" y="97397"/>
                      <a:pt x="20526" y="25631"/>
                    </a:cubicBezTo>
                    <a:cubicBezTo>
                      <a:pt x="33342" y="17942"/>
                      <a:pt x="28216" y="2563"/>
                      <a:pt x="17964" y="0"/>
                    </a:cubicBezTo>
                    <a:cubicBezTo>
                      <a:pt x="16682" y="0"/>
                      <a:pt x="14119" y="0"/>
                      <a:pt x="12837" y="0"/>
                    </a:cubicBezTo>
                    <a:cubicBezTo>
                      <a:pt x="-1260" y="2563"/>
                      <a:pt x="-1260" y="14097"/>
                      <a:pt x="1303"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1" name="Freeform: Shape 379827">
                <a:extLst>
                  <a:ext uri="{FF2B5EF4-FFF2-40B4-BE49-F238E27FC236}">
                    <a16:creationId xmlns:a16="http://schemas.microsoft.com/office/drawing/2014/main" id="{D4534B46-433E-4E61-9ADC-999E1226527B}"/>
                  </a:ext>
                </a:extLst>
              </p:cNvPr>
              <p:cNvSpPr/>
              <p:nvPr/>
            </p:nvSpPr>
            <p:spPr>
              <a:xfrm>
                <a:off x="7066808" y="3470290"/>
                <a:ext cx="33009" cy="103221"/>
              </a:xfrm>
              <a:custGeom>
                <a:avLst/>
                <a:gdLst>
                  <a:gd name="connsiteX0" fmla="*/ 607 w 33009"/>
                  <a:gd name="connsiteY0" fmla="*/ 17942 h 103221"/>
                  <a:gd name="connsiteX1" fmla="*/ 10859 w 33009"/>
                  <a:gd name="connsiteY1" fmla="*/ 26912 h 103221"/>
                  <a:gd name="connsiteX2" fmla="*/ 18548 w 33009"/>
                  <a:gd name="connsiteY2" fmla="*/ 76893 h 103221"/>
                  <a:gd name="connsiteX3" fmla="*/ 19830 w 33009"/>
                  <a:gd name="connsiteY3" fmla="*/ 102524 h 103221"/>
                  <a:gd name="connsiteX4" fmla="*/ 31364 w 33009"/>
                  <a:gd name="connsiteY4" fmla="*/ 83300 h 103221"/>
                  <a:gd name="connsiteX5" fmla="*/ 22393 w 33009"/>
                  <a:gd name="connsiteY5" fmla="*/ 75611 h 103221"/>
                  <a:gd name="connsiteX6" fmla="*/ 14703 w 33009"/>
                  <a:gd name="connsiteY6" fmla="*/ 25631 h 103221"/>
                  <a:gd name="connsiteX7" fmla="*/ 12140 w 33009"/>
                  <a:gd name="connsiteY7" fmla="*/ 0 h 103221"/>
                  <a:gd name="connsiteX8" fmla="*/ 8296 w 33009"/>
                  <a:gd name="connsiteY8" fmla="*/ 0 h 103221"/>
                  <a:gd name="connsiteX9" fmla="*/ 607 w 33009"/>
                  <a:gd name="connsiteY9" fmla="*/ 17942 h 10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09" h="103221">
                    <a:moveTo>
                      <a:pt x="607" y="17942"/>
                    </a:moveTo>
                    <a:cubicBezTo>
                      <a:pt x="1888" y="21786"/>
                      <a:pt x="4451" y="25631"/>
                      <a:pt x="10859" y="26912"/>
                    </a:cubicBezTo>
                    <a:cubicBezTo>
                      <a:pt x="13422" y="43573"/>
                      <a:pt x="15985" y="60233"/>
                      <a:pt x="18548" y="76893"/>
                    </a:cubicBezTo>
                    <a:cubicBezTo>
                      <a:pt x="8296" y="83300"/>
                      <a:pt x="12140" y="98679"/>
                      <a:pt x="19830" y="102524"/>
                    </a:cubicBezTo>
                    <a:cubicBezTo>
                      <a:pt x="28801" y="106368"/>
                      <a:pt x="36490" y="93553"/>
                      <a:pt x="31364" y="83300"/>
                    </a:cubicBezTo>
                    <a:cubicBezTo>
                      <a:pt x="28801" y="76893"/>
                      <a:pt x="24956" y="76893"/>
                      <a:pt x="22393" y="75611"/>
                    </a:cubicBezTo>
                    <a:cubicBezTo>
                      <a:pt x="19830" y="58951"/>
                      <a:pt x="17267" y="42291"/>
                      <a:pt x="14703" y="25631"/>
                    </a:cubicBezTo>
                    <a:cubicBezTo>
                      <a:pt x="24956" y="19223"/>
                      <a:pt x="21112" y="2563"/>
                      <a:pt x="12140" y="0"/>
                    </a:cubicBezTo>
                    <a:cubicBezTo>
                      <a:pt x="10859" y="0"/>
                      <a:pt x="9578" y="0"/>
                      <a:pt x="8296" y="0"/>
                    </a:cubicBezTo>
                    <a:cubicBezTo>
                      <a:pt x="-675" y="3845"/>
                      <a:pt x="-675" y="15379"/>
                      <a:pt x="607"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2" name="Freeform: Shape 379828">
                <a:extLst>
                  <a:ext uri="{FF2B5EF4-FFF2-40B4-BE49-F238E27FC236}">
                    <a16:creationId xmlns:a16="http://schemas.microsoft.com/office/drawing/2014/main" id="{BB828C91-2C9C-4DBD-B4AE-B67A493FBFD5}"/>
                  </a:ext>
                </a:extLst>
              </p:cNvPr>
              <p:cNvSpPr/>
              <p:nvPr/>
            </p:nvSpPr>
            <p:spPr>
              <a:xfrm>
                <a:off x="7092077" y="3426718"/>
                <a:ext cx="57571" cy="62195"/>
              </a:xfrm>
              <a:custGeom>
                <a:avLst/>
                <a:gdLst>
                  <a:gd name="connsiteX0" fmla="*/ 969 w 57571"/>
                  <a:gd name="connsiteY0" fmla="*/ 19223 h 62195"/>
                  <a:gd name="connsiteX1" fmla="*/ 17629 w 57571"/>
                  <a:gd name="connsiteY1" fmla="*/ 25631 h 62195"/>
                  <a:gd name="connsiteX2" fmla="*/ 38134 w 57571"/>
                  <a:gd name="connsiteY2" fmla="*/ 43573 h 62195"/>
                  <a:gd name="connsiteX3" fmla="*/ 53512 w 57571"/>
                  <a:gd name="connsiteY3" fmla="*/ 60233 h 62195"/>
                  <a:gd name="connsiteX4" fmla="*/ 47105 w 57571"/>
                  <a:gd name="connsiteY4" fmla="*/ 34602 h 62195"/>
                  <a:gd name="connsiteX5" fmla="*/ 39416 w 57571"/>
                  <a:gd name="connsiteY5" fmla="*/ 37165 h 62195"/>
                  <a:gd name="connsiteX6" fmla="*/ 18910 w 57571"/>
                  <a:gd name="connsiteY6" fmla="*/ 19223 h 62195"/>
                  <a:gd name="connsiteX7" fmla="*/ 6095 w 57571"/>
                  <a:gd name="connsiteY7" fmla="*/ 0 h 62195"/>
                  <a:gd name="connsiteX8" fmla="*/ 969 w 57571"/>
                  <a:gd name="connsiteY8" fmla="*/ 19223 h 6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71" h="62195">
                    <a:moveTo>
                      <a:pt x="969" y="19223"/>
                    </a:moveTo>
                    <a:cubicBezTo>
                      <a:pt x="3532" y="26912"/>
                      <a:pt x="12503" y="32039"/>
                      <a:pt x="17629" y="25631"/>
                    </a:cubicBezTo>
                    <a:cubicBezTo>
                      <a:pt x="24037" y="30757"/>
                      <a:pt x="31726" y="38446"/>
                      <a:pt x="38134" y="43573"/>
                    </a:cubicBezTo>
                    <a:cubicBezTo>
                      <a:pt x="35571" y="56388"/>
                      <a:pt x="45823" y="66640"/>
                      <a:pt x="53512" y="60233"/>
                    </a:cubicBezTo>
                    <a:cubicBezTo>
                      <a:pt x="61202" y="53825"/>
                      <a:pt x="57357" y="35883"/>
                      <a:pt x="47105" y="34602"/>
                    </a:cubicBezTo>
                    <a:cubicBezTo>
                      <a:pt x="43260" y="34602"/>
                      <a:pt x="40697" y="37165"/>
                      <a:pt x="39416" y="37165"/>
                    </a:cubicBezTo>
                    <a:cubicBezTo>
                      <a:pt x="33007" y="32039"/>
                      <a:pt x="25318" y="24349"/>
                      <a:pt x="18910" y="19223"/>
                    </a:cubicBezTo>
                    <a:cubicBezTo>
                      <a:pt x="20192" y="11534"/>
                      <a:pt x="16348" y="0"/>
                      <a:pt x="6095" y="0"/>
                    </a:cubicBezTo>
                    <a:cubicBezTo>
                      <a:pt x="-1594" y="5126"/>
                      <a:pt x="-313" y="15379"/>
                      <a:pt x="969"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3" name="Freeform: Shape 379829">
                <a:extLst>
                  <a:ext uri="{FF2B5EF4-FFF2-40B4-BE49-F238E27FC236}">
                    <a16:creationId xmlns:a16="http://schemas.microsoft.com/office/drawing/2014/main" id="{802D6F51-84AD-43C3-962F-8F415CA1783E}"/>
                  </a:ext>
                </a:extLst>
              </p:cNvPr>
              <p:cNvSpPr/>
              <p:nvPr/>
            </p:nvSpPr>
            <p:spPr>
              <a:xfrm>
                <a:off x="4281857" y="3997006"/>
                <a:ext cx="94250" cy="242212"/>
              </a:xfrm>
              <a:custGeom>
                <a:avLst/>
                <a:gdLst>
                  <a:gd name="connsiteX0" fmla="*/ 2031 w 94250"/>
                  <a:gd name="connsiteY0" fmla="*/ 16660 h 242212"/>
                  <a:gd name="connsiteX1" fmla="*/ 8438 w 94250"/>
                  <a:gd name="connsiteY1" fmla="*/ 25631 h 242212"/>
                  <a:gd name="connsiteX2" fmla="*/ 59700 w 94250"/>
                  <a:gd name="connsiteY2" fmla="*/ 203766 h 242212"/>
                  <a:gd name="connsiteX3" fmla="*/ 81487 w 94250"/>
                  <a:gd name="connsiteY3" fmla="*/ 228115 h 242212"/>
                  <a:gd name="connsiteX4" fmla="*/ 91739 w 94250"/>
                  <a:gd name="connsiteY4" fmla="*/ 242212 h 242212"/>
                  <a:gd name="connsiteX5" fmla="*/ 82768 w 94250"/>
                  <a:gd name="connsiteY5" fmla="*/ 216581 h 242212"/>
                  <a:gd name="connsiteX6" fmla="*/ 80205 w 94250"/>
                  <a:gd name="connsiteY6" fmla="*/ 221707 h 242212"/>
                  <a:gd name="connsiteX7" fmla="*/ 59700 w 94250"/>
                  <a:gd name="connsiteY7" fmla="*/ 201203 h 242212"/>
                  <a:gd name="connsiteX8" fmla="*/ 11001 w 94250"/>
                  <a:gd name="connsiteY8" fmla="*/ 23068 h 242212"/>
                  <a:gd name="connsiteX9" fmla="*/ 2031 w 94250"/>
                  <a:gd name="connsiteY9" fmla="*/ 0 h 242212"/>
                  <a:gd name="connsiteX10" fmla="*/ 2031 w 94250"/>
                  <a:gd name="connsiteY10" fmla="*/ 16660 h 242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50" h="242212">
                    <a:moveTo>
                      <a:pt x="2031" y="16660"/>
                    </a:moveTo>
                    <a:cubicBezTo>
                      <a:pt x="4594" y="23068"/>
                      <a:pt x="5875" y="24349"/>
                      <a:pt x="8438" y="25631"/>
                    </a:cubicBezTo>
                    <a:cubicBezTo>
                      <a:pt x="23817" y="79456"/>
                      <a:pt x="41759" y="151222"/>
                      <a:pt x="59700" y="203766"/>
                    </a:cubicBezTo>
                    <a:cubicBezTo>
                      <a:pt x="66108" y="210173"/>
                      <a:pt x="80205" y="217863"/>
                      <a:pt x="81487" y="228115"/>
                    </a:cubicBezTo>
                    <a:cubicBezTo>
                      <a:pt x="81487" y="228115"/>
                      <a:pt x="84050" y="242212"/>
                      <a:pt x="91739" y="242212"/>
                    </a:cubicBezTo>
                    <a:cubicBezTo>
                      <a:pt x="100710" y="230678"/>
                      <a:pt x="82768" y="216581"/>
                      <a:pt x="82768" y="216581"/>
                    </a:cubicBezTo>
                    <a:cubicBezTo>
                      <a:pt x="82768" y="216581"/>
                      <a:pt x="81487" y="217863"/>
                      <a:pt x="80205" y="221707"/>
                    </a:cubicBezTo>
                    <a:lnTo>
                      <a:pt x="59700" y="201203"/>
                    </a:lnTo>
                    <a:cubicBezTo>
                      <a:pt x="8438" y="28194"/>
                      <a:pt x="8438" y="28194"/>
                      <a:pt x="11001" y="23068"/>
                    </a:cubicBezTo>
                    <a:cubicBezTo>
                      <a:pt x="12283" y="21786"/>
                      <a:pt x="12283" y="0"/>
                      <a:pt x="2031" y="0"/>
                    </a:cubicBezTo>
                    <a:cubicBezTo>
                      <a:pt x="-1814" y="3844"/>
                      <a:pt x="749" y="11534"/>
                      <a:pt x="203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4" name="Freeform: Shape 379830">
                <a:extLst>
                  <a:ext uri="{FF2B5EF4-FFF2-40B4-BE49-F238E27FC236}">
                    <a16:creationId xmlns:a16="http://schemas.microsoft.com/office/drawing/2014/main" id="{4A5D8DD3-B435-4323-B26B-3E11D62FB859}"/>
                  </a:ext>
                </a:extLst>
              </p:cNvPr>
              <p:cNvSpPr/>
              <p:nvPr/>
            </p:nvSpPr>
            <p:spPr>
              <a:xfrm>
                <a:off x="4297166" y="3988035"/>
                <a:ext cx="96934" cy="241500"/>
              </a:xfrm>
              <a:custGeom>
                <a:avLst/>
                <a:gdLst>
                  <a:gd name="connsiteX0" fmla="*/ 2100 w 96934"/>
                  <a:gd name="connsiteY0" fmla="*/ 17942 h 241500"/>
                  <a:gd name="connsiteX1" fmla="*/ 8508 w 96934"/>
                  <a:gd name="connsiteY1" fmla="*/ 26913 h 241500"/>
                  <a:gd name="connsiteX2" fmla="*/ 59770 w 96934"/>
                  <a:gd name="connsiteY2" fmla="*/ 202484 h 241500"/>
                  <a:gd name="connsiteX3" fmla="*/ 82838 w 96934"/>
                  <a:gd name="connsiteY3" fmla="*/ 226834 h 241500"/>
                  <a:gd name="connsiteX4" fmla="*/ 89245 w 96934"/>
                  <a:gd name="connsiteY4" fmla="*/ 239649 h 241500"/>
                  <a:gd name="connsiteX5" fmla="*/ 96935 w 96934"/>
                  <a:gd name="connsiteY5" fmla="*/ 235804 h 241500"/>
                  <a:gd name="connsiteX6" fmla="*/ 85401 w 96934"/>
                  <a:gd name="connsiteY6" fmla="*/ 216581 h 241500"/>
                  <a:gd name="connsiteX7" fmla="*/ 84119 w 96934"/>
                  <a:gd name="connsiteY7" fmla="*/ 220426 h 241500"/>
                  <a:gd name="connsiteX8" fmla="*/ 62333 w 96934"/>
                  <a:gd name="connsiteY8" fmla="*/ 198640 h 241500"/>
                  <a:gd name="connsiteX9" fmla="*/ 12352 w 96934"/>
                  <a:gd name="connsiteY9" fmla="*/ 25631 h 241500"/>
                  <a:gd name="connsiteX10" fmla="*/ 4663 w 96934"/>
                  <a:gd name="connsiteY10" fmla="*/ 0 h 241500"/>
                  <a:gd name="connsiteX11" fmla="*/ 2100 w 96934"/>
                  <a:gd name="connsiteY11" fmla="*/ 17942 h 24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934" h="241500">
                    <a:moveTo>
                      <a:pt x="2100" y="17942"/>
                    </a:moveTo>
                    <a:cubicBezTo>
                      <a:pt x="4663" y="24349"/>
                      <a:pt x="7226" y="25631"/>
                      <a:pt x="8508" y="26913"/>
                    </a:cubicBezTo>
                    <a:cubicBezTo>
                      <a:pt x="22605" y="87145"/>
                      <a:pt x="39265" y="146096"/>
                      <a:pt x="59770" y="202484"/>
                    </a:cubicBezTo>
                    <a:cubicBezTo>
                      <a:pt x="67459" y="210174"/>
                      <a:pt x="81556" y="216581"/>
                      <a:pt x="82838" y="226834"/>
                    </a:cubicBezTo>
                    <a:cubicBezTo>
                      <a:pt x="82838" y="230678"/>
                      <a:pt x="85401" y="237086"/>
                      <a:pt x="89245" y="239649"/>
                    </a:cubicBezTo>
                    <a:cubicBezTo>
                      <a:pt x="93090" y="243494"/>
                      <a:pt x="96935" y="240931"/>
                      <a:pt x="96935" y="235804"/>
                    </a:cubicBezTo>
                    <a:cubicBezTo>
                      <a:pt x="96935" y="226834"/>
                      <a:pt x="90527" y="212737"/>
                      <a:pt x="85401" y="216581"/>
                    </a:cubicBezTo>
                    <a:cubicBezTo>
                      <a:pt x="85401" y="216581"/>
                      <a:pt x="84119" y="217863"/>
                      <a:pt x="84119" y="220426"/>
                    </a:cubicBezTo>
                    <a:lnTo>
                      <a:pt x="62333" y="198640"/>
                    </a:lnTo>
                    <a:cubicBezTo>
                      <a:pt x="43110" y="142252"/>
                      <a:pt x="26449" y="84582"/>
                      <a:pt x="12352" y="25631"/>
                    </a:cubicBezTo>
                    <a:cubicBezTo>
                      <a:pt x="16197" y="20505"/>
                      <a:pt x="13634" y="0"/>
                      <a:pt x="4663" y="0"/>
                    </a:cubicBezTo>
                    <a:cubicBezTo>
                      <a:pt x="-1745" y="5126"/>
                      <a:pt x="-463" y="12816"/>
                      <a:pt x="210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5" name="Freeform: Shape 379831">
                <a:extLst>
                  <a:ext uri="{FF2B5EF4-FFF2-40B4-BE49-F238E27FC236}">
                    <a16:creationId xmlns:a16="http://schemas.microsoft.com/office/drawing/2014/main" id="{8B2B73E5-FD97-4E87-BC16-DA3BDBE2788F}"/>
                  </a:ext>
                </a:extLst>
              </p:cNvPr>
              <p:cNvSpPr/>
              <p:nvPr/>
            </p:nvSpPr>
            <p:spPr>
              <a:xfrm>
                <a:off x="4365758" y="4168643"/>
                <a:ext cx="42641" cy="55114"/>
              </a:xfrm>
              <a:custGeom>
                <a:avLst/>
                <a:gdLst>
                  <a:gd name="connsiteX0" fmla="*/ 2711 w 42641"/>
                  <a:gd name="connsiteY0" fmla="*/ 18031 h 55114"/>
                  <a:gd name="connsiteX1" fmla="*/ 12964 w 42641"/>
                  <a:gd name="connsiteY1" fmla="*/ 23157 h 55114"/>
                  <a:gd name="connsiteX2" fmla="*/ 12964 w 42641"/>
                  <a:gd name="connsiteY2" fmla="*/ 21876 h 55114"/>
                  <a:gd name="connsiteX3" fmla="*/ 28342 w 42641"/>
                  <a:gd name="connsiteY3" fmla="*/ 38536 h 55114"/>
                  <a:gd name="connsiteX4" fmla="*/ 36032 w 42641"/>
                  <a:gd name="connsiteY4" fmla="*/ 53914 h 55114"/>
                  <a:gd name="connsiteX5" fmla="*/ 42439 w 42641"/>
                  <a:gd name="connsiteY5" fmla="*/ 47507 h 55114"/>
                  <a:gd name="connsiteX6" fmla="*/ 29624 w 42641"/>
                  <a:gd name="connsiteY6" fmla="*/ 30847 h 55114"/>
                  <a:gd name="connsiteX7" fmla="*/ 28342 w 42641"/>
                  <a:gd name="connsiteY7" fmla="*/ 33410 h 55114"/>
                  <a:gd name="connsiteX8" fmla="*/ 12964 w 42641"/>
                  <a:gd name="connsiteY8" fmla="*/ 16750 h 55114"/>
                  <a:gd name="connsiteX9" fmla="*/ 1430 w 42641"/>
                  <a:gd name="connsiteY9" fmla="*/ 90 h 55114"/>
                  <a:gd name="connsiteX10" fmla="*/ 2711 w 42641"/>
                  <a:gd name="connsiteY10" fmla="*/ 18031 h 55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641" h="55114">
                    <a:moveTo>
                      <a:pt x="2711" y="18031"/>
                    </a:moveTo>
                    <a:cubicBezTo>
                      <a:pt x="6556" y="25721"/>
                      <a:pt x="11682" y="28284"/>
                      <a:pt x="12964" y="23157"/>
                    </a:cubicBezTo>
                    <a:cubicBezTo>
                      <a:pt x="12964" y="23157"/>
                      <a:pt x="12964" y="21876"/>
                      <a:pt x="12964" y="21876"/>
                    </a:cubicBezTo>
                    <a:cubicBezTo>
                      <a:pt x="18090" y="27002"/>
                      <a:pt x="28342" y="30847"/>
                      <a:pt x="28342" y="38536"/>
                    </a:cubicBezTo>
                    <a:cubicBezTo>
                      <a:pt x="28342" y="39818"/>
                      <a:pt x="29624" y="48788"/>
                      <a:pt x="36032" y="53914"/>
                    </a:cubicBezTo>
                    <a:cubicBezTo>
                      <a:pt x="38595" y="56478"/>
                      <a:pt x="43721" y="55196"/>
                      <a:pt x="42439" y="47507"/>
                    </a:cubicBezTo>
                    <a:cubicBezTo>
                      <a:pt x="42439" y="37254"/>
                      <a:pt x="33469" y="25721"/>
                      <a:pt x="29624" y="30847"/>
                    </a:cubicBezTo>
                    <a:cubicBezTo>
                      <a:pt x="28342" y="32128"/>
                      <a:pt x="28342" y="33410"/>
                      <a:pt x="28342" y="33410"/>
                    </a:cubicBezTo>
                    <a:cubicBezTo>
                      <a:pt x="23216" y="28284"/>
                      <a:pt x="12964" y="24439"/>
                      <a:pt x="12964" y="16750"/>
                    </a:cubicBezTo>
                    <a:cubicBezTo>
                      <a:pt x="12964" y="11623"/>
                      <a:pt x="7838" y="-1192"/>
                      <a:pt x="1430" y="90"/>
                    </a:cubicBezTo>
                    <a:cubicBezTo>
                      <a:pt x="-2415" y="3934"/>
                      <a:pt x="2711" y="16750"/>
                      <a:pt x="2711" y="1803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6" name="Freeform: Shape 379832">
                <a:extLst>
                  <a:ext uri="{FF2B5EF4-FFF2-40B4-BE49-F238E27FC236}">
                    <a16:creationId xmlns:a16="http://schemas.microsoft.com/office/drawing/2014/main" id="{6FA7ED15-59F5-45CB-8B39-151B27C8112C}"/>
                  </a:ext>
                </a:extLst>
              </p:cNvPr>
              <p:cNvSpPr/>
              <p:nvPr/>
            </p:nvSpPr>
            <p:spPr>
              <a:xfrm>
                <a:off x="4488758" y="4072616"/>
                <a:ext cx="40546" cy="99960"/>
              </a:xfrm>
              <a:custGeom>
                <a:avLst/>
                <a:gdLst>
                  <a:gd name="connsiteX0" fmla="*/ 1459 w 40546"/>
                  <a:gd name="connsiteY0" fmla="*/ 19223 h 99960"/>
                  <a:gd name="connsiteX1" fmla="*/ 10430 w 40546"/>
                  <a:gd name="connsiteY1" fmla="*/ 26913 h 99960"/>
                  <a:gd name="connsiteX2" fmla="*/ 25809 w 40546"/>
                  <a:gd name="connsiteY2" fmla="*/ 75611 h 99960"/>
                  <a:gd name="connsiteX3" fmla="*/ 34780 w 40546"/>
                  <a:gd name="connsiteY3" fmla="*/ 99961 h 99960"/>
                  <a:gd name="connsiteX4" fmla="*/ 34780 w 40546"/>
                  <a:gd name="connsiteY4" fmla="*/ 76893 h 99960"/>
                  <a:gd name="connsiteX5" fmla="*/ 29654 w 40546"/>
                  <a:gd name="connsiteY5" fmla="*/ 74330 h 99960"/>
                  <a:gd name="connsiteX6" fmla="*/ 14275 w 40546"/>
                  <a:gd name="connsiteY6" fmla="*/ 25631 h 99960"/>
                  <a:gd name="connsiteX7" fmla="*/ 6586 w 40546"/>
                  <a:gd name="connsiteY7" fmla="*/ 0 h 99960"/>
                  <a:gd name="connsiteX8" fmla="*/ 5304 w 40546"/>
                  <a:gd name="connsiteY8" fmla="*/ 0 h 99960"/>
                  <a:gd name="connsiteX9" fmla="*/ 1459 w 40546"/>
                  <a:gd name="connsiteY9" fmla="*/ 19223 h 9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46" h="99960">
                    <a:moveTo>
                      <a:pt x="1459" y="19223"/>
                    </a:moveTo>
                    <a:cubicBezTo>
                      <a:pt x="2741" y="23068"/>
                      <a:pt x="5304" y="26913"/>
                      <a:pt x="10430" y="26913"/>
                    </a:cubicBezTo>
                    <a:cubicBezTo>
                      <a:pt x="15557" y="43573"/>
                      <a:pt x="20683" y="58951"/>
                      <a:pt x="25809" y="75611"/>
                    </a:cubicBezTo>
                    <a:cubicBezTo>
                      <a:pt x="18120" y="84582"/>
                      <a:pt x="27091" y="99961"/>
                      <a:pt x="34780" y="99961"/>
                    </a:cubicBezTo>
                    <a:cubicBezTo>
                      <a:pt x="42469" y="99961"/>
                      <a:pt x="42469" y="84582"/>
                      <a:pt x="34780" y="76893"/>
                    </a:cubicBezTo>
                    <a:cubicBezTo>
                      <a:pt x="32217" y="74330"/>
                      <a:pt x="30935" y="74330"/>
                      <a:pt x="29654" y="74330"/>
                    </a:cubicBezTo>
                    <a:cubicBezTo>
                      <a:pt x="24527" y="57670"/>
                      <a:pt x="19401" y="42291"/>
                      <a:pt x="14275" y="25631"/>
                    </a:cubicBezTo>
                    <a:cubicBezTo>
                      <a:pt x="21964" y="16660"/>
                      <a:pt x="12993" y="0"/>
                      <a:pt x="6586" y="0"/>
                    </a:cubicBezTo>
                    <a:cubicBezTo>
                      <a:pt x="6586" y="0"/>
                      <a:pt x="5304" y="0"/>
                      <a:pt x="5304" y="0"/>
                    </a:cubicBezTo>
                    <a:cubicBezTo>
                      <a:pt x="-2385" y="5126"/>
                      <a:pt x="178" y="15379"/>
                      <a:pt x="1459"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7" name="Freeform: Shape 379833">
                <a:extLst>
                  <a:ext uri="{FF2B5EF4-FFF2-40B4-BE49-F238E27FC236}">
                    <a16:creationId xmlns:a16="http://schemas.microsoft.com/office/drawing/2014/main" id="{177E1F7E-65AA-4320-82A4-E0F7738C126A}"/>
                  </a:ext>
                </a:extLst>
              </p:cNvPr>
              <p:cNvSpPr/>
              <p:nvPr/>
            </p:nvSpPr>
            <p:spPr>
              <a:xfrm>
                <a:off x="4594264" y="4064927"/>
                <a:ext cx="191029" cy="257665"/>
              </a:xfrm>
              <a:custGeom>
                <a:avLst/>
                <a:gdLst>
                  <a:gd name="connsiteX0" fmla="*/ 2321 w 191029"/>
                  <a:gd name="connsiteY0" fmla="*/ 28194 h 257665"/>
                  <a:gd name="connsiteX1" fmla="*/ 17700 w 191029"/>
                  <a:gd name="connsiteY1" fmla="*/ 32039 h 257665"/>
                  <a:gd name="connsiteX2" fmla="*/ 45894 w 191029"/>
                  <a:gd name="connsiteY2" fmla="*/ 52543 h 257665"/>
                  <a:gd name="connsiteX3" fmla="*/ 56146 w 191029"/>
                  <a:gd name="connsiteY3" fmla="*/ 80738 h 257665"/>
                  <a:gd name="connsiteX4" fmla="*/ 31797 w 191029"/>
                  <a:gd name="connsiteY4" fmla="*/ 62796 h 257665"/>
                  <a:gd name="connsiteX5" fmla="*/ 15137 w 191029"/>
                  <a:gd name="connsiteY5" fmla="*/ 48699 h 257665"/>
                  <a:gd name="connsiteX6" fmla="*/ 25389 w 191029"/>
                  <a:gd name="connsiteY6" fmla="*/ 71766 h 257665"/>
                  <a:gd name="connsiteX7" fmla="*/ 30516 w 191029"/>
                  <a:gd name="connsiteY7" fmla="*/ 67922 h 257665"/>
                  <a:gd name="connsiteX8" fmla="*/ 58710 w 191029"/>
                  <a:gd name="connsiteY8" fmla="*/ 88427 h 257665"/>
                  <a:gd name="connsiteX9" fmla="*/ 80496 w 191029"/>
                  <a:gd name="connsiteY9" fmla="*/ 147378 h 257665"/>
                  <a:gd name="connsiteX10" fmla="*/ 89467 w 191029"/>
                  <a:gd name="connsiteY10" fmla="*/ 171727 h 257665"/>
                  <a:gd name="connsiteX11" fmla="*/ 89467 w 191029"/>
                  <a:gd name="connsiteY11" fmla="*/ 148659 h 257665"/>
                  <a:gd name="connsiteX12" fmla="*/ 83059 w 191029"/>
                  <a:gd name="connsiteY12" fmla="*/ 146096 h 257665"/>
                  <a:gd name="connsiteX13" fmla="*/ 63836 w 191029"/>
                  <a:gd name="connsiteY13" fmla="*/ 92271 h 257665"/>
                  <a:gd name="connsiteX14" fmla="*/ 97156 w 191029"/>
                  <a:gd name="connsiteY14" fmla="*/ 115339 h 257665"/>
                  <a:gd name="connsiteX15" fmla="*/ 118942 w 191029"/>
                  <a:gd name="connsiteY15" fmla="*/ 173009 h 257665"/>
                  <a:gd name="connsiteX16" fmla="*/ 129195 w 191029"/>
                  <a:gd name="connsiteY16" fmla="*/ 197358 h 257665"/>
                  <a:gd name="connsiteX17" fmla="*/ 129195 w 191029"/>
                  <a:gd name="connsiteY17" fmla="*/ 174290 h 257665"/>
                  <a:gd name="connsiteX18" fmla="*/ 122787 w 191029"/>
                  <a:gd name="connsiteY18" fmla="*/ 171727 h 257665"/>
                  <a:gd name="connsiteX19" fmla="*/ 99719 w 191029"/>
                  <a:gd name="connsiteY19" fmla="*/ 111495 h 257665"/>
                  <a:gd name="connsiteX20" fmla="*/ 59991 w 191029"/>
                  <a:gd name="connsiteY20" fmla="*/ 84582 h 257665"/>
                  <a:gd name="connsiteX21" fmla="*/ 49739 w 191029"/>
                  <a:gd name="connsiteY21" fmla="*/ 56388 h 257665"/>
                  <a:gd name="connsiteX22" fmla="*/ 122787 w 191029"/>
                  <a:gd name="connsiteY22" fmla="*/ 106368 h 257665"/>
                  <a:gd name="connsiteX23" fmla="*/ 174049 w 191029"/>
                  <a:gd name="connsiteY23" fmla="*/ 234523 h 257665"/>
                  <a:gd name="connsiteX24" fmla="*/ 184302 w 191029"/>
                  <a:gd name="connsiteY24" fmla="*/ 257591 h 257665"/>
                  <a:gd name="connsiteX25" fmla="*/ 184302 w 191029"/>
                  <a:gd name="connsiteY25" fmla="*/ 235804 h 257665"/>
                  <a:gd name="connsiteX26" fmla="*/ 177894 w 191029"/>
                  <a:gd name="connsiteY26" fmla="*/ 233241 h 257665"/>
                  <a:gd name="connsiteX27" fmla="*/ 125350 w 191029"/>
                  <a:gd name="connsiteY27" fmla="*/ 102524 h 257665"/>
                  <a:gd name="connsiteX28" fmla="*/ 47176 w 191029"/>
                  <a:gd name="connsiteY28" fmla="*/ 48699 h 257665"/>
                  <a:gd name="connsiteX29" fmla="*/ 39486 w 191029"/>
                  <a:gd name="connsiteY29" fmla="*/ 25631 h 257665"/>
                  <a:gd name="connsiteX30" fmla="*/ 31797 w 191029"/>
                  <a:gd name="connsiteY30" fmla="*/ 0 h 257665"/>
                  <a:gd name="connsiteX31" fmla="*/ 30516 w 191029"/>
                  <a:gd name="connsiteY31" fmla="*/ 0 h 257665"/>
                  <a:gd name="connsiteX32" fmla="*/ 35642 w 191029"/>
                  <a:gd name="connsiteY32" fmla="*/ 25631 h 257665"/>
                  <a:gd name="connsiteX33" fmla="*/ 36923 w 191029"/>
                  <a:gd name="connsiteY33" fmla="*/ 25631 h 257665"/>
                  <a:gd name="connsiteX34" fmla="*/ 43331 w 191029"/>
                  <a:gd name="connsiteY34" fmla="*/ 43573 h 257665"/>
                  <a:gd name="connsiteX35" fmla="*/ 18982 w 191029"/>
                  <a:gd name="connsiteY35" fmla="*/ 25631 h 257665"/>
                  <a:gd name="connsiteX36" fmla="*/ 3603 w 191029"/>
                  <a:gd name="connsiteY36" fmla="*/ 10252 h 257665"/>
                  <a:gd name="connsiteX37" fmla="*/ 2321 w 191029"/>
                  <a:gd name="connsiteY37" fmla="*/ 28194 h 257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91029" h="257665">
                    <a:moveTo>
                      <a:pt x="2321" y="28194"/>
                    </a:moveTo>
                    <a:cubicBezTo>
                      <a:pt x="4884" y="34602"/>
                      <a:pt x="12574" y="39728"/>
                      <a:pt x="17700" y="32039"/>
                    </a:cubicBezTo>
                    <a:lnTo>
                      <a:pt x="45894" y="52543"/>
                    </a:lnTo>
                    <a:cubicBezTo>
                      <a:pt x="49739" y="61514"/>
                      <a:pt x="52302" y="71766"/>
                      <a:pt x="56146" y="80738"/>
                    </a:cubicBezTo>
                    <a:cubicBezTo>
                      <a:pt x="48457" y="75611"/>
                      <a:pt x="39486" y="67922"/>
                      <a:pt x="31797" y="62796"/>
                    </a:cubicBezTo>
                    <a:cubicBezTo>
                      <a:pt x="31797" y="48699"/>
                      <a:pt x="20263" y="42291"/>
                      <a:pt x="15137" y="48699"/>
                    </a:cubicBezTo>
                    <a:cubicBezTo>
                      <a:pt x="8729" y="56388"/>
                      <a:pt x="16418" y="73048"/>
                      <a:pt x="25389" y="71766"/>
                    </a:cubicBezTo>
                    <a:cubicBezTo>
                      <a:pt x="29234" y="71766"/>
                      <a:pt x="30516" y="69204"/>
                      <a:pt x="30516" y="67922"/>
                    </a:cubicBezTo>
                    <a:lnTo>
                      <a:pt x="58710" y="88427"/>
                    </a:lnTo>
                    <a:cubicBezTo>
                      <a:pt x="65117" y="107650"/>
                      <a:pt x="72807" y="128155"/>
                      <a:pt x="80496" y="147378"/>
                    </a:cubicBezTo>
                    <a:cubicBezTo>
                      <a:pt x="71525" y="156349"/>
                      <a:pt x="81777" y="171727"/>
                      <a:pt x="89467" y="171727"/>
                    </a:cubicBezTo>
                    <a:cubicBezTo>
                      <a:pt x="98438" y="171727"/>
                      <a:pt x="98438" y="156349"/>
                      <a:pt x="89467" y="148659"/>
                    </a:cubicBezTo>
                    <a:cubicBezTo>
                      <a:pt x="86904" y="146096"/>
                      <a:pt x="84341" y="146096"/>
                      <a:pt x="83059" y="146096"/>
                    </a:cubicBezTo>
                    <a:cubicBezTo>
                      <a:pt x="76651" y="128155"/>
                      <a:pt x="70244" y="110213"/>
                      <a:pt x="63836" y="92271"/>
                    </a:cubicBezTo>
                    <a:lnTo>
                      <a:pt x="97156" y="115339"/>
                    </a:lnTo>
                    <a:cubicBezTo>
                      <a:pt x="104845" y="134562"/>
                      <a:pt x="111253" y="153786"/>
                      <a:pt x="118942" y="173009"/>
                    </a:cubicBezTo>
                    <a:cubicBezTo>
                      <a:pt x="109972" y="181979"/>
                      <a:pt x="120224" y="197358"/>
                      <a:pt x="129195" y="197358"/>
                    </a:cubicBezTo>
                    <a:cubicBezTo>
                      <a:pt x="138166" y="197358"/>
                      <a:pt x="138166" y="181979"/>
                      <a:pt x="129195" y="174290"/>
                    </a:cubicBezTo>
                    <a:cubicBezTo>
                      <a:pt x="126632" y="171727"/>
                      <a:pt x="124069" y="171727"/>
                      <a:pt x="122787" y="171727"/>
                    </a:cubicBezTo>
                    <a:cubicBezTo>
                      <a:pt x="115098" y="151222"/>
                      <a:pt x="107408" y="131999"/>
                      <a:pt x="99719" y="111495"/>
                    </a:cubicBezTo>
                    <a:lnTo>
                      <a:pt x="59991" y="84582"/>
                    </a:lnTo>
                    <a:cubicBezTo>
                      <a:pt x="56146" y="75611"/>
                      <a:pt x="53583" y="65359"/>
                      <a:pt x="49739" y="56388"/>
                    </a:cubicBezTo>
                    <a:lnTo>
                      <a:pt x="122787" y="106368"/>
                    </a:lnTo>
                    <a:cubicBezTo>
                      <a:pt x="138166" y="149941"/>
                      <a:pt x="156107" y="192232"/>
                      <a:pt x="174049" y="234523"/>
                    </a:cubicBezTo>
                    <a:cubicBezTo>
                      <a:pt x="165078" y="243494"/>
                      <a:pt x="175331" y="258872"/>
                      <a:pt x="184302" y="257591"/>
                    </a:cubicBezTo>
                    <a:cubicBezTo>
                      <a:pt x="193272" y="257591"/>
                      <a:pt x="193272" y="242212"/>
                      <a:pt x="184302" y="235804"/>
                    </a:cubicBezTo>
                    <a:cubicBezTo>
                      <a:pt x="181738" y="233241"/>
                      <a:pt x="179175" y="233241"/>
                      <a:pt x="177894" y="233241"/>
                    </a:cubicBezTo>
                    <a:cubicBezTo>
                      <a:pt x="159952" y="190950"/>
                      <a:pt x="142010" y="147378"/>
                      <a:pt x="125350" y="102524"/>
                    </a:cubicBezTo>
                    <a:lnTo>
                      <a:pt x="47176" y="48699"/>
                    </a:lnTo>
                    <a:cubicBezTo>
                      <a:pt x="44612" y="41009"/>
                      <a:pt x="42049" y="33320"/>
                      <a:pt x="39486" y="25631"/>
                    </a:cubicBezTo>
                    <a:cubicBezTo>
                      <a:pt x="48457" y="16660"/>
                      <a:pt x="39486" y="0"/>
                      <a:pt x="31797" y="0"/>
                    </a:cubicBezTo>
                    <a:cubicBezTo>
                      <a:pt x="31797" y="0"/>
                      <a:pt x="30516" y="0"/>
                      <a:pt x="30516" y="0"/>
                    </a:cubicBezTo>
                    <a:cubicBezTo>
                      <a:pt x="20263" y="5126"/>
                      <a:pt x="26671" y="24349"/>
                      <a:pt x="35642" y="25631"/>
                    </a:cubicBezTo>
                    <a:cubicBezTo>
                      <a:pt x="35642" y="25631"/>
                      <a:pt x="36923" y="25631"/>
                      <a:pt x="36923" y="25631"/>
                    </a:cubicBezTo>
                    <a:cubicBezTo>
                      <a:pt x="38205" y="32039"/>
                      <a:pt x="40768" y="37165"/>
                      <a:pt x="43331" y="43573"/>
                    </a:cubicBezTo>
                    <a:cubicBezTo>
                      <a:pt x="35642" y="38447"/>
                      <a:pt x="26671" y="30757"/>
                      <a:pt x="18982" y="25631"/>
                    </a:cubicBezTo>
                    <a:cubicBezTo>
                      <a:pt x="18982" y="12816"/>
                      <a:pt x="10011" y="6408"/>
                      <a:pt x="3603" y="10252"/>
                    </a:cubicBezTo>
                    <a:cubicBezTo>
                      <a:pt x="-242" y="14097"/>
                      <a:pt x="-1523" y="21786"/>
                      <a:pt x="2321" y="2819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8" name="Freeform: Shape 379834">
                <a:extLst>
                  <a:ext uri="{FF2B5EF4-FFF2-40B4-BE49-F238E27FC236}">
                    <a16:creationId xmlns:a16="http://schemas.microsoft.com/office/drawing/2014/main" id="{7F4DB780-AF12-4E5B-A329-7202C11FAC4F}"/>
                  </a:ext>
                </a:extLst>
              </p:cNvPr>
              <p:cNvSpPr/>
              <p:nvPr/>
            </p:nvSpPr>
            <p:spPr>
              <a:xfrm>
                <a:off x="5542878" y="3585950"/>
                <a:ext cx="168115" cy="235618"/>
              </a:xfrm>
              <a:custGeom>
                <a:avLst/>
                <a:gdLst>
                  <a:gd name="connsiteX0" fmla="*/ 773 w 168115"/>
                  <a:gd name="connsiteY0" fmla="*/ 21466 h 235618"/>
                  <a:gd name="connsiteX1" fmla="*/ 13589 w 168115"/>
                  <a:gd name="connsiteY1" fmla="*/ 29155 h 235618"/>
                  <a:gd name="connsiteX2" fmla="*/ 48190 w 168115"/>
                  <a:gd name="connsiteY2" fmla="*/ 170125 h 235618"/>
                  <a:gd name="connsiteX3" fmla="*/ 140462 w 168115"/>
                  <a:gd name="connsiteY3" fmla="*/ 218824 h 235618"/>
                  <a:gd name="connsiteX4" fmla="*/ 162248 w 168115"/>
                  <a:gd name="connsiteY4" fmla="*/ 232921 h 235618"/>
                  <a:gd name="connsiteX5" fmla="*/ 155841 w 168115"/>
                  <a:gd name="connsiteY5" fmla="*/ 208571 h 235618"/>
                  <a:gd name="connsiteX6" fmla="*/ 143025 w 168115"/>
                  <a:gd name="connsiteY6" fmla="*/ 212416 h 235618"/>
                  <a:gd name="connsiteX7" fmla="*/ 53316 w 168115"/>
                  <a:gd name="connsiteY7" fmla="*/ 164999 h 235618"/>
                  <a:gd name="connsiteX8" fmla="*/ 19996 w 168115"/>
                  <a:gd name="connsiteY8" fmla="*/ 26592 h 235618"/>
                  <a:gd name="connsiteX9" fmla="*/ 18715 w 168115"/>
                  <a:gd name="connsiteY9" fmla="*/ 961 h 235618"/>
                  <a:gd name="connsiteX10" fmla="*/ 11025 w 168115"/>
                  <a:gd name="connsiteY10" fmla="*/ 961 h 235618"/>
                  <a:gd name="connsiteX11" fmla="*/ 773 w 168115"/>
                  <a:gd name="connsiteY11" fmla="*/ 21466 h 23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15" h="235618">
                    <a:moveTo>
                      <a:pt x="773" y="21466"/>
                    </a:moveTo>
                    <a:cubicBezTo>
                      <a:pt x="2055" y="25310"/>
                      <a:pt x="5899" y="29155"/>
                      <a:pt x="13589" y="29155"/>
                    </a:cubicBezTo>
                    <a:cubicBezTo>
                      <a:pt x="25122" y="76572"/>
                      <a:pt x="36656" y="122708"/>
                      <a:pt x="48190" y="170125"/>
                    </a:cubicBezTo>
                    <a:cubicBezTo>
                      <a:pt x="76384" y="184222"/>
                      <a:pt x="113549" y="203445"/>
                      <a:pt x="140462" y="218824"/>
                    </a:cubicBezTo>
                    <a:cubicBezTo>
                      <a:pt x="136617" y="234202"/>
                      <a:pt x="153278" y="239329"/>
                      <a:pt x="162248" y="232921"/>
                    </a:cubicBezTo>
                    <a:cubicBezTo>
                      <a:pt x="172500" y="225232"/>
                      <a:pt x="168656" y="211135"/>
                      <a:pt x="155841" y="208571"/>
                    </a:cubicBezTo>
                    <a:cubicBezTo>
                      <a:pt x="149433" y="207290"/>
                      <a:pt x="144307" y="211135"/>
                      <a:pt x="143025" y="212416"/>
                    </a:cubicBezTo>
                    <a:lnTo>
                      <a:pt x="53316" y="164999"/>
                    </a:lnTo>
                    <a:cubicBezTo>
                      <a:pt x="41782" y="118863"/>
                      <a:pt x="30248" y="72728"/>
                      <a:pt x="19996" y="26592"/>
                    </a:cubicBezTo>
                    <a:cubicBezTo>
                      <a:pt x="32811" y="18903"/>
                      <a:pt x="28967" y="4806"/>
                      <a:pt x="18715" y="961"/>
                    </a:cubicBezTo>
                    <a:cubicBezTo>
                      <a:pt x="16152" y="-320"/>
                      <a:pt x="12307" y="-320"/>
                      <a:pt x="11025" y="961"/>
                    </a:cubicBezTo>
                    <a:cubicBezTo>
                      <a:pt x="-1790" y="6087"/>
                      <a:pt x="-509" y="17621"/>
                      <a:pt x="773" y="2146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699" name="Freeform: Shape 379835">
                <a:extLst>
                  <a:ext uri="{FF2B5EF4-FFF2-40B4-BE49-F238E27FC236}">
                    <a16:creationId xmlns:a16="http://schemas.microsoft.com/office/drawing/2014/main" id="{44D3DB7E-0ABA-447B-ABBE-122149C4E077}"/>
                  </a:ext>
                </a:extLst>
              </p:cNvPr>
              <p:cNvSpPr/>
              <p:nvPr/>
            </p:nvSpPr>
            <p:spPr>
              <a:xfrm>
                <a:off x="5610834" y="3489834"/>
                <a:ext cx="144243" cy="318260"/>
              </a:xfrm>
              <a:custGeom>
                <a:avLst/>
                <a:gdLst>
                  <a:gd name="connsiteX0" fmla="*/ 740 w 144243"/>
                  <a:gd name="connsiteY0" fmla="*/ 18903 h 318260"/>
                  <a:gd name="connsiteX1" fmla="*/ 13555 w 144243"/>
                  <a:gd name="connsiteY1" fmla="*/ 26592 h 318260"/>
                  <a:gd name="connsiteX2" fmla="*/ 28934 w 144243"/>
                  <a:gd name="connsiteY2" fmla="*/ 90669 h 318260"/>
                  <a:gd name="connsiteX3" fmla="*/ 66099 w 144243"/>
                  <a:gd name="connsiteY3" fmla="*/ 243173 h 318260"/>
                  <a:gd name="connsiteX4" fmla="*/ 117361 w 144243"/>
                  <a:gd name="connsiteY4" fmla="*/ 270086 h 318260"/>
                  <a:gd name="connsiteX5" fmla="*/ 123769 w 144243"/>
                  <a:gd name="connsiteY5" fmla="*/ 293154 h 318260"/>
                  <a:gd name="connsiteX6" fmla="*/ 125050 w 144243"/>
                  <a:gd name="connsiteY6" fmla="*/ 317503 h 318260"/>
                  <a:gd name="connsiteX7" fmla="*/ 142992 w 144243"/>
                  <a:gd name="connsiteY7" fmla="*/ 299561 h 318260"/>
                  <a:gd name="connsiteX8" fmla="*/ 130176 w 144243"/>
                  <a:gd name="connsiteY8" fmla="*/ 291872 h 318260"/>
                  <a:gd name="connsiteX9" fmla="*/ 123769 w 144243"/>
                  <a:gd name="connsiteY9" fmla="*/ 266241 h 318260"/>
                  <a:gd name="connsiteX10" fmla="*/ 72507 w 144243"/>
                  <a:gd name="connsiteY10" fmla="*/ 239329 h 318260"/>
                  <a:gd name="connsiteX11" fmla="*/ 36623 w 144243"/>
                  <a:gd name="connsiteY11" fmla="*/ 89388 h 318260"/>
                  <a:gd name="connsiteX12" fmla="*/ 21245 w 144243"/>
                  <a:gd name="connsiteY12" fmla="*/ 25310 h 318260"/>
                  <a:gd name="connsiteX13" fmla="*/ 19963 w 144243"/>
                  <a:gd name="connsiteY13" fmla="*/ 961 h 318260"/>
                  <a:gd name="connsiteX14" fmla="*/ 12274 w 144243"/>
                  <a:gd name="connsiteY14" fmla="*/ 961 h 318260"/>
                  <a:gd name="connsiteX15" fmla="*/ 740 w 144243"/>
                  <a:gd name="connsiteY15" fmla="*/ 18903 h 31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243" h="318260">
                    <a:moveTo>
                      <a:pt x="740" y="18903"/>
                    </a:moveTo>
                    <a:cubicBezTo>
                      <a:pt x="2021" y="22747"/>
                      <a:pt x="5866" y="26592"/>
                      <a:pt x="13555" y="26592"/>
                    </a:cubicBezTo>
                    <a:cubicBezTo>
                      <a:pt x="18682" y="48378"/>
                      <a:pt x="23808" y="68883"/>
                      <a:pt x="28934" y="90669"/>
                    </a:cubicBezTo>
                    <a:cubicBezTo>
                      <a:pt x="40468" y="141931"/>
                      <a:pt x="53284" y="193193"/>
                      <a:pt x="66099" y="243173"/>
                    </a:cubicBezTo>
                    <a:lnTo>
                      <a:pt x="117361" y="270086"/>
                    </a:lnTo>
                    <a:cubicBezTo>
                      <a:pt x="119924" y="277775"/>
                      <a:pt x="121206" y="285464"/>
                      <a:pt x="123769" y="293154"/>
                    </a:cubicBezTo>
                    <a:cubicBezTo>
                      <a:pt x="110953" y="300843"/>
                      <a:pt x="114798" y="314940"/>
                      <a:pt x="125050" y="317503"/>
                    </a:cubicBezTo>
                    <a:cubicBezTo>
                      <a:pt x="136584" y="321348"/>
                      <a:pt x="148118" y="309814"/>
                      <a:pt x="142992" y="299561"/>
                    </a:cubicBezTo>
                    <a:cubicBezTo>
                      <a:pt x="141710" y="295717"/>
                      <a:pt x="137866" y="291872"/>
                      <a:pt x="130176" y="291872"/>
                    </a:cubicBezTo>
                    <a:cubicBezTo>
                      <a:pt x="127613" y="282901"/>
                      <a:pt x="126332" y="273930"/>
                      <a:pt x="123769" y="266241"/>
                    </a:cubicBezTo>
                    <a:lnTo>
                      <a:pt x="72507" y="239329"/>
                    </a:lnTo>
                    <a:cubicBezTo>
                      <a:pt x="59691" y="189348"/>
                      <a:pt x="48157" y="139368"/>
                      <a:pt x="36623" y="89388"/>
                    </a:cubicBezTo>
                    <a:cubicBezTo>
                      <a:pt x="31497" y="67601"/>
                      <a:pt x="26371" y="47097"/>
                      <a:pt x="21245" y="25310"/>
                    </a:cubicBezTo>
                    <a:cubicBezTo>
                      <a:pt x="34060" y="17621"/>
                      <a:pt x="30216" y="3524"/>
                      <a:pt x="19963" y="961"/>
                    </a:cubicBezTo>
                    <a:cubicBezTo>
                      <a:pt x="17400" y="-320"/>
                      <a:pt x="13555" y="-320"/>
                      <a:pt x="12274" y="961"/>
                    </a:cubicBezTo>
                    <a:cubicBezTo>
                      <a:pt x="-1823" y="4806"/>
                      <a:pt x="-542" y="16340"/>
                      <a:pt x="740" y="189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0" name="Freeform: Shape 379836">
                <a:extLst>
                  <a:ext uri="{FF2B5EF4-FFF2-40B4-BE49-F238E27FC236}">
                    <a16:creationId xmlns:a16="http://schemas.microsoft.com/office/drawing/2014/main" id="{2F1EE398-1E40-4859-BB29-7A4AE965C2CB}"/>
                  </a:ext>
                </a:extLst>
              </p:cNvPr>
              <p:cNvSpPr/>
              <p:nvPr/>
            </p:nvSpPr>
            <p:spPr>
              <a:xfrm>
                <a:off x="5851685" y="3752551"/>
                <a:ext cx="36673" cy="63232"/>
              </a:xfrm>
              <a:custGeom>
                <a:avLst/>
                <a:gdLst>
                  <a:gd name="connsiteX0" fmla="*/ 820 w 36673"/>
                  <a:gd name="connsiteY0" fmla="*/ 18903 h 63232"/>
                  <a:gd name="connsiteX1" fmla="*/ 13636 w 36673"/>
                  <a:gd name="connsiteY1" fmla="*/ 26592 h 63232"/>
                  <a:gd name="connsiteX2" fmla="*/ 16199 w 36673"/>
                  <a:gd name="connsiteY2" fmla="*/ 38126 h 63232"/>
                  <a:gd name="connsiteX3" fmla="*/ 17480 w 36673"/>
                  <a:gd name="connsiteY3" fmla="*/ 62476 h 63232"/>
                  <a:gd name="connsiteX4" fmla="*/ 35422 w 36673"/>
                  <a:gd name="connsiteY4" fmla="*/ 44534 h 63232"/>
                  <a:gd name="connsiteX5" fmla="*/ 22607 w 36673"/>
                  <a:gd name="connsiteY5" fmla="*/ 36845 h 63232"/>
                  <a:gd name="connsiteX6" fmla="*/ 20044 w 36673"/>
                  <a:gd name="connsiteY6" fmla="*/ 25311 h 63232"/>
                  <a:gd name="connsiteX7" fmla="*/ 18762 w 36673"/>
                  <a:gd name="connsiteY7" fmla="*/ 961 h 63232"/>
                  <a:gd name="connsiteX8" fmla="*/ 11073 w 36673"/>
                  <a:gd name="connsiteY8" fmla="*/ 961 h 63232"/>
                  <a:gd name="connsiteX9" fmla="*/ 820 w 36673"/>
                  <a:gd name="connsiteY9" fmla="*/ 18903 h 6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673" h="63232">
                    <a:moveTo>
                      <a:pt x="820" y="18903"/>
                    </a:moveTo>
                    <a:cubicBezTo>
                      <a:pt x="2102" y="22747"/>
                      <a:pt x="5946" y="26592"/>
                      <a:pt x="13636" y="26592"/>
                    </a:cubicBezTo>
                    <a:cubicBezTo>
                      <a:pt x="14917" y="30437"/>
                      <a:pt x="16199" y="34281"/>
                      <a:pt x="16199" y="38126"/>
                    </a:cubicBezTo>
                    <a:cubicBezTo>
                      <a:pt x="3383" y="45815"/>
                      <a:pt x="7228" y="59912"/>
                      <a:pt x="17480" y="62476"/>
                    </a:cubicBezTo>
                    <a:cubicBezTo>
                      <a:pt x="29014" y="66320"/>
                      <a:pt x="40548" y="54786"/>
                      <a:pt x="35422" y="44534"/>
                    </a:cubicBezTo>
                    <a:cubicBezTo>
                      <a:pt x="34141" y="40689"/>
                      <a:pt x="30296" y="36845"/>
                      <a:pt x="22607" y="36845"/>
                    </a:cubicBezTo>
                    <a:cubicBezTo>
                      <a:pt x="21325" y="33000"/>
                      <a:pt x="20044" y="29155"/>
                      <a:pt x="20044" y="25311"/>
                    </a:cubicBezTo>
                    <a:cubicBezTo>
                      <a:pt x="32859" y="17621"/>
                      <a:pt x="29014" y="3524"/>
                      <a:pt x="18762" y="961"/>
                    </a:cubicBezTo>
                    <a:cubicBezTo>
                      <a:pt x="16199" y="-320"/>
                      <a:pt x="12354" y="-320"/>
                      <a:pt x="11073" y="961"/>
                    </a:cubicBezTo>
                    <a:cubicBezTo>
                      <a:pt x="-4306" y="6087"/>
                      <a:pt x="820" y="18903"/>
                      <a:pt x="820" y="189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1" name="Freeform: Shape 379837">
                <a:extLst>
                  <a:ext uri="{FF2B5EF4-FFF2-40B4-BE49-F238E27FC236}">
                    <a16:creationId xmlns:a16="http://schemas.microsoft.com/office/drawing/2014/main" id="{F870A4B0-78E8-4332-91C9-A87A42592B04}"/>
                  </a:ext>
                </a:extLst>
              </p:cNvPr>
              <p:cNvSpPr/>
              <p:nvPr/>
            </p:nvSpPr>
            <p:spPr>
              <a:xfrm>
                <a:off x="5896980" y="3380902"/>
                <a:ext cx="151572" cy="357988"/>
              </a:xfrm>
              <a:custGeom>
                <a:avLst/>
                <a:gdLst>
                  <a:gd name="connsiteX0" fmla="*/ 1661 w 151572"/>
                  <a:gd name="connsiteY0" fmla="*/ 18903 h 357988"/>
                  <a:gd name="connsiteX1" fmla="*/ 14477 w 151572"/>
                  <a:gd name="connsiteY1" fmla="*/ 26592 h 357988"/>
                  <a:gd name="connsiteX2" fmla="*/ 38826 w 151572"/>
                  <a:gd name="connsiteY2" fmla="*/ 129116 h 357988"/>
                  <a:gd name="connsiteX3" fmla="*/ 38826 w 151572"/>
                  <a:gd name="connsiteY3" fmla="*/ 129116 h 357988"/>
                  <a:gd name="connsiteX4" fmla="*/ 90088 w 151572"/>
                  <a:gd name="connsiteY4" fmla="*/ 157310 h 357988"/>
                  <a:gd name="connsiteX5" fmla="*/ 131098 w 151572"/>
                  <a:gd name="connsiteY5" fmla="*/ 332881 h 357988"/>
                  <a:gd name="connsiteX6" fmla="*/ 132379 w 151572"/>
                  <a:gd name="connsiteY6" fmla="*/ 357231 h 357988"/>
                  <a:gd name="connsiteX7" fmla="*/ 150321 w 151572"/>
                  <a:gd name="connsiteY7" fmla="*/ 339289 h 357988"/>
                  <a:gd name="connsiteX8" fmla="*/ 137506 w 151572"/>
                  <a:gd name="connsiteY8" fmla="*/ 331600 h 357988"/>
                  <a:gd name="connsiteX9" fmla="*/ 96496 w 151572"/>
                  <a:gd name="connsiteY9" fmla="*/ 153465 h 357988"/>
                  <a:gd name="connsiteX10" fmla="*/ 45234 w 151572"/>
                  <a:gd name="connsiteY10" fmla="*/ 125271 h 357988"/>
                  <a:gd name="connsiteX11" fmla="*/ 22166 w 151572"/>
                  <a:gd name="connsiteY11" fmla="*/ 25311 h 357988"/>
                  <a:gd name="connsiteX12" fmla="*/ 20885 w 151572"/>
                  <a:gd name="connsiteY12" fmla="*/ 961 h 357988"/>
                  <a:gd name="connsiteX13" fmla="*/ 13195 w 151572"/>
                  <a:gd name="connsiteY13" fmla="*/ 961 h 357988"/>
                  <a:gd name="connsiteX14" fmla="*/ 1661 w 151572"/>
                  <a:gd name="connsiteY14" fmla="*/ 18903 h 35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572" h="357988">
                    <a:moveTo>
                      <a:pt x="1661" y="18903"/>
                    </a:moveTo>
                    <a:cubicBezTo>
                      <a:pt x="2943" y="22747"/>
                      <a:pt x="6787" y="26592"/>
                      <a:pt x="14477" y="26592"/>
                    </a:cubicBezTo>
                    <a:cubicBezTo>
                      <a:pt x="22166" y="59912"/>
                      <a:pt x="29855" y="94514"/>
                      <a:pt x="38826" y="129116"/>
                    </a:cubicBezTo>
                    <a:cubicBezTo>
                      <a:pt x="38826" y="129116"/>
                      <a:pt x="38826" y="129116"/>
                      <a:pt x="38826" y="129116"/>
                    </a:cubicBezTo>
                    <a:lnTo>
                      <a:pt x="90088" y="157310"/>
                    </a:lnTo>
                    <a:cubicBezTo>
                      <a:pt x="104185" y="216261"/>
                      <a:pt x="117001" y="275212"/>
                      <a:pt x="131098" y="332881"/>
                    </a:cubicBezTo>
                    <a:cubicBezTo>
                      <a:pt x="118282" y="340571"/>
                      <a:pt x="122127" y="354668"/>
                      <a:pt x="132379" y="357231"/>
                    </a:cubicBezTo>
                    <a:cubicBezTo>
                      <a:pt x="143913" y="361075"/>
                      <a:pt x="155447" y="349541"/>
                      <a:pt x="150321" y="339289"/>
                    </a:cubicBezTo>
                    <a:cubicBezTo>
                      <a:pt x="149040" y="335445"/>
                      <a:pt x="145195" y="331600"/>
                      <a:pt x="137506" y="331600"/>
                    </a:cubicBezTo>
                    <a:cubicBezTo>
                      <a:pt x="124690" y="272649"/>
                      <a:pt x="110593" y="213698"/>
                      <a:pt x="96496" y="153465"/>
                    </a:cubicBezTo>
                    <a:lnTo>
                      <a:pt x="45234" y="125271"/>
                    </a:lnTo>
                    <a:cubicBezTo>
                      <a:pt x="37545" y="91951"/>
                      <a:pt x="29855" y="58631"/>
                      <a:pt x="22166" y="25311"/>
                    </a:cubicBezTo>
                    <a:cubicBezTo>
                      <a:pt x="34982" y="17621"/>
                      <a:pt x="31137" y="3524"/>
                      <a:pt x="20885" y="961"/>
                    </a:cubicBezTo>
                    <a:cubicBezTo>
                      <a:pt x="18321" y="-320"/>
                      <a:pt x="14477" y="-320"/>
                      <a:pt x="13195" y="961"/>
                    </a:cubicBezTo>
                    <a:cubicBezTo>
                      <a:pt x="-4747" y="6087"/>
                      <a:pt x="380" y="18903"/>
                      <a:pt x="1661" y="189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2" name="Freeform: Shape 379838">
                <a:extLst>
                  <a:ext uri="{FF2B5EF4-FFF2-40B4-BE49-F238E27FC236}">
                    <a16:creationId xmlns:a16="http://schemas.microsoft.com/office/drawing/2014/main" id="{09AD9748-D4F0-485F-9FCA-971649ECE791}"/>
                  </a:ext>
                </a:extLst>
              </p:cNvPr>
              <p:cNvSpPr/>
              <p:nvPr/>
            </p:nvSpPr>
            <p:spPr>
              <a:xfrm>
                <a:off x="7060466" y="3433125"/>
                <a:ext cx="65756" cy="100714"/>
              </a:xfrm>
              <a:custGeom>
                <a:avLst/>
                <a:gdLst>
                  <a:gd name="connsiteX0" fmla="*/ 541 w 65756"/>
                  <a:gd name="connsiteY0" fmla="*/ 17942 h 100714"/>
                  <a:gd name="connsiteX1" fmla="*/ 18482 w 65756"/>
                  <a:gd name="connsiteY1" fmla="*/ 24349 h 100714"/>
                  <a:gd name="connsiteX2" fmla="*/ 46677 w 65756"/>
                  <a:gd name="connsiteY2" fmla="*/ 49980 h 100714"/>
                  <a:gd name="connsiteX3" fmla="*/ 50521 w 65756"/>
                  <a:gd name="connsiteY3" fmla="*/ 74330 h 100714"/>
                  <a:gd name="connsiteX4" fmla="*/ 53084 w 65756"/>
                  <a:gd name="connsiteY4" fmla="*/ 99961 h 100714"/>
                  <a:gd name="connsiteX5" fmla="*/ 64618 w 65756"/>
                  <a:gd name="connsiteY5" fmla="*/ 80737 h 100714"/>
                  <a:gd name="connsiteX6" fmla="*/ 55647 w 65756"/>
                  <a:gd name="connsiteY6" fmla="*/ 73048 h 100714"/>
                  <a:gd name="connsiteX7" fmla="*/ 51803 w 65756"/>
                  <a:gd name="connsiteY7" fmla="*/ 46136 h 100714"/>
                  <a:gd name="connsiteX8" fmla="*/ 22327 w 65756"/>
                  <a:gd name="connsiteY8" fmla="*/ 19223 h 100714"/>
                  <a:gd name="connsiteX9" fmla="*/ 9511 w 65756"/>
                  <a:gd name="connsiteY9" fmla="*/ 0 h 100714"/>
                  <a:gd name="connsiteX10" fmla="*/ 541 w 65756"/>
                  <a:gd name="connsiteY10" fmla="*/ 17942 h 100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756" h="100714">
                    <a:moveTo>
                      <a:pt x="541" y="17942"/>
                    </a:moveTo>
                    <a:cubicBezTo>
                      <a:pt x="3104" y="25631"/>
                      <a:pt x="12075" y="30757"/>
                      <a:pt x="18482" y="24349"/>
                    </a:cubicBezTo>
                    <a:lnTo>
                      <a:pt x="46677" y="49980"/>
                    </a:lnTo>
                    <a:cubicBezTo>
                      <a:pt x="47958" y="57670"/>
                      <a:pt x="49240" y="65359"/>
                      <a:pt x="50521" y="74330"/>
                    </a:cubicBezTo>
                    <a:cubicBezTo>
                      <a:pt x="40269" y="80737"/>
                      <a:pt x="44113" y="96116"/>
                      <a:pt x="53084" y="99961"/>
                    </a:cubicBezTo>
                    <a:cubicBezTo>
                      <a:pt x="62055" y="103805"/>
                      <a:pt x="68463" y="92271"/>
                      <a:pt x="64618" y="80737"/>
                    </a:cubicBezTo>
                    <a:cubicBezTo>
                      <a:pt x="62055" y="74330"/>
                      <a:pt x="58210" y="74330"/>
                      <a:pt x="55647" y="73048"/>
                    </a:cubicBezTo>
                    <a:cubicBezTo>
                      <a:pt x="54366" y="64077"/>
                      <a:pt x="53084" y="55106"/>
                      <a:pt x="51803" y="46136"/>
                    </a:cubicBezTo>
                    <a:cubicBezTo>
                      <a:pt x="42832" y="38446"/>
                      <a:pt x="31298" y="26912"/>
                      <a:pt x="22327" y="19223"/>
                    </a:cubicBezTo>
                    <a:cubicBezTo>
                      <a:pt x="23609" y="11534"/>
                      <a:pt x="19764" y="0"/>
                      <a:pt x="9511" y="0"/>
                    </a:cubicBezTo>
                    <a:cubicBezTo>
                      <a:pt x="-3304" y="3845"/>
                      <a:pt x="541" y="17942"/>
                      <a:pt x="541"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3" name="Freeform: Shape 379839">
                <a:extLst>
                  <a:ext uri="{FF2B5EF4-FFF2-40B4-BE49-F238E27FC236}">
                    <a16:creationId xmlns:a16="http://schemas.microsoft.com/office/drawing/2014/main" id="{22FEEAE5-06BA-4650-8C87-D3CE11CA2D69}"/>
                  </a:ext>
                </a:extLst>
              </p:cNvPr>
              <p:cNvSpPr/>
              <p:nvPr/>
            </p:nvSpPr>
            <p:spPr>
              <a:xfrm>
                <a:off x="4724247" y="4110660"/>
                <a:ext cx="102731" cy="159314"/>
              </a:xfrm>
              <a:custGeom>
                <a:avLst/>
                <a:gdLst>
                  <a:gd name="connsiteX0" fmla="*/ 1775 w 102731"/>
                  <a:gd name="connsiteY0" fmla="*/ 18345 h 159314"/>
                  <a:gd name="connsiteX1" fmla="*/ 19717 w 102731"/>
                  <a:gd name="connsiteY1" fmla="*/ 19626 h 159314"/>
                  <a:gd name="connsiteX2" fmla="*/ 49192 w 102731"/>
                  <a:gd name="connsiteY2" fmla="*/ 41412 h 159314"/>
                  <a:gd name="connsiteX3" fmla="*/ 85076 w 102731"/>
                  <a:gd name="connsiteY3" fmla="*/ 134965 h 159314"/>
                  <a:gd name="connsiteX4" fmla="*/ 95328 w 102731"/>
                  <a:gd name="connsiteY4" fmla="*/ 159315 h 159314"/>
                  <a:gd name="connsiteX5" fmla="*/ 96610 w 102731"/>
                  <a:gd name="connsiteY5" fmla="*/ 136247 h 159314"/>
                  <a:gd name="connsiteX6" fmla="*/ 90202 w 102731"/>
                  <a:gd name="connsiteY6" fmla="*/ 133684 h 159314"/>
                  <a:gd name="connsiteX7" fmla="*/ 53037 w 102731"/>
                  <a:gd name="connsiteY7" fmla="*/ 37568 h 159314"/>
                  <a:gd name="connsiteX8" fmla="*/ 20998 w 102731"/>
                  <a:gd name="connsiteY8" fmla="*/ 14500 h 159314"/>
                  <a:gd name="connsiteX9" fmla="*/ 6901 w 102731"/>
                  <a:gd name="connsiteY9" fmla="*/ 403 h 159314"/>
                  <a:gd name="connsiteX10" fmla="*/ 1775 w 102731"/>
                  <a:gd name="connsiteY10" fmla="*/ 18345 h 159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731" h="159314">
                    <a:moveTo>
                      <a:pt x="1775" y="18345"/>
                    </a:moveTo>
                    <a:cubicBezTo>
                      <a:pt x="5620" y="26034"/>
                      <a:pt x="14591" y="29879"/>
                      <a:pt x="19717" y="19626"/>
                    </a:cubicBezTo>
                    <a:lnTo>
                      <a:pt x="49192" y="41412"/>
                    </a:lnTo>
                    <a:cubicBezTo>
                      <a:pt x="60726" y="73451"/>
                      <a:pt x="72260" y="104208"/>
                      <a:pt x="85076" y="134965"/>
                    </a:cubicBezTo>
                    <a:cubicBezTo>
                      <a:pt x="76105" y="143936"/>
                      <a:pt x="86358" y="159315"/>
                      <a:pt x="95328" y="159315"/>
                    </a:cubicBezTo>
                    <a:cubicBezTo>
                      <a:pt x="104299" y="159315"/>
                      <a:pt x="105580" y="143936"/>
                      <a:pt x="96610" y="136247"/>
                    </a:cubicBezTo>
                    <a:cubicBezTo>
                      <a:pt x="94046" y="133684"/>
                      <a:pt x="91483" y="133684"/>
                      <a:pt x="90202" y="133684"/>
                    </a:cubicBezTo>
                    <a:cubicBezTo>
                      <a:pt x="77387" y="101645"/>
                      <a:pt x="65853" y="69606"/>
                      <a:pt x="53037" y="37568"/>
                    </a:cubicBezTo>
                    <a:cubicBezTo>
                      <a:pt x="42785" y="31160"/>
                      <a:pt x="29969" y="22189"/>
                      <a:pt x="20998" y="14500"/>
                    </a:cubicBezTo>
                    <a:cubicBezTo>
                      <a:pt x="20998" y="8092"/>
                      <a:pt x="15872" y="-2160"/>
                      <a:pt x="6901" y="403"/>
                    </a:cubicBezTo>
                    <a:cubicBezTo>
                      <a:pt x="-4633" y="5529"/>
                      <a:pt x="1775" y="18345"/>
                      <a:pt x="1775" y="1834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4" name="Freeform: Shape 379840">
                <a:extLst>
                  <a:ext uri="{FF2B5EF4-FFF2-40B4-BE49-F238E27FC236}">
                    <a16:creationId xmlns:a16="http://schemas.microsoft.com/office/drawing/2014/main" id="{EA563D41-124D-4C4C-85D6-C72DAC8DDF08}"/>
                  </a:ext>
                </a:extLst>
              </p:cNvPr>
              <p:cNvSpPr/>
              <p:nvPr/>
            </p:nvSpPr>
            <p:spPr>
              <a:xfrm>
                <a:off x="5818716" y="3799968"/>
                <a:ext cx="37604" cy="63232"/>
              </a:xfrm>
              <a:custGeom>
                <a:avLst/>
                <a:gdLst>
                  <a:gd name="connsiteX0" fmla="*/ 1750 w 37604"/>
                  <a:gd name="connsiteY0" fmla="*/ 18903 h 63232"/>
                  <a:gd name="connsiteX1" fmla="*/ 14566 w 37604"/>
                  <a:gd name="connsiteY1" fmla="*/ 26592 h 63232"/>
                  <a:gd name="connsiteX2" fmla="*/ 17129 w 37604"/>
                  <a:gd name="connsiteY2" fmla="*/ 38126 h 63232"/>
                  <a:gd name="connsiteX3" fmla="*/ 18411 w 37604"/>
                  <a:gd name="connsiteY3" fmla="*/ 62475 h 63232"/>
                  <a:gd name="connsiteX4" fmla="*/ 36352 w 37604"/>
                  <a:gd name="connsiteY4" fmla="*/ 44534 h 63232"/>
                  <a:gd name="connsiteX5" fmla="*/ 23537 w 37604"/>
                  <a:gd name="connsiteY5" fmla="*/ 36845 h 63232"/>
                  <a:gd name="connsiteX6" fmla="*/ 20974 w 37604"/>
                  <a:gd name="connsiteY6" fmla="*/ 25311 h 63232"/>
                  <a:gd name="connsiteX7" fmla="*/ 19692 w 37604"/>
                  <a:gd name="connsiteY7" fmla="*/ 961 h 63232"/>
                  <a:gd name="connsiteX8" fmla="*/ 12003 w 37604"/>
                  <a:gd name="connsiteY8" fmla="*/ 961 h 63232"/>
                  <a:gd name="connsiteX9" fmla="*/ 1750 w 37604"/>
                  <a:gd name="connsiteY9" fmla="*/ 18903 h 6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604" h="63232">
                    <a:moveTo>
                      <a:pt x="1750" y="18903"/>
                    </a:moveTo>
                    <a:cubicBezTo>
                      <a:pt x="3032" y="22747"/>
                      <a:pt x="6877" y="26592"/>
                      <a:pt x="14566" y="26592"/>
                    </a:cubicBezTo>
                    <a:cubicBezTo>
                      <a:pt x="15847" y="30437"/>
                      <a:pt x="17129" y="34281"/>
                      <a:pt x="17129" y="38126"/>
                    </a:cubicBezTo>
                    <a:cubicBezTo>
                      <a:pt x="4313" y="45815"/>
                      <a:pt x="8158" y="58631"/>
                      <a:pt x="18411" y="62475"/>
                    </a:cubicBezTo>
                    <a:cubicBezTo>
                      <a:pt x="29945" y="66320"/>
                      <a:pt x="41479" y="54786"/>
                      <a:pt x="36352" y="44534"/>
                    </a:cubicBezTo>
                    <a:cubicBezTo>
                      <a:pt x="35071" y="40689"/>
                      <a:pt x="31226" y="36845"/>
                      <a:pt x="23537" y="36845"/>
                    </a:cubicBezTo>
                    <a:cubicBezTo>
                      <a:pt x="22255" y="33000"/>
                      <a:pt x="20974" y="29155"/>
                      <a:pt x="20974" y="25311"/>
                    </a:cubicBezTo>
                    <a:cubicBezTo>
                      <a:pt x="33789" y="17621"/>
                      <a:pt x="29945" y="3524"/>
                      <a:pt x="19692" y="961"/>
                    </a:cubicBezTo>
                    <a:cubicBezTo>
                      <a:pt x="17129" y="-320"/>
                      <a:pt x="13284" y="-320"/>
                      <a:pt x="12003" y="961"/>
                    </a:cubicBezTo>
                    <a:cubicBezTo>
                      <a:pt x="-4657" y="6087"/>
                      <a:pt x="469" y="18903"/>
                      <a:pt x="1750" y="1890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5" name="Freeform: Shape 379841">
                <a:extLst>
                  <a:ext uri="{FF2B5EF4-FFF2-40B4-BE49-F238E27FC236}">
                    <a16:creationId xmlns:a16="http://schemas.microsoft.com/office/drawing/2014/main" id="{264D2EDE-0AEF-4896-9649-F447583C7A31}"/>
                  </a:ext>
                </a:extLst>
              </p:cNvPr>
              <p:cNvSpPr/>
              <p:nvPr/>
            </p:nvSpPr>
            <p:spPr>
              <a:xfrm>
                <a:off x="5869549" y="3780224"/>
                <a:ext cx="61197" cy="74377"/>
              </a:xfrm>
              <a:custGeom>
                <a:avLst/>
                <a:gdLst>
                  <a:gd name="connsiteX0" fmla="*/ 898 w 61197"/>
                  <a:gd name="connsiteY0" fmla="*/ 66841 h 74377"/>
                  <a:gd name="connsiteX1" fmla="*/ 26529 w 61197"/>
                  <a:gd name="connsiteY1" fmla="*/ 65560 h 74377"/>
                  <a:gd name="connsiteX2" fmla="*/ 23966 w 61197"/>
                  <a:gd name="connsiteY2" fmla="*/ 51462 h 74377"/>
                  <a:gd name="connsiteX3" fmla="*/ 41908 w 61197"/>
                  <a:gd name="connsiteY3" fmla="*/ 25831 h 74377"/>
                  <a:gd name="connsiteX4" fmla="*/ 59849 w 61197"/>
                  <a:gd name="connsiteY4" fmla="*/ 7890 h 74377"/>
                  <a:gd name="connsiteX5" fmla="*/ 44471 w 61197"/>
                  <a:gd name="connsiteY5" fmla="*/ 201 h 74377"/>
                  <a:gd name="connsiteX6" fmla="*/ 36781 w 61197"/>
                  <a:gd name="connsiteY6" fmla="*/ 21987 h 74377"/>
                  <a:gd name="connsiteX7" fmla="*/ 18840 w 61197"/>
                  <a:gd name="connsiteY7" fmla="*/ 47618 h 74377"/>
                  <a:gd name="connsiteX8" fmla="*/ 898 w 61197"/>
                  <a:gd name="connsiteY8" fmla="*/ 66841 h 7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197" h="74377">
                    <a:moveTo>
                      <a:pt x="898" y="66841"/>
                    </a:moveTo>
                    <a:cubicBezTo>
                      <a:pt x="6024" y="77094"/>
                      <a:pt x="22684" y="77094"/>
                      <a:pt x="26529" y="65560"/>
                    </a:cubicBezTo>
                    <a:cubicBezTo>
                      <a:pt x="27811" y="62996"/>
                      <a:pt x="29092" y="57870"/>
                      <a:pt x="23966" y="51462"/>
                    </a:cubicBezTo>
                    <a:cubicBezTo>
                      <a:pt x="29092" y="43773"/>
                      <a:pt x="36781" y="33521"/>
                      <a:pt x="41908" y="25831"/>
                    </a:cubicBezTo>
                    <a:cubicBezTo>
                      <a:pt x="54723" y="29676"/>
                      <a:pt x="64976" y="16861"/>
                      <a:pt x="59849" y="7890"/>
                    </a:cubicBezTo>
                    <a:cubicBezTo>
                      <a:pt x="58568" y="4045"/>
                      <a:pt x="54723" y="-1081"/>
                      <a:pt x="44471" y="201"/>
                    </a:cubicBezTo>
                    <a:cubicBezTo>
                      <a:pt x="31655" y="4045"/>
                      <a:pt x="31655" y="16861"/>
                      <a:pt x="36781" y="21987"/>
                    </a:cubicBezTo>
                    <a:cubicBezTo>
                      <a:pt x="31655" y="29676"/>
                      <a:pt x="23966" y="39929"/>
                      <a:pt x="18840" y="47618"/>
                    </a:cubicBezTo>
                    <a:cubicBezTo>
                      <a:pt x="6024" y="43773"/>
                      <a:pt x="-2947" y="56589"/>
                      <a:pt x="898" y="6684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6" name="Freeform: Shape 379842">
                <a:extLst>
                  <a:ext uri="{FF2B5EF4-FFF2-40B4-BE49-F238E27FC236}">
                    <a16:creationId xmlns:a16="http://schemas.microsoft.com/office/drawing/2014/main" id="{387D8A29-3713-44A1-8107-EB30EBCCDE69}"/>
                  </a:ext>
                </a:extLst>
              </p:cNvPr>
              <p:cNvSpPr/>
              <p:nvPr/>
            </p:nvSpPr>
            <p:spPr>
              <a:xfrm>
                <a:off x="5875858" y="3666687"/>
                <a:ext cx="97083" cy="129873"/>
              </a:xfrm>
              <a:custGeom>
                <a:avLst/>
                <a:gdLst>
                  <a:gd name="connsiteX0" fmla="*/ 997 w 97083"/>
                  <a:gd name="connsiteY0" fmla="*/ 20185 h 129873"/>
                  <a:gd name="connsiteX1" fmla="*/ 13812 w 97083"/>
                  <a:gd name="connsiteY1" fmla="*/ 27874 h 129873"/>
                  <a:gd name="connsiteX2" fmla="*/ 20220 w 97083"/>
                  <a:gd name="connsiteY2" fmla="*/ 53505 h 129873"/>
                  <a:gd name="connsiteX3" fmla="*/ 71482 w 97083"/>
                  <a:gd name="connsiteY3" fmla="*/ 81699 h 129873"/>
                  <a:gd name="connsiteX4" fmla="*/ 76608 w 97083"/>
                  <a:gd name="connsiteY4" fmla="*/ 104767 h 129873"/>
                  <a:gd name="connsiteX5" fmla="*/ 77890 w 97083"/>
                  <a:gd name="connsiteY5" fmla="*/ 129116 h 129873"/>
                  <a:gd name="connsiteX6" fmla="*/ 95831 w 97083"/>
                  <a:gd name="connsiteY6" fmla="*/ 111174 h 129873"/>
                  <a:gd name="connsiteX7" fmla="*/ 83016 w 97083"/>
                  <a:gd name="connsiteY7" fmla="*/ 103485 h 129873"/>
                  <a:gd name="connsiteX8" fmla="*/ 76608 w 97083"/>
                  <a:gd name="connsiteY8" fmla="*/ 77854 h 129873"/>
                  <a:gd name="connsiteX9" fmla="*/ 26628 w 97083"/>
                  <a:gd name="connsiteY9" fmla="*/ 49660 h 129873"/>
                  <a:gd name="connsiteX10" fmla="*/ 21502 w 97083"/>
                  <a:gd name="connsiteY10" fmla="*/ 25311 h 129873"/>
                  <a:gd name="connsiteX11" fmla="*/ 20220 w 97083"/>
                  <a:gd name="connsiteY11" fmla="*/ 961 h 129873"/>
                  <a:gd name="connsiteX12" fmla="*/ 12531 w 97083"/>
                  <a:gd name="connsiteY12" fmla="*/ 961 h 129873"/>
                  <a:gd name="connsiteX13" fmla="*/ 997 w 97083"/>
                  <a:gd name="connsiteY13" fmla="*/ 20185 h 129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083" h="129873">
                    <a:moveTo>
                      <a:pt x="997" y="20185"/>
                    </a:moveTo>
                    <a:cubicBezTo>
                      <a:pt x="2278" y="24029"/>
                      <a:pt x="6123" y="27874"/>
                      <a:pt x="13812" y="27874"/>
                    </a:cubicBezTo>
                    <a:cubicBezTo>
                      <a:pt x="16375" y="36845"/>
                      <a:pt x="17657" y="45815"/>
                      <a:pt x="20220" y="53505"/>
                    </a:cubicBezTo>
                    <a:lnTo>
                      <a:pt x="71482" y="81699"/>
                    </a:lnTo>
                    <a:cubicBezTo>
                      <a:pt x="72763" y="89388"/>
                      <a:pt x="75327" y="97077"/>
                      <a:pt x="76608" y="104767"/>
                    </a:cubicBezTo>
                    <a:cubicBezTo>
                      <a:pt x="63793" y="112456"/>
                      <a:pt x="67638" y="126553"/>
                      <a:pt x="77890" y="129116"/>
                    </a:cubicBezTo>
                    <a:cubicBezTo>
                      <a:pt x="89424" y="132960"/>
                      <a:pt x="100958" y="121427"/>
                      <a:pt x="95831" y="111174"/>
                    </a:cubicBezTo>
                    <a:cubicBezTo>
                      <a:pt x="94550" y="107329"/>
                      <a:pt x="90706" y="103485"/>
                      <a:pt x="83016" y="103485"/>
                    </a:cubicBezTo>
                    <a:cubicBezTo>
                      <a:pt x="80453" y="94514"/>
                      <a:pt x="79172" y="85543"/>
                      <a:pt x="76608" y="77854"/>
                    </a:cubicBezTo>
                    <a:lnTo>
                      <a:pt x="26628" y="49660"/>
                    </a:lnTo>
                    <a:cubicBezTo>
                      <a:pt x="25346" y="41971"/>
                      <a:pt x="22783" y="34281"/>
                      <a:pt x="21502" y="25311"/>
                    </a:cubicBezTo>
                    <a:cubicBezTo>
                      <a:pt x="34317" y="17621"/>
                      <a:pt x="30473" y="3524"/>
                      <a:pt x="20220" y="961"/>
                    </a:cubicBezTo>
                    <a:cubicBezTo>
                      <a:pt x="17657" y="-320"/>
                      <a:pt x="13812" y="-320"/>
                      <a:pt x="12531" y="961"/>
                    </a:cubicBezTo>
                    <a:cubicBezTo>
                      <a:pt x="-2848" y="6087"/>
                      <a:pt x="-285" y="16340"/>
                      <a:pt x="997" y="201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7" name="Freeform: Shape 379843">
                <a:extLst>
                  <a:ext uri="{FF2B5EF4-FFF2-40B4-BE49-F238E27FC236}">
                    <a16:creationId xmlns:a16="http://schemas.microsoft.com/office/drawing/2014/main" id="{BC39118B-5229-4A66-A8B2-C2D17694938A}"/>
                  </a:ext>
                </a:extLst>
              </p:cNvPr>
              <p:cNvSpPr/>
              <p:nvPr/>
            </p:nvSpPr>
            <p:spPr>
              <a:xfrm>
                <a:off x="5985376" y="3760869"/>
                <a:ext cx="27646" cy="27091"/>
              </a:xfrm>
              <a:custGeom>
                <a:avLst/>
                <a:gdLst>
                  <a:gd name="connsiteX0" fmla="*/ 410 w 27646"/>
                  <a:gd name="connsiteY0" fmla="*/ 18274 h 27091"/>
                  <a:gd name="connsiteX1" fmla="*/ 26041 w 27646"/>
                  <a:gd name="connsiteY1" fmla="*/ 19556 h 27091"/>
                  <a:gd name="connsiteX2" fmla="*/ 10663 w 27646"/>
                  <a:gd name="connsiteY2" fmla="*/ 332 h 27091"/>
                  <a:gd name="connsiteX3" fmla="*/ 410 w 27646"/>
                  <a:gd name="connsiteY3" fmla="*/ 18274 h 27091"/>
                </a:gdLst>
                <a:ahLst/>
                <a:cxnLst>
                  <a:cxn ang="0">
                    <a:pos x="connsiteX0" y="connsiteY0"/>
                  </a:cxn>
                  <a:cxn ang="0">
                    <a:pos x="connsiteX1" y="connsiteY1"/>
                  </a:cxn>
                  <a:cxn ang="0">
                    <a:pos x="connsiteX2" y="connsiteY2"/>
                  </a:cxn>
                  <a:cxn ang="0">
                    <a:pos x="connsiteX3" y="connsiteY3"/>
                  </a:cxn>
                </a:cxnLst>
                <a:rect l="l" t="t" r="r" b="b"/>
                <a:pathLst>
                  <a:path w="27646" h="27091">
                    <a:moveTo>
                      <a:pt x="410" y="18274"/>
                    </a:moveTo>
                    <a:cubicBezTo>
                      <a:pt x="4255" y="29808"/>
                      <a:pt x="20915" y="29808"/>
                      <a:pt x="26041" y="19556"/>
                    </a:cubicBezTo>
                    <a:cubicBezTo>
                      <a:pt x="31167" y="10585"/>
                      <a:pt x="23478" y="-2231"/>
                      <a:pt x="10663" y="332"/>
                    </a:cubicBezTo>
                    <a:cubicBezTo>
                      <a:pt x="410" y="2895"/>
                      <a:pt x="-871" y="11866"/>
                      <a:pt x="410" y="1827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8" name="Freeform: Shape 379844">
                <a:extLst>
                  <a:ext uri="{FF2B5EF4-FFF2-40B4-BE49-F238E27FC236}">
                    <a16:creationId xmlns:a16="http://schemas.microsoft.com/office/drawing/2014/main" id="{83EC6D2E-3F91-4816-9860-C9F2FC9571B4}"/>
                  </a:ext>
                </a:extLst>
              </p:cNvPr>
              <p:cNvSpPr/>
              <p:nvPr/>
            </p:nvSpPr>
            <p:spPr>
              <a:xfrm>
                <a:off x="5890617" y="3541096"/>
                <a:ext cx="163911" cy="236692"/>
              </a:xfrm>
              <a:custGeom>
                <a:avLst/>
                <a:gdLst>
                  <a:gd name="connsiteX0" fmla="*/ 1616 w 163911"/>
                  <a:gd name="connsiteY0" fmla="*/ 21466 h 236692"/>
                  <a:gd name="connsiteX1" fmla="*/ 14432 w 163911"/>
                  <a:gd name="connsiteY1" fmla="*/ 29155 h 236692"/>
                  <a:gd name="connsiteX2" fmla="*/ 47752 w 163911"/>
                  <a:gd name="connsiteY2" fmla="*/ 170125 h 236692"/>
                  <a:gd name="connsiteX3" fmla="*/ 137461 w 163911"/>
                  <a:gd name="connsiteY3" fmla="*/ 220106 h 236692"/>
                  <a:gd name="connsiteX4" fmla="*/ 157966 w 163911"/>
                  <a:gd name="connsiteY4" fmla="*/ 234202 h 236692"/>
                  <a:gd name="connsiteX5" fmla="*/ 152839 w 163911"/>
                  <a:gd name="connsiteY5" fmla="*/ 209853 h 236692"/>
                  <a:gd name="connsiteX6" fmla="*/ 140024 w 163911"/>
                  <a:gd name="connsiteY6" fmla="*/ 213698 h 236692"/>
                  <a:gd name="connsiteX7" fmla="*/ 52879 w 163911"/>
                  <a:gd name="connsiteY7" fmla="*/ 164999 h 236692"/>
                  <a:gd name="connsiteX8" fmla="*/ 20840 w 163911"/>
                  <a:gd name="connsiteY8" fmla="*/ 26592 h 236692"/>
                  <a:gd name="connsiteX9" fmla="*/ 19558 w 163911"/>
                  <a:gd name="connsiteY9" fmla="*/ 961 h 236692"/>
                  <a:gd name="connsiteX10" fmla="*/ 11869 w 163911"/>
                  <a:gd name="connsiteY10" fmla="*/ 961 h 236692"/>
                  <a:gd name="connsiteX11" fmla="*/ 1616 w 163911"/>
                  <a:gd name="connsiteY11" fmla="*/ 21466 h 23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911" h="236692">
                    <a:moveTo>
                      <a:pt x="1616" y="21466"/>
                    </a:moveTo>
                    <a:cubicBezTo>
                      <a:pt x="2898" y="25311"/>
                      <a:pt x="6743" y="29155"/>
                      <a:pt x="14432" y="29155"/>
                    </a:cubicBezTo>
                    <a:cubicBezTo>
                      <a:pt x="25966" y="76572"/>
                      <a:pt x="36218" y="122708"/>
                      <a:pt x="47752" y="170125"/>
                    </a:cubicBezTo>
                    <a:cubicBezTo>
                      <a:pt x="74665" y="185504"/>
                      <a:pt x="110548" y="204727"/>
                      <a:pt x="137461" y="220106"/>
                    </a:cubicBezTo>
                    <a:cubicBezTo>
                      <a:pt x="133616" y="234202"/>
                      <a:pt x="148995" y="240610"/>
                      <a:pt x="157966" y="234202"/>
                    </a:cubicBezTo>
                    <a:cubicBezTo>
                      <a:pt x="168218" y="227795"/>
                      <a:pt x="164373" y="212416"/>
                      <a:pt x="152839" y="209853"/>
                    </a:cubicBezTo>
                    <a:cubicBezTo>
                      <a:pt x="146432" y="208572"/>
                      <a:pt x="141305" y="212416"/>
                      <a:pt x="140024" y="213698"/>
                    </a:cubicBezTo>
                    <a:lnTo>
                      <a:pt x="52879" y="164999"/>
                    </a:lnTo>
                    <a:cubicBezTo>
                      <a:pt x="42626" y="118863"/>
                      <a:pt x="31092" y="74009"/>
                      <a:pt x="20840" y="26592"/>
                    </a:cubicBezTo>
                    <a:cubicBezTo>
                      <a:pt x="33655" y="18903"/>
                      <a:pt x="29811" y="4806"/>
                      <a:pt x="19558" y="961"/>
                    </a:cubicBezTo>
                    <a:cubicBezTo>
                      <a:pt x="16995" y="-320"/>
                      <a:pt x="13150" y="-320"/>
                      <a:pt x="11869" y="961"/>
                    </a:cubicBezTo>
                    <a:cubicBezTo>
                      <a:pt x="-2228" y="7369"/>
                      <a:pt x="-947" y="17621"/>
                      <a:pt x="1616" y="2146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09" name="Freeform: Shape 379845">
                <a:extLst>
                  <a:ext uri="{FF2B5EF4-FFF2-40B4-BE49-F238E27FC236}">
                    <a16:creationId xmlns:a16="http://schemas.microsoft.com/office/drawing/2014/main" id="{A72E2B69-A76C-441A-8422-344D6BC4494F}"/>
                  </a:ext>
                </a:extLst>
              </p:cNvPr>
              <p:cNvSpPr/>
              <p:nvPr/>
            </p:nvSpPr>
            <p:spPr>
              <a:xfrm>
                <a:off x="5965743" y="3485560"/>
                <a:ext cx="129797" cy="284153"/>
              </a:xfrm>
              <a:custGeom>
                <a:avLst/>
                <a:gdLst>
                  <a:gd name="connsiteX0" fmla="*/ 820 w 129797"/>
                  <a:gd name="connsiteY0" fmla="*/ 19332 h 284153"/>
                  <a:gd name="connsiteX1" fmla="*/ 23888 w 129797"/>
                  <a:gd name="connsiteY1" fmla="*/ 23177 h 284153"/>
                  <a:gd name="connsiteX2" fmla="*/ 61053 w 129797"/>
                  <a:gd name="connsiteY2" fmla="*/ 44963 h 284153"/>
                  <a:gd name="connsiteX3" fmla="*/ 109752 w 129797"/>
                  <a:gd name="connsiteY3" fmla="*/ 258981 h 284153"/>
                  <a:gd name="connsiteX4" fmla="*/ 111033 w 129797"/>
                  <a:gd name="connsiteY4" fmla="*/ 283331 h 284153"/>
                  <a:gd name="connsiteX5" fmla="*/ 128975 w 129797"/>
                  <a:gd name="connsiteY5" fmla="*/ 265389 h 284153"/>
                  <a:gd name="connsiteX6" fmla="*/ 116159 w 129797"/>
                  <a:gd name="connsiteY6" fmla="*/ 257700 h 284153"/>
                  <a:gd name="connsiteX7" fmla="*/ 67460 w 129797"/>
                  <a:gd name="connsiteY7" fmla="*/ 41119 h 284153"/>
                  <a:gd name="connsiteX8" fmla="*/ 27733 w 129797"/>
                  <a:gd name="connsiteY8" fmla="*/ 18051 h 284153"/>
                  <a:gd name="connsiteX9" fmla="*/ 11072 w 129797"/>
                  <a:gd name="connsiteY9" fmla="*/ 109 h 284153"/>
                  <a:gd name="connsiteX10" fmla="*/ 820 w 129797"/>
                  <a:gd name="connsiteY10" fmla="*/ 19332 h 28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797" h="284153">
                    <a:moveTo>
                      <a:pt x="820" y="19332"/>
                    </a:moveTo>
                    <a:cubicBezTo>
                      <a:pt x="4665" y="27022"/>
                      <a:pt x="14917" y="30866"/>
                      <a:pt x="23888" y="23177"/>
                    </a:cubicBezTo>
                    <a:lnTo>
                      <a:pt x="61053" y="44963"/>
                    </a:lnTo>
                    <a:cubicBezTo>
                      <a:pt x="77713" y="116730"/>
                      <a:pt x="94373" y="188496"/>
                      <a:pt x="109752" y="258981"/>
                    </a:cubicBezTo>
                    <a:cubicBezTo>
                      <a:pt x="96937" y="266670"/>
                      <a:pt x="100781" y="279486"/>
                      <a:pt x="111033" y="283331"/>
                    </a:cubicBezTo>
                    <a:cubicBezTo>
                      <a:pt x="122567" y="287175"/>
                      <a:pt x="132820" y="276923"/>
                      <a:pt x="128975" y="265389"/>
                    </a:cubicBezTo>
                    <a:cubicBezTo>
                      <a:pt x="127693" y="261544"/>
                      <a:pt x="123849" y="257700"/>
                      <a:pt x="116159" y="257700"/>
                    </a:cubicBezTo>
                    <a:cubicBezTo>
                      <a:pt x="100781" y="185933"/>
                      <a:pt x="84121" y="114167"/>
                      <a:pt x="67460" y="41119"/>
                    </a:cubicBezTo>
                    <a:cubicBezTo>
                      <a:pt x="55926" y="34711"/>
                      <a:pt x="39267" y="25740"/>
                      <a:pt x="27733" y="18051"/>
                    </a:cubicBezTo>
                    <a:cubicBezTo>
                      <a:pt x="30296" y="9080"/>
                      <a:pt x="23888" y="-1172"/>
                      <a:pt x="11072" y="109"/>
                    </a:cubicBezTo>
                    <a:cubicBezTo>
                      <a:pt x="-4306" y="5235"/>
                      <a:pt x="820" y="19332"/>
                      <a:pt x="820" y="1933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0" name="Freeform: Shape 379846">
                <a:extLst>
                  <a:ext uri="{FF2B5EF4-FFF2-40B4-BE49-F238E27FC236}">
                    <a16:creationId xmlns:a16="http://schemas.microsoft.com/office/drawing/2014/main" id="{B5EA8255-D1AD-4FD2-9937-EEA3FF6629AF}"/>
                  </a:ext>
                </a:extLst>
              </p:cNvPr>
              <p:cNvSpPr/>
              <p:nvPr/>
            </p:nvSpPr>
            <p:spPr>
              <a:xfrm>
                <a:off x="4793450" y="4127614"/>
                <a:ext cx="64574" cy="52392"/>
              </a:xfrm>
              <a:custGeom>
                <a:avLst/>
                <a:gdLst>
                  <a:gd name="connsiteX0" fmla="*/ 1776 w 64574"/>
                  <a:gd name="connsiteY0" fmla="*/ 19332 h 52392"/>
                  <a:gd name="connsiteX1" fmla="*/ 19718 w 64574"/>
                  <a:gd name="connsiteY1" fmla="*/ 21896 h 52392"/>
                  <a:gd name="connsiteX2" fmla="*/ 42785 w 64574"/>
                  <a:gd name="connsiteY2" fmla="*/ 35993 h 52392"/>
                  <a:gd name="connsiteX3" fmla="*/ 62009 w 64574"/>
                  <a:gd name="connsiteY3" fmla="*/ 50090 h 52392"/>
                  <a:gd name="connsiteX4" fmla="*/ 51757 w 64574"/>
                  <a:gd name="connsiteY4" fmla="*/ 27022 h 52392"/>
                  <a:gd name="connsiteX5" fmla="*/ 45348 w 64574"/>
                  <a:gd name="connsiteY5" fmla="*/ 30866 h 52392"/>
                  <a:gd name="connsiteX6" fmla="*/ 22280 w 64574"/>
                  <a:gd name="connsiteY6" fmla="*/ 16770 h 52392"/>
                  <a:gd name="connsiteX7" fmla="*/ 6902 w 64574"/>
                  <a:gd name="connsiteY7" fmla="*/ 109 h 52392"/>
                  <a:gd name="connsiteX8" fmla="*/ 1776 w 64574"/>
                  <a:gd name="connsiteY8" fmla="*/ 19332 h 52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574" h="52392">
                    <a:moveTo>
                      <a:pt x="1776" y="19332"/>
                    </a:moveTo>
                    <a:cubicBezTo>
                      <a:pt x="5621" y="27022"/>
                      <a:pt x="14591" y="29585"/>
                      <a:pt x="19718" y="21896"/>
                    </a:cubicBezTo>
                    <a:cubicBezTo>
                      <a:pt x="26125" y="25740"/>
                      <a:pt x="35096" y="32148"/>
                      <a:pt x="42785" y="35993"/>
                    </a:cubicBezTo>
                    <a:cubicBezTo>
                      <a:pt x="41504" y="48808"/>
                      <a:pt x="55601" y="56497"/>
                      <a:pt x="62009" y="50090"/>
                    </a:cubicBezTo>
                    <a:cubicBezTo>
                      <a:pt x="68416" y="42400"/>
                      <a:pt x="62009" y="27022"/>
                      <a:pt x="51757" y="27022"/>
                    </a:cubicBezTo>
                    <a:cubicBezTo>
                      <a:pt x="47912" y="27022"/>
                      <a:pt x="45348" y="29585"/>
                      <a:pt x="45348" y="30866"/>
                    </a:cubicBezTo>
                    <a:cubicBezTo>
                      <a:pt x="38941" y="27022"/>
                      <a:pt x="29970" y="20614"/>
                      <a:pt x="22280" y="16770"/>
                    </a:cubicBezTo>
                    <a:cubicBezTo>
                      <a:pt x="22280" y="9080"/>
                      <a:pt x="17155" y="-1172"/>
                      <a:pt x="6902" y="109"/>
                    </a:cubicBezTo>
                    <a:cubicBezTo>
                      <a:pt x="-3350" y="5236"/>
                      <a:pt x="494" y="15488"/>
                      <a:pt x="1776" y="1933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1" name="Freeform: Shape 379847">
                <a:extLst>
                  <a:ext uri="{FF2B5EF4-FFF2-40B4-BE49-F238E27FC236}">
                    <a16:creationId xmlns:a16="http://schemas.microsoft.com/office/drawing/2014/main" id="{C74E403C-24DA-476A-82B7-36B7B414FAE3}"/>
                  </a:ext>
                </a:extLst>
              </p:cNvPr>
              <p:cNvSpPr/>
              <p:nvPr/>
            </p:nvSpPr>
            <p:spPr>
              <a:xfrm>
                <a:off x="6933680" y="3176816"/>
                <a:ext cx="139383" cy="440217"/>
              </a:xfrm>
              <a:custGeom>
                <a:avLst/>
                <a:gdLst>
                  <a:gd name="connsiteX0" fmla="*/ 1735 w 139383"/>
                  <a:gd name="connsiteY0" fmla="*/ 16660 h 440217"/>
                  <a:gd name="connsiteX1" fmla="*/ 13269 w 139383"/>
                  <a:gd name="connsiteY1" fmla="*/ 25631 h 440217"/>
                  <a:gd name="connsiteX2" fmla="*/ 38900 w 139383"/>
                  <a:gd name="connsiteY2" fmla="*/ 126873 h 440217"/>
                  <a:gd name="connsiteX3" fmla="*/ 38900 w 139383"/>
                  <a:gd name="connsiteY3" fmla="*/ 126873 h 440217"/>
                  <a:gd name="connsiteX4" fmla="*/ 79909 w 139383"/>
                  <a:gd name="connsiteY4" fmla="*/ 160193 h 440217"/>
                  <a:gd name="connsiteX5" fmla="*/ 124763 w 139383"/>
                  <a:gd name="connsiteY5" fmla="*/ 413939 h 440217"/>
                  <a:gd name="connsiteX6" fmla="*/ 126045 w 139383"/>
                  <a:gd name="connsiteY6" fmla="*/ 439570 h 440217"/>
                  <a:gd name="connsiteX7" fmla="*/ 137579 w 139383"/>
                  <a:gd name="connsiteY7" fmla="*/ 419065 h 440217"/>
                  <a:gd name="connsiteX8" fmla="*/ 129890 w 139383"/>
                  <a:gd name="connsiteY8" fmla="*/ 413939 h 440217"/>
                  <a:gd name="connsiteX9" fmla="*/ 85036 w 139383"/>
                  <a:gd name="connsiteY9" fmla="*/ 157630 h 440217"/>
                  <a:gd name="connsiteX10" fmla="*/ 44026 w 139383"/>
                  <a:gd name="connsiteY10" fmla="*/ 124310 h 440217"/>
                  <a:gd name="connsiteX11" fmla="*/ 18395 w 139383"/>
                  <a:gd name="connsiteY11" fmla="*/ 24349 h 440217"/>
                  <a:gd name="connsiteX12" fmla="*/ 13269 w 139383"/>
                  <a:gd name="connsiteY12" fmla="*/ 0 h 440217"/>
                  <a:gd name="connsiteX13" fmla="*/ 9424 w 139383"/>
                  <a:gd name="connsiteY13" fmla="*/ 0 h 440217"/>
                  <a:gd name="connsiteX14" fmla="*/ 1735 w 139383"/>
                  <a:gd name="connsiteY14" fmla="*/ 16660 h 44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383" h="440217">
                    <a:moveTo>
                      <a:pt x="1735" y="16660"/>
                    </a:moveTo>
                    <a:cubicBezTo>
                      <a:pt x="4298" y="23068"/>
                      <a:pt x="9424" y="24349"/>
                      <a:pt x="13269" y="25631"/>
                    </a:cubicBezTo>
                    <a:cubicBezTo>
                      <a:pt x="22239" y="58951"/>
                      <a:pt x="31210" y="92271"/>
                      <a:pt x="38900" y="126873"/>
                    </a:cubicBezTo>
                    <a:cubicBezTo>
                      <a:pt x="38900" y="126873"/>
                      <a:pt x="38900" y="126873"/>
                      <a:pt x="38900" y="126873"/>
                    </a:cubicBezTo>
                    <a:lnTo>
                      <a:pt x="79909" y="160193"/>
                    </a:lnTo>
                    <a:cubicBezTo>
                      <a:pt x="99133" y="244775"/>
                      <a:pt x="113229" y="329357"/>
                      <a:pt x="124763" y="413939"/>
                    </a:cubicBezTo>
                    <a:cubicBezTo>
                      <a:pt x="111948" y="422910"/>
                      <a:pt x="119638" y="437007"/>
                      <a:pt x="126045" y="439570"/>
                    </a:cubicBezTo>
                    <a:cubicBezTo>
                      <a:pt x="136297" y="443415"/>
                      <a:pt x="142705" y="429318"/>
                      <a:pt x="137579" y="419065"/>
                    </a:cubicBezTo>
                    <a:cubicBezTo>
                      <a:pt x="136297" y="416502"/>
                      <a:pt x="135016" y="415221"/>
                      <a:pt x="129890" y="413939"/>
                    </a:cubicBezTo>
                    <a:cubicBezTo>
                      <a:pt x="118356" y="329357"/>
                      <a:pt x="104259" y="243494"/>
                      <a:pt x="85036" y="157630"/>
                    </a:cubicBezTo>
                    <a:lnTo>
                      <a:pt x="44026" y="124310"/>
                    </a:lnTo>
                    <a:cubicBezTo>
                      <a:pt x="36337" y="90990"/>
                      <a:pt x="27366" y="57670"/>
                      <a:pt x="18395" y="24349"/>
                    </a:cubicBezTo>
                    <a:cubicBezTo>
                      <a:pt x="31210" y="15379"/>
                      <a:pt x="18395" y="1281"/>
                      <a:pt x="13269" y="0"/>
                    </a:cubicBezTo>
                    <a:cubicBezTo>
                      <a:pt x="11987" y="0"/>
                      <a:pt x="10705" y="0"/>
                      <a:pt x="9424" y="0"/>
                    </a:cubicBezTo>
                    <a:cubicBezTo>
                      <a:pt x="-2110" y="3845"/>
                      <a:pt x="-829" y="12815"/>
                      <a:pt x="173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2" name="Freeform: Shape 379848">
                <a:extLst>
                  <a:ext uri="{FF2B5EF4-FFF2-40B4-BE49-F238E27FC236}">
                    <a16:creationId xmlns:a16="http://schemas.microsoft.com/office/drawing/2014/main" id="{98491C57-A580-4D73-83B8-DF5413C0AF11}"/>
                  </a:ext>
                </a:extLst>
              </p:cNvPr>
              <p:cNvSpPr/>
              <p:nvPr/>
            </p:nvSpPr>
            <p:spPr>
              <a:xfrm>
                <a:off x="7757601" y="3553591"/>
                <a:ext cx="5255" cy="65358"/>
              </a:xfrm>
              <a:custGeom>
                <a:avLst/>
                <a:gdLst>
                  <a:gd name="connsiteX0" fmla="*/ 570 w 5255"/>
                  <a:gd name="connsiteY0" fmla="*/ 14097 h 65358"/>
                  <a:gd name="connsiteX1" fmla="*/ 3133 w 5255"/>
                  <a:gd name="connsiteY1" fmla="*/ 25631 h 65358"/>
                  <a:gd name="connsiteX2" fmla="*/ 3133 w 5255"/>
                  <a:gd name="connsiteY2" fmla="*/ 38446 h 65358"/>
                  <a:gd name="connsiteX3" fmla="*/ 4414 w 5255"/>
                  <a:gd name="connsiteY3" fmla="*/ 65359 h 65358"/>
                  <a:gd name="connsiteX4" fmla="*/ 4414 w 5255"/>
                  <a:gd name="connsiteY4" fmla="*/ 65359 h 65358"/>
                  <a:gd name="connsiteX5" fmla="*/ 3133 w 5255"/>
                  <a:gd name="connsiteY5" fmla="*/ 39728 h 65358"/>
                  <a:gd name="connsiteX6" fmla="*/ 3133 w 5255"/>
                  <a:gd name="connsiteY6" fmla="*/ 26912 h 65358"/>
                  <a:gd name="connsiteX7" fmla="*/ 570 w 5255"/>
                  <a:gd name="connsiteY7" fmla="*/ 0 h 65358"/>
                  <a:gd name="connsiteX8" fmla="*/ 570 w 5255"/>
                  <a:gd name="connsiteY8" fmla="*/ 0 h 65358"/>
                  <a:gd name="connsiteX9" fmla="*/ 570 w 5255"/>
                  <a:gd name="connsiteY9" fmla="*/ 14097 h 6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5" h="65358">
                    <a:moveTo>
                      <a:pt x="570" y="14097"/>
                    </a:moveTo>
                    <a:cubicBezTo>
                      <a:pt x="570" y="17942"/>
                      <a:pt x="1851" y="23068"/>
                      <a:pt x="3133" y="25631"/>
                    </a:cubicBezTo>
                    <a:cubicBezTo>
                      <a:pt x="3133" y="29476"/>
                      <a:pt x="3133" y="33320"/>
                      <a:pt x="3133" y="38446"/>
                    </a:cubicBezTo>
                    <a:cubicBezTo>
                      <a:pt x="570" y="42291"/>
                      <a:pt x="1851" y="61514"/>
                      <a:pt x="4414" y="65359"/>
                    </a:cubicBezTo>
                    <a:cubicBezTo>
                      <a:pt x="4414" y="65359"/>
                      <a:pt x="4414" y="65359"/>
                      <a:pt x="4414" y="65359"/>
                    </a:cubicBezTo>
                    <a:cubicBezTo>
                      <a:pt x="5696" y="61514"/>
                      <a:pt x="5696" y="44854"/>
                      <a:pt x="3133" y="39728"/>
                    </a:cubicBezTo>
                    <a:cubicBezTo>
                      <a:pt x="3133" y="35883"/>
                      <a:pt x="3133" y="32039"/>
                      <a:pt x="3133" y="26912"/>
                    </a:cubicBezTo>
                    <a:cubicBezTo>
                      <a:pt x="4414" y="23068"/>
                      <a:pt x="3133" y="3845"/>
                      <a:pt x="570" y="0"/>
                    </a:cubicBezTo>
                    <a:cubicBezTo>
                      <a:pt x="570" y="0"/>
                      <a:pt x="570" y="0"/>
                      <a:pt x="570" y="0"/>
                    </a:cubicBezTo>
                    <a:cubicBezTo>
                      <a:pt x="-712" y="2563"/>
                      <a:pt x="570" y="11534"/>
                      <a:pt x="570"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3" name="Freeform: Shape 379849">
                <a:extLst>
                  <a:ext uri="{FF2B5EF4-FFF2-40B4-BE49-F238E27FC236}">
                    <a16:creationId xmlns:a16="http://schemas.microsoft.com/office/drawing/2014/main" id="{62AF7EEF-9A20-4B1A-95D2-0D5A10D13208}"/>
                  </a:ext>
                </a:extLst>
              </p:cNvPr>
              <p:cNvSpPr/>
              <p:nvPr/>
            </p:nvSpPr>
            <p:spPr>
              <a:xfrm>
                <a:off x="4471991" y="4287916"/>
                <a:ext cx="31300" cy="60302"/>
              </a:xfrm>
              <a:custGeom>
                <a:avLst/>
                <a:gdLst>
                  <a:gd name="connsiteX0" fmla="*/ 2848 w 31300"/>
                  <a:gd name="connsiteY0" fmla="*/ 17942 h 60302"/>
                  <a:gd name="connsiteX1" fmla="*/ 11819 w 31300"/>
                  <a:gd name="connsiteY1" fmla="*/ 25631 h 60302"/>
                  <a:gd name="connsiteX2" fmla="*/ 16945 w 31300"/>
                  <a:gd name="connsiteY2" fmla="*/ 37165 h 60302"/>
                  <a:gd name="connsiteX3" fmla="*/ 27197 w 31300"/>
                  <a:gd name="connsiteY3" fmla="*/ 60233 h 60302"/>
                  <a:gd name="connsiteX4" fmla="*/ 24634 w 31300"/>
                  <a:gd name="connsiteY4" fmla="*/ 38447 h 60302"/>
                  <a:gd name="connsiteX5" fmla="*/ 19508 w 31300"/>
                  <a:gd name="connsiteY5" fmla="*/ 35883 h 60302"/>
                  <a:gd name="connsiteX6" fmla="*/ 14382 w 31300"/>
                  <a:gd name="connsiteY6" fmla="*/ 24349 h 60302"/>
                  <a:gd name="connsiteX7" fmla="*/ 4130 w 31300"/>
                  <a:gd name="connsiteY7" fmla="*/ 0 h 60302"/>
                  <a:gd name="connsiteX8" fmla="*/ 2848 w 31300"/>
                  <a:gd name="connsiteY8" fmla="*/ 0 h 60302"/>
                  <a:gd name="connsiteX9" fmla="*/ 2848 w 31300"/>
                  <a:gd name="connsiteY9" fmla="*/ 17942 h 60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300" h="60302">
                    <a:moveTo>
                      <a:pt x="2848" y="17942"/>
                    </a:moveTo>
                    <a:cubicBezTo>
                      <a:pt x="4130" y="20505"/>
                      <a:pt x="7974" y="25631"/>
                      <a:pt x="11819" y="25631"/>
                    </a:cubicBezTo>
                    <a:cubicBezTo>
                      <a:pt x="13100" y="29476"/>
                      <a:pt x="15664" y="33320"/>
                      <a:pt x="16945" y="37165"/>
                    </a:cubicBezTo>
                    <a:cubicBezTo>
                      <a:pt x="11819" y="44854"/>
                      <a:pt x="22071" y="61514"/>
                      <a:pt x="27197" y="60233"/>
                    </a:cubicBezTo>
                    <a:cubicBezTo>
                      <a:pt x="33605" y="60233"/>
                      <a:pt x="32324" y="44854"/>
                      <a:pt x="24634" y="38447"/>
                    </a:cubicBezTo>
                    <a:cubicBezTo>
                      <a:pt x="22071" y="35883"/>
                      <a:pt x="20790" y="35883"/>
                      <a:pt x="19508" y="35883"/>
                    </a:cubicBezTo>
                    <a:cubicBezTo>
                      <a:pt x="18226" y="32039"/>
                      <a:pt x="15664" y="28194"/>
                      <a:pt x="14382" y="24349"/>
                    </a:cubicBezTo>
                    <a:cubicBezTo>
                      <a:pt x="19508" y="16660"/>
                      <a:pt x="10537" y="0"/>
                      <a:pt x="4130" y="0"/>
                    </a:cubicBezTo>
                    <a:cubicBezTo>
                      <a:pt x="4130" y="0"/>
                      <a:pt x="2848" y="0"/>
                      <a:pt x="2848" y="0"/>
                    </a:cubicBezTo>
                    <a:cubicBezTo>
                      <a:pt x="-3560" y="5126"/>
                      <a:pt x="2848" y="17942"/>
                      <a:pt x="2848"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4" name="Freeform: Shape 379850">
                <a:extLst>
                  <a:ext uri="{FF2B5EF4-FFF2-40B4-BE49-F238E27FC236}">
                    <a16:creationId xmlns:a16="http://schemas.microsoft.com/office/drawing/2014/main" id="{9709DEFF-B69C-4124-8781-A4251A56183E}"/>
                  </a:ext>
                </a:extLst>
              </p:cNvPr>
              <p:cNvSpPr/>
              <p:nvPr/>
            </p:nvSpPr>
            <p:spPr>
              <a:xfrm>
                <a:off x="4807030" y="4165768"/>
                <a:ext cx="64890" cy="50332"/>
              </a:xfrm>
              <a:custGeom>
                <a:avLst/>
                <a:gdLst>
                  <a:gd name="connsiteX0" fmla="*/ 2293 w 64890"/>
                  <a:gd name="connsiteY0" fmla="*/ 17061 h 50332"/>
                  <a:gd name="connsiteX1" fmla="*/ 20234 w 64890"/>
                  <a:gd name="connsiteY1" fmla="*/ 19625 h 50332"/>
                  <a:gd name="connsiteX2" fmla="*/ 43302 w 64890"/>
                  <a:gd name="connsiteY2" fmla="*/ 35003 h 50332"/>
                  <a:gd name="connsiteX3" fmla="*/ 62526 w 64890"/>
                  <a:gd name="connsiteY3" fmla="*/ 47818 h 50332"/>
                  <a:gd name="connsiteX4" fmla="*/ 52273 w 64890"/>
                  <a:gd name="connsiteY4" fmla="*/ 24751 h 50332"/>
                  <a:gd name="connsiteX5" fmla="*/ 45865 w 64890"/>
                  <a:gd name="connsiteY5" fmla="*/ 29877 h 50332"/>
                  <a:gd name="connsiteX6" fmla="*/ 22797 w 64890"/>
                  <a:gd name="connsiteY6" fmla="*/ 15780 h 50332"/>
                  <a:gd name="connsiteX7" fmla="*/ 7419 w 64890"/>
                  <a:gd name="connsiteY7" fmla="*/ 401 h 50332"/>
                  <a:gd name="connsiteX8" fmla="*/ 2293 w 64890"/>
                  <a:gd name="connsiteY8" fmla="*/ 17061 h 5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890" h="50332">
                    <a:moveTo>
                      <a:pt x="2293" y="17061"/>
                    </a:moveTo>
                    <a:cubicBezTo>
                      <a:pt x="6138" y="24751"/>
                      <a:pt x="15108" y="27314"/>
                      <a:pt x="20234" y="19625"/>
                    </a:cubicBezTo>
                    <a:cubicBezTo>
                      <a:pt x="26642" y="23469"/>
                      <a:pt x="35613" y="29877"/>
                      <a:pt x="43302" y="35003"/>
                    </a:cubicBezTo>
                    <a:cubicBezTo>
                      <a:pt x="43302" y="47818"/>
                      <a:pt x="56118" y="54226"/>
                      <a:pt x="62526" y="47818"/>
                    </a:cubicBezTo>
                    <a:cubicBezTo>
                      <a:pt x="68933" y="40129"/>
                      <a:pt x="61244" y="24751"/>
                      <a:pt x="52273" y="24751"/>
                    </a:cubicBezTo>
                    <a:cubicBezTo>
                      <a:pt x="48428" y="24751"/>
                      <a:pt x="45865" y="28595"/>
                      <a:pt x="45865" y="29877"/>
                    </a:cubicBezTo>
                    <a:cubicBezTo>
                      <a:pt x="39458" y="26032"/>
                      <a:pt x="30487" y="19625"/>
                      <a:pt x="22797" y="15780"/>
                    </a:cubicBezTo>
                    <a:cubicBezTo>
                      <a:pt x="22797" y="8091"/>
                      <a:pt x="17672" y="-2162"/>
                      <a:pt x="7419" y="401"/>
                    </a:cubicBezTo>
                    <a:cubicBezTo>
                      <a:pt x="-2834" y="2964"/>
                      <a:pt x="-271" y="13217"/>
                      <a:pt x="2293" y="1706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5" name="Freeform: Shape 379851">
                <a:extLst>
                  <a:ext uri="{FF2B5EF4-FFF2-40B4-BE49-F238E27FC236}">
                    <a16:creationId xmlns:a16="http://schemas.microsoft.com/office/drawing/2014/main" id="{F7788E74-AC25-4BBE-9572-B6231710E632}"/>
                  </a:ext>
                </a:extLst>
              </p:cNvPr>
              <p:cNvSpPr/>
              <p:nvPr/>
            </p:nvSpPr>
            <p:spPr>
              <a:xfrm>
                <a:off x="7736384" y="3584206"/>
                <a:ext cx="5178" cy="25936"/>
              </a:xfrm>
              <a:custGeom>
                <a:avLst/>
                <a:gdLst>
                  <a:gd name="connsiteX0" fmla="*/ 0 w 5178"/>
                  <a:gd name="connsiteY0" fmla="*/ 12957 h 25936"/>
                  <a:gd name="connsiteX1" fmla="*/ 3845 w 5178"/>
                  <a:gd name="connsiteY1" fmla="*/ 25772 h 25936"/>
                  <a:gd name="connsiteX2" fmla="*/ 1282 w 5178"/>
                  <a:gd name="connsiteY2" fmla="*/ 141 h 25936"/>
                  <a:gd name="connsiteX3" fmla="*/ 0 w 5178"/>
                  <a:gd name="connsiteY3" fmla="*/ 12957 h 25936"/>
                </a:gdLst>
                <a:ahLst/>
                <a:cxnLst>
                  <a:cxn ang="0">
                    <a:pos x="connsiteX0" y="connsiteY0"/>
                  </a:cxn>
                  <a:cxn ang="0">
                    <a:pos x="connsiteX1" y="connsiteY1"/>
                  </a:cxn>
                  <a:cxn ang="0">
                    <a:pos x="connsiteX2" y="connsiteY2"/>
                  </a:cxn>
                  <a:cxn ang="0">
                    <a:pos x="connsiteX3" y="connsiteY3"/>
                  </a:cxn>
                </a:cxnLst>
                <a:rect l="l" t="t" r="r" b="b"/>
                <a:pathLst>
                  <a:path w="5178" h="25936">
                    <a:moveTo>
                      <a:pt x="0" y="12957"/>
                    </a:moveTo>
                    <a:cubicBezTo>
                      <a:pt x="0" y="20646"/>
                      <a:pt x="2563" y="27054"/>
                      <a:pt x="3845" y="25772"/>
                    </a:cubicBezTo>
                    <a:cubicBezTo>
                      <a:pt x="6408" y="23209"/>
                      <a:pt x="5126" y="1423"/>
                      <a:pt x="1282" y="141"/>
                    </a:cubicBezTo>
                    <a:cubicBezTo>
                      <a:pt x="0" y="-1140"/>
                      <a:pt x="0" y="6549"/>
                      <a:pt x="0" y="1295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6" name="Freeform: Shape 379852">
                <a:extLst>
                  <a:ext uri="{FF2B5EF4-FFF2-40B4-BE49-F238E27FC236}">
                    <a16:creationId xmlns:a16="http://schemas.microsoft.com/office/drawing/2014/main" id="{6E8650C0-10D1-4D11-ACAD-BB3651728B3C}"/>
                  </a:ext>
                </a:extLst>
              </p:cNvPr>
              <p:cNvSpPr/>
              <p:nvPr/>
            </p:nvSpPr>
            <p:spPr>
              <a:xfrm>
                <a:off x="7765859" y="3593319"/>
                <a:ext cx="3524" cy="65358"/>
              </a:xfrm>
              <a:custGeom>
                <a:avLst/>
                <a:gdLst>
                  <a:gd name="connsiteX0" fmla="*/ 0 w 3524"/>
                  <a:gd name="connsiteY0" fmla="*/ 15379 h 65358"/>
                  <a:gd name="connsiteX1" fmla="*/ 1282 w 3524"/>
                  <a:gd name="connsiteY1" fmla="*/ 26912 h 65358"/>
                  <a:gd name="connsiteX2" fmla="*/ 1282 w 3524"/>
                  <a:gd name="connsiteY2" fmla="*/ 39728 h 65358"/>
                  <a:gd name="connsiteX3" fmla="*/ 2563 w 3524"/>
                  <a:gd name="connsiteY3" fmla="*/ 65359 h 65358"/>
                  <a:gd name="connsiteX4" fmla="*/ 2563 w 3524"/>
                  <a:gd name="connsiteY4" fmla="*/ 65359 h 65358"/>
                  <a:gd name="connsiteX5" fmla="*/ 2563 w 3524"/>
                  <a:gd name="connsiteY5" fmla="*/ 39728 h 65358"/>
                  <a:gd name="connsiteX6" fmla="*/ 2563 w 3524"/>
                  <a:gd name="connsiteY6" fmla="*/ 26912 h 65358"/>
                  <a:gd name="connsiteX7" fmla="*/ 1282 w 3524"/>
                  <a:gd name="connsiteY7" fmla="*/ 0 h 65358"/>
                  <a:gd name="connsiteX8" fmla="*/ 1282 w 3524"/>
                  <a:gd name="connsiteY8" fmla="*/ 0 h 65358"/>
                  <a:gd name="connsiteX9" fmla="*/ 0 w 3524"/>
                  <a:gd name="connsiteY9" fmla="*/ 15379 h 65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4" h="65358">
                    <a:moveTo>
                      <a:pt x="0" y="15379"/>
                    </a:moveTo>
                    <a:cubicBezTo>
                      <a:pt x="0" y="19223"/>
                      <a:pt x="1282" y="24349"/>
                      <a:pt x="1282" y="26912"/>
                    </a:cubicBezTo>
                    <a:cubicBezTo>
                      <a:pt x="1282" y="30757"/>
                      <a:pt x="1282" y="34602"/>
                      <a:pt x="1282" y="39728"/>
                    </a:cubicBezTo>
                    <a:cubicBezTo>
                      <a:pt x="0" y="43572"/>
                      <a:pt x="0" y="62796"/>
                      <a:pt x="2563" y="65359"/>
                    </a:cubicBezTo>
                    <a:cubicBezTo>
                      <a:pt x="2563" y="65359"/>
                      <a:pt x="2563" y="65359"/>
                      <a:pt x="2563" y="65359"/>
                    </a:cubicBezTo>
                    <a:cubicBezTo>
                      <a:pt x="3845" y="62796"/>
                      <a:pt x="3845" y="44854"/>
                      <a:pt x="2563" y="39728"/>
                    </a:cubicBezTo>
                    <a:cubicBezTo>
                      <a:pt x="2563" y="35883"/>
                      <a:pt x="2563" y="32039"/>
                      <a:pt x="2563" y="26912"/>
                    </a:cubicBezTo>
                    <a:cubicBezTo>
                      <a:pt x="3845" y="23068"/>
                      <a:pt x="2563" y="3845"/>
                      <a:pt x="1282" y="0"/>
                    </a:cubicBezTo>
                    <a:cubicBezTo>
                      <a:pt x="1282" y="0"/>
                      <a:pt x="1282" y="0"/>
                      <a:pt x="1282" y="0"/>
                    </a:cubicBezTo>
                    <a:cubicBezTo>
                      <a:pt x="0" y="3845"/>
                      <a:pt x="0" y="12815"/>
                      <a:pt x="0"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7" name="Freeform: Shape 379853">
                <a:extLst>
                  <a:ext uri="{FF2B5EF4-FFF2-40B4-BE49-F238E27FC236}">
                    <a16:creationId xmlns:a16="http://schemas.microsoft.com/office/drawing/2014/main" id="{D88C95B9-6BB2-4385-A21F-300DA0F4950A}"/>
                  </a:ext>
                </a:extLst>
              </p:cNvPr>
              <p:cNvSpPr/>
              <p:nvPr/>
            </p:nvSpPr>
            <p:spPr>
              <a:xfrm>
                <a:off x="4505934" y="4316040"/>
                <a:ext cx="31958" cy="59020"/>
              </a:xfrm>
              <a:custGeom>
                <a:avLst/>
                <a:gdLst>
                  <a:gd name="connsiteX0" fmla="*/ 3507 w 31958"/>
                  <a:gd name="connsiteY0" fmla="*/ 16730 h 59020"/>
                  <a:gd name="connsiteX1" fmla="*/ 12478 w 31958"/>
                  <a:gd name="connsiteY1" fmla="*/ 24419 h 59020"/>
                  <a:gd name="connsiteX2" fmla="*/ 17604 w 31958"/>
                  <a:gd name="connsiteY2" fmla="*/ 35953 h 59020"/>
                  <a:gd name="connsiteX3" fmla="*/ 27856 w 31958"/>
                  <a:gd name="connsiteY3" fmla="*/ 59021 h 59020"/>
                  <a:gd name="connsiteX4" fmla="*/ 25293 w 31958"/>
                  <a:gd name="connsiteY4" fmla="*/ 37235 h 59020"/>
                  <a:gd name="connsiteX5" fmla="*/ 20167 w 31958"/>
                  <a:gd name="connsiteY5" fmla="*/ 34671 h 59020"/>
                  <a:gd name="connsiteX6" fmla="*/ 15040 w 31958"/>
                  <a:gd name="connsiteY6" fmla="*/ 23138 h 59020"/>
                  <a:gd name="connsiteX7" fmla="*/ 4788 w 31958"/>
                  <a:gd name="connsiteY7" fmla="*/ 70 h 59020"/>
                  <a:gd name="connsiteX8" fmla="*/ 3507 w 31958"/>
                  <a:gd name="connsiteY8" fmla="*/ 70 h 59020"/>
                  <a:gd name="connsiteX9" fmla="*/ 3507 w 31958"/>
                  <a:gd name="connsiteY9" fmla="*/ 16730 h 5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958" h="59020">
                    <a:moveTo>
                      <a:pt x="3507" y="16730"/>
                    </a:moveTo>
                    <a:cubicBezTo>
                      <a:pt x="4788" y="19293"/>
                      <a:pt x="8633" y="23138"/>
                      <a:pt x="12478" y="24419"/>
                    </a:cubicBezTo>
                    <a:cubicBezTo>
                      <a:pt x="13759" y="28264"/>
                      <a:pt x="16322" y="32109"/>
                      <a:pt x="17604" y="35953"/>
                    </a:cubicBezTo>
                    <a:cubicBezTo>
                      <a:pt x="12478" y="43643"/>
                      <a:pt x="22730" y="59021"/>
                      <a:pt x="27856" y="59021"/>
                    </a:cubicBezTo>
                    <a:cubicBezTo>
                      <a:pt x="34264" y="59021"/>
                      <a:pt x="32982" y="43643"/>
                      <a:pt x="25293" y="37235"/>
                    </a:cubicBezTo>
                    <a:cubicBezTo>
                      <a:pt x="22730" y="34671"/>
                      <a:pt x="21448" y="34671"/>
                      <a:pt x="20167" y="34671"/>
                    </a:cubicBezTo>
                    <a:cubicBezTo>
                      <a:pt x="18885" y="30827"/>
                      <a:pt x="16322" y="26982"/>
                      <a:pt x="15040" y="23138"/>
                    </a:cubicBezTo>
                    <a:cubicBezTo>
                      <a:pt x="21448" y="15448"/>
                      <a:pt x="11196" y="-1212"/>
                      <a:pt x="4788" y="70"/>
                    </a:cubicBezTo>
                    <a:cubicBezTo>
                      <a:pt x="4788" y="70"/>
                      <a:pt x="3507" y="70"/>
                      <a:pt x="3507" y="70"/>
                    </a:cubicBezTo>
                    <a:cubicBezTo>
                      <a:pt x="-2901" y="3914"/>
                      <a:pt x="944" y="14167"/>
                      <a:pt x="3507" y="1673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8" name="Freeform: Shape 379854">
                <a:extLst>
                  <a:ext uri="{FF2B5EF4-FFF2-40B4-BE49-F238E27FC236}">
                    <a16:creationId xmlns:a16="http://schemas.microsoft.com/office/drawing/2014/main" id="{C1F93426-9F8F-4794-8827-8E381192B280}"/>
                  </a:ext>
                </a:extLst>
              </p:cNvPr>
              <p:cNvSpPr/>
              <p:nvPr/>
            </p:nvSpPr>
            <p:spPr>
              <a:xfrm>
                <a:off x="4525780" y="4185393"/>
                <a:ext cx="59311" cy="131999"/>
              </a:xfrm>
              <a:custGeom>
                <a:avLst/>
                <a:gdLst>
                  <a:gd name="connsiteX0" fmla="*/ 1602 w 59311"/>
                  <a:gd name="connsiteY0" fmla="*/ 16660 h 131999"/>
                  <a:gd name="connsiteX1" fmla="*/ 10573 w 59311"/>
                  <a:gd name="connsiteY1" fmla="*/ 24349 h 131999"/>
                  <a:gd name="connsiteX2" fmla="*/ 43893 w 59311"/>
                  <a:gd name="connsiteY2" fmla="*/ 107650 h 131999"/>
                  <a:gd name="connsiteX3" fmla="*/ 54146 w 59311"/>
                  <a:gd name="connsiteY3" fmla="*/ 131999 h 131999"/>
                  <a:gd name="connsiteX4" fmla="*/ 52864 w 59311"/>
                  <a:gd name="connsiteY4" fmla="*/ 110213 h 131999"/>
                  <a:gd name="connsiteX5" fmla="*/ 47738 w 59311"/>
                  <a:gd name="connsiteY5" fmla="*/ 107650 h 131999"/>
                  <a:gd name="connsiteX6" fmla="*/ 14418 w 59311"/>
                  <a:gd name="connsiteY6" fmla="*/ 24349 h 131999"/>
                  <a:gd name="connsiteX7" fmla="*/ 5447 w 59311"/>
                  <a:gd name="connsiteY7" fmla="*/ 0 h 131999"/>
                  <a:gd name="connsiteX8" fmla="*/ 4165 w 59311"/>
                  <a:gd name="connsiteY8" fmla="*/ 0 h 131999"/>
                  <a:gd name="connsiteX9" fmla="*/ 1602 w 59311"/>
                  <a:gd name="connsiteY9" fmla="*/ 16660 h 131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311" h="131999">
                    <a:moveTo>
                      <a:pt x="1602" y="16660"/>
                    </a:moveTo>
                    <a:cubicBezTo>
                      <a:pt x="2884" y="20505"/>
                      <a:pt x="5447" y="24349"/>
                      <a:pt x="10573" y="24349"/>
                    </a:cubicBezTo>
                    <a:cubicBezTo>
                      <a:pt x="20825" y="52543"/>
                      <a:pt x="32359" y="79456"/>
                      <a:pt x="43893" y="107650"/>
                    </a:cubicBezTo>
                    <a:cubicBezTo>
                      <a:pt x="37485" y="115339"/>
                      <a:pt x="46456" y="131999"/>
                      <a:pt x="54146" y="131999"/>
                    </a:cubicBezTo>
                    <a:cubicBezTo>
                      <a:pt x="61835" y="131999"/>
                      <a:pt x="60553" y="116621"/>
                      <a:pt x="52864" y="110213"/>
                    </a:cubicBezTo>
                    <a:cubicBezTo>
                      <a:pt x="50301" y="107650"/>
                      <a:pt x="49019" y="107650"/>
                      <a:pt x="47738" y="107650"/>
                    </a:cubicBezTo>
                    <a:cubicBezTo>
                      <a:pt x="36204" y="80737"/>
                      <a:pt x="25951" y="52543"/>
                      <a:pt x="14418" y="24349"/>
                    </a:cubicBezTo>
                    <a:cubicBezTo>
                      <a:pt x="20825" y="15378"/>
                      <a:pt x="11854" y="0"/>
                      <a:pt x="5447" y="0"/>
                    </a:cubicBezTo>
                    <a:cubicBezTo>
                      <a:pt x="5447" y="0"/>
                      <a:pt x="4165" y="0"/>
                      <a:pt x="4165" y="0"/>
                    </a:cubicBezTo>
                    <a:cubicBezTo>
                      <a:pt x="-2243" y="2563"/>
                      <a:pt x="320" y="12816"/>
                      <a:pt x="1602"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19" name="Freeform: Shape 379855">
                <a:extLst>
                  <a:ext uri="{FF2B5EF4-FFF2-40B4-BE49-F238E27FC236}">
                    <a16:creationId xmlns:a16="http://schemas.microsoft.com/office/drawing/2014/main" id="{5444AA02-592D-43BC-98E0-1F2DE43A00E5}"/>
                  </a:ext>
                </a:extLst>
              </p:cNvPr>
              <p:cNvSpPr/>
              <p:nvPr/>
            </p:nvSpPr>
            <p:spPr>
              <a:xfrm>
                <a:off x="4619476" y="4148228"/>
                <a:ext cx="60259" cy="133280"/>
              </a:xfrm>
              <a:custGeom>
                <a:avLst/>
                <a:gdLst>
                  <a:gd name="connsiteX0" fmla="*/ 1460 w 60259"/>
                  <a:gd name="connsiteY0" fmla="*/ 17942 h 133280"/>
                  <a:gd name="connsiteX1" fmla="*/ 11712 w 60259"/>
                  <a:gd name="connsiteY1" fmla="*/ 25631 h 133280"/>
                  <a:gd name="connsiteX2" fmla="*/ 43751 w 60259"/>
                  <a:gd name="connsiteY2" fmla="*/ 108931 h 133280"/>
                  <a:gd name="connsiteX3" fmla="*/ 54003 w 60259"/>
                  <a:gd name="connsiteY3" fmla="*/ 133281 h 133280"/>
                  <a:gd name="connsiteX4" fmla="*/ 54003 w 60259"/>
                  <a:gd name="connsiteY4" fmla="*/ 110213 h 133280"/>
                  <a:gd name="connsiteX5" fmla="*/ 47595 w 60259"/>
                  <a:gd name="connsiteY5" fmla="*/ 107650 h 133280"/>
                  <a:gd name="connsiteX6" fmla="*/ 15557 w 60259"/>
                  <a:gd name="connsiteY6" fmla="*/ 24349 h 133280"/>
                  <a:gd name="connsiteX7" fmla="*/ 6586 w 60259"/>
                  <a:gd name="connsiteY7" fmla="*/ 0 h 133280"/>
                  <a:gd name="connsiteX8" fmla="*/ 5304 w 60259"/>
                  <a:gd name="connsiteY8" fmla="*/ 0 h 133280"/>
                  <a:gd name="connsiteX9" fmla="*/ 1460 w 60259"/>
                  <a:gd name="connsiteY9" fmla="*/ 17942 h 13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59" h="133280">
                    <a:moveTo>
                      <a:pt x="1460" y="17942"/>
                    </a:moveTo>
                    <a:cubicBezTo>
                      <a:pt x="2741" y="21786"/>
                      <a:pt x="6586" y="25631"/>
                      <a:pt x="11712" y="25631"/>
                    </a:cubicBezTo>
                    <a:cubicBezTo>
                      <a:pt x="21964" y="53825"/>
                      <a:pt x="32217" y="80738"/>
                      <a:pt x="43751" y="108931"/>
                    </a:cubicBezTo>
                    <a:cubicBezTo>
                      <a:pt x="36061" y="117902"/>
                      <a:pt x="46314" y="133281"/>
                      <a:pt x="54003" y="133281"/>
                    </a:cubicBezTo>
                    <a:cubicBezTo>
                      <a:pt x="62974" y="133281"/>
                      <a:pt x="61692" y="117902"/>
                      <a:pt x="54003" y="110213"/>
                    </a:cubicBezTo>
                    <a:cubicBezTo>
                      <a:pt x="51440" y="107650"/>
                      <a:pt x="50159" y="107650"/>
                      <a:pt x="47595" y="107650"/>
                    </a:cubicBezTo>
                    <a:cubicBezTo>
                      <a:pt x="36061" y="80738"/>
                      <a:pt x="25809" y="52543"/>
                      <a:pt x="15557" y="24349"/>
                    </a:cubicBezTo>
                    <a:cubicBezTo>
                      <a:pt x="23246" y="15379"/>
                      <a:pt x="14275" y="0"/>
                      <a:pt x="6586" y="0"/>
                    </a:cubicBezTo>
                    <a:cubicBezTo>
                      <a:pt x="6586" y="0"/>
                      <a:pt x="5304" y="0"/>
                      <a:pt x="5304" y="0"/>
                    </a:cubicBezTo>
                    <a:cubicBezTo>
                      <a:pt x="-2385" y="3845"/>
                      <a:pt x="178" y="15379"/>
                      <a:pt x="146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0" name="Freeform: Shape 379856">
                <a:extLst>
                  <a:ext uri="{FF2B5EF4-FFF2-40B4-BE49-F238E27FC236}">
                    <a16:creationId xmlns:a16="http://schemas.microsoft.com/office/drawing/2014/main" id="{F3A1FDDB-25FE-4B02-897E-D14FC9D4F82A}"/>
                  </a:ext>
                </a:extLst>
              </p:cNvPr>
              <p:cNvSpPr/>
              <p:nvPr/>
            </p:nvSpPr>
            <p:spPr>
              <a:xfrm>
                <a:off x="4820486" y="4202053"/>
                <a:ext cx="169268" cy="211564"/>
              </a:xfrm>
              <a:custGeom>
                <a:avLst/>
                <a:gdLst>
                  <a:gd name="connsiteX0" fmla="*/ 1653 w 169268"/>
                  <a:gd name="connsiteY0" fmla="*/ 15379 h 211564"/>
                  <a:gd name="connsiteX1" fmla="*/ 13187 w 169268"/>
                  <a:gd name="connsiteY1" fmla="*/ 23068 h 211564"/>
                  <a:gd name="connsiteX2" fmla="*/ 23439 w 169268"/>
                  <a:gd name="connsiteY2" fmla="*/ 48699 h 211564"/>
                  <a:gd name="connsiteX3" fmla="*/ 67012 w 169268"/>
                  <a:gd name="connsiteY3" fmla="*/ 74330 h 211564"/>
                  <a:gd name="connsiteX4" fmla="*/ 106740 w 169268"/>
                  <a:gd name="connsiteY4" fmla="*/ 164038 h 211564"/>
                  <a:gd name="connsiteX5" fmla="*/ 115711 w 169268"/>
                  <a:gd name="connsiteY5" fmla="*/ 187106 h 211564"/>
                  <a:gd name="connsiteX6" fmla="*/ 122118 w 169268"/>
                  <a:gd name="connsiteY6" fmla="*/ 170446 h 211564"/>
                  <a:gd name="connsiteX7" fmla="*/ 110584 w 169268"/>
                  <a:gd name="connsiteY7" fmla="*/ 162756 h 211564"/>
                  <a:gd name="connsiteX8" fmla="*/ 73419 w 169268"/>
                  <a:gd name="connsiteY8" fmla="*/ 78174 h 211564"/>
                  <a:gd name="connsiteX9" fmla="*/ 110584 w 169268"/>
                  <a:gd name="connsiteY9" fmla="*/ 98679 h 211564"/>
                  <a:gd name="connsiteX10" fmla="*/ 150312 w 169268"/>
                  <a:gd name="connsiteY10" fmla="*/ 188387 h 211564"/>
                  <a:gd name="connsiteX11" fmla="*/ 159283 w 169268"/>
                  <a:gd name="connsiteY11" fmla="*/ 211455 h 211564"/>
                  <a:gd name="connsiteX12" fmla="*/ 166972 w 169268"/>
                  <a:gd name="connsiteY12" fmla="*/ 194795 h 211564"/>
                  <a:gd name="connsiteX13" fmla="*/ 155438 w 169268"/>
                  <a:gd name="connsiteY13" fmla="*/ 188387 h 211564"/>
                  <a:gd name="connsiteX14" fmla="*/ 114429 w 169268"/>
                  <a:gd name="connsiteY14" fmla="*/ 96116 h 211564"/>
                  <a:gd name="connsiteX15" fmla="*/ 70856 w 169268"/>
                  <a:gd name="connsiteY15" fmla="*/ 71767 h 211564"/>
                  <a:gd name="connsiteX16" fmla="*/ 61885 w 169268"/>
                  <a:gd name="connsiteY16" fmla="*/ 49980 h 211564"/>
                  <a:gd name="connsiteX17" fmla="*/ 54196 w 169268"/>
                  <a:gd name="connsiteY17" fmla="*/ 26913 h 211564"/>
                  <a:gd name="connsiteX18" fmla="*/ 47788 w 169268"/>
                  <a:gd name="connsiteY18" fmla="*/ 46136 h 211564"/>
                  <a:gd name="connsiteX19" fmla="*/ 58041 w 169268"/>
                  <a:gd name="connsiteY19" fmla="*/ 51262 h 211564"/>
                  <a:gd name="connsiteX20" fmla="*/ 65730 w 169268"/>
                  <a:gd name="connsiteY20" fmla="*/ 69204 h 211564"/>
                  <a:gd name="connsiteX21" fmla="*/ 28565 w 169268"/>
                  <a:gd name="connsiteY21" fmla="*/ 47417 h 211564"/>
                  <a:gd name="connsiteX22" fmla="*/ 19594 w 169268"/>
                  <a:gd name="connsiteY22" fmla="*/ 24349 h 211564"/>
                  <a:gd name="connsiteX23" fmla="*/ 11905 w 169268"/>
                  <a:gd name="connsiteY23" fmla="*/ 0 h 211564"/>
                  <a:gd name="connsiteX24" fmla="*/ 8060 w 169268"/>
                  <a:gd name="connsiteY24" fmla="*/ 0 h 211564"/>
                  <a:gd name="connsiteX25" fmla="*/ 1653 w 169268"/>
                  <a:gd name="connsiteY25" fmla="*/ 15379 h 211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9268" h="211564">
                    <a:moveTo>
                      <a:pt x="1653" y="15379"/>
                    </a:moveTo>
                    <a:cubicBezTo>
                      <a:pt x="2934" y="17942"/>
                      <a:pt x="6779" y="21786"/>
                      <a:pt x="13187" y="23068"/>
                    </a:cubicBezTo>
                    <a:cubicBezTo>
                      <a:pt x="17031" y="32039"/>
                      <a:pt x="19594" y="39728"/>
                      <a:pt x="23439" y="48699"/>
                    </a:cubicBezTo>
                    <a:lnTo>
                      <a:pt x="67012" y="74330"/>
                    </a:lnTo>
                    <a:cubicBezTo>
                      <a:pt x="79827" y="105087"/>
                      <a:pt x="92643" y="134562"/>
                      <a:pt x="106740" y="164038"/>
                    </a:cubicBezTo>
                    <a:cubicBezTo>
                      <a:pt x="99050" y="171727"/>
                      <a:pt x="106740" y="185824"/>
                      <a:pt x="115711" y="187106"/>
                    </a:cubicBezTo>
                    <a:cubicBezTo>
                      <a:pt x="124681" y="188387"/>
                      <a:pt x="128526" y="178135"/>
                      <a:pt x="122118" y="170446"/>
                    </a:cubicBezTo>
                    <a:cubicBezTo>
                      <a:pt x="120837" y="167883"/>
                      <a:pt x="116992" y="164038"/>
                      <a:pt x="110584" y="162756"/>
                    </a:cubicBezTo>
                    <a:cubicBezTo>
                      <a:pt x="97769" y="134562"/>
                      <a:pt x="84953" y="106368"/>
                      <a:pt x="73419" y="78174"/>
                    </a:cubicBezTo>
                    <a:lnTo>
                      <a:pt x="110584" y="98679"/>
                    </a:lnTo>
                    <a:cubicBezTo>
                      <a:pt x="123400" y="129436"/>
                      <a:pt x="137497" y="158912"/>
                      <a:pt x="150312" y="188387"/>
                    </a:cubicBezTo>
                    <a:cubicBezTo>
                      <a:pt x="141342" y="196077"/>
                      <a:pt x="150312" y="210174"/>
                      <a:pt x="159283" y="211455"/>
                    </a:cubicBezTo>
                    <a:cubicBezTo>
                      <a:pt x="168254" y="212737"/>
                      <a:pt x="172099" y="202484"/>
                      <a:pt x="166972" y="194795"/>
                    </a:cubicBezTo>
                    <a:cubicBezTo>
                      <a:pt x="164410" y="192232"/>
                      <a:pt x="161846" y="188387"/>
                      <a:pt x="155438" y="188387"/>
                    </a:cubicBezTo>
                    <a:cubicBezTo>
                      <a:pt x="141342" y="157630"/>
                      <a:pt x="127245" y="128155"/>
                      <a:pt x="114429" y="96116"/>
                    </a:cubicBezTo>
                    <a:lnTo>
                      <a:pt x="70856" y="71767"/>
                    </a:lnTo>
                    <a:cubicBezTo>
                      <a:pt x="68293" y="64077"/>
                      <a:pt x="64448" y="56388"/>
                      <a:pt x="61885" y="49980"/>
                    </a:cubicBezTo>
                    <a:cubicBezTo>
                      <a:pt x="70856" y="42291"/>
                      <a:pt x="63167" y="28194"/>
                      <a:pt x="54196" y="26913"/>
                    </a:cubicBezTo>
                    <a:cubicBezTo>
                      <a:pt x="45225" y="25631"/>
                      <a:pt x="40099" y="37165"/>
                      <a:pt x="47788" y="46136"/>
                    </a:cubicBezTo>
                    <a:cubicBezTo>
                      <a:pt x="51633" y="51262"/>
                      <a:pt x="55478" y="51262"/>
                      <a:pt x="58041" y="51262"/>
                    </a:cubicBezTo>
                    <a:cubicBezTo>
                      <a:pt x="60604" y="57670"/>
                      <a:pt x="63167" y="62796"/>
                      <a:pt x="65730" y="69204"/>
                    </a:cubicBezTo>
                    <a:lnTo>
                      <a:pt x="28565" y="47417"/>
                    </a:lnTo>
                    <a:cubicBezTo>
                      <a:pt x="26002" y="39728"/>
                      <a:pt x="22157" y="32039"/>
                      <a:pt x="19594" y="24349"/>
                    </a:cubicBezTo>
                    <a:cubicBezTo>
                      <a:pt x="28565" y="16660"/>
                      <a:pt x="20876" y="2563"/>
                      <a:pt x="11905" y="0"/>
                    </a:cubicBezTo>
                    <a:cubicBezTo>
                      <a:pt x="10623" y="0"/>
                      <a:pt x="9342" y="0"/>
                      <a:pt x="8060" y="0"/>
                    </a:cubicBezTo>
                    <a:cubicBezTo>
                      <a:pt x="-3474" y="2563"/>
                      <a:pt x="371" y="12816"/>
                      <a:pt x="1653"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1" name="Freeform: Shape 379857">
                <a:extLst>
                  <a:ext uri="{FF2B5EF4-FFF2-40B4-BE49-F238E27FC236}">
                    <a16:creationId xmlns:a16="http://schemas.microsoft.com/office/drawing/2014/main" id="{6B4B132E-94BC-4085-84E0-D666CCA07FF6}"/>
                  </a:ext>
                </a:extLst>
              </p:cNvPr>
              <p:cNvSpPr/>
              <p:nvPr/>
            </p:nvSpPr>
            <p:spPr>
              <a:xfrm>
                <a:off x="7746636" y="3623952"/>
                <a:ext cx="5630" cy="25918"/>
              </a:xfrm>
              <a:custGeom>
                <a:avLst/>
                <a:gdLst>
                  <a:gd name="connsiteX0" fmla="*/ 0 w 5630"/>
                  <a:gd name="connsiteY0" fmla="*/ 12939 h 25918"/>
                  <a:gd name="connsiteX1" fmla="*/ 3844 w 5630"/>
                  <a:gd name="connsiteY1" fmla="*/ 25755 h 25918"/>
                  <a:gd name="connsiteX2" fmla="*/ 2563 w 5630"/>
                  <a:gd name="connsiteY2" fmla="*/ 124 h 25918"/>
                  <a:gd name="connsiteX3" fmla="*/ 0 w 5630"/>
                  <a:gd name="connsiteY3" fmla="*/ 12939 h 25918"/>
                </a:gdLst>
                <a:ahLst/>
                <a:cxnLst>
                  <a:cxn ang="0">
                    <a:pos x="connsiteX0" y="connsiteY0"/>
                  </a:cxn>
                  <a:cxn ang="0">
                    <a:pos x="connsiteX1" y="connsiteY1"/>
                  </a:cxn>
                  <a:cxn ang="0">
                    <a:pos x="connsiteX2" y="connsiteY2"/>
                  </a:cxn>
                  <a:cxn ang="0">
                    <a:pos x="connsiteX3" y="connsiteY3"/>
                  </a:cxn>
                </a:cxnLst>
                <a:rect l="l" t="t" r="r" b="b"/>
                <a:pathLst>
                  <a:path w="5630" h="25918">
                    <a:moveTo>
                      <a:pt x="0" y="12939"/>
                    </a:moveTo>
                    <a:cubicBezTo>
                      <a:pt x="0" y="20629"/>
                      <a:pt x="2563" y="27036"/>
                      <a:pt x="3844" y="25755"/>
                    </a:cubicBezTo>
                    <a:cubicBezTo>
                      <a:pt x="6408" y="23192"/>
                      <a:pt x="6408" y="1405"/>
                      <a:pt x="2563" y="124"/>
                    </a:cubicBezTo>
                    <a:cubicBezTo>
                      <a:pt x="0" y="-1158"/>
                      <a:pt x="0" y="7813"/>
                      <a:pt x="0" y="1293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2" name="Freeform: Shape 379858">
                <a:extLst>
                  <a:ext uri="{FF2B5EF4-FFF2-40B4-BE49-F238E27FC236}">
                    <a16:creationId xmlns:a16="http://schemas.microsoft.com/office/drawing/2014/main" id="{F4D2FA15-3108-47DC-81D5-B58D9BA57C6D}"/>
                  </a:ext>
                </a:extLst>
              </p:cNvPr>
              <p:cNvSpPr/>
              <p:nvPr/>
            </p:nvSpPr>
            <p:spPr>
              <a:xfrm>
                <a:off x="4541726" y="4343023"/>
                <a:ext cx="32590" cy="58951"/>
              </a:xfrm>
              <a:custGeom>
                <a:avLst/>
                <a:gdLst>
                  <a:gd name="connsiteX0" fmla="*/ 2317 w 32590"/>
                  <a:gd name="connsiteY0" fmla="*/ 16660 h 58951"/>
                  <a:gd name="connsiteX1" fmla="*/ 11287 w 32590"/>
                  <a:gd name="connsiteY1" fmla="*/ 24349 h 58951"/>
                  <a:gd name="connsiteX2" fmla="*/ 16414 w 32590"/>
                  <a:gd name="connsiteY2" fmla="*/ 35883 h 58951"/>
                  <a:gd name="connsiteX3" fmla="*/ 27948 w 32590"/>
                  <a:gd name="connsiteY3" fmla="*/ 58951 h 58951"/>
                  <a:gd name="connsiteX4" fmla="*/ 25385 w 32590"/>
                  <a:gd name="connsiteY4" fmla="*/ 37165 h 58951"/>
                  <a:gd name="connsiteX5" fmla="*/ 20258 w 32590"/>
                  <a:gd name="connsiteY5" fmla="*/ 34602 h 58951"/>
                  <a:gd name="connsiteX6" fmla="*/ 15132 w 32590"/>
                  <a:gd name="connsiteY6" fmla="*/ 23068 h 58951"/>
                  <a:gd name="connsiteX7" fmla="*/ 4880 w 32590"/>
                  <a:gd name="connsiteY7" fmla="*/ 0 h 58951"/>
                  <a:gd name="connsiteX8" fmla="*/ 3598 w 32590"/>
                  <a:gd name="connsiteY8" fmla="*/ 0 h 58951"/>
                  <a:gd name="connsiteX9" fmla="*/ 2317 w 32590"/>
                  <a:gd name="connsiteY9" fmla="*/ 16660 h 5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90" h="58951">
                    <a:moveTo>
                      <a:pt x="2317" y="16660"/>
                    </a:moveTo>
                    <a:cubicBezTo>
                      <a:pt x="3598" y="19223"/>
                      <a:pt x="7443" y="23068"/>
                      <a:pt x="11287" y="24349"/>
                    </a:cubicBezTo>
                    <a:cubicBezTo>
                      <a:pt x="12569" y="28194"/>
                      <a:pt x="15132" y="32039"/>
                      <a:pt x="16414" y="35883"/>
                    </a:cubicBezTo>
                    <a:cubicBezTo>
                      <a:pt x="10006" y="43573"/>
                      <a:pt x="20258" y="58951"/>
                      <a:pt x="27948" y="58951"/>
                    </a:cubicBezTo>
                    <a:cubicBezTo>
                      <a:pt x="35637" y="58951"/>
                      <a:pt x="33074" y="44854"/>
                      <a:pt x="25385" y="37165"/>
                    </a:cubicBezTo>
                    <a:cubicBezTo>
                      <a:pt x="22821" y="34602"/>
                      <a:pt x="21540" y="34602"/>
                      <a:pt x="20258" y="34602"/>
                    </a:cubicBezTo>
                    <a:cubicBezTo>
                      <a:pt x="18977" y="30757"/>
                      <a:pt x="16414" y="26913"/>
                      <a:pt x="15132" y="23068"/>
                    </a:cubicBezTo>
                    <a:cubicBezTo>
                      <a:pt x="21540" y="15379"/>
                      <a:pt x="11287" y="0"/>
                      <a:pt x="4880" y="0"/>
                    </a:cubicBezTo>
                    <a:cubicBezTo>
                      <a:pt x="4880" y="0"/>
                      <a:pt x="3598" y="0"/>
                      <a:pt x="3598" y="0"/>
                    </a:cubicBezTo>
                    <a:cubicBezTo>
                      <a:pt x="-2810" y="3845"/>
                      <a:pt x="1035" y="14097"/>
                      <a:pt x="231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3" name="Freeform: Shape 379859">
                <a:extLst>
                  <a:ext uri="{FF2B5EF4-FFF2-40B4-BE49-F238E27FC236}">
                    <a16:creationId xmlns:a16="http://schemas.microsoft.com/office/drawing/2014/main" id="{D447E3C7-7C7C-4F9A-A7EC-0C450B4D0041}"/>
                  </a:ext>
                </a:extLst>
              </p:cNvPr>
              <p:cNvSpPr/>
              <p:nvPr/>
            </p:nvSpPr>
            <p:spPr>
              <a:xfrm>
                <a:off x="4685073" y="4246542"/>
                <a:ext cx="59255" cy="51385"/>
              </a:xfrm>
              <a:custGeom>
                <a:avLst/>
                <a:gdLst>
                  <a:gd name="connsiteX0" fmla="*/ 2503 w 59255"/>
                  <a:gd name="connsiteY0" fmla="*/ 18306 h 51385"/>
                  <a:gd name="connsiteX1" fmla="*/ 17882 w 59255"/>
                  <a:gd name="connsiteY1" fmla="*/ 22151 h 51385"/>
                  <a:gd name="connsiteX2" fmla="*/ 39668 w 59255"/>
                  <a:gd name="connsiteY2" fmla="*/ 36248 h 51385"/>
                  <a:gd name="connsiteX3" fmla="*/ 57610 w 59255"/>
                  <a:gd name="connsiteY3" fmla="*/ 49063 h 51385"/>
                  <a:gd name="connsiteX4" fmla="*/ 46076 w 59255"/>
                  <a:gd name="connsiteY4" fmla="*/ 25995 h 51385"/>
                  <a:gd name="connsiteX5" fmla="*/ 39668 w 59255"/>
                  <a:gd name="connsiteY5" fmla="*/ 31121 h 51385"/>
                  <a:gd name="connsiteX6" fmla="*/ 17882 w 59255"/>
                  <a:gd name="connsiteY6" fmla="*/ 17025 h 51385"/>
                  <a:gd name="connsiteX7" fmla="*/ 3785 w 59255"/>
                  <a:gd name="connsiteY7" fmla="*/ 364 h 51385"/>
                  <a:gd name="connsiteX8" fmla="*/ 2503 w 59255"/>
                  <a:gd name="connsiteY8" fmla="*/ 18306 h 5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255" h="51385">
                    <a:moveTo>
                      <a:pt x="2503" y="18306"/>
                    </a:moveTo>
                    <a:cubicBezTo>
                      <a:pt x="6348" y="24714"/>
                      <a:pt x="14037" y="28558"/>
                      <a:pt x="17882" y="22151"/>
                    </a:cubicBezTo>
                    <a:cubicBezTo>
                      <a:pt x="24290" y="25995"/>
                      <a:pt x="33260" y="32403"/>
                      <a:pt x="39668" y="36248"/>
                    </a:cubicBezTo>
                    <a:cubicBezTo>
                      <a:pt x="40950" y="47782"/>
                      <a:pt x="52484" y="55471"/>
                      <a:pt x="57610" y="49063"/>
                    </a:cubicBezTo>
                    <a:cubicBezTo>
                      <a:pt x="62736" y="41374"/>
                      <a:pt x="55046" y="25995"/>
                      <a:pt x="46076" y="25995"/>
                    </a:cubicBezTo>
                    <a:cubicBezTo>
                      <a:pt x="42231" y="25995"/>
                      <a:pt x="40950" y="29840"/>
                      <a:pt x="39668" y="31121"/>
                    </a:cubicBezTo>
                    <a:cubicBezTo>
                      <a:pt x="33260" y="27277"/>
                      <a:pt x="24290" y="20869"/>
                      <a:pt x="17882" y="17025"/>
                    </a:cubicBezTo>
                    <a:cubicBezTo>
                      <a:pt x="17882" y="9335"/>
                      <a:pt x="11474" y="-2199"/>
                      <a:pt x="3785" y="364"/>
                    </a:cubicBezTo>
                    <a:cubicBezTo>
                      <a:pt x="-3905" y="5491"/>
                      <a:pt x="2503" y="18306"/>
                      <a:pt x="2503" y="1830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4" name="Freeform: Shape 379860">
                <a:extLst>
                  <a:ext uri="{FF2B5EF4-FFF2-40B4-BE49-F238E27FC236}">
                    <a16:creationId xmlns:a16="http://schemas.microsoft.com/office/drawing/2014/main" id="{649EC4E8-E459-401D-A6EB-4CECDF132249}"/>
                  </a:ext>
                </a:extLst>
              </p:cNvPr>
              <p:cNvSpPr/>
              <p:nvPr/>
            </p:nvSpPr>
            <p:spPr>
              <a:xfrm>
                <a:off x="4658100" y="4092999"/>
                <a:ext cx="140684" cy="187303"/>
              </a:xfrm>
              <a:custGeom>
                <a:avLst/>
                <a:gdLst>
                  <a:gd name="connsiteX0" fmla="*/ 1282 w 140684"/>
                  <a:gd name="connsiteY0" fmla="*/ 19346 h 187303"/>
                  <a:gd name="connsiteX1" fmla="*/ 16660 w 140684"/>
                  <a:gd name="connsiteY1" fmla="*/ 23190 h 187303"/>
                  <a:gd name="connsiteX2" fmla="*/ 87145 w 140684"/>
                  <a:gd name="connsiteY2" fmla="*/ 71889 h 187303"/>
                  <a:gd name="connsiteX3" fmla="*/ 123029 w 140684"/>
                  <a:gd name="connsiteY3" fmla="*/ 164160 h 187303"/>
                  <a:gd name="connsiteX4" fmla="*/ 133281 w 140684"/>
                  <a:gd name="connsiteY4" fmla="*/ 187228 h 187303"/>
                  <a:gd name="connsiteX5" fmla="*/ 134563 w 140684"/>
                  <a:gd name="connsiteY5" fmla="*/ 164160 h 187303"/>
                  <a:gd name="connsiteX6" fmla="*/ 128155 w 140684"/>
                  <a:gd name="connsiteY6" fmla="*/ 161597 h 187303"/>
                  <a:gd name="connsiteX7" fmla="*/ 92272 w 140684"/>
                  <a:gd name="connsiteY7" fmla="*/ 66763 h 187303"/>
                  <a:gd name="connsiteX8" fmla="*/ 20505 w 140684"/>
                  <a:gd name="connsiteY8" fmla="*/ 16783 h 187303"/>
                  <a:gd name="connsiteX9" fmla="*/ 6408 w 140684"/>
                  <a:gd name="connsiteY9" fmla="*/ 123 h 187303"/>
                  <a:gd name="connsiteX10" fmla="*/ 1282 w 140684"/>
                  <a:gd name="connsiteY10" fmla="*/ 19346 h 18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684" h="187303">
                    <a:moveTo>
                      <a:pt x="1282" y="19346"/>
                    </a:moveTo>
                    <a:cubicBezTo>
                      <a:pt x="3845" y="24472"/>
                      <a:pt x="11534" y="30880"/>
                      <a:pt x="16660" y="23190"/>
                    </a:cubicBezTo>
                    <a:lnTo>
                      <a:pt x="87145" y="71889"/>
                    </a:lnTo>
                    <a:cubicBezTo>
                      <a:pt x="98679" y="102646"/>
                      <a:pt x="110213" y="133403"/>
                      <a:pt x="123029" y="164160"/>
                    </a:cubicBezTo>
                    <a:cubicBezTo>
                      <a:pt x="114058" y="173131"/>
                      <a:pt x="124310" y="188510"/>
                      <a:pt x="133281" y="187228"/>
                    </a:cubicBezTo>
                    <a:cubicBezTo>
                      <a:pt x="142252" y="187228"/>
                      <a:pt x="143534" y="171850"/>
                      <a:pt x="134563" y="164160"/>
                    </a:cubicBezTo>
                    <a:cubicBezTo>
                      <a:pt x="132000" y="161597"/>
                      <a:pt x="129437" y="161597"/>
                      <a:pt x="128155" y="161597"/>
                    </a:cubicBezTo>
                    <a:cubicBezTo>
                      <a:pt x="115340" y="130840"/>
                      <a:pt x="103806" y="98802"/>
                      <a:pt x="92272" y="66763"/>
                    </a:cubicBezTo>
                    <a:cubicBezTo>
                      <a:pt x="70485" y="51385"/>
                      <a:pt x="42291" y="32161"/>
                      <a:pt x="20505" y="16783"/>
                    </a:cubicBezTo>
                    <a:cubicBezTo>
                      <a:pt x="20505" y="7812"/>
                      <a:pt x="15378" y="-1159"/>
                      <a:pt x="6408" y="123"/>
                    </a:cubicBezTo>
                    <a:cubicBezTo>
                      <a:pt x="-3845" y="5249"/>
                      <a:pt x="1282" y="19346"/>
                      <a:pt x="1282" y="1934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5" name="Freeform: Shape 379861">
                <a:extLst>
                  <a:ext uri="{FF2B5EF4-FFF2-40B4-BE49-F238E27FC236}">
                    <a16:creationId xmlns:a16="http://schemas.microsoft.com/office/drawing/2014/main" id="{CB9AE06F-5397-41C4-B63A-58C1700736D9}"/>
                  </a:ext>
                </a:extLst>
              </p:cNvPr>
              <p:cNvSpPr/>
              <p:nvPr/>
            </p:nvSpPr>
            <p:spPr>
              <a:xfrm>
                <a:off x="4892676" y="4215785"/>
                <a:ext cx="111768" cy="75926"/>
              </a:xfrm>
              <a:custGeom>
                <a:avLst/>
                <a:gdLst>
                  <a:gd name="connsiteX0" fmla="*/ 2511 w 111768"/>
                  <a:gd name="connsiteY0" fmla="*/ 18306 h 75926"/>
                  <a:gd name="connsiteX1" fmla="*/ 20453 w 111768"/>
                  <a:gd name="connsiteY1" fmla="*/ 22151 h 75926"/>
                  <a:gd name="connsiteX2" fmla="*/ 89656 w 111768"/>
                  <a:gd name="connsiteY2" fmla="*/ 60597 h 75926"/>
                  <a:gd name="connsiteX3" fmla="*/ 108879 w 111768"/>
                  <a:gd name="connsiteY3" fmla="*/ 73412 h 75926"/>
                  <a:gd name="connsiteX4" fmla="*/ 97345 w 111768"/>
                  <a:gd name="connsiteY4" fmla="*/ 51626 h 75926"/>
                  <a:gd name="connsiteX5" fmla="*/ 90938 w 111768"/>
                  <a:gd name="connsiteY5" fmla="*/ 55471 h 75926"/>
                  <a:gd name="connsiteX6" fmla="*/ 21734 w 111768"/>
                  <a:gd name="connsiteY6" fmla="*/ 17024 h 75926"/>
                  <a:gd name="connsiteX7" fmla="*/ 6355 w 111768"/>
                  <a:gd name="connsiteY7" fmla="*/ 364 h 75926"/>
                  <a:gd name="connsiteX8" fmla="*/ 2511 w 111768"/>
                  <a:gd name="connsiteY8" fmla="*/ 18306 h 75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1768" h="75926">
                    <a:moveTo>
                      <a:pt x="2511" y="18306"/>
                    </a:moveTo>
                    <a:cubicBezTo>
                      <a:pt x="6355" y="24714"/>
                      <a:pt x="15326" y="28558"/>
                      <a:pt x="20453" y="22151"/>
                    </a:cubicBezTo>
                    <a:cubicBezTo>
                      <a:pt x="40957" y="33685"/>
                      <a:pt x="69152" y="49063"/>
                      <a:pt x="89656" y="60597"/>
                    </a:cubicBezTo>
                    <a:cubicBezTo>
                      <a:pt x="89656" y="73412"/>
                      <a:pt x="102472" y="79820"/>
                      <a:pt x="108879" y="73412"/>
                    </a:cubicBezTo>
                    <a:cubicBezTo>
                      <a:pt x="116569" y="65723"/>
                      <a:pt x="107598" y="50345"/>
                      <a:pt x="97345" y="51626"/>
                    </a:cubicBezTo>
                    <a:cubicBezTo>
                      <a:pt x="93501" y="51626"/>
                      <a:pt x="90938" y="55471"/>
                      <a:pt x="90938" y="55471"/>
                    </a:cubicBezTo>
                    <a:cubicBezTo>
                      <a:pt x="70433" y="43937"/>
                      <a:pt x="42239" y="28558"/>
                      <a:pt x="21734" y="17024"/>
                    </a:cubicBezTo>
                    <a:cubicBezTo>
                      <a:pt x="23016" y="9335"/>
                      <a:pt x="16608" y="-2199"/>
                      <a:pt x="6355" y="364"/>
                    </a:cubicBezTo>
                    <a:cubicBezTo>
                      <a:pt x="-5179" y="5491"/>
                      <a:pt x="2511" y="18306"/>
                      <a:pt x="2511" y="1830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6" name="Freeform: Shape 379862">
                <a:extLst>
                  <a:ext uri="{FF2B5EF4-FFF2-40B4-BE49-F238E27FC236}">
                    <a16:creationId xmlns:a16="http://schemas.microsoft.com/office/drawing/2014/main" id="{83C3A621-AA73-43D2-85FA-F8676B1488E2}"/>
                  </a:ext>
                </a:extLst>
              </p:cNvPr>
              <p:cNvSpPr/>
              <p:nvPr/>
            </p:nvSpPr>
            <p:spPr>
              <a:xfrm>
                <a:off x="6684702" y="3535649"/>
                <a:ext cx="60769" cy="252826"/>
              </a:xfrm>
              <a:custGeom>
                <a:avLst/>
                <a:gdLst>
                  <a:gd name="connsiteX0" fmla="*/ 810 w 60769"/>
                  <a:gd name="connsiteY0" fmla="*/ 17942 h 252826"/>
                  <a:gd name="connsiteX1" fmla="*/ 12344 w 60769"/>
                  <a:gd name="connsiteY1" fmla="*/ 26912 h 252826"/>
                  <a:gd name="connsiteX2" fmla="*/ 44383 w 60769"/>
                  <a:gd name="connsiteY2" fmla="*/ 228115 h 252826"/>
                  <a:gd name="connsiteX3" fmla="*/ 45665 w 60769"/>
                  <a:gd name="connsiteY3" fmla="*/ 252464 h 252826"/>
                  <a:gd name="connsiteX4" fmla="*/ 59762 w 60769"/>
                  <a:gd name="connsiteY4" fmla="*/ 233241 h 252826"/>
                  <a:gd name="connsiteX5" fmla="*/ 49509 w 60769"/>
                  <a:gd name="connsiteY5" fmla="*/ 226833 h 252826"/>
                  <a:gd name="connsiteX6" fmla="*/ 17471 w 60769"/>
                  <a:gd name="connsiteY6" fmla="*/ 25631 h 252826"/>
                  <a:gd name="connsiteX7" fmla="*/ 14907 w 60769"/>
                  <a:gd name="connsiteY7" fmla="*/ 0 h 252826"/>
                  <a:gd name="connsiteX8" fmla="*/ 9781 w 60769"/>
                  <a:gd name="connsiteY8" fmla="*/ 0 h 252826"/>
                  <a:gd name="connsiteX9" fmla="*/ 810 w 60769"/>
                  <a:gd name="connsiteY9" fmla="*/ 17942 h 25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769" h="252826">
                    <a:moveTo>
                      <a:pt x="810" y="17942"/>
                    </a:moveTo>
                    <a:cubicBezTo>
                      <a:pt x="2092" y="21786"/>
                      <a:pt x="4655" y="25631"/>
                      <a:pt x="12344" y="26912"/>
                    </a:cubicBezTo>
                    <a:cubicBezTo>
                      <a:pt x="25160" y="94834"/>
                      <a:pt x="35412" y="161475"/>
                      <a:pt x="44383" y="228115"/>
                    </a:cubicBezTo>
                    <a:cubicBezTo>
                      <a:pt x="31568" y="234523"/>
                      <a:pt x="36694" y="251183"/>
                      <a:pt x="45665" y="252464"/>
                    </a:cubicBezTo>
                    <a:cubicBezTo>
                      <a:pt x="55917" y="255028"/>
                      <a:pt x="63607" y="243494"/>
                      <a:pt x="59762" y="233241"/>
                    </a:cubicBezTo>
                    <a:cubicBezTo>
                      <a:pt x="57199" y="228115"/>
                      <a:pt x="52073" y="226833"/>
                      <a:pt x="49509" y="226833"/>
                    </a:cubicBezTo>
                    <a:cubicBezTo>
                      <a:pt x="40539" y="160193"/>
                      <a:pt x="30286" y="93553"/>
                      <a:pt x="17471" y="25631"/>
                    </a:cubicBezTo>
                    <a:cubicBezTo>
                      <a:pt x="30286" y="17942"/>
                      <a:pt x="23878" y="2563"/>
                      <a:pt x="14907" y="0"/>
                    </a:cubicBezTo>
                    <a:cubicBezTo>
                      <a:pt x="13626" y="0"/>
                      <a:pt x="11063" y="0"/>
                      <a:pt x="9781" y="0"/>
                    </a:cubicBezTo>
                    <a:cubicBezTo>
                      <a:pt x="-1752" y="3845"/>
                      <a:pt x="-471" y="14097"/>
                      <a:pt x="81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7" name="Freeform: Shape 379863">
                <a:extLst>
                  <a:ext uri="{FF2B5EF4-FFF2-40B4-BE49-F238E27FC236}">
                    <a16:creationId xmlns:a16="http://schemas.microsoft.com/office/drawing/2014/main" id="{FF03B151-2786-4B98-AF3C-15270DB8F7CC}"/>
                  </a:ext>
                </a:extLst>
              </p:cNvPr>
              <p:cNvSpPr/>
              <p:nvPr/>
            </p:nvSpPr>
            <p:spPr>
              <a:xfrm>
                <a:off x="7762015" y="3667507"/>
                <a:ext cx="4042" cy="25936"/>
              </a:xfrm>
              <a:custGeom>
                <a:avLst/>
                <a:gdLst>
                  <a:gd name="connsiteX0" fmla="*/ 0 w 4042"/>
                  <a:gd name="connsiteY0" fmla="*/ 12957 h 25936"/>
                  <a:gd name="connsiteX1" fmla="*/ 2563 w 4042"/>
                  <a:gd name="connsiteY1" fmla="*/ 25772 h 25936"/>
                  <a:gd name="connsiteX2" fmla="*/ 2563 w 4042"/>
                  <a:gd name="connsiteY2" fmla="*/ 141 h 25936"/>
                  <a:gd name="connsiteX3" fmla="*/ 0 w 4042"/>
                  <a:gd name="connsiteY3" fmla="*/ 12957 h 25936"/>
                </a:gdLst>
                <a:ahLst/>
                <a:cxnLst>
                  <a:cxn ang="0">
                    <a:pos x="connsiteX0" y="connsiteY0"/>
                  </a:cxn>
                  <a:cxn ang="0">
                    <a:pos x="connsiteX1" y="connsiteY1"/>
                  </a:cxn>
                  <a:cxn ang="0">
                    <a:pos x="connsiteX2" y="connsiteY2"/>
                  </a:cxn>
                  <a:cxn ang="0">
                    <a:pos x="connsiteX3" y="connsiteY3"/>
                  </a:cxn>
                </a:cxnLst>
                <a:rect l="l" t="t" r="r" b="b"/>
                <a:pathLst>
                  <a:path w="4042" h="25936">
                    <a:moveTo>
                      <a:pt x="0" y="12957"/>
                    </a:moveTo>
                    <a:cubicBezTo>
                      <a:pt x="0" y="20646"/>
                      <a:pt x="1281" y="27054"/>
                      <a:pt x="2563" y="25772"/>
                    </a:cubicBezTo>
                    <a:cubicBezTo>
                      <a:pt x="3844" y="24491"/>
                      <a:pt x="5126" y="1423"/>
                      <a:pt x="2563" y="141"/>
                    </a:cubicBezTo>
                    <a:cubicBezTo>
                      <a:pt x="0" y="-1140"/>
                      <a:pt x="0" y="6549"/>
                      <a:pt x="0" y="1295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8" name="Freeform: Shape 379864">
                <a:extLst>
                  <a:ext uri="{FF2B5EF4-FFF2-40B4-BE49-F238E27FC236}">
                    <a16:creationId xmlns:a16="http://schemas.microsoft.com/office/drawing/2014/main" id="{DF3525A8-E863-4ACF-AF4A-F18AC3D1E5A4}"/>
                  </a:ext>
                </a:extLst>
              </p:cNvPr>
              <p:cNvSpPr/>
              <p:nvPr/>
            </p:nvSpPr>
            <p:spPr>
              <a:xfrm>
                <a:off x="7776112" y="3690716"/>
                <a:ext cx="5126" cy="133280"/>
              </a:xfrm>
              <a:custGeom>
                <a:avLst/>
                <a:gdLst>
                  <a:gd name="connsiteX0" fmla="*/ 0 w 5126"/>
                  <a:gd name="connsiteY0" fmla="*/ 121747 h 133280"/>
                  <a:gd name="connsiteX1" fmla="*/ 0 w 5126"/>
                  <a:gd name="connsiteY1" fmla="*/ 133281 h 133280"/>
                  <a:gd name="connsiteX2" fmla="*/ 1281 w 5126"/>
                  <a:gd name="connsiteY2" fmla="*/ 108931 h 133280"/>
                  <a:gd name="connsiteX3" fmla="*/ 3844 w 5126"/>
                  <a:gd name="connsiteY3" fmla="*/ 47417 h 133280"/>
                  <a:gd name="connsiteX4" fmla="*/ 5126 w 5126"/>
                  <a:gd name="connsiteY4" fmla="*/ 23068 h 133280"/>
                  <a:gd name="connsiteX5" fmla="*/ 5126 w 5126"/>
                  <a:gd name="connsiteY5" fmla="*/ 25631 h 133280"/>
                  <a:gd name="connsiteX6" fmla="*/ 5126 w 5126"/>
                  <a:gd name="connsiteY6" fmla="*/ 1282 h 133280"/>
                  <a:gd name="connsiteX7" fmla="*/ 5126 w 5126"/>
                  <a:gd name="connsiteY7" fmla="*/ 0 h 133280"/>
                  <a:gd name="connsiteX8" fmla="*/ 5126 w 5126"/>
                  <a:gd name="connsiteY8" fmla="*/ 17942 h 133280"/>
                  <a:gd name="connsiteX9" fmla="*/ 3844 w 5126"/>
                  <a:gd name="connsiteY9" fmla="*/ 44854 h 133280"/>
                  <a:gd name="connsiteX10" fmla="*/ 1281 w 5126"/>
                  <a:gd name="connsiteY10" fmla="*/ 108931 h 133280"/>
                  <a:gd name="connsiteX11" fmla="*/ 0 w 5126"/>
                  <a:gd name="connsiteY11" fmla="*/ 121747 h 13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6" h="133280">
                    <a:moveTo>
                      <a:pt x="0" y="121747"/>
                    </a:moveTo>
                    <a:cubicBezTo>
                      <a:pt x="0" y="129436"/>
                      <a:pt x="0" y="131999"/>
                      <a:pt x="0" y="133281"/>
                    </a:cubicBezTo>
                    <a:cubicBezTo>
                      <a:pt x="1281" y="130718"/>
                      <a:pt x="1281" y="108931"/>
                      <a:pt x="1281" y="108931"/>
                    </a:cubicBezTo>
                    <a:cubicBezTo>
                      <a:pt x="2563" y="88427"/>
                      <a:pt x="3844" y="67922"/>
                      <a:pt x="3844" y="47417"/>
                    </a:cubicBezTo>
                    <a:cubicBezTo>
                      <a:pt x="3844" y="39728"/>
                      <a:pt x="3844" y="29475"/>
                      <a:pt x="5126" y="23068"/>
                    </a:cubicBezTo>
                    <a:cubicBezTo>
                      <a:pt x="5126" y="24349"/>
                      <a:pt x="5126" y="24349"/>
                      <a:pt x="5126" y="25631"/>
                    </a:cubicBezTo>
                    <a:lnTo>
                      <a:pt x="5126" y="1282"/>
                    </a:lnTo>
                    <a:lnTo>
                      <a:pt x="5126" y="0"/>
                    </a:lnTo>
                    <a:cubicBezTo>
                      <a:pt x="5126" y="6408"/>
                      <a:pt x="5126" y="12816"/>
                      <a:pt x="5126" y="17942"/>
                    </a:cubicBezTo>
                    <a:lnTo>
                      <a:pt x="3844" y="44854"/>
                    </a:lnTo>
                    <a:cubicBezTo>
                      <a:pt x="3844" y="66640"/>
                      <a:pt x="2563" y="87145"/>
                      <a:pt x="1281" y="108931"/>
                    </a:cubicBezTo>
                    <a:cubicBezTo>
                      <a:pt x="1281" y="107650"/>
                      <a:pt x="0" y="110213"/>
                      <a:pt x="0" y="12174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29" name="Freeform: Shape 379865">
                <a:extLst>
                  <a:ext uri="{FF2B5EF4-FFF2-40B4-BE49-F238E27FC236}">
                    <a16:creationId xmlns:a16="http://schemas.microsoft.com/office/drawing/2014/main" id="{21C0A6C5-B4A7-43AF-ADCF-5FAB598A5E76}"/>
                  </a:ext>
                </a:extLst>
              </p:cNvPr>
              <p:cNvSpPr/>
              <p:nvPr/>
            </p:nvSpPr>
            <p:spPr>
              <a:xfrm>
                <a:off x="6387284" y="3867569"/>
                <a:ext cx="43404" cy="134894"/>
              </a:xfrm>
              <a:custGeom>
                <a:avLst/>
                <a:gdLst>
                  <a:gd name="connsiteX0" fmla="*/ 909 w 43404"/>
                  <a:gd name="connsiteY0" fmla="*/ 17942 h 134894"/>
                  <a:gd name="connsiteX1" fmla="*/ 12443 w 43404"/>
                  <a:gd name="connsiteY1" fmla="*/ 25631 h 134894"/>
                  <a:gd name="connsiteX2" fmla="*/ 26540 w 43404"/>
                  <a:gd name="connsiteY2" fmla="*/ 110213 h 134894"/>
                  <a:gd name="connsiteX3" fmla="*/ 27822 w 43404"/>
                  <a:gd name="connsiteY3" fmla="*/ 134562 h 134894"/>
                  <a:gd name="connsiteX4" fmla="*/ 41918 w 43404"/>
                  <a:gd name="connsiteY4" fmla="*/ 115339 h 134894"/>
                  <a:gd name="connsiteX5" fmla="*/ 31666 w 43404"/>
                  <a:gd name="connsiteY5" fmla="*/ 108931 h 134894"/>
                  <a:gd name="connsiteX6" fmla="*/ 17569 w 43404"/>
                  <a:gd name="connsiteY6" fmla="*/ 24349 h 134894"/>
                  <a:gd name="connsiteX7" fmla="*/ 15006 w 43404"/>
                  <a:gd name="connsiteY7" fmla="*/ 0 h 134894"/>
                  <a:gd name="connsiteX8" fmla="*/ 9880 w 43404"/>
                  <a:gd name="connsiteY8" fmla="*/ 0 h 134894"/>
                  <a:gd name="connsiteX9" fmla="*/ 909 w 43404"/>
                  <a:gd name="connsiteY9" fmla="*/ 17942 h 134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404" h="134894">
                    <a:moveTo>
                      <a:pt x="909" y="17942"/>
                    </a:moveTo>
                    <a:cubicBezTo>
                      <a:pt x="2191" y="21786"/>
                      <a:pt x="4754" y="25631"/>
                      <a:pt x="12443" y="25631"/>
                    </a:cubicBezTo>
                    <a:cubicBezTo>
                      <a:pt x="17569" y="53825"/>
                      <a:pt x="22695" y="82019"/>
                      <a:pt x="26540" y="110213"/>
                    </a:cubicBezTo>
                    <a:cubicBezTo>
                      <a:pt x="13724" y="117902"/>
                      <a:pt x="18850" y="131999"/>
                      <a:pt x="27822" y="134562"/>
                    </a:cubicBezTo>
                    <a:cubicBezTo>
                      <a:pt x="38074" y="137125"/>
                      <a:pt x="47045" y="124310"/>
                      <a:pt x="41918" y="115339"/>
                    </a:cubicBezTo>
                    <a:cubicBezTo>
                      <a:pt x="39356" y="110213"/>
                      <a:pt x="34229" y="108931"/>
                      <a:pt x="31666" y="108931"/>
                    </a:cubicBezTo>
                    <a:cubicBezTo>
                      <a:pt x="26540" y="80737"/>
                      <a:pt x="22695" y="52543"/>
                      <a:pt x="17569" y="24349"/>
                    </a:cubicBezTo>
                    <a:cubicBezTo>
                      <a:pt x="30384" y="16660"/>
                      <a:pt x="25258" y="1282"/>
                      <a:pt x="15006" y="0"/>
                    </a:cubicBezTo>
                    <a:cubicBezTo>
                      <a:pt x="13724" y="0"/>
                      <a:pt x="11161" y="0"/>
                      <a:pt x="9880" y="0"/>
                    </a:cubicBezTo>
                    <a:cubicBezTo>
                      <a:pt x="-4217" y="3844"/>
                      <a:pt x="909" y="17942"/>
                      <a:pt x="909"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0" name="Freeform: Shape 379866">
                <a:extLst>
                  <a:ext uri="{FF2B5EF4-FFF2-40B4-BE49-F238E27FC236}">
                    <a16:creationId xmlns:a16="http://schemas.microsoft.com/office/drawing/2014/main" id="{CA37635C-B595-4BC6-B9C8-13D1AB4BE360}"/>
                  </a:ext>
                </a:extLst>
              </p:cNvPr>
              <p:cNvSpPr/>
              <p:nvPr/>
            </p:nvSpPr>
            <p:spPr>
              <a:xfrm>
                <a:off x="6735669" y="3407494"/>
                <a:ext cx="86694" cy="405330"/>
              </a:xfrm>
              <a:custGeom>
                <a:avLst/>
                <a:gdLst>
                  <a:gd name="connsiteX0" fmla="*/ 1105 w 86694"/>
                  <a:gd name="connsiteY0" fmla="*/ 17942 h 405330"/>
                  <a:gd name="connsiteX1" fmla="*/ 12639 w 86694"/>
                  <a:gd name="connsiteY1" fmla="*/ 26912 h 405330"/>
                  <a:gd name="connsiteX2" fmla="*/ 70309 w 86694"/>
                  <a:gd name="connsiteY2" fmla="*/ 380619 h 405330"/>
                  <a:gd name="connsiteX3" fmla="*/ 71590 w 86694"/>
                  <a:gd name="connsiteY3" fmla="*/ 404968 h 405330"/>
                  <a:gd name="connsiteX4" fmla="*/ 85688 w 86694"/>
                  <a:gd name="connsiteY4" fmla="*/ 385745 h 405330"/>
                  <a:gd name="connsiteX5" fmla="*/ 76717 w 86694"/>
                  <a:gd name="connsiteY5" fmla="*/ 379337 h 405330"/>
                  <a:gd name="connsiteX6" fmla="*/ 19047 w 86694"/>
                  <a:gd name="connsiteY6" fmla="*/ 25631 h 405330"/>
                  <a:gd name="connsiteX7" fmla="*/ 15202 w 86694"/>
                  <a:gd name="connsiteY7" fmla="*/ 0 h 405330"/>
                  <a:gd name="connsiteX8" fmla="*/ 10076 w 86694"/>
                  <a:gd name="connsiteY8" fmla="*/ 0 h 405330"/>
                  <a:gd name="connsiteX9" fmla="*/ 1105 w 86694"/>
                  <a:gd name="connsiteY9" fmla="*/ 17942 h 40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694" h="405330">
                    <a:moveTo>
                      <a:pt x="1105" y="17942"/>
                    </a:moveTo>
                    <a:cubicBezTo>
                      <a:pt x="2387" y="21786"/>
                      <a:pt x="4950" y="25631"/>
                      <a:pt x="12639" y="26912"/>
                    </a:cubicBezTo>
                    <a:cubicBezTo>
                      <a:pt x="36988" y="146096"/>
                      <a:pt x="56212" y="263998"/>
                      <a:pt x="70309" y="380619"/>
                    </a:cubicBezTo>
                    <a:cubicBezTo>
                      <a:pt x="58775" y="387027"/>
                      <a:pt x="62620" y="402405"/>
                      <a:pt x="71590" y="404968"/>
                    </a:cubicBezTo>
                    <a:cubicBezTo>
                      <a:pt x="81843" y="407532"/>
                      <a:pt x="89532" y="395998"/>
                      <a:pt x="85688" y="385745"/>
                    </a:cubicBezTo>
                    <a:cubicBezTo>
                      <a:pt x="83124" y="380619"/>
                      <a:pt x="77998" y="379337"/>
                      <a:pt x="76717" y="379337"/>
                    </a:cubicBezTo>
                    <a:cubicBezTo>
                      <a:pt x="62620" y="262717"/>
                      <a:pt x="43397" y="144815"/>
                      <a:pt x="19047" y="25631"/>
                    </a:cubicBezTo>
                    <a:cubicBezTo>
                      <a:pt x="33144" y="15379"/>
                      <a:pt x="22891" y="1282"/>
                      <a:pt x="15202" y="0"/>
                    </a:cubicBezTo>
                    <a:cubicBezTo>
                      <a:pt x="13921" y="0"/>
                      <a:pt x="11358" y="0"/>
                      <a:pt x="10076" y="0"/>
                    </a:cubicBezTo>
                    <a:cubicBezTo>
                      <a:pt x="-2739" y="3845"/>
                      <a:pt x="-176" y="14097"/>
                      <a:pt x="1105"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1" name="Freeform: Shape 379867">
                <a:extLst>
                  <a:ext uri="{FF2B5EF4-FFF2-40B4-BE49-F238E27FC236}">
                    <a16:creationId xmlns:a16="http://schemas.microsoft.com/office/drawing/2014/main" id="{0E9BBAF3-8AD8-4E29-921C-56E34CEDFB0B}"/>
                  </a:ext>
                </a:extLst>
              </p:cNvPr>
              <p:cNvSpPr/>
              <p:nvPr/>
            </p:nvSpPr>
            <p:spPr>
              <a:xfrm>
                <a:off x="7734260" y="3544620"/>
                <a:ext cx="24550" cy="183261"/>
              </a:xfrm>
              <a:custGeom>
                <a:avLst/>
                <a:gdLst>
                  <a:gd name="connsiteX0" fmla="*/ 842 w 24550"/>
                  <a:gd name="connsiteY0" fmla="*/ 15379 h 183261"/>
                  <a:gd name="connsiteX1" fmla="*/ 4687 w 24550"/>
                  <a:gd name="connsiteY1" fmla="*/ 26912 h 183261"/>
                  <a:gd name="connsiteX2" fmla="*/ 5968 w 24550"/>
                  <a:gd name="connsiteY2" fmla="*/ 25631 h 183261"/>
                  <a:gd name="connsiteX3" fmla="*/ 22628 w 24550"/>
                  <a:gd name="connsiteY3" fmla="*/ 96116 h 183261"/>
                  <a:gd name="connsiteX4" fmla="*/ 22628 w 24550"/>
                  <a:gd name="connsiteY4" fmla="*/ 157630 h 183261"/>
                  <a:gd name="connsiteX5" fmla="*/ 22628 w 24550"/>
                  <a:gd name="connsiteY5" fmla="*/ 183261 h 183261"/>
                  <a:gd name="connsiteX6" fmla="*/ 22628 w 24550"/>
                  <a:gd name="connsiteY6" fmla="*/ 157630 h 183261"/>
                  <a:gd name="connsiteX7" fmla="*/ 22628 w 24550"/>
                  <a:gd name="connsiteY7" fmla="*/ 93553 h 183261"/>
                  <a:gd name="connsiteX8" fmla="*/ 5968 w 24550"/>
                  <a:gd name="connsiteY8" fmla="*/ 19223 h 183261"/>
                  <a:gd name="connsiteX9" fmla="*/ 2123 w 24550"/>
                  <a:gd name="connsiteY9" fmla="*/ 0 h 183261"/>
                  <a:gd name="connsiteX10" fmla="*/ 842 w 24550"/>
                  <a:gd name="connsiteY10" fmla="*/ 15379 h 18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550" h="183261">
                    <a:moveTo>
                      <a:pt x="842" y="15379"/>
                    </a:moveTo>
                    <a:cubicBezTo>
                      <a:pt x="2123" y="21786"/>
                      <a:pt x="3405" y="25631"/>
                      <a:pt x="4687" y="26912"/>
                    </a:cubicBezTo>
                    <a:cubicBezTo>
                      <a:pt x="4687" y="26912"/>
                      <a:pt x="5968" y="25631"/>
                      <a:pt x="5968" y="25631"/>
                    </a:cubicBezTo>
                    <a:lnTo>
                      <a:pt x="22628" y="96116"/>
                    </a:lnTo>
                    <a:cubicBezTo>
                      <a:pt x="22628" y="116621"/>
                      <a:pt x="22628" y="137125"/>
                      <a:pt x="22628" y="157630"/>
                    </a:cubicBezTo>
                    <a:cubicBezTo>
                      <a:pt x="20065" y="162756"/>
                      <a:pt x="20065" y="181979"/>
                      <a:pt x="22628" y="183261"/>
                    </a:cubicBezTo>
                    <a:cubicBezTo>
                      <a:pt x="25191" y="176853"/>
                      <a:pt x="25191" y="161475"/>
                      <a:pt x="22628" y="157630"/>
                    </a:cubicBezTo>
                    <a:cubicBezTo>
                      <a:pt x="22628" y="135844"/>
                      <a:pt x="22628" y="115339"/>
                      <a:pt x="22628" y="93553"/>
                    </a:cubicBezTo>
                    <a:cubicBezTo>
                      <a:pt x="17502" y="71766"/>
                      <a:pt x="4687" y="42291"/>
                      <a:pt x="5968" y="19223"/>
                    </a:cubicBezTo>
                    <a:cubicBezTo>
                      <a:pt x="5968" y="15379"/>
                      <a:pt x="5968" y="2563"/>
                      <a:pt x="2123" y="0"/>
                    </a:cubicBezTo>
                    <a:cubicBezTo>
                      <a:pt x="-440" y="2563"/>
                      <a:pt x="-440" y="11534"/>
                      <a:pt x="84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2" name="Freeform: Shape 379868">
                <a:extLst>
                  <a:ext uri="{FF2B5EF4-FFF2-40B4-BE49-F238E27FC236}">
                    <a16:creationId xmlns:a16="http://schemas.microsoft.com/office/drawing/2014/main" id="{AD3D9BDC-04BC-46FD-BAFF-E52C21258C7F}"/>
                  </a:ext>
                </a:extLst>
              </p:cNvPr>
              <p:cNvSpPr/>
              <p:nvPr/>
            </p:nvSpPr>
            <p:spPr>
              <a:xfrm>
                <a:off x="7756773" y="3704813"/>
                <a:ext cx="8445" cy="101241"/>
              </a:xfrm>
              <a:custGeom>
                <a:avLst/>
                <a:gdLst>
                  <a:gd name="connsiteX0" fmla="*/ 3960 w 8445"/>
                  <a:gd name="connsiteY0" fmla="*/ 14097 h 101241"/>
                  <a:gd name="connsiteX1" fmla="*/ 5242 w 8445"/>
                  <a:gd name="connsiteY1" fmla="*/ 25631 h 101241"/>
                  <a:gd name="connsiteX2" fmla="*/ 2679 w 8445"/>
                  <a:gd name="connsiteY2" fmla="*/ 75611 h 101241"/>
                  <a:gd name="connsiteX3" fmla="*/ 1397 w 8445"/>
                  <a:gd name="connsiteY3" fmla="*/ 101242 h 101241"/>
                  <a:gd name="connsiteX4" fmla="*/ 3960 w 8445"/>
                  <a:gd name="connsiteY4" fmla="*/ 75611 h 101241"/>
                  <a:gd name="connsiteX5" fmla="*/ 6523 w 8445"/>
                  <a:gd name="connsiteY5" fmla="*/ 25631 h 101241"/>
                  <a:gd name="connsiteX6" fmla="*/ 6523 w 8445"/>
                  <a:gd name="connsiteY6" fmla="*/ 0 h 101241"/>
                  <a:gd name="connsiteX7" fmla="*/ 3960 w 8445"/>
                  <a:gd name="connsiteY7" fmla="*/ 14097 h 10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 h="101241">
                    <a:moveTo>
                      <a:pt x="3960" y="14097"/>
                    </a:moveTo>
                    <a:cubicBezTo>
                      <a:pt x="3960" y="17942"/>
                      <a:pt x="3960" y="23068"/>
                      <a:pt x="5242" y="25631"/>
                    </a:cubicBezTo>
                    <a:cubicBezTo>
                      <a:pt x="5242" y="42291"/>
                      <a:pt x="3960" y="58951"/>
                      <a:pt x="2679" y="75611"/>
                    </a:cubicBezTo>
                    <a:cubicBezTo>
                      <a:pt x="115" y="79456"/>
                      <a:pt x="-1166" y="98679"/>
                      <a:pt x="1397" y="101242"/>
                    </a:cubicBezTo>
                    <a:cubicBezTo>
                      <a:pt x="3960" y="98679"/>
                      <a:pt x="5242" y="79456"/>
                      <a:pt x="3960" y="75611"/>
                    </a:cubicBezTo>
                    <a:cubicBezTo>
                      <a:pt x="5242" y="58951"/>
                      <a:pt x="5242" y="42291"/>
                      <a:pt x="6523" y="25631"/>
                    </a:cubicBezTo>
                    <a:cubicBezTo>
                      <a:pt x="9086" y="21786"/>
                      <a:pt x="9086" y="2563"/>
                      <a:pt x="6523" y="0"/>
                    </a:cubicBezTo>
                    <a:cubicBezTo>
                      <a:pt x="3960" y="1282"/>
                      <a:pt x="3960" y="10252"/>
                      <a:pt x="3960"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3" name="Freeform: Shape 379869">
                <a:extLst>
                  <a:ext uri="{FF2B5EF4-FFF2-40B4-BE49-F238E27FC236}">
                    <a16:creationId xmlns:a16="http://schemas.microsoft.com/office/drawing/2014/main" id="{174C64BC-38CA-4B4A-93EE-C9D43C56F973}"/>
                  </a:ext>
                </a:extLst>
              </p:cNvPr>
              <p:cNvSpPr/>
              <p:nvPr/>
            </p:nvSpPr>
            <p:spPr>
              <a:xfrm>
                <a:off x="7776112" y="3726599"/>
                <a:ext cx="5126" cy="101241"/>
              </a:xfrm>
              <a:custGeom>
                <a:avLst/>
                <a:gdLst>
                  <a:gd name="connsiteX0" fmla="*/ 3844 w 5126"/>
                  <a:gd name="connsiteY0" fmla="*/ 14097 h 101241"/>
                  <a:gd name="connsiteX1" fmla="*/ 3844 w 5126"/>
                  <a:gd name="connsiteY1" fmla="*/ 25631 h 101241"/>
                  <a:gd name="connsiteX2" fmla="*/ 1281 w 5126"/>
                  <a:gd name="connsiteY2" fmla="*/ 75611 h 101241"/>
                  <a:gd name="connsiteX3" fmla="*/ 0 w 5126"/>
                  <a:gd name="connsiteY3" fmla="*/ 101242 h 101241"/>
                  <a:gd name="connsiteX4" fmla="*/ 0 w 5126"/>
                  <a:gd name="connsiteY4" fmla="*/ 97397 h 101241"/>
                  <a:gd name="connsiteX5" fmla="*/ 1281 w 5126"/>
                  <a:gd name="connsiteY5" fmla="*/ 79456 h 101241"/>
                  <a:gd name="connsiteX6" fmla="*/ 1281 w 5126"/>
                  <a:gd name="connsiteY6" fmla="*/ 75611 h 101241"/>
                  <a:gd name="connsiteX7" fmla="*/ 3844 w 5126"/>
                  <a:gd name="connsiteY7" fmla="*/ 25631 h 101241"/>
                  <a:gd name="connsiteX8" fmla="*/ 3844 w 5126"/>
                  <a:gd name="connsiteY8" fmla="*/ 25631 h 101241"/>
                  <a:gd name="connsiteX9" fmla="*/ 5126 w 5126"/>
                  <a:gd name="connsiteY9" fmla="*/ 0 h 101241"/>
                  <a:gd name="connsiteX10" fmla="*/ 5126 w 5126"/>
                  <a:gd name="connsiteY10" fmla="*/ 0 h 101241"/>
                  <a:gd name="connsiteX11" fmla="*/ 3844 w 5126"/>
                  <a:gd name="connsiteY11" fmla="*/ 14097 h 101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26" h="101241">
                    <a:moveTo>
                      <a:pt x="3844" y="14097"/>
                    </a:moveTo>
                    <a:cubicBezTo>
                      <a:pt x="3844" y="17942"/>
                      <a:pt x="3844" y="21786"/>
                      <a:pt x="3844" y="25631"/>
                    </a:cubicBezTo>
                    <a:cubicBezTo>
                      <a:pt x="3844" y="42291"/>
                      <a:pt x="2563" y="58951"/>
                      <a:pt x="1281" y="75611"/>
                    </a:cubicBezTo>
                    <a:cubicBezTo>
                      <a:pt x="1281" y="80737"/>
                      <a:pt x="0" y="98679"/>
                      <a:pt x="0" y="101242"/>
                    </a:cubicBezTo>
                    <a:cubicBezTo>
                      <a:pt x="0" y="99960"/>
                      <a:pt x="0" y="98679"/>
                      <a:pt x="0" y="97397"/>
                    </a:cubicBezTo>
                    <a:lnTo>
                      <a:pt x="1281" y="79456"/>
                    </a:lnTo>
                    <a:cubicBezTo>
                      <a:pt x="1281" y="78174"/>
                      <a:pt x="1281" y="76893"/>
                      <a:pt x="1281" y="75611"/>
                    </a:cubicBezTo>
                    <a:cubicBezTo>
                      <a:pt x="2563" y="58951"/>
                      <a:pt x="2563" y="42291"/>
                      <a:pt x="3844" y="25631"/>
                    </a:cubicBezTo>
                    <a:lnTo>
                      <a:pt x="3844" y="25631"/>
                    </a:lnTo>
                    <a:lnTo>
                      <a:pt x="5126" y="0"/>
                    </a:lnTo>
                    <a:lnTo>
                      <a:pt x="5126" y="0"/>
                    </a:lnTo>
                    <a:cubicBezTo>
                      <a:pt x="3844" y="5126"/>
                      <a:pt x="3844" y="8971"/>
                      <a:pt x="3844"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4" name="Freeform: Shape 379870">
                <a:extLst>
                  <a:ext uri="{FF2B5EF4-FFF2-40B4-BE49-F238E27FC236}">
                    <a16:creationId xmlns:a16="http://schemas.microsoft.com/office/drawing/2014/main" id="{E1CF852D-F9FE-41C2-955A-237DBD667912}"/>
                  </a:ext>
                </a:extLst>
              </p:cNvPr>
              <p:cNvSpPr/>
              <p:nvPr/>
            </p:nvSpPr>
            <p:spPr>
              <a:xfrm>
                <a:off x="4454580" y="4296887"/>
                <a:ext cx="116534" cy="147377"/>
              </a:xfrm>
              <a:custGeom>
                <a:avLst/>
                <a:gdLst>
                  <a:gd name="connsiteX0" fmla="*/ 2316 w 116534"/>
                  <a:gd name="connsiteY0" fmla="*/ 16660 h 147377"/>
                  <a:gd name="connsiteX1" fmla="*/ 11288 w 116534"/>
                  <a:gd name="connsiteY1" fmla="*/ 24349 h 147377"/>
                  <a:gd name="connsiteX2" fmla="*/ 21540 w 116534"/>
                  <a:gd name="connsiteY2" fmla="*/ 48699 h 147377"/>
                  <a:gd name="connsiteX3" fmla="*/ 90744 w 116534"/>
                  <a:gd name="connsiteY3" fmla="*/ 103805 h 147377"/>
                  <a:gd name="connsiteX4" fmla="*/ 100996 w 116534"/>
                  <a:gd name="connsiteY4" fmla="*/ 124310 h 147377"/>
                  <a:gd name="connsiteX5" fmla="*/ 112530 w 116534"/>
                  <a:gd name="connsiteY5" fmla="*/ 147378 h 147377"/>
                  <a:gd name="connsiteX6" fmla="*/ 108685 w 116534"/>
                  <a:gd name="connsiteY6" fmla="*/ 125592 h 147377"/>
                  <a:gd name="connsiteX7" fmla="*/ 103559 w 116534"/>
                  <a:gd name="connsiteY7" fmla="*/ 123028 h 147377"/>
                  <a:gd name="connsiteX8" fmla="*/ 93307 w 116534"/>
                  <a:gd name="connsiteY8" fmla="*/ 101242 h 147377"/>
                  <a:gd name="connsiteX9" fmla="*/ 24103 w 116534"/>
                  <a:gd name="connsiteY9" fmla="*/ 46136 h 147377"/>
                  <a:gd name="connsiteX10" fmla="*/ 15132 w 116534"/>
                  <a:gd name="connsiteY10" fmla="*/ 24349 h 147377"/>
                  <a:gd name="connsiteX11" fmla="*/ 4880 w 116534"/>
                  <a:gd name="connsiteY11" fmla="*/ 0 h 147377"/>
                  <a:gd name="connsiteX12" fmla="*/ 3598 w 116534"/>
                  <a:gd name="connsiteY12" fmla="*/ 0 h 147377"/>
                  <a:gd name="connsiteX13" fmla="*/ 2316 w 116534"/>
                  <a:gd name="connsiteY13" fmla="*/ 16660 h 14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534" h="147377">
                    <a:moveTo>
                      <a:pt x="2316" y="16660"/>
                    </a:moveTo>
                    <a:cubicBezTo>
                      <a:pt x="3598" y="19223"/>
                      <a:pt x="6161" y="24349"/>
                      <a:pt x="11288" y="24349"/>
                    </a:cubicBezTo>
                    <a:cubicBezTo>
                      <a:pt x="15132" y="32039"/>
                      <a:pt x="17695" y="41010"/>
                      <a:pt x="21540" y="48699"/>
                    </a:cubicBezTo>
                    <a:lnTo>
                      <a:pt x="90744" y="103805"/>
                    </a:lnTo>
                    <a:cubicBezTo>
                      <a:pt x="93307" y="110213"/>
                      <a:pt x="97151" y="116621"/>
                      <a:pt x="100996" y="124310"/>
                    </a:cubicBezTo>
                    <a:cubicBezTo>
                      <a:pt x="95870" y="131999"/>
                      <a:pt x="106122" y="147378"/>
                      <a:pt x="112530" y="147378"/>
                    </a:cubicBezTo>
                    <a:cubicBezTo>
                      <a:pt x="118938" y="147378"/>
                      <a:pt x="117656" y="133281"/>
                      <a:pt x="108685" y="125592"/>
                    </a:cubicBezTo>
                    <a:cubicBezTo>
                      <a:pt x="106122" y="123028"/>
                      <a:pt x="104841" y="123028"/>
                      <a:pt x="103559" y="123028"/>
                    </a:cubicBezTo>
                    <a:cubicBezTo>
                      <a:pt x="99714" y="115339"/>
                      <a:pt x="95870" y="107650"/>
                      <a:pt x="93307" y="101242"/>
                    </a:cubicBezTo>
                    <a:lnTo>
                      <a:pt x="24103" y="46136"/>
                    </a:lnTo>
                    <a:cubicBezTo>
                      <a:pt x="20258" y="38447"/>
                      <a:pt x="17695" y="32039"/>
                      <a:pt x="15132" y="24349"/>
                    </a:cubicBezTo>
                    <a:cubicBezTo>
                      <a:pt x="20258" y="16660"/>
                      <a:pt x="11288" y="0"/>
                      <a:pt x="4880" y="0"/>
                    </a:cubicBezTo>
                    <a:cubicBezTo>
                      <a:pt x="4880" y="0"/>
                      <a:pt x="3598" y="0"/>
                      <a:pt x="3598" y="0"/>
                    </a:cubicBezTo>
                    <a:cubicBezTo>
                      <a:pt x="-2810" y="3845"/>
                      <a:pt x="1035" y="14097"/>
                      <a:pt x="2316"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5" name="Freeform: Shape 379871">
                <a:extLst>
                  <a:ext uri="{FF2B5EF4-FFF2-40B4-BE49-F238E27FC236}">
                    <a16:creationId xmlns:a16="http://schemas.microsoft.com/office/drawing/2014/main" id="{99D9F355-A280-43FF-893A-565F0B4D3BB7}"/>
                  </a:ext>
                </a:extLst>
              </p:cNvPr>
              <p:cNvSpPr/>
              <p:nvPr/>
            </p:nvSpPr>
            <p:spPr>
              <a:xfrm>
                <a:off x="4573856" y="4410945"/>
                <a:ext cx="34972" cy="57669"/>
              </a:xfrm>
              <a:custGeom>
                <a:avLst/>
                <a:gdLst>
                  <a:gd name="connsiteX0" fmla="*/ 3507 w 34972"/>
                  <a:gd name="connsiteY0" fmla="*/ 16660 h 57669"/>
                  <a:gd name="connsiteX1" fmla="*/ 13759 w 34972"/>
                  <a:gd name="connsiteY1" fmla="*/ 24349 h 57669"/>
                  <a:gd name="connsiteX2" fmla="*/ 18885 w 34972"/>
                  <a:gd name="connsiteY2" fmla="*/ 34602 h 57669"/>
                  <a:gd name="connsiteX3" fmla="*/ 30419 w 34972"/>
                  <a:gd name="connsiteY3" fmla="*/ 57669 h 57669"/>
                  <a:gd name="connsiteX4" fmla="*/ 26575 w 34972"/>
                  <a:gd name="connsiteY4" fmla="*/ 35883 h 57669"/>
                  <a:gd name="connsiteX5" fmla="*/ 21449 w 34972"/>
                  <a:gd name="connsiteY5" fmla="*/ 33320 h 57669"/>
                  <a:gd name="connsiteX6" fmla="*/ 16322 w 34972"/>
                  <a:gd name="connsiteY6" fmla="*/ 23068 h 57669"/>
                  <a:gd name="connsiteX7" fmla="*/ 4788 w 34972"/>
                  <a:gd name="connsiteY7" fmla="*/ 0 h 57669"/>
                  <a:gd name="connsiteX8" fmla="*/ 3507 w 34972"/>
                  <a:gd name="connsiteY8" fmla="*/ 0 h 57669"/>
                  <a:gd name="connsiteX9" fmla="*/ 3507 w 34972"/>
                  <a:gd name="connsiteY9" fmla="*/ 16660 h 5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72" h="57669">
                    <a:moveTo>
                      <a:pt x="3507" y="16660"/>
                    </a:moveTo>
                    <a:cubicBezTo>
                      <a:pt x="4788" y="19223"/>
                      <a:pt x="8633" y="23068"/>
                      <a:pt x="13759" y="24349"/>
                    </a:cubicBezTo>
                    <a:cubicBezTo>
                      <a:pt x="15041" y="28194"/>
                      <a:pt x="17604" y="32039"/>
                      <a:pt x="18885" y="34602"/>
                    </a:cubicBezTo>
                    <a:cubicBezTo>
                      <a:pt x="13759" y="42291"/>
                      <a:pt x="24011" y="57669"/>
                      <a:pt x="30419" y="57669"/>
                    </a:cubicBezTo>
                    <a:cubicBezTo>
                      <a:pt x="38109" y="57669"/>
                      <a:pt x="35545" y="43573"/>
                      <a:pt x="26575" y="35883"/>
                    </a:cubicBezTo>
                    <a:cubicBezTo>
                      <a:pt x="24011" y="33320"/>
                      <a:pt x="22730" y="33320"/>
                      <a:pt x="21449" y="33320"/>
                    </a:cubicBezTo>
                    <a:cubicBezTo>
                      <a:pt x="20167" y="29475"/>
                      <a:pt x="17604" y="25631"/>
                      <a:pt x="16322" y="23068"/>
                    </a:cubicBezTo>
                    <a:cubicBezTo>
                      <a:pt x="22730" y="15378"/>
                      <a:pt x="11196" y="0"/>
                      <a:pt x="4788" y="0"/>
                    </a:cubicBezTo>
                    <a:cubicBezTo>
                      <a:pt x="4788" y="0"/>
                      <a:pt x="3507" y="0"/>
                      <a:pt x="3507" y="0"/>
                    </a:cubicBezTo>
                    <a:cubicBezTo>
                      <a:pt x="-2901" y="3844"/>
                      <a:pt x="943" y="14097"/>
                      <a:pt x="350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6" name="Freeform: Shape 379872">
                <a:extLst>
                  <a:ext uri="{FF2B5EF4-FFF2-40B4-BE49-F238E27FC236}">
                    <a16:creationId xmlns:a16="http://schemas.microsoft.com/office/drawing/2014/main" id="{CE52E3E7-EB3C-4293-A14D-FB7243A9D137}"/>
                  </a:ext>
                </a:extLst>
              </p:cNvPr>
              <p:cNvSpPr/>
              <p:nvPr/>
            </p:nvSpPr>
            <p:spPr>
              <a:xfrm>
                <a:off x="4535071" y="4139187"/>
                <a:ext cx="120372" cy="271846"/>
              </a:xfrm>
              <a:custGeom>
                <a:avLst/>
                <a:gdLst>
                  <a:gd name="connsiteX0" fmla="*/ 2563 w 120372"/>
                  <a:gd name="connsiteY0" fmla="*/ 18012 h 271846"/>
                  <a:gd name="connsiteX1" fmla="*/ 11534 w 120372"/>
                  <a:gd name="connsiteY1" fmla="*/ 25701 h 271846"/>
                  <a:gd name="connsiteX2" fmla="*/ 103806 w 120372"/>
                  <a:gd name="connsiteY2" fmla="*/ 248690 h 271846"/>
                  <a:gd name="connsiteX3" fmla="*/ 116621 w 120372"/>
                  <a:gd name="connsiteY3" fmla="*/ 271758 h 271846"/>
                  <a:gd name="connsiteX4" fmla="*/ 110213 w 120372"/>
                  <a:gd name="connsiteY4" fmla="*/ 248690 h 271846"/>
                  <a:gd name="connsiteX5" fmla="*/ 107650 w 120372"/>
                  <a:gd name="connsiteY5" fmla="*/ 247408 h 271846"/>
                  <a:gd name="connsiteX6" fmla="*/ 15379 w 120372"/>
                  <a:gd name="connsiteY6" fmla="*/ 24419 h 271846"/>
                  <a:gd name="connsiteX7" fmla="*/ 6408 w 120372"/>
                  <a:gd name="connsiteY7" fmla="*/ 70 h 271846"/>
                  <a:gd name="connsiteX8" fmla="*/ 5126 w 120372"/>
                  <a:gd name="connsiteY8" fmla="*/ 70 h 271846"/>
                  <a:gd name="connsiteX9" fmla="*/ 2563 w 120372"/>
                  <a:gd name="connsiteY9" fmla="*/ 18012 h 271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372" h="271846">
                    <a:moveTo>
                      <a:pt x="2563" y="18012"/>
                    </a:moveTo>
                    <a:cubicBezTo>
                      <a:pt x="3845" y="21856"/>
                      <a:pt x="6408" y="25701"/>
                      <a:pt x="11534" y="25701"/>
                    </a:cubicBezTo>
                    <a:cubicBezTo>
                      <a:pt x="38447" y="102594"/>
                      <a:pt x="69204" y="176923"/>
                      <a:pt x="103806" y="248690"/>
                    </a:cubicBezTo>
                    <a:cubicBezTo>
                      <a:pt x="96116" y="260224"/>
                      <a:pt x="111495" y="273039"/>
                      <a:pt x="116621" y="271758"/>
                    </a:cubicBezTo>
                    <a:cubicBezTo>
                      <a:pt x="124311" y="269194"/>
                      <a:pt x="119184" y="252534"/>
                      <a:pt x="110213" y="248690"/>
                    </a:cubicBezTo>
                    <a:cubicBezTo>
                      <a:pt x="108932" y="248690"/>
                      <a:pt x="107650" y="248690"/>
                      <a:pt x="107650" y="247408"/>
                    </a:cubicBezTo>
                    <a:cubicBezTo>
                      <a:pt x="73048" y="175642"/>
                      <a:pt x="42291" y="101312"/>
                      <a:pt x="15379" y="24419"/>
                    </a:cubicBezTo>
                    <a:cubicBezTo>
                      <a:pt x="23068" y="15449"/>
                      <a:pt x="14097" y="-1212"/>
                      <a:pt x="6408" y="70"/>
                    </a:cubicBezTo>
                    <a:cubicBezTo>
                      <a:pt x="6408" y="70"/>
                      <a:pt x="5126" y="70"/>
                      <a:pt x="5126" y="70"/>
                    </a:cubicBezTo>
                    <a:cubicBezTo>
                      <a:pt x="-2563" y="3915"/>
                      <a:pt x="0" y="14167"/>
                      <a:pt x="2563" y="1801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7" name="Freeform: Shape 379873">
                <a:extLst>
                  <a:ext uri="{FF2B5EF4-FFF2-40B4-BE49-F238E27FC236}">
                    <a16:creationId xmlns:a16="http://schemas.microsoft.com/office/drawing/2014/main" id="{2EB49110-8D77-428A-9C8A-F9C141023E4F}"/>
                  </a:ext>
                </a:extLst>
              </p:cNvPr>
              <p:cNvSpPr/>
              <p:nvPr/>
            </p:nvSpPr>
            <p:spPr>
              <a:xfrm>
                <a:off x="5109791" y="4227684"/>
                <a:ext cx="36842" cy="59049"/>
              </a:xfrm>
              <a:custGeom>
                <a:avLst/>
                <a:gdLst>
                  <a:gd name="connsiteX0" fmla="*/ 1978 w 36842"/>
                  <a:gd name="connsiteY0" fmla="*/ 16660 h 59049"/>
                  <a:gd name="connsiteX1" fmla="*/ 13512 w 36842"/>
                  <a:gd name="connsiteY1" fmla="*/ 24349 h 59049"/>
                  <a:gd name="connsiteX2" fmla="*/ 17356 w 36842"/>
                  <a:gd name="connsiteY2" fmla="*/ 35883 h 59049"/>
                  <a:gd name="connsiteX3" fmla="*/ 25046 w 36842"/>
                  <a:gd name="connsiteY3" fmla="*/ 58951 h 59049"/>
                  <a:gd name="connsiteX4" fmla="*/ 34016 w 36842"/>
                  <a:gd name="connsiteY4" fmla="*/ 39728 h 59049"/>
                  <a:gd name="connsiteX5" fmla="*/ 22482 w 36842"/>
                  <a:gd name="connsiteY5" fmla="*/ 34602 h 59049"/>
                  <a:gd name="connsiteX6" fmla="*/ 18638 w 36842"/>
                  <a:gd name="connsiteY6" fmla="*/ 23068 h 59049"/>
                  <a:gd name="connsiteX7" fmla="*/ 10949 w 36842"/>
                  <a:gd name="connsiteY7" fmla="*/ 0 h 59049"/>
                  <a:gd name="connsiteX8" fmla="*/ 5822 w 36842"/>
                  <a:gd name="connsiteY8" fmla="*/ 0 h 59049"/>
                  <a:gd name="connsiteX9" fmla="*/ 1978 w 36842"/>
                  <a:gd name="connsiteY9" fmla="*/ 16660 h 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42" h="59049">
                    <a:moveTo>
                      <a:pt x="1978" y="16660"/>
                    </a:moveTo>
                    <a:cubicBezTo>
                      <a:pt x="3260" y="19223"/>
                      <a:pt x="7104" y="23068"/>
                      <a:pt x="13512" y="24349"/>
                    </a:cubicBezTo>
                    <a:cubicBezTo>
                      <a:pt x="14793" y="28194"/>
                      <a:pt x="16075" y="32039"/>
                      <a:pt x="17356" y="35883"/>
                    </a:cubicBezTo>
                    <a:cubicBezTo>
                      <a:pt x="7104" y="43573"/>
                      <a:pt x="14793" y="57670"/>
                      <a:pt x="25046" y="58951"/>
                    </a:cubicBezTo>
                    <a:cubicBezTo>
                      <a:pt x="35298" y="60233"/>
                      <a:pt x="40424" y="48699"/>
                      <a:pt x="34016" y="39728"/>
                    </a:cubicBezTo>
                    <a:cubicBezTo>
                      <a:pt x="30172" y="34602"/>
                      <a:pt x="25046" y="34602"/>
                      <a:pt x="22482" y="34602"/>
                    </a:cubicBezTo>
                    <a:cubicBezTo>
                      <a:pt x="21201" y="30757"/>
                      <a:pt x="19919" y="26912"/>
                      <a:pt x="18638" y="23068"/>
                    </a:cubicBezTo>
                    <a:cubicBezTo>
                      <a:pt x="28890" y="15378"/>
                      <a:pt x="21201" y="1282"/>
                      <a:pt x="10949" y="0"/>
                    </a:cubicBezTo>
                    <a:cubicBezTo>
                      <a:pt x="9667" y="0"/>
                      <a:pt x="7104" y="0"/>
                      <a:pt x="5822" y="0"/>
                    </a:cubicBezTo>
                    <a:cubicBezTo>
                      <a:pt x="-4430" y="5126"/>
                      <a:pt x="1978" y="16660"/>
                      <a:pt x="197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8" name="Freeform: Shape 379874">
                <a:extLst>
                  <a:ext uri="{FF2B5EF4-FFF2-40B4-BE49-F238E27FC236}">
                    <a16:creationId xmlns:a16="http://schemas.microsoft.com/office/drawing/2014/main" id="{811C4F4F-7B98-4276-ACFB-3695C1532750}"/>
                  </a:ext>
                </a:extLst>
              </p:cNvPr>
              <p:cNvSpPr/>
              <p:nvPr/>
            </p:nvSpPr>
            <p:spPr>
              <a:xfrm>
                <a:off x="6886576" y="3806055"/>
                <a:ext cx="45234" cy="395171"/>
              </a:xfrm>
              <a:custGeom>
                <a:avLst/>
                <a:gdLst>
                  <a:gd name="connsiteX0" fmla="*/ 140 w 45234"/>
                  <a:gd name="connsiteY0" fmla="*/ 387027 h 395171"/>
                  <a:gd name="connsiteX1" fmla="*/ 18082 w 45234"/>
                  <a:gd name="connsiteY1" fmla="*/ 389590 h 395171"/>
                  <a:gd name="connsiteX2" fmla="*/ 19363 w 45234"/>
                  <a:gd name="connsiteY2" fmla="*/ 374211 h 395171"/>
                  <a:gd name="connsiteX3" fmla="*/ 44994 w 45234"/>
                  <a:gd name="connsiteY3" fmla="*/ 342173 h 395171"/>
                  <a:gd name="connsiteX4" fmla="*/ 33460 w 45234"/>
                  <a:gd name="connsiteY4" fmla="*/ 24349 h 395171"/>
                  <a:gd name="connsiteX5" fmla="*/ 33460 w 45234"/>
                  <a:gd name="connsiteY5" fmla="*/ 0 h 395171"/>
                  <a:gd name="connsiteX6" fmla="*/ 29616 w 45234"/>
                  <a:gd name="connsiteY6" fmla="*/ 0 h 395171"/>
                  <a:gd name="connsiteX7" fmla="*/ 24489 w 45234"/>
                  <a:gd name="connsiteY7" fmla="*/ 24349 h 395171"/>
                  <a:gd name="connsiteX8" fmla="*/ 29616 w 45234"/>
                  <a:gd name="connsiteY8" fmla="*/ 26913 h 395171"/>
                  <a:gd name="connsiteX9" fmla="*/ 41150 w 45234"/>
                  <a:gd name="connsiteY9" fmla="*/ 342173 h 395171"/>
                  <a:gd name="connsiteX10" fmla="*/ 16800 w 45234"/>
                  <a:gd name="connsiteY10" fmla="*/ 372930 h 395171"/>
                  <a:gd name="connsiteX11" fmla="*/ 140 w 45234"/>
                  <a:gd name="connsiteY11" fmla="*/ 387027 h 395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34" h="395171">
                    <a:moveTo>
                      <a:pt x="140" y="387027"/>
                    </a:moveTo>
                    <a:cubicBezTo>
                      <a:pt x="1422" y="395998"/>
                      <a:pt x="11674" y="398561"/>
                      <a:pt x="18082" y="389590"/>
                    </a:cubicBezTo>
                    <a:cubicBezTo>
                      <a:pt x="19363" y="388308"/>
                      <a:pt x="23208" y="381901"/>
                      <a:pt x="19363" y="374211"/>
                    </a:cubicBezTo>
                    <a:lnTo>
                      <a:pt x="44994" y="342173"/>
                    </a:lnTo>
                    <a:cubicBezTo>
                      <a:pt x="46276" y="238368"/>
                      <a:pt x="42431" y="133281"/>
                      <a:pt x="33460" y="24349"/>
                    </a:cubicBezTo>
                    <a:cubicBezTo>
                      <a:pt x="44994" y="17942"/>
                      <a:pt x="42431" y="2563"/>
                      <a:pt x="33460" y="0"/>
                    </a:cubicBezTo>
                    <a:cubicBezTo>
                      <a:pt x="32178" y="0"/>
                      <a:pt x="30897" y="0"/>
                      <a:pt x="29616" y="0"/>
                    </a:cubicBezTo>
                    <a:cubicBezTo>
                      <a:pt x="16800" y="3845"/>
                      <a:pt x="18082" y="19223"/>
                      <a:pt x="24489" y="24349"/>
                    </a:cubicBezTo>
                    <a:cubicBezTo>
                      <a:pt x="25771" y="25631"/>
                      <a:pt x="28334" y="25631"/>
                      <a:pt x="29616" y="26913"/>
                    </a:cubicBezTo>
                    <a:cubicBezTo>
                      <a:pt x="38587" y="134562"/>
                      <a:pt x="42431" y="239649"/>
                      <a:pt x="41150" y="342173"/>
                    </a:cubicBezTo>
                    <a:cubicBezTo>
                      <a:pt x="33460" y="351144"/>
                      <a:pt x="24489" y="363959"/>
                      <a:pt x="16800" y="372930"/>
                    </a:cubicBezTo>
                    <a:cubicBezTo>
                      <a:pt x="6548" y="367804"/>
                      <a:pt x="-1142" y="378056"/>
                      <a:pt x="140" y="38702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39" name="Freeform: Shape 379875">
                <a:extLst>
                  <a:ext uri="{FF2B5EF4-FFF2-40B4-BE49-F238E27FC236}">
                    <a16:creationId xmlns:a16="http://schemas.microsoft.com/office/drawing/2014/main" id="{F8B9C0D5-AED7-44A1-A432-3E8926CAB10F}"/>
                  </a:ext>
                </a:extLst>
              </p:cNvPr>
              <p:cNvSpPr/>
              <p:nvPr/>
            </p:nvSpPr>
            <p:spPr>
              <a:xfrm>
                <a:off x="7761899" y="3745822"/>
                <a:ext cx="8646" cy="101242"/>
              </a:xfrm>
              <a:custGeom>
                <a:avLst/>
                <a:gdLst>
                  <a:gd name="connsiteX0" fmla="*/ 3960 w 8646"/>
                  <a:gd name="connsiteY0" fmla="*/ 14097 h 101242"/>
                  <a:gd name="connsiteX1" fmla="*/ 5242 w 8646"/>
                  <a:gd name="connsiteY1" fmla="*/ 25631 h 101242"/>
                  <a:gd name="connsiteX2" fmla="*/ 2679 w 8646"/>
                  <a:gd name="connsiteY2" fmla="*/ 75611 h 101242"/>
                  <a:gd name="connsiteX3" fmla="*/ 1397 w 8646"/>
                  <a:gd name="connsiteY3" fmla="*/ 101242 h 101242"/>
                  <a:gd name="connsiteX4" fmla="*/ 3960 w 8646"/>
                  <a:gd name="connsiteY4" fmla="*/ 75611 h 101242"/>
                  <a:gd name="connsiteX5" fmla="*/ 6523 w 8646"/>
                  <a:gd name="connsiteY5" fmla="*/ 25631 h 101242"/>
                  <a:gd name="connsiteX6" fmla="*/ 7805 w 8646"/>
                  <a:gd name="connsiteY6" fmla="*/ 0 h 101242"/>
                  <a:gd name="connsiteX7" fmla="*/ 3960 w 8646"/>
                  <a:gd name="connsiteY7" fmla="*/ 14097 h 10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46" h="101242">
                    <a:moveTo>
                      <a:pt x="3960" y="14097"/>
                    </a:moveTo>
                    <a:cubicBezTo>
                      <a:pt x="3960" y="17942"/>
                      <a:pt x="3960" y="23068"/>
                      <a:pt x="5242" y="25631"/>
                    </a:cubicBezTo>
                    <a:cubicBezTo>
                      <a:pt x="3960" y="42291"/>
                      <a:pt x="3960" y="58951"/>
                      <a:pt x="2679" y="75611"/>
                    </a:cubicBezTo>
                    <a:cubicBezTo>
                      <a:pt x="116" y="79456"/>
                      <a:pt x="-1166" y="98679"/>
                      <a:pt x="1397" y="101242"/>
                    </a:cubicBezTo>
                    <a:cubicBezTo>
                      <a:pt x="3960" y="98679"/>
                      <a:pt x="5242" y="80737"/>
                      <a:pt x="3960" y="75611"/>
                    </a:cubicBezTo>
                    <a:cubicBezTo>
                      <a:pt x="5242" y="58951"/>
                      <a:pt x="6523" y="42291"/>
                      <a:pt x="6523" y="25631"/>
                    </a:cubicBezTo>
                    <a:cubicBezTo>
                      <a:pt x="9086" y="21786"/>
                      <a:pt x="9086" y="2563"/>
                      <a:pt x="7805" y="0"/>
                    </a:cubicBezTo>
                    <a:cubicBezTo>
                      <a:pt x="3960" y="1282"/>
                      <a:pt x="3960" y="8971"/>
                      <a:pt x="3960"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0" name="Freeform: Shape 379876">
                <a:extLst>
                  <a:ext uri="{FF2B5EF4-FFF2-40B4-BE49-F238E27FC236}">
                    <a16:creationId xmlns:a16="http://schemas.microsoft.com/office/drawing/2014/main" id="{E76BE907-8781-4044-AD52-8E1E666BB8ED}"/>
                  </a:ext>
                </a:extLst>
              </p:cNvPr>
              <p:cNvSpPr/>
              <p:nvPr/>
            </p:nvSpPr>
            <p:spPr>
              <a:xfrm>
                <a:off x="4451784" y="4337787"/>
                <a:ext cx="117949" cy="146489"/>
              </a:xfrm>
              <a:custGeom>
                <a:avLst/>
                <a:gdLst>
                  <a:gd name="connsiteX0" fmla="*/ 3831 w 117949"/>
                  <a:gd name="connsiteY0" fmla="*/ 19332 h 146489"/>
                  <a:gd name="connsiteX1" fmla="*/ 15365 w 117949"/>
                  <a:gd name="connsiteY1" fmla="*/ 23177 h 146489"/>
                  <a:gd name="connsiteX2" fmla="*/ 75598 w 117949"/>
                  <a:gd name="connsiteY2" fmla="*/ 70594 h 146489"/>
                  <a:gd name="connsiteX3" fmla="*/ 102511 w 117949"/>
                  <a:gd name="connsiteY3" fmla="*/ 124419 h 146489"/>
                  <a:gd name="connsiteX4" fmla="*/ 115326 w 117949"/>
                  <a:gd name="connsiteY4" fmla="*/ 146205 h 146489"/>
                  <a:gd name="connsiteX5" fmla="*/ 107637 w 117949"/>
                  <a:gd name="connsiteY5" fmla="*/ 123138 h 146489"/>
                  <a:gd name="connsiteX6" fmla="*/ 105074 w 117949"/>
                  <a:gd name="connsiteY6" fmla="*/ 121856 h 146489"/>
                  <a:gd name="connsiteX7" fmla="*/ 76880 w 117949"/>
                  <a:gd name="connsiteY7" fmla="*/ 65468 h 146489"/>
                  <a:gd name="connsiteX8" fmla="*/ 15365 w 117949"/>
                  <a:gd name="connsiteY8" fmla="*/ 16769 h 146489"/>
                  <a:gd name="connsiteX9" fmla="*/ 2550 w 117949"/>
                  <a:gd name="connsiteY9" fmla="*/ 109 h 146489"/>
                  <a:gd name="connsiteX10" fmla="*/ 3831 w 117949"/>
                  <a:gd name="connsiteY10" fmla="*/ 19332 h 146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949" h="146489">
                    <a:moveTo>
                      <a:pt x="3831" y="19332"/>
                    </a:moveTo>
                    <a:cubicBezTo>
                      <a:pt x="7676" y="25740"/>
                      <a:pt x="14084" y="29585"/>
                      <a:pt x="15365" y="23177"/>
                    </a:cubicBezTo>
                    <a:lnTo>
                      <a:pt x="75598" y="70594"/>
                    </a:lnTo>
                    <a:cubicBezTo>
                      <a:pt x="84569" y="88536"/>
                      <a:pt x="93540" y="106478"/>
                      <a:pt x="102511" y="124419"/>
                    </a:cubicBezTo>
                    <a:cubicBezTo>
                      <a:pt x="96103" y="133390"/>
                      <a:pt x="111482" y="148769"/>
                      <a:pt x="115326" y="146205"/>
                    </a:cubicBezTo>
                    <a:cubicBezTo>
                      <a:pt x="121734" y="143642"/>
                      <a:pt x="115326" y="126982"/>
                      <a:pt x="107637" y="123138"/>
                    </a:cubicBezTo>
                    <a:cubicBezTo>
                      <a:pt x="106355" y="123138"/>
                      <a:pt x="106355" y="123138"/>
                      <a:pt x="105074" y="121856"/>
                    </a:cubicBezTo>
                    <a:cubicBezTo>
                      <a:pt x="96103" y="103914"/>
                      <a:pt x="85851" y="84691"/>
                      <a:pt x="76880" y="65468"/>
                    </a:cubicBezTo>
                    <a:cubicBezTo>
                      <a:pt x="58938" y="51371"/>
                      <a:pt x="33307" y="32148"/>
                      <a:pt x="15365" y="16769"/>
                    </a:cubicBezTo>
                    <a:cubicBezTo>
                      <a:pt x="14084" y="9080"/>
                      <a:pt x="8958" y="-1172"/>
                      <a:pt x="2550" y="109"/>
                    </a:cubicBezTo>
                    <a:cubicBezTo>
                      <a:pt x="-3858" y="6517"/>
                      <a:pt x="3831" y="19332"/>
                      <a:pt x="3831" y="1933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1" name="Freeform: Shape 379877">
                <a:extLst>
                  <a:ext uri="{FF2B5EF4-FFF2-40B4-BE49-F238E27FC236}">
                    <a16:creationId xmlns:a16="http://schemas.microsoft.com/office/drawing/2014/main" id="{F9B6496F-0874-41BD-9298-E6EE936003CA}"/>
                  </a:ext>
                </a:extLst>
              </p:cNvPr>
              <p:cNvSpPr/>
              <p:nvPr/>
            </p:nvSpPr>
            <p:spPr>
              <a:xfrm>
                <a:off x="4570991" y="4453236"/>
                <a:ext cx="54046" cy="89708"/>
              </a:xfrm>
              <a:custGeom>
                <a:avLst/>
                <a:gdLst>
                  <a:gd name="connsiteX0" fmla="*/ 3808 w 54046"/>
                  <a:gd name="connsiteY0" fmla="*/ 16660 h 89708"/>
                  <a:gd name="connsiteX1" fmla="*/ 12779 w 54046"/>
                  <a:gd name="connsiteY1" fmla="*/ 24349 h 89708"/>
                  <a:gd name="connsiteX2" fmla="*/ 37129 w 54046"/>
                  <a:gd name="connsiteY2" fmla="*/ 67922 h 89708"/>
                  <a:gd name="connsiteX3" fmla="*/ 49944 w 54046"/>
                  <a:gd name="connsiteY3" fmla="*/ 89708 h 89708"/>
                  <a:gd name="connsiteX4" fmla="*/ 47381 w 54046"/>
                  <a:gd name="connsiteY4" fmla="*/ 70485 h 89708"/>
                  <a:gd name="connsiteX5" fmla="*/ 39692 w 54046"/>
                  <a:gd name="connsiteY5" fmla="*/ 66640 h 89708"/>
                  <a:gd name="connsiteX6" fmla="*/ 15342 w 54046"/>
                  <a:gd name="connsiteY6" fmla="*/ 23068 h 89708"/>
                  <a:gd name="connsiteX7" fmla="*/ 3808 w 54046"/>
                  <a:gd name="connsiteY7" fmla="*/ 0 h 89708"/>
                  <a:gd name="connsiteX8" fmla="*/ 2527 w 54046"/>
                  <a:gd name="connsiteY8" fmla="*/ 0 h 89708"/>
                  <a:gd name="connsiteX9" fmla="*/ 3808 w 54046"/>
                  <a:gd name="connsiteY9" fmla="*/ 16660 h 89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046" h="89708">
                    <a:moveTo>
                      <a:pt x="3808" y="16660"/>
                    </a:moveTo>
                    <a:cubicBezTo>
                      <a:pt x="6371" y="19223"/>
                      <a:pt x="8934" y="23068"/>
                      <a:pt x="12779" y="24349"/>
                    </a:cubicBezTo>
                    <a:cubicBezTo>
                      <a:pt x="20468" y="38446"/>
                      <a:pt x="28158" y="53825"/>
                      <a:pt x="37129" y="67922"/>
                    </a:cubicBezTo>
                    <a:cubicBezTo>
                      <a:pt x="32002" y="75611"/>
                      <a:pt x="43536" y="89708"/>
                      <a:pt x="49944" y="89708"/>
                    </a:cubicBezTo>
                    <a:cubicBezTo>
                      <a:pt x="56352" y="89708"/>
                      <a:pt x="55070" y="78174"/>
                      <a:pt x="47381" y="70485"/>
                    </a:cubicBezTo>
                    <a:cubicBezTo>
                      <a:pt x="43536" y="66640"/>
                      <a:pt x="40973" y="66640"/>
                      <a:pt x="39692" y="66640"/>
                    </a:cubicBezTo>
                    <a:cubicBezTo>
                      <a:pt x="32002" y="52543"/>
                      <a:pt x="24313" y="37165"/>
                      <a:pt x="15342" y="23068"/>
                    </a:cubicBezTo>
                    <a:cubicBezTo>
                      <a:pt x="20468" y="15378"/>
                      <a:pt x="8934" y="0"/>
                      <a:pt x="3808" y="0"/>
                    </a:cubicBezTo>
                    <a:cubicBezTo>
                      <a:pt x="3808" y="0"/>
                      <a:pt x="2527" y="0"/>
                      <a:pt x="2527" y="0"/>
                    </a:cubicBezTo>
                    <a:cubicBezTo>
                      <a:pt x="-2599" y="3844"/>
                      <a:pt x="1245" y="12816"/>
                      <a:pt x="380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2" name="Freeform: Shape 379878">
                <a:extLst>
                  <a:ext uri="{FF2B5EF4-FFF2-40B4-BE49-F238E27FC236}">
                    <a16:creationId xmlns:a16="http://schemas.microsoft.com/office/drawing/2014/main" id="{8A469762-643A-4DC3-98D2-EABF2B521A87}"/>
                  </a:ext>
                </a:extLst>
              </p:cNvPr>
              <p:cNvSpPr/>
              <p:nvPr/>
            </p:nvSpPr>
            <p:spPr>
              <a:xfrm>
                <a:off x="4458001" y="4126366"/>
                <a:ext cx="171452" cy="333607"/>
              </a:xfrm>
              <a:custGeom>
                <a:avLst/>
                <a:gdLst>
                  <a:gd name="connsiteX0" fmla="*/ 2740 w 171452"/>
                  <a:gd name="connsiteY0" fmla="*/ 19299 h 333607"/>
                  <a:gd name="connsiteX1" fmla="*/ 11711 w 171452"/>
                  <a:gd name="connsiteY1" fmla="*/ 26988 h 333607"/>
                  <a:gd name="connsiteX2" fmla="*/ 77070 w 171452"/>
                  <a:gd name="connsiteY2" fmla="*/ 196152 h 333607"/>
                  <a:gd name="connsiteX3" fmla="*/ 112953 w 171452"/>
                  <a:gd name="connsiteY3" fmla="*/ 223064 h 333607"/>
                  <a:gd name="connsiteX4" fmla="*/ 155245 w 171452"/>
                  <a:gd name="connsiteY4" fmla="*/ 311491 h 333607"/>
                  <a:gd name="connsiteX5" fmla="*/ 168060 w 171452"/>
                  <a:gd name="connsiteY5" fmla="*/ 333277 h 333607"/>
                  <a:gd name="connsiteX6" fmla="*/ 159089 w 171452"/>
                  <a:gd name="connsiteY6" fmla="*/ 310209 h 333607"/>
                  <a:gd name="connsiteX7" fmla="*/ 157808 w 171452"/>
                  <a:gd name="connsiteY7" fmla="*/ 310209 h 333607"/>
                  <a:gd name="connsiteX8" fmla="*/ 114235 w 171452"/>
                  <a:gd name="connsiteY8" fmla="*/ 219220 h 333607"/>
                  <a:gd name="connsiteX9" fmla="*/ 78352 w 171452"/>
                  <a:gd name="connsiteY9" fmla="*/ 192307 h 333607"/>
                  <a:gd name="connsiteX10" fmla="*/ 14274 w 171452"/>
                  <a:gd name="connsiteY10" fmla="*/ 24425 h 333607"/>
                  <a:gd name="connsiteX11" fmla="*/ 4022 w 171452"/>
                  <a:gd name="connsiteY11" fmla="*/ 75 h 333607"/>
                  <a:gd name="connsiteX12" fmla="*/ 2740 w 171452"/>
                  <a:gd name="connsiteY12" fmla="*/ 19299 h 333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452" h="333607">
                    <a:moveTo>
                      <a:pt x="2740" y="19299"/>
                    </a:moveTo>
                    <a:cubicBezTo>
                      <a:pt x="5303" y="25706"/>
                      <a:pt x="9148" y="26988"/>
                      <a:pt x="11711" y="26988"/>
                    </a:cubicBezTo>
                    <a:cubicBezTo>
                      <a:pt x="30934" y="84657"/>
                      <a:pt x="52720" y="141045"/>
                      <a:pt x="77070" y="196152"/>
                    </a:cubicBezTo>
                    <a:lnTo>
                      <a:pt x="112953" y="223064"/>
                    </a:lnTo>
                    <a:cubicBezTo>
                      <a:pt x="125769" y="252540"/>
                      <a:pt x="139866" y="282015"/>
                      <a:pt x="155245" y="311491"/>
                    </a:cubicBezTo>
                    <a:cubicBezTo>
                      <a:pt x="148837" y="323025"/>
                      <a:pt x="162934" y="335840"/>
                      <a:pt x="168060" y="333277"/>
                    </a:cubicBezTo>
                    <a:cubicBezTo>
                      <a:pt x="175749" y="330714"/>
                      <a:pt x="169342" y="312772"/>
                      <a:pt x="159089" y="310209"/>
                    </a:cubicBezTo>
                    <a:cubicBezTo>
                      <a:pt x="159089" y="310209"/>
                      <a:pt x="157808" y="310209"/>
                      <a:pt x="157808" y="310209"/>
                    </a:cubicBezTo>
                    <a:cubicBezTo>
                      <a:pt x="142429" y="280734"/>
                      <a:pt x="128332" y="249977"/>
                      <a:pt x="114235" y="219220"/>
                    </a:cubicBezTo>
                    <a:lnTo>
                      <a:pt x="78352" y="192307"/>
                    </a:lnTo>
                    <a:cubicBezTo>
                      <a:pt x="55284" y="138482"/>
                      <a:pt x="33497" y="82094"/>
                      <a:pt x="14274" y="24425"/>
                    </a:cubicBezTo>
                    <a:cubicBezTo>
                      <a:pt x="20682" y="14172"/>
                      <a:pt x="11711" y="-1206"/>
                      <a:pt x="4022" y="75"/>
                    </a:cubicBezTo>
                    <a:cubicBezTo>
                      <a:pt x="-2386" y="6483"/>
                      <a:pt x="177" y="15454"/>
                      <a:pt x="2740" y="1929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3" name="Freeform: Shape 379879">
                <a:extLst>
                  <a:ext uri="{FF2B5EF4-FFF2-40B4-BE49-F238E27FC236}">
                    <a16:creationId xmlns:a16="http://schemas.microsoft.com/office/drawing/2014/main" id="{D5B17BA6-242A-4D0F-B012-1C03C6C9BA38}"/>
                  </a:ext>
                </a:extLst>
              </p:cNvPr>
              <p:cNvSpPr/>
              <p:nvPr/>
            </p:nvSpPr>
            <p:spPr>
              <a:xfrm>
                <a:off x="4698166" y="4403255"/>
                <a:ext cx="53527" cy="89783"/>
              </a:xfrm>
              <a:custGeom>
                <a:avLst/>
                <a:gdLst>
                  <a:gd name="connsiteX0" fmla="*/ 3507 w 53527"/>
                  <a:gd name="connsiteY0" fmla="*/ 16660 h 89783"/>
                  <a:gd name="connsiteX1" fmla="*/ 13759 w 53527"/>
                  <a:gd name="connsiteY1" fmla="*/ 24349 h 89783"/>
                  <a:gd name="connsiteX2" fmla="*/ 36827 w 53527"/>
                  <a:gd name="connsiteY2" fmla="*/ 67922 h 89783"/>
                  <a:gd name="connsiteX3" fmla="*/ 48361 w 53527"/>
                  <a:gd name="connsiteY3" fmla="*/ 89708 h 89783"/>
                  <a:gd name="connsiteX4" fmla="*/ 47079 w 53527"/>
                  <a:gd name="connsiteY4" fmla="*/ 70485 h 89783"/>
                  <a:gd name="connsiteX5" fmla="*/ 39390 w 53527"/>
                  <a:gd name="connsiteY5" fmla="*/ 66640 h 89783"/>
                  <a:gd name="connsiteX6" fmla="*/ 16322 w 53527"/>
                  <a:gd name="connsiteY6" fmla="*/ 23068 h 89783"/>
                  <a:gd name="connsiteX7" fmla="*/ 4788 w 53527"/>
                  <a:gd name="connsiteY7" fmla="*/ 0 h 89783"/>
                  <a:gd name="connsiteX8" fmla="*/ 3507 w 53527"/>
                  <a:gd name="connsiteY8" fmla="*/ 0 h 89783"/>
                  <a:gd name="connsiteX9" fmla="*/ 3507 w 53527"/>
                  <a:gd name="connsiteY9" fmla="*/ 16660 h 8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527" h="89783">
                    <a:moveTo>
                      <a:pt x="3507" y="16660"/>
                    </a:moveTo>
                    <a:cubicBezTo>
                      <a:pt x="6070" y="19223"/>
                      <a:pt x="8633" y="23068"/>
                      <a:pt x="13759" y="24349"/>
                    </a:cubicBezTo>
                    <a:cubicBezTo>
                      <a:pt x="21448" y="39728"/>
                      <a:pt x="29138" y="53825"/>
                      <a:pt x="36827" y="67922"/>
                    </a:cubicBezTo>
                    <a:cubicBezTo>
                      <a:pt x="30420" y="75611"/>
                      <a:pt x="41953" y="90990"/>
                      <a:pt x="48361" y="89708"/>
                    </a:cubicBezTo>
                    <a:cubicBezTo>
                      <a:pt x="56050" y="89708"/>
                      <a:pt x="54769" y="76893"/>
                      <a:pt x="47079" y="70485"/>
                    </a:cubicBezTo>
                    <a:cubicBezTo>
                      <a:pt x="43235" y="66640"/>
                      <a:pt x="40672" y="66640"/>
                      <a:pt x="39390" y="66640"/>
                    </a:cubicBezTo>
                    <a:cubicBezTo>
                      <a:pt x="31701" y="52544"/>
                      <a:pt x="24011" y="37165"/>
                      <a:pt x="16322" y="23068"/>
                    </a:cubicBezTo>
                    <a:cubicBezTo>
                      <a:pt x="24011" y="15379"/>
                      <a:pt x="12477" y="0"/>
                      <a:pt x="4788" y="0"/>
                    </a:cubicBezTo>
                    <a:cubicBezTo>
                      <a:pt x="4788" y="0"/>
                      <a:pt x="3507" y="0"/>
                      <a:pt x="3507" y="0"/>
                    </a:cubicBezTo>
                    <a:cubicBezTo>
                      <a:pt x="-2901" y="3845"/>
                      <a:pt x="943" y="14097"/>
                      <a:pt x="350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4" name="Freeform: Shape 379880">
                <a:extLst>
                  <a:ext uri="{FF2B5EF4-FFF2-40B4-BE49-F238E27FC236}">
                    <a16:creationId xmlns:a16="http://schemas.microsoft.com/office/drawing/2014/main" id="{BF4BB933-921D-4213-A1DD-E658148DF08F}"/>
                  </a:ext>
                </a:extLst>
              </p:cNvPr>
              <p:cNvSpPr/>
              <p:nvPr/>
            </p:nvSpPr>
            <p:spPr>
              <a:xfrm>
                <a:off x="4819635" y="4278870"/>
                <a:ext cx="52197" cy="93628"/>
              </a:xfrm>
              <a:custGeom>
                <a:avLst/>
                <a:gdLst>
                  <a:gd name="connsiteX0" fmla="*/ 2503 w 52197"/>
                  <a:gd name="connsiteY0" fmla="*/ 18017 h 93628"/>
                  <a:gd name="connsiteX1" fmla="*/ 14037 w 52197"/>
                  <a:gd name="connsiteY1" fmla="*/ 25706 h 93628"/>
                  <a:gd name="connsiteX2" fmla="*/ 34542 w 52197"/>
                  <a:gd name="connsiteY2" fmla="*/ 70560 h 93628"/>
                  <a:gd name="connsiteX3" fmla="*/ 44794 w 52197"/>
                  <a:gd name="connsiteY3" fmla="*/ 93628 h 93628"/>
                  <a:gd name="connsiteX4" fmla="*/ 46076 w 52197"/>
                  <a:gd name="connsiteY4" fmla="*/ 73123 h 93628"/>
                  <a:gd name="connsiteX5" fmla="*/ 37105 w 52197"/>
                  <a:gd name="connsiteY5" fmla="*/ 69279 h 93628"/>
                  <a:gd name="connsiteX6" fmla="*/ 16600 w 52197"/>
                  <a:gd name="connsiteY6" fmla="*/ 23143 h 93628"/>
                  <a:gd name="connsiteX7" fmla="*/ 6348 w 52197"/>
                  <a:gd name="connsiteY7" fmla="*/ 75 h 93628"/>
                  <a:gd name="connsiteX8" fmla="*/ 3785 w 52197"/>
                  <a:gd name="connsiteY8" fmla="*/ 75 h 93628"/>
                  <a:gd name="connsiteX9" fmla="*/ 2503 w 52197"/>
                  <a:gd name="connsiteY9" fmla="*/ 18017 h 9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97" h="93628">
                    <a:moveTo>
                      <a:pt x="2503" y="18017"/>
                    </a:moveTo>
                    <a:cubicBezTo>
                      <a:pt x="3785" y="20580"/>
                      <a:pt x="7629" y="24425"/>
                      <a:pt x="14037" y="25706"/>
                    </a:cubicBezTo>
                    <a:cubicBezTo>
                      <a:pt x="20445" y="41085"/>
                      <a:pt x="26853" y="56463"/>
                      <a:pt x="34542" y="70560"/>
                    </a:cubicBezTo>
                    <a:cubicBezTo>
                      <a:pt x="25571" y="79531"/>
                      <a:pt x="37105" y="93628"/>
                      <a:pt x="44794" y="93628"/>
                    </a:cubicBezTo>
                    <a:cubicBezTo>
                      <a:pt x="53765" y="93628"/>
                      <a:pt x="55047" y="80813"/>
                      <a:pt x="46076" y="73123"/>
                    </a:cubicBezTo>
                    <a:cubicBezTo>
                      <a:pt x="42231" y="69279"/>
                      <a:pt x="39668" y="69279"/>
                      <a:pt x="37105" y="69279"/>
                    </a:cubicBezTo>
                    <a:cubicBezTo>
                      <a:pt x="30697" y="53900"/>
                      <a:pt x="23008" y="38522"/>
                      <a:pt x="16600" y="23143"/>
                    </a:cubicBezTo>
                    <a:cubicBezTo>
                      <a:pt x="25571" y="14172"/>
                      <a:pt x="15319" y="-1206"/>
                      <a:pt x="6348" y="75"/>
                    </a:cubicBezTo>
                    <a:cubicBezTo>
                      <a:pt x="6348" y="75"/>
                      <a:pt x="5066" y="75"/>
                      <a:pt x="3785" y="75"/>
                    </a:cubicBezTo>
                    <a:cubicBezTo>
                      <a:pt x="-3905" y="6483"/>
                      <a:pt x="2503" y="18017"/>
                      <a:pt x="2503" y="180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5" name="Freeform: Shape 379881">
                <a:extLst>
                  <a:ext uri="{FF2B5EF4-FFF2-40B4-BE49-F238E27FC236}">
                    <a16:creationId xmlns:a16="http://schemas.microsoft.com/office/drawing/2014/main" id="{75690110-9E70-4019-81DE-CB8E0478755E}"/>
                  </a:ext>
                </a:extLst>
              </p:cNvPr>
              <p:cNvSpPr/>
              <p:nvPr/>
            </p:nvSpPr>
            <p:spPr>
              <a:xfrm>
                <a:off x="4848355" y="4271256"/>
                <a:ext cx="51880" cy="93552"/>
              </a:xfrm>
              <a:custGeom>
                <a:avLst/>
                <a:gdLst>
                  <a:gd name="connsiteX0" fmla="*/ 1978 w 51880"/>
                  <a:gd name="connsiteY0" fmla="*/ 16660 h 93552"/>
                  <a:gd name="connsiteX1" fmla="*/ 13512 w 51880"/>
                  <a:gd name="connsiteY1" fmla="*/ 24349 h 93552"/>
                  <a:gd name="connsiteX2" fmla="*/ 34016 w 51880"/>
                  <a:gd name="connsiteY2" fmla="*/ 70485 h 93552"/>
                  <a:gd name="connsiteX3" fmla="*/ 44269 w 51880"/>
                  <a:gd name="connsiteY3" fmla="*/ 93553 h 93552"/>
                  <a:gd name="connsiteX4" fmla="*/ 46832 w 51880"/>
                  <a:gd name="connsiteY4" fmla="*/ 73048 h 93552"/>
                  <a:gd name="connsiteX5" fmla="*/ 37861 w 51880"/>
                  <a:gd name="connsiteY5" fmla="*/ 69203 h 93552"/>
                  <a:gd name="connsiteX6" fmla="*/ 17357 w 51880"/>
                  <a:gd name="connsiteY6" fmla="*/ 23068 h 93552"/>
                  <a:gd name="connsiteX7" fmla="*/ 9667 w 51880"/>
                  <a:gd name="connsiteY7" fmla="*/ 0 h 93552"/>
                  <a:gd name="connsiteX8" fmla="*/ 5823 w 51880"/>
                  <a:gd name="connsiteY8" fmla="*/ 0 h 93552"/>
                  <a:gd name="connsiteX9" fmla="*/ 1978 w 51880"/>
                  <a:gd name="connsiteY9" fmla="*/ 16660 h 9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80" h="93552">
                    <a:moveTo>
                      <a:pt x="1978" y="16660"/>
                    </a:moveTo>
                    <a:cubicBezTo>
                      <a:pt x="3259" y="19223"/>
                      <a:pt x="7104" y="23068"/>
                      <a:pt x="13512" y="24349"/>
                    </a:cubicBezTo>
                    <a:cubicBezTo>
                      <a:pt x="19919" y="39728"/>
                      <a:pt x="26327" y="55106"/>
                      <a:pt x="34016" y="70485"/>
                    </a:cubicBezTo>
                    <a:cubicBezTo>
                      <a:pt x="25046" y="79456"/>
                      <a:pt x="35298" y="93553"/>
                      <a:pt x="44269" y="93553"/>
                    </a:cubicBezTo>
                    <a:cubicBezTo>
                      <a:pt x="53240" y="93553"/>
                      <a:pt x="54521" y="80737"/>
                      <a:pt x="46832" y="73048"/>
                    </a:cubicBezTo>
                    <a:cubicBezTo>
                      <a:pt x="42987" y="69203"/>
                      <a:pt x="40425" y="69203"/>
                      <a:pt x="37861" y="69203"/>
                    </a:cubicBezTo>
                    <a:cubicBezTo>
                      <a:pt x="31453" y="53825"/>
                      <a:pt x="25046" y="38446"/>
                      <a:pt x="17357" y="23068"/>
                    </a:cubicBezTo>
                    <a:cubicBezTo>
                      <a:pt x="26327" y="15378"/>
                      <a:pt x="17357" y="1282"/>
                      <a:pt x="9667" y="0"/>
                    </a:cubicBezTo>
                    <a:cubicBezTo>
                      <a:pt x="8386" y="0"/>
                      <a:pt x="7104" y="0"/>
                      <a:pt x="5823" y="0"/>
                    </a:cubicBezTo>
                    <a:cubicBezTo>
                      <a:pt x="-4430" y="3844"/>
                      <a:pt x="1978" y="16660"/>
                      <a:pt x="197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6" name="Freeform: Shape 379882">
                <a:extLst>
                  <a:ext uri="{FF2B5EF4-FFF2-40B4-BE49-F238E27FC236}">
                    <a16:creationId xmlns:a16="http://schemas.microsoft.com/office/drawing/2014/main" id="{68835F7A-5A5C-4CF1-AE85-179739FEDCD5}"/>
                  </a:ext>
                </a:extLst>
              </p:cNvPr>
              <p:cNvSpPr/>
              <p:nvPr/>
            </p:nvSpPr>
            <p:spPr>
              <a:xfrm>
                <a:off x="4965948" y="4312266"/>
                <a:ext cx="119527" cy="223111"/>
              </a:xfrm>
              <a:custGeom>
                <a:avLst/>
                <a:gdLst>
                  <a:gd name="connsiteX0" fmla="*/ 2288 w 119527"/>
                  <a:gd name="connsiteY0" fmla="*/ 16660 h 223111"/>
                  <a:gd name="connsiteX1" fmla="*/ 13822 w 119527"/>
                  <a:gd name="connsiteY1" fmla="*/ 24349 h 223111"/>
                  <a:gd name="connsiteX2" fmla="*/ 99685 w 119527"/>
                  <a:gd name="connsiteY2" fmla="*/ 201203 h 223111"/>
                  <a:gd name="connsiteX3" fmla="*/ 109938 w 119527"/>
                  <a:gd name="connsiteY3" fmla="*/ 222989 h 223111"/>
                  <a:gd name="connsiteX4" fmla="*/ 116346 w 119527"/>
                  <a:gd name="connsiteY4" fmla="*/ 206329 h 223111"/>
                  <a:gd name="connsiteX5" fmla="*/ 104812 w 119527"/>
                  <a:gd name="connsiteY5" fmla="*/ 199921 h 223111"/>
                  <a:gd name="connsiteX6" fmla="*/ 18948 w 119527"/>
                  <a:gd name="connsiteY6" fmla="*/ 23068 h 223111"/>
                  <a:gd name="connsiteX7" fmla="*/ 11259 w 119527"/>
                  <a:gd name="connsiteY7" fmla="*/ 0 h 223111"/>
                  <a:gd name="connsiteX8" fmla="*/ 7414 w 119527"/>
                  <a:gd name="connsiteY8" fmla="*/ 0 h 223111"/>
                  <a:gd name="connsiteX9" fmla="*/ 2288 w 119527"/>
                  <a:gd name="connsiteY9" fmla="*/ 16660 h 22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527" h="223111">
                    <a:moveTo>
                      <a:pt x="2288" y="16660"/>
                    </a:moveTo>
                    <a:cubicBezTo>
                      <a:pt x="3569" y="19223"/>
                      <a:pt x="7414" y="23068"/>
                      <a:pt x="13822" y="24349"/>
                    </a:cubicBezTo>
                    <a:cubicBezTo>
                      <a:pt x="40734" y="84582"/>
                      <a:pt x="68928" y="143533"/>
                      <a:pt x="99685" y="201203"/>
                    </a:cubicBezTo>
                    <a:cubicBezTo>
                      <a:pt x="91996" y="208892"/>
                      <a:pt x="100967" y="221707"/>
                      <a:pt x="109938" y="222989"/>
                    </a:cubicBezTo>
                    <a:cubicBezTo>
                      <a:pt x="118909" y="224270"/>
                      <a:pt x="122753" y="215300"/>
                      <a:pt x="116346" y="206329"/>
                    </a:cubicBezTo>
                    <a:cubicBezTo>
                      <a:pt x="113783" y="203766"/>
                      <a:pt x="111219" y="199921"/>
                      <a:pt x="104812" y="199921"/>
                    </a:cubicBezTo>
                    <a:cubicBezTo>
                      <a:pt x="74054" y="142252"/>
                      <a:pt x="45861" y="83300"/>
                      <a:pt x="18948" y="23068"/>
                    </a:cubicBezTo>
                    <a:cubicBezTo>
                      <a:pt x="27919" y="15379"/>
                      <a:pt x="20229" y="1282"/>
                      <a:pt x="11259" y="0"/>
                    </a:cubicBezTo>
                    <a:cubicBezTo>
                      <a:pt x="9977" y="0"/>
                      <a:pt x="8695" y="0"/>
                      <a:pt x="7414" y="0"/>
                    </a:cubicBezTo>
                    <a:cubicBezTo>
                      <a:pt x="-5402" y="3845"/>
                      <a:pt x="2288" y="15379"/>
                      <a:pt x="228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7" name="Freeform: Shape 379883">
                <a:extLst>
                  <a:ext uri="{FF2B5EF4-FFF2-40B4-BE49-F238E27FC236}">
                    <a16:creationId xmlns:a16="http://schemas.microsoft.com/office/drawing/2014/main" id="{6FAA6694-45A8-41C0-8906-67A6BDAFC891}"/>
                  </a:ext>
                </a:extLst>
              </p:cNvPr>
              <p:cNvSpPr/>
              <p:nvPr/>
            </p:nvSpPr>
            <p:spPr>
              <a:xfrm>
                <a:off x="4998929" y="4222557"/>
                <a:ext cx="50613" cy="93651"/>
              </a:xfrm>
              <a:custGeom>
                <a:avLst/>
                <a:gdLst>
                  <a:gd name="connsiteX0" fmla="*/ 1345 w 50613"/>
                  <a:gd name="connsiteY0" fmla="*/ 16660 h 93651"/>
                  <a:gd name="connsiteX1" fmla="*/ 12879 w 50613"/>
                  <a:gd name="connsiteY1" fmla="*/ 24349 h 93651"/>
                  <a:gd name="connsiteX2" fmla="*/ 32102 w 50613"/>
                  <a:gd name="connsiteY2" fmla="*/ 70485 h 93651"/>
                  <a:gd name="connsiteX3" fmla="*/ 39792 w 50613"/>
                  <a:gd name="connsiteY3" fmla="*/ 93553 h 93651"/>
                  <a:gd name="connsiteX4" fmla="*/ 47481 w 50613"/>
                  <a:gd name="connsiteY4" fmla="*/ 74330 h 93651"/>
                  <a:gd name="connsiteX5" fmla="*/ 37229 w 50613"/>
                  <a:gd name="connsiteY5" fmla="*/ 69204 h 93651"/>
                  <a:gd name="connsiteX6" fmla="*/ 18006 w 50613"/>
                  <a:gd name="connsiteY6" fmla="*/ 23068 h 93651"/>
                  <a:gd name="connsiteX7" fmla="*/ 10316 w 50613"/>
                  <a:gd name="connsiteY7" fmla="*/ 0 h 93651"/>
                  <a:gd name="connsiteX8" fmla="*/ 6472 w 50613"/>
                  <a:gd name="connsiteY8" fmla="*/ 0 h 93651"/>
                  <a:gd name="connsiteX9" fmla="*/ 1345 w 50613"/>
                  <a:gd name="connsiteY9" fmla="*/ 16660 h 9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613" h="93651">
                    <a:moveTo>
                      <a:pt x="1345" y="16660"/>
                    </a:moveTo>
                    <a:cubicBezTo>
                      <a:pt x="2627" y="19223"/>
                      <a:pt x="6472" y="23068"/>
                      <a:pt x="12879" y="24349"/>
                    </a:cubicBezTo>
                    <a:cubicBezTo>
                      <a:pt x="18006" y="38447"/>
                      <a:pt x="25695" y="56388"/>
                      <a:pt x="32102" y="70485"/>
                    </a:cubicBezTo>
                    <a:cubicBezTo>
                      <a:pt x="23132" y="78174"/>
                      <a:pt x="30821" y="92271"/>
                      <a:pt x="39792" y="93553"/>
                    </a:cubicBezTo>
                    <a:cubicBezTo>
                      <a:pt x="50044" y="94835"/>
                      <a:pt x="53889" y="83301"/>
                      <a:pt x="47481" y="74330"/>
                    </a:cubicBezTo>
                    <a:cubicBezTo>
                      <a:pt x="43636" y="69204"/>
                      <a:pt x="38510" y="69204"/>
                      <a:pt x="37229" y="69204"/>
                    </a:cubicBezTo>
                    <a:cubicBezTo>
                      <a:pt x="30821" y="53825"/>
                      <a:pt x="24413" y="38447"/>
                      <a:pt x="18006" y="23068"/>
                    </a:cubicBezTo>
                    <a:cubicBezTo>
                      <a:pt x="28258" y="15379"/>
                      <a:pt x="19287" y="1282"/>
                      <a:pt x="10316" y="0"/>
                    </a:cubicBezTo>
                    <a:cubicBezTo>
                      <a:pt x="9034" y="0"/>
                      <a:pt x="7753" y="0"/>
                      <a:pt x="6472" y="0"/>
                    </a:cubicBezTo>
                    <a:cubicBezTo>
                      <a:pt x="-2500" y="3845"/>
                      <a:pt x="64" y="14097"/>
                      <a:pt x="134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8" name="Freeform: Shape 379884">
                <a:extLst>
                  <a:ext uri="{FF2B5EF4-FFF2-40B4-BE49-F238E27FC236}">
                    <a16:creationId xmlns:a16="http://schemas.microsoft.com/office/drawing/2014/main" id="{A3CBD09F-80BA-4803-B93B-C8543C2D1EBB}"/>
                  </a:ext>
                </a:extLst>
              </p:cNvPr>
              <p:cNvSpPr/>
              <p:nvPr/>
            </p:nvSpPr>
            <p:spPr>
              <a:xfrm>
                <a:off x="5044635" y="4248188"/>
                <a:ext cx="37516" cy="59049"/>
              </a:xfrm>
              <a:custGeom>
                <a:avLst/>
                <a:gdLst>
                  <a:gd name="connsiteX0" fmla="*/ 1775 w 37516"/>
                  <a:gd name="connsiteY0" fmla="*/ 16660 h 59049"/>
                  <a:gd name="connsiteX1" fmla="*/ 13309 w 37516"/>
                  <a:gd name="connsiteY1" fmla="*/ 24349 h 59049"/>
                  <a:gd name="connsiteX2" fmla="*/ 18435 w 37516"/>
                  <a:gd name="connsiteY2" fmla="*/ 35883 h 59049"/>
                  <a:gd name="connsiteX3" fmla="*/ 26124 w 37516"/>
                  <a:gd name="connsiteY3" fmla="*/ 58951 h 59049"/>
                  <a:gd name="connsiteX4" fmla="*/ 33814 w 37516"/>
                  <a:gd name="connsiteY4" fmla="*/ 39728 h 59049"/>
                  <a:gd name="connsiteX5" fmla="*/ 23561 w 37516"/>
                  <a:gd name="connsiteY5" fmla="*/ 34602 h 59049"/>
                  <a:gd name="connsiteX6" fmla="*/ 18435 w 37516"/>
                  <a:gd name="connsiteY6" fmla="*/ 23068 h 59049"/>
                  <a:gd name="connsiteX7" fmla="*/ 10746 w 37516"/>
                  <a:gd name="connsiteY7" fmla="*/ 0 h 59049"/>
                  <a:gd name="connsiteX8" fmla="*/ 6901 w 37516"/>
                  <a:gd name="connsiteY8" fmla="*/ 0 h 59049"/>
                  <a:gd name="connsiteX9" fmla="*/ 1775 w 37516"/>
                  <a:gd name="connsiteY9" fmla="*/ 16660 h 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16" h="59049">
                    <a:moveTo>
                      <a:pt x="1775" y="16660"/>
                    </a:moveTo>
                    <a:cubicBezTo>
                      <a:pt x="3057" y="19223"/>
                      <a:pt x="6901" y="23068"/>
                      <a:pt x="13309" y="24349"/>
                    </a:cubicBezTo>
                    <a:cubicBezTo>
                      <a:pt x="14591" y="28194"/>
                      <a:pt x="15872" y="32039"/>
                      <a:pt x="18435" y="35883"/>
                    </a:cubicBezTo>
                    <a:cubicBezTo>
                      <a:pt x="8183" y="43573"/>
                      <a:pt x="17154" y="57670"/>
                      <a:pt x="26124" y="58951"/>
                    </a:cubicBezTo>
                    <a:cubicBezTo>
                      <a:pt x="36377" y="60233"/>
                      <a:pt x="41503" y="48699"/>
                      <a:pt x="33814" y="39728"/>
                    </a:cubicBezTo>
                    <a:cubicBezTo>
                      <a:pt x="29969" y="34602"/>
                      <a:pt x="24843" y="34602"/>
                      <a:pt x="23561" y="34602"/>
                    </a:cubicBezTo>
                    <a:cubicBezTo>
                      <a:pt x="22280" y="30757"/>
                      <a:pt x="19717" y="26912"/>
                      <a:pt x="18435" y="23068"/>
                    </a:cubicBezTo>
                    <a:cubicBezTo>
                      <a:pt x="28688" y="15379"/>
                      <a:pt x="20998" y="1282"/>
                      <a:pt x="10746" y="0"/>
                    </a:cubicBezTo>
                    <a:cubicBezTo>
                      <a:pt x="9464" y="0"/>
                      <a:pt x="8183" y="0"/>
                      <a:pt x="6901" y="0"/>
                    </a:cubicBezTo>
                    <a:cubicBezTo>
                      <a:pt x="-4633" y="3845"/>
                      <a:pt x="1775" y="16660"/>
                      <a:pt x="177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49" name="Freeform: Shape 379885">
                <a:extLst>
                  <a:ext uri="{FF2B5EF4-FFF2-40B4-BE49-F238E27FC236}">
                    <a16:creationId xmlns:a16="http://schemas.microsoft.com/office/drawing/2014/main" id="{93B1EC1B-A0D7-4B0D-B739-8E6D4DD7D716}"/>
                  </a:ext>
                </a:extLst>
              </p:cNvPr>
              <p:cNvSpPr/>
              <p:nvPr/>
            </p:nvSpPr>
            <p:spPr>
              <a:xfrm>
                <a:off x="5076471" y="4237936"/>
                <a:ext cx="37718" cy="59049"/>
              </a:xfrm>
              <a:custGeom>
                <a:avLst/>
                <a:gdLst>
                  <a:gd name="connsiteX0" fmla="*/ 1978 w 37718"/>
                  <a:gd name="connsiteY0" fmla="*/ 16660 h 59049"/>
                  <a:gd name="connsiteX1" fmla="*/ 13512 w 37718"/>
                  <a:gd name="connsiteY1" fmla="*/ 24349 h 59049"/>
                  <a:gd name="connsiteX2" fmla="*/ 18638 w 37718"/>
                  <a:gd name="connsiteY2" fmla="*/ 35883 h 59049"/>
                  <a:gd name="connsiteX3" fmla="*/ 26327 w 37718"/>
                  <a:gd name="connsiteY3" fmla="*/ 58951 h 59049"/>
                  <a:gd name="connsiteX4" fmla="*/ 34017 w 37718"/>
                  <a:gd name="connsiteY4" fmla="*/ 39728 h 59049"/>
                  <a:gd name="connsiteX5" fmla="*/ 23764 w 37718"/>
                  <a:gd name="connsiteY5" fmla="*/ 34602 h 59049"/>
                  <a:gd name="connsiteX6" fmla="*/ 18638 w 37718"/>
                  <a:gd name="connsiteY6" fmla="*/ 23068 h 59049"/>
                  <a:gd name="connsiteX7" fmla="*/ 10949 w 37718"/>
                  <a:gd name="connsiteY7" fmla="*/ 0 h 59049"/>
                  <a:gd name="connsiteX8" fmla="*/ 5822 w 37718"/>
                  <a:gd name="connsiteY8" fmla="*/ 0 h 59049"/>
                  <a:gd name="connsiteX9" fmla="*/ 1978 w 37718"/>
                  <a:gd name="connsiteY9" fmla="*/ 16660 h 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18" h="59049">
                    <a:moveTo>
                      <a:pt x="1978" y="16660"/>
                    </a:moveTo>
                    <a:cubicBezTo>
                      <a:pt x="3259" y="19223"/>
                      <a:pt x="7104" y="23068"/>
                      <a:pt x="13512" y="24349"/>
                    </a:cubicBezTo>
                    <a:cubicBezTo>
                      <a:pt x="14793" y="28194"/>
                      <a:pt x="16075" y="32039"/>
                      <a:pt x="18638" y="35883"/>
                    </a:cubicBezTo>
                    <a:cubicBezTo>
                      <a:pt x="8386" y="43573"/>
                      <a:pt x="17356" y="57670"/>
                      <a:pt x="26327" y="58951"/>
                    </a:cubicBezTo>
                    <a:cubicBezTo>
                      <a:pt x="36580" y="60233"/>
                      <a:pt x="41706" y="48699"/>
                      <a:pt x="34017" y="39728"/>
                    </a:cubicBezTo>
                    <a:cubicBezTo>
                      <a:pt x="30172" y="34602"/>
                      <a:pt x="25046" y="34602"/>
                      <a:pt x="23764" y="34602"/>
                    </a:cubicBezTo>
                    <a:cubicBezTo>
                      <a:pt x="22483" y="30757"/>
                      <a:pt x="21201" y="26912"/>
                      <a:pt x="18638" y="23068"/>
                    </a:cubicBezTo>
                    <a:cubicBezTo>
                      <a:pt x="28890" y="15379"/>
                      <a:pt x="21201" y="1282"/>
                      <a:pt x="10949" y="0"/>
                    </a:cubicBezTo>
                    <a:cubicBezTo>
                      <a:pt x="9667" y="0"/>
                      <a:pt x="7104" y="0"/>
                      <a:pt x="5822" y="0"/>
                    </a:cubicBezTo>
                    <a:cubicBezTo>
                      <a:pt x="-4430" y="5126"/>
                      <a:pt x="1978" y="16660"/>
                      <a:pt x="197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0" name="Freeform: Shape 379886">
                <a:extLst>
                  <a:ext uri="{FF2B5EF4-FFF2-40B4-BE49-F238E27FC236}">
                    <a16:creationId xmlns:a16="http://schemas.microsoft.com/office/drawing/2014/main" id="{666ED6D6-F364-43F5-A100-E2DABE35B575}"/>
                  </a:ext>
                </a:extLst>
              </p:cNvPr>
              <p:cNvSpPr/>
              <p:nvPr/>
            </p:nvSpPr>
            <p:spPr>
              <a:xfrm>
                <a:off x="6264391" y="3656114"/>
                <a:ext cx="123007" cy="316368"/>
              </a:xfrm>
              <a:custGeom>
                <a:avLst/>
                <a:gdLst>
                  <a:gd name="connsiteX0" fmla="*/ 773 w 123007"/>
                  <a:gd name="connsiteY0" fmla="*/ 21786 h 316368"/>
                  <a:gd name="connsiteX1" fmla="*/ 13588 w 123007"/>
                  <a:gd name="connsiteY1" fmla="*/ 29476 h 316368"/>
                  <a:gd name="connsiteX2" fmla="*/ 62287 w 123007"/>
                  <a:gd name="connsiteY2" fmla="*/ 278095 h 316368"/>
                  <a:gd name="connsiteX3" fmla="*/ 98171 w 123007"/>
                  <a:gd name="connsiteY3" fmla="*/ 299882 h 316368"/>
                  <a:gd name="connsiteX4" fmla="*/ 114831 w 123007"/>
                  <a:gd name="connsiteY4" fmla="*/ 315260 h 316368"/>
                  <a:gd name="connsiteX5" fmla="*/ 114831 w 123007"/>
                  <a:gd name="connsiteY5" fmla="*/ 290911 h 316368"/>
                  <a:gd name="connsiteX6" fmla="*/ 100733 w 123007"/>
                  <a:gd name="connsiteY6" fmla="*/ 293474 h 316368"/>
                  <a:gd name="connsiteX7" fmla="*/ 67413 w 123007"/>
                  <a:gd name="connsiteY7" fmla="*/ 272969 h 316368"/>
                  <a:gd name="connsiteX8" fmla="*/ 18714 w 123007"/>
                  <a:gd name="connsiteY8" fmla="*/ 25631 h 316368"/>
                  <a:gd name="connsiteX9" fmla="*/ 16151 w 123007"/>
                  <a:gd name="connsiteY9" fmla="*/ 0 h 316368"/>
                  <a:gd name="connsiteX10" fmla="*/ 11025 w 123007"/>
                  <a:gd name="connsiteY10" fmla="*/ 0 h 316368"/>
                  <a:gd name="connsiteX11" fmla="*/ 773 w 123007"/>
                  <a:gd name="connsiteY11" fmla="*/ 21786 h 31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3007" h="316368">
                    <a:moveTo>
                      <a:pt x="773" y="21786"/>
                    </a:moveTo>
                    <a:cubicBezTo>
                      <a:pt x="2055" y="25631"/>
                      <a:pt x="5899" y="29476"/>
                      <a:pt x="13588" y="29476"/>
                    </a:cubicBezTo>
                    <a:cubicBezTo>
                      <a:pt x="31530" y="114058"/>
                      <a:pt x="46909" y="197358"/>
                      <a:pt x="62287" y="278095"/>
                    </a:cubicBezTo>
                    <a:cubicBezTo>
                      <a:pt x="72540" y="284503"/>
                      <a:pt x="87918" y="293474"/>
                      <a:pt x="98171" y="299882"/>
                    </a:cubicBezTo>
                    <a:cubicBezTo>
                      <a:pt x="94326" y="312697"/>
                      <a:pt x="105860" y="319105"/>
                      <a:pt x="114831" y="315260"/>
                    </a:cubicBezTo>
                    <a:cubicBezTo>
                      <a:pt x="125083" y="310134"/>
                      <a:pt x="126365" y="296037"/>
                      <a:pt x="114831" y="290911"/>
                    </a:cubicBezTo>
                    <a:cubicBezTo>
                      <a:pt x="109704" y="288348"/>
                      <a:pt x="105860" y="289629"/>
                      <a:pt x="100733" y="293474"/>
                    </a:cubicBezTo>
                    <a:lnTo>
                      <a:pt x="67413" y="272969"/>
                    </a:lnTo>
                    <a:cubicBezTo>
                      <a:pt x="53316" y="192232"/>
                      <a:pt x="36656" y="108931"/>
                      <a:pt x="18714" y="25631"/>
                    </a:cubicBezTo>
                    <a:cubicBezTo>
                      <a:pt x="32811" y="17942"/>
                      <a:pt x="26404" y="2563"/>
                      <a:pt x="16151" y="0"/>
                    </a:cubicBezTo>
                    <a:cubicBezTo>
                      <a:pt x="14870" y="0"/>
                      <a:pt x="12307" y="0"/>
                      <a:pt x="11025" y="0"/>
                    </a:cubicBezTo>
                    <a:cubicBezTo>
                      <a:pt x="-1790" y="7689"/>
                      <a:pt x="-509" y="17942"/>
                      <a:pt x="773" y="2178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1" name="Freeform: Shape 379887">
                <a:extLst>
                  <a:ext uri="{FF2B5EF4-FFF2-40B4-BE49-F238E27FC236}">
                    <a16:creationId xmlns:a16="http://schemas.microsoft.com/office/drawing/2014/main" id="{67526E63-A0BE-4A23-A838-EBA4AF1EB77D}"/>
                  </a:ext>
                </a:extLst>
              </p:cNvPr>
              <p:cNvSpPr/>
              <p:nvPr/>
            </p:nvSpPr>
            <p:spPr>
              <a:xfrm>
                <a:off x="6874621" y="3850909"/>
                <a:ext cx="32814" cy="315592"/>
              </a:xfrm>
              <a:custGeom>
                <a:avLst/>
                <a:gdLst>
                  <a:gd name="connsiteX0" fmla="*/ 561 w 32814"/>
                  <a:gd name="connsiteY0" fmla="*/ 15379 h 315592"/>
                  <a:gd name="connsiteX1" fmla="*/ 9532 w 32814"/>
                  <a:gd name="connsiteY1" fmla="*/ 24349 h 315592"/>
                  <a:gd name="connsiteX2" fmla="*/ 19784 w 32814"/>
                  <a:gd name="connsiteY2" fmla="*/ 290911 h 315592"/>
                  <a:gd name="connsiteX3" fmla="*/ 18502 w 32814"/>
                  <a:gd name="connsiteY3" fmla="*/ 315260 h 315592"/>
                  <a:gd name="connsiteX4" fmla="*/ 31318 w 32814"/>
                  <a:gd name="connsiteY4" fmla="*/ 296037 h 315592"/>
                  <a:gd name="connsiteX5" fmla="*/ 24910 w 32814"/>
                  <a:gd name="connsiteY5" fmla="*/ 290911 h 315592"/>
                  <a:gd name="connsiteX6" fmla="*/ 14657 w 32814"/>
                  <a:gd name="connsiteY6" fmla="*/ 24349 h 315592"/>
                  <a:gd name="connsiteX7" fmla="*/ 14657 w 32814"/>
                  <a:gd name="connsiteY7" fmla="*/ 0 h 315592"/>
                  <a:gd name="connsiteX8" fmla="*/ 10813 w 32814"/>
                  <a:gd name="connsiteY8" fmla="*/ 0 h 315592"/>
                  <a:gd name="connsiteX9" fmla="*/ 561 w 32814"/>
                  <a:gd name="connsiteY9" fmla="*/ 15379 h 31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814" h="315592">
                    <a:moveTo>
                      <a:pt x="561" y="15379"/>
                    </a:moveTo>
                    <a:cubicBezTo>
                      <a:pt x="1842" y="19223"/>
                      <a:pt x="3124" y="23068"/>
                      <a:pt x="9532" y="24349"/>
                    </a:cubicBezTo>
                    <a:cubicBezTo>
                      <a:pt x="17221" y="115339"/>
                      <a:pt x="19784" y="203766"/>
                      <a:pt x="19784" y="290911"/>
                    </a:cubicBezTo>
                    <a:cubicBezTo>
                      <a:pt x="8250" y="297319"/>
                      <a:pt x="9532" y="311416"/>
                      <a:pt x="18502" y="315260"/>
                    </a:cubicBezTo>
                    <a:cubicBezTo>
                      <a:pt x="27473" y="317823"/>
                      <a:pt x="36444" y="305008"/>
                      <a:pt x="31318" y="296037"/>
                    </a:cubicBezTo>
                    <a:cubicBezTo>
                      <a:pt x="28755" y="292192"/>
                      <a:pt x="26191" y="292192"/>
                      <a:pt x="24910" y="290911"/>
                    </a:cubicBezTo>
                    <a:cubicBezTo>
                      <a:pt x="24910" y="203766"/>
                      <a:pt x="21066" y="115339"/>
                      <a:pt x="14657" y="24349"/>
                    </a:cubicBezTo>
                    <a:cubicBezTo>
                      <a:pt x="26191" y="17942"/>
                      <a:pt x="23628" y="2563"/>
                      <a:pt x="14657" y="0"/>
                    </a:cubicBezTo>
                    <a:cubicBezTo>
                      <a:pt x="13376" y="0"/>
                      <a:pt x="12094" y="0"/>
                      <a:pt x="10813" y="0"/>
                    </a:cubicBezTo>
                    <a:cubicBezTo>
                      <a:pt x="-721" y="1282"/>
                      <a:pt x="-721" y="12816"/>
                      <a:pt x="56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2" name="Freeform: Shape 379888">
                <a:extLst>
                  <a:ext uri="{FF2B5EF4-FFF2-40B4-BE49-F238E27FC236}">
                    <a16:creationId xmlns:a16="http://schemas.microsoft.com/office/drawing/2014/main" id="{6376AD31-BDD3-43D6-9DAD-F10612A4E5CA}"/>
                  </a:ext>
                </a:extLst>
              </p:cNvPr>
              <p:cNvSpPr/>
              <p:nvPr/>
            </p:nvSpPr>
            <p:spPr>
              <a:xfrm>
                <a:off x="7768422" y="3786832"/>
                <a:ext cx="1812" cy="25631"/>
              </a:xfrm>
              <a:custGeom>
                <a:avLst/>
                <a:gdLst>
                  <a:gd name="connsiteX0" fmla="*/ 0 w 1812"/>
                  <a:gd name="connsiteY0" fmla="*/ 12816 h 25631"/>
                  <a:gd name="connsiteX1" fmla="*/ 0 w 1812"/>
                  <a:gd name="connsiteY1" fmla="*/ 25631 h 25631"/>
                  <a:gd name="connsiteX2" fmla="*/ 1282 w 1812"/>
                  <a:gd name="connsiteY2" fmla="*/ 0 h 25631"/>
                  <a:gd name="connsiteX3" fmla="*/ 1282 w 1812"/>
                  <a:gd name="connsiteY3" fmla="*/ 0 h 25631"/>
                  <a:gd name="connsiteX4" fmla="*/ 0 w 1812"/>
                  <a:gd name="connsiteY4" fmla="*/ 12816 h 25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 h="25631">
                    <a:moveTo>
                      <a:pt x="0" y="12816"/>
                    </a:moveTo>
                    <a:cubicBezTo>
                      <a:pt x="0" y="17942"/>
                      <a:pt x="0" y="25631"/>
                      <a:pt x="0" y="25631"/>
                    </a:cubicBezTo>
                    <a:cubicBezTo>
                      <a:pt x="1282" y="24349"/>
                      <a:pt x="2563" y="1282"/>
                      <a:pt x="1282" y="0"/>
                    </a:cubicBezTo>
                    <a:cubicBezTo>
                      <a:pt x="1282" y="0"/>
                      <a:pt x="1282" y="0"/>
                      <a:pt x="1282" y="0"/>
                    </a:cubicBezTo>
                    <a:cubicBezTo>
                      <a:pt x="1282" y="0"/>
                      <a:pt x="0" y="7689"/>
                      <a:pt x="0"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3" name="Freeform: Shape 379889">
                <a:extLst>
                  <a:ext uri="{FF2B5EF4-FFF2-40B4-BE49-F238E27FC236}">
                    <a16:creationId xmlns:a16="http://schemas.microsoft.com/office/drawing/2014/main" id="{6CCF4800-0EF0-41B7-8C1F-EA9DA2BEE5CE}"/>
                  </a:ext>
                </a:extLst>
              </p:cNvPr>
              <p:cNvSpPr/>
              <p:nvPr/>
            </p:nvSpPr>
            <p:spPr>
              <a:xfrm>
                <a:off x="4608156" y="4478791"/>
                <a:ext cx="55328" cy="88502"/>
              </a:xfrm>
              <a:custGeom>
                <a:avLst/>
                <a:gdLst>
                  <a:gd name="connsiteX0" fmla="*/ 3808 w 55328"/>
                  <a:gd name="connsiteY0" fmla="*/ 15454 h 88502"/>
                  <a:gd name="connsiteX1" fmla="*/ 14061 w 55328"/>
                  <a:gd name="connsiteY1" fmla="*/ 23143 h 88502"/>
                  <a:gd name="connsiteX2" fmla="*/ 38410 w 55328"/>
                  <a:gd name="connsiteY2" fmla="*/ 66716 h 88502"/>
                  <a:gd name="connsiteX3" fmla="*/ 51226 w 55328"/>
                  <a:gd name="connsiteY3" fmla="*/ 88502 h 88502"/>
                  <a:gd name="connsiteX4" fmla="*/ 48663 w 55328"/>
                  <a:gd name="connsiteY4" fmla="*/ 69279 h 88502"/>
                  <a:gd name="connsiteX5" fmla="*/ 40973 w 55328"/>
                  <a:gd name="connsiteY5" fmla="*/ 65434 h 88502"/>
                  <a:gd name="connsiteX6" fmla="*/ 16624 w 55328"/>
                  <a:gd name="connsiteY6" fmla="*/ 21862 h 88502"/>
                  <a:gd name="connsiteX7" fmla="*/ 3808 w 55328"/>
                  <a:gd name="connsiteY7" fmla="*/ 75 h 88502"/>
                  <a:gd name="connsiteX8" fmla="*/ 2527 w 55328"/>
                  <a:gd name="connsiteY8" fmla="*/ 75 h 88502"/>
                  <a:gd name="connsiteX9" fmla="*/ 3808 w 55328"/>
                  <a:gd name="connsiteY9" fmla="*/ 15454 h 88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28" h="88502">
                    <a:moveTo>
                      <a:pt x="3808" y="15454"/>
                    </a:moveTo>
                    <a:cubicBezTo>
                      <a:pt x="6371" y="18017"/>
                      <a:pt x="8934" y="21862"/>
                      <a:pt x="14061" y="23143"/>
                    </a:cubicBezTo>
                    <a:cubicBezTo>
                      <a:pt x="21750" y="37240"/>
                      <a:pt x="30721" y="52619"/>
                      <a:pt x="38410" y="66716"/>
                    </a:cubicBezTo>
                    <a:cubicBezTo>
                      <a:pt x="33284" y="74405"/>
                      <a:pt x="44818" y="88502"/>
                      <a:pt x="51226" y="88502"/>
                    </a:cubicBezTo>
                    <a:cubicBezTo>
                      <a:pt x="57633" y="88502"/>
                      <a:pt x="56352" y="76968"/>
                      <a:pt x="48663" y="69279"/>
                    </a:cubicBezTo>
                    <a:cubicBezTo>
                      <a:pt x="44818" y="65434"/>
                      <a:pt x="42255" y="65434"/>
                      <a:pt x="40973" y="65434"/>
                    </a:cubicBezTo>
                    <a:cubicBezTo>
                      <a:pt x="33284" y="51337"/>
                      <a:pt x="24313" y="37240"/>
                      <a:pt x="16624" y="21862"/>
                    </a:cubicBezTo>
                    <a:cubicBezTo>
                      <a:pt x="21750" y="14172"/>
                      <a:pt x="10216" y="-1206"/>
                      <a:pt x="3808" y="75"/>
                    </a:cubicBezTo>
                    <a:cubicBezTo>
                      <a:pt x="3808" y="75"/>
                      <a:pt x="2527" y="75"/>
                      <a:pt x="2527" y="75"/>
                    </a:cubicBezTo>
                    <a:cubicBezTo>
                      <a:pt x="-2599" y="3920"/>
                      <a:pt x="1245" y="12891"/>
                      <a:pt x="3808" y="154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4" name="Freeform: Shape 379890">
                <a:extLst>
                  <a:ext uri="{FF2B5EF4-FFF2-40B4-BE49-F238E27FC236}">
                    <a16:creationId xmlns:a16="http://schemas.microsoft.com/office/drawing/2014/main" id="{57DF5E45-E575-45E3-86C7-23D6A5C82989}"/>
                  </a:ext>
                </a:extLst>
              </p:cNvPr>
              <p:cNvSpPr/>
              <p:nvPr/>
            </p:nvSpPr>
            <p:spPr>
              <a:xfrm>
                <a:off x="4675224" y="4290409"/>
                <a:ext cx="83477" cy="161544"/>
              </a:xfrm>
              <a:custGeom>
                <a:avLst/>
                <a:gdLst>
                  <a:gd name="connsiteX0" fmla="*/ 2099 w 83477"/>
                  <a:gd name="connsiteY0" fmla="*/ 18011 h 161544"/>
                  <a:gd name="connsiteX1" fmla="*/ 12351 w 83477"/>
                  <a:gd name="connsiteY1" fmla="*/ 25701 h 161544"/>
                  <a:gd name="connsiteX2" fmla="*/ 66177 w 83477"/>
                  <a:gd name="connsiteY2" fmla="*/ 138477 h 161544"/>
                  <a:gd name="connsiteX3" fmla="*/ 77711 w 83477"/>
                  <a:gd name="connsiteY3" fmla="*/ 161545 h 161544"/>
                  <a:gd name="connsiteX4" fmla="*/ 77711 w 83477"/>
                  <a:gd name="connsiteY4" fmla="*/ 141040 h 161544"/>
                  <a:gd name="connsiteX5" fmla="*/ 70021 w 83477"/>
                  <a:gd name="connsiteY5" fmla="*/ 137195 h 161544"/>
                  <a:gd name="connsiteX6" fmla="*/ 16196 w 83477"/>
                  <a:gd name="connsiteY6" fmla="*/ 23138 h 161544"/>
                  <a:gd name="connsiteX7" fmla="*/ 5944 w 83477"/>
                  <a:gd name="connsiteY7" fmla="*/ 70 h 161544"/>
                  <a:gd name="connsiteX8" fmla="*/ 4662 w 83477"/>
                  <a:gd name="connsiteY8" fmla="*/ 70 h 161544"/>
                  <a:gd name="connsiteX9" fmla="*/ 2099 w 83477"/>
                  <a:gd name="connsiteY9" fmla="*/ 18011 h 161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477" h="161544">
                    <a:moveTo>
                      <a:pt x="2099" y="18011"/>
                    </a:moveTo>
                    <a:cubicBezTo>
                      <a:pt x="3381" y="20575"/>
                      <a:pt x="7225" y="24419"/>
                      <a:pt x="12351" y="25701"/>
                    </a:cubicBezTo>
                    <a:cubicBezTo>
                      <a:pt x="29012" y="64147"/>
                      <a:pt x="46953" y="102593"/>
                      <a:pt x="66177" y="138477"/>
                    </a:cubicBezTo>
                    <a:cubicBezTo>
                      <a:pt x="58487" y="146166"/>
                      <a:pt x="70021" y="161545"/>
                      <a:pt x="77711" y="161545"/>
                    </a:cubicBezTo>
                    <a:cubicBezTo>
                      <a:pt x="85400" y="161545"/>
                      <a:pt x="85400" y="148729"/>
                      <a:pt x="77711" y="141040"/>
                    </a:cubicBezTo>
                    <a:cubicBezTo>
                      <a:pt x="73866" y="137195"/>
                      <a:pt x="71303" y="137195"/>
                      <a:pt x="70021" y="137195"/>
                    </a:cubicBezTo>
                    <a:cubicBezTo>
                      <a:pt x="50798" y="100031"/>
                      <a:pt x="34138" y="62866"/>
                      <a:pt x="16196" y="23138"/>
                    </a:cubicBezTo>
                    <a:cubicBezTo>
                      <a:pt x="23885" y="15449"/>
                      <a:pt x="13633" y="-1212"/>
                      <a:pt x="5944" y="70"/>
                    </a:cubicBezTo>
                    <a:cubicBezTo>
                      <a:pt x="5944" y="70"/>
                      <a:pt x="4662" y="70"/>
                      <a:pt x="4662" y="70"/>
                    </a:cubicBezTo>
                    <a:cubicBezTo>
                      <a:pt x="-3027" y="5196"/>
                      <a:pt x="818" y="14167"/>
                      <a:pt x="2099" y="1801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5" name="Freeform: Shape 379891">
                <a:extLst>
                  <a:ext uri="{FF2B5EF4-FFF2-40B4-BE49-F238E27FC236}">
                    <a16:creationId xmlns:a16="http://schemas.microsoft.com/office/drawing/2014/main" id="{6AB8FF43-CF67-4F93-AD2B-FEBCF08FD28E}"/>
                  </a:ext>
                </a:extLst>
              </p:cNvPr>
              <p:cNvSpPr/>
              <p:nvPr/>
            </p:nvSpPr>
            <p:spPr>
              <a:xfrm>
                <a:off x="4699540" y="4281144"/>
                <a:ext cx="109142" cy="152868"/>
              </a:xfrm>
              <a:custGeom>
                <a:avLst/>
                <a:gdLst>
                  <a:gd name="connsiteX0" fmla="*/ 3415 w 109142"/>
                  <a:gd name="connsiteY0" fmla="*/ 18306 h 152868"/>
                  <a:gd name="connsiteX1" fmla="*/ 18793 w 109142"/>
                  <a:gd name="connsiteY1" fmla="*/ 22151 h 152868"/>
                  <a:gd name="connsiteX2" fmla="*/ 50832 w 109142"/>
                  <a:gd name="connsiteY2" fmla="*/ 41374 h 152868"/>
                  <a:gd name="connsiteX3" fmla="*/ 91841 w 109142"/>
                  <a:gd name="connsiteY3" fmla="*/ 129800 h 152868"/>
                  <a:gd name="connsiteX4" fmla="*/ 103375 w 109142"/>
                  <a:gd name="connsiteY4" fmla="*/ 152868 h 152868"/>
                  <a:gd name="connsiteX5" fmla="*/ 103375 w 109142"/>
                  <a:gd name="connsiteY5" fmla="*/ 132364 h 152868"/>
                  <a:gd name="connsiteX6" fmla="*/ 95686 w 109142"/>
                  <a:gd name="connsiteY6" fmla="*/ 128519 h 152868"/>
                  <a:gd name="connsiteX7" fmla="*/ 53395 w 109142"/>
                  <a:gd name="connsiteY7" fmla="*/ 37529 h 152868"/>
                  <a:gd name="connsiteX8" fmla="*/ 20074 w 109142"/>
                  <a:gd name="connsiteY8" fmla="*/ 17024 h 152868"/>
                  <a:gd name="connsiteX9" fmla="*/ 4696 w 109142"/>
                  <a:gd name="connsiteY9" fmla="*/ 364 h 152868"/>
                  <a:gd name="connsiteX10" fmla="*/ 3415 w 109142"/>
                  <a:gd name="connsiteY10" fmla="*/ 18306 h 15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142" h="152868">
                    <a:moveTo>
                      <a:pt x="3415" y="18306"/>
                    </a:moveTo>
                    <a:cubicBezTo>
                      <a:pt x="7259" y="24714"/>
                      <a:pt x="14948" y="28558"/>
                      <a:pt x="18793" y="22151"/>
                    </a:cubicBezTo>
                    <a:lnTo>
                      <a:pt x="50832" y="41374"/>
                    </a:lnTo>
                    <a:cubicBezTo>
                      <a:pt x="63647" y="70849"/>
                      <a:pt x="77744" y="100325"/>
                      <a:pt x="91841" y="129800"/>
                    </a:cubicBezTo>
                    <a:cubicBezTo>
                      <a:pt x="84152" y="137490"/>
                      <a:pt x="95686" y="152868"/>
                      <a:pt x="103375" y="152868"/>
                    </a:cubicBezTo>
                    <a:cubicBezTo>
                      <a:pt x="111065" y="152868"/>
                      <a:pt x="111065" y="140053"/>
                      <a:pt x="103375" y="132364"/>
                    </a:cubicBezTo>
                    <a:cubicBezTo>
                      <a:pt x="99531" y="128519"/>
                      <a:pt x="96968" y="128519"/>
                      <a:pt x="95686" y="128519"/>
                    </a:cubicBezTo>
                    <a:cubicBezTo>
                      <a:pt x="81589" y="99043"/>
                      <a:pt x="67492" y="68286"/>
                      <a:pt x="53395" y="37529"/>
                    </a:cubicBezTo>
                    <a:cubicBezTo>
                      <a:pt x="43142" y="31121"/>
                      <a:pt x="30327" y="23432"/>
                      <a:pt x="20074" y="17024"/>
                    </a:cubicBezTo>
                    <a:cubicBezTo>
                      <a:pt x="20074" y="9335"/>
                      <a:pt x="13667" y="-2199"/>
                      <a:pt x="4696" y="364"/>
                    </a:cubicBezTo>
                    <a:cubicBezTo>
                      <a:pt x="-4275" y="5490"/>
                      <a:pt x="2133" y="18306"/>
                      <a:pt x="3415" y="1830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6" name="Freeform: Shape 379892">
                <a:extLst>
                  <a:ext uri="{FF2B5EF4-FFF2-40B4-BE49-F238E27FC236}">
                    <a16:creationId xmlns:a16="http://schemas.microsoft.com/office/drawing/2014/main" id="{9115591E-4AA0-4C5E-950A-8345F7F82069}"/>
                  </a:ext>
                </a:extLst>
              </p:cNvPr>
              <p:cNvSpPr/>
              <p:nvPr/>
            </p:nvSpPr>
            <p:spPr>
              <a:xfrm>
                <a:off x="5204829" y="4276382"/>
                <a:ext cx="53300" cy="92369"/>
              </a:xfrm>
              <a:custGeom>
                <a:avLst/>
                <a:gdLst>
                  <a:gd name="connsiteX0" fmla="*/ 1775 w 53300"/>
                  <a:gd name="connsiteY0" fmla="*/ 17942 h 92369"/>
                  <a:gd name="connsiteX1" fmla="*/ 14591 w 53300"/>
                  <a:gd name="connsiteY1" fmla="*/ 24349 h 92369"/>
                  <a:gd name="connsiteX2" fmla="*/ 33814 w 53300"/>
                  <a:gd name="connsiteY2" fmla="*/ 69204 h 92369"/>
                  <a:gd name="connsiteX3" fmla="*/ 41503 w 53300"/>
                  <a:gd name="connsiteY3" fmla="*/ 92271 h 92369"/>
                  <a:gd name="connsiteX4" fmla="*/ 50474 w 53300"/>
                  <a:gd name="connsiteY4" fmla="*/ 73048 h 92369"/>
                  <a:gd name="connsiteX5" fmla="*/ 38940 w 53300"/>
                  <a:gd name="connsiteY5" fmla="*/ 67922 h 92369"/>
                  <a:gd name="connsiteX6" fmla="*/ 19717 w 53300"/>
                  <a:gd name="connsiteY6" fmla="*/ 23068 h 92369"/>
                  <a:gd name="connsiteX7" fmla="*/ 12027 w 53300"/>
                  <a:gd name="connsiteY7" fmla="*/ 0 h 92369"/>
                  <a:gd name="connsiteX8" fmla="*/ 6901 w 53300"/>
                  <a:gd name="connsiteY8" fmla="*/ 0 h 92369"/>
                  <a:gd name="connsiteX9" fmla="*/ 1775 w 53300"/>
                  <a:gd name="connsiteY9" fmla="*/ 17942 h 9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00" h="92369">
                    <a:moveTo>
                      <a:pt x="1775" y="17942"/>
                    </a:moveTo>
                    <a:cubicBezTo>
                      <a:pt x="3057" y="20505"/>
                      <a:pt x="6901" y="24349"/>
                      <a:pt x="14591" y="24349"/>
                    </a:cubicBezTo>
                    <a:cubicBezTo>
                      <a:pt x="20998" y="39728"/>
                      <a:pt x="27406" y="53825"/>
                      <a:pt x="33814" y="69204"/>
                    </a:cubicBezTo>
                    <a:cubicBezTo>
                      <a:pt x="23561" y="76893"/>
                      <a:pt x="31251" y="90990"/>
                      <a:pt x="41503" y="92271"/>
                    </a:cubicBezTo>
                    <a:cubicBezTo>
                      <a:pt x="51756" y="93553"/>
                      <a:pt x="56882" y="82019"/>
                      <a:pt x="50474" y="73048"/>
                    </a:cubicBezTo>
                    <a:cubicBezTo>
                      <a:pt x="46629" y="67922"/>
                      <a:pt x="41503" y="67922"/>
                      <a:pt x="38940" y="67922"/>
                    </a:cubicBezTo>
                    <a:cubicBezTo>
                      <a:pt x="32532" y="52543"/>
                      <a:pt x="26124" y="38447"/>
                      <a:pt x="19717" y="23068"/>
                    </a:cubicBezTo>
                    <a:cubicBezTo>
                      <a:pt x="29969" y="15379"/>
                      <a:pt x="22280" y="1282"/>
                      <a:pt x="12027" y="0"/>
                    </a:cubicBezTo>
                    <a:cubicBezTo>
                      <a:pt x="10746" y="0"/>
                      <a:pt x="8183" y="0"/>
                      <a:pt x="6901" y="0"/>
                    </a:cubicBezTo>
                    <a:cubicBezTo>
                      <a:pt x="-4633" y="5126"/>
                      <a:pt x="1775" y="17942"/>
                      <a:pt x="1775"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7" name="Freeform: Shape 379893">
                <a:extLst>
                  <a:ext uri="{FF2B5EF4-FFF2-40B4-BE49-F238E27FC236}">
                    <a16:creationId xmlns:a16="http://schemas.microsoft.com/office/drawing/2014/main" id="{BA93D5E5-CE41-4B5C-B2A2-E6FA045A0ED3}"/>
                  </a:ext>
                </a:extLst>
              </p:cNvPr>
              <p:cNvSpPr/>
              <p:nvPr/>
            </p:nvSpPr>
            <p:spPr>
              <a:xfrm>
                <a:off x="6320780" y="3529241"/>
                <a:ext cx="148266" cy="466482"/>
              </a:xfrm>
              <a:custGeom>
                <a:avLst/>
                <a:gdLst>
                  <a:gd name="connsiteX0" fmla="*/ 773 w 148266"/>
                  <a:gd name="connsiteY0" fmla="*/ 17942 h 466482"/>
                  <a:gd name="connsiteX1" fmla="*/ 13588 w 148266"/>
                  <a:gd name="connsiteY1" fmla="*/ 26912 h 466482"/>
                  <a:gd name="connsiteX2" fmla="*/ 71258 w 148266"/>
                  <a:gd name="connsiteY2" fmla="*/ 316542 h 466482"/>
                  <a:gd name="connsiteX3" fmla="*/ 116112 w 148266"/>
                  <a:gd name="connsiteY3" fmla="*/ 346017 h 466482"/>
                  <a:gd name="connsiteX4" fmla="*/ 131491 w 148266"/>
                  <a:gd name="connsiteY4" fmla="*/ 442133 h 466482"/>
                  <a:gd name="connsiteX5" fmla="*/ 135336 w 148266"/>
                  <a:gd name="connsiteY5" fmla="*/ 466483 h 466482"/>
                  <a:gd name="connsiteX6" fmla="*/ 144307 w 148266"/>
                  <a:gd name="connsiteY6" fmla="*/ 443415 h 466482"/>
                  <a:gd name="connsiteX7" fmla="*/ 136617 w 148266"/>
                  <a:gd name="connsiteY7" fmla="*/ 440852 h 466482"/>
                  <a:gd name="connsiteX8" fmla="*/ 121239 w 148266"/>
                  <a:gd name="connsiteY8" fmla="*/ 342173 h 466482"/>
                  <a:gd name="connsiteX9" fmla="*/ 76384 w 148266"/>
                  <a:gd name="connsiteY9" fmla="*/ 312697 h 466482"/>
                  <a:gd name="connsiteX10" fmla="*/ 19996 w 148266"/>
                  <a:gd name="connsiteY10" fmla="*/ 25631 h 466482"/>
                  <a:gd name="connsiteX11" fmla="*/ 16152 w 148266"/>
                  <a:gd name="connsiteY11" fmla="*/ 0 h 466482"/>
                  <a:gd name="connsiteX12" fmla="*/ 11025 w 148266"/>
                  <a:gd name="connsiteY12" fmla="*/ 0 h 466482"/>
                  <a:gd name="connsiteX13" fmla="*/ 773 w 148266"/>
                  <a:gd name="connsiteY13" fmla="*/ 17942 h 46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266" h="466482">
                    <a:moveTo>
                      <a:pt x="773" y="17942"/>
                    </a:moveTo>
                    <a:cubicBezTo>
                      <a:pt x="3336" y="24349"/>
                      <a:pt x="9744" y="25631"/>
                      <a:pt x="13588" y="26912"/>
                    </a:cubicBezTo>
                    <a:cubicBezTo>
                      <a:pt x="35375" y="124310"/>
                      <a:pt x="54598" y="221707"/>
                      <a:pt x="71258" y="316542"/>
                    </a:cubicBezTo>
                    <a:lnTo>
                      <a:pt x="116112" y="346017"/>
                    </a:lnTo>
                    <a:cubicBezTo>
                      <a:pt x="121239" y="378056"/>
                      <a:pt x="126365" y="410095"/>
                      <a:pt x="131491" y="442133"/>
                    </a:cubicBezTo>
                    <a:cubicBezTo>
                      <a:pt x="116112" y="452386"/>
                      <a:pt x="126365" y="466483"/>
                      <a:pt x="135336" y="466483"/>
                    </a:cubicBezTo>
                    <a:cubicBezTo>
                      <a:pt x="145588" y="466483"/>
                      <a:pt x="153277" y="452386"/>
                      <a:pt x="144307" y="443415"/>
                    </a:cubicBezTo>
                    <a:cubicBezTo>
                      <a:pt x="143025" y="442133"/>
                      <a:pt x="139180" y="440852"/>
                      <a:pt x="136617" y="440852"/>
                    </a:cubicBezTo>
                    <a:cubicBezTo>
                      <a:pt x="131491" y="407531"/>
                      <a:pt x="126365" y="375493"/>
                      <a:pt x="121239" y="342173"/>
                    </a:cubicBezTo>
                    <a:lnTo>
                      <a:pt x="76384" y="312697"/>
                    </a:lnTo>
                    <a:cubicBezTo>
                      <a:pt x="59724" y="217863"/>
                      <a:pt x="40501" y="121747"/>
                      <a:pt x="19996" y="25631"/>
                    </a:cubicBezTo>
                    <a:cubicBezTo>
                      <a:pt x="35375" y="15379"/>
                      <a:pt x="23841" y="1281"/>
                      <a:pt x="16152" y="0"/>
                    </a:cubicBezTo>
                    <a:cubicBezTo>
                      <a:pt x="14870" y="0"/>
                      <a:pt x="12307" y="0"/>
                      <a:pt x="11025" y="0"/>
                    </a:cubicBezTo>
                    <a:cubicBezTo>
                      <a:pt x="-1790" y="3845"/>
                      <a:pt x="-509" y="14097"/>
                      <a:pt x="773"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8" name="Freeform: Shape 379894">
                <a:extLst>
                  <a:ext uri="{FF2B5EF4-FFF2-40B4-BE49-F238E27FC236}">
                    <a16:creationId xmlns:a16="http://schemas.microsoft.com/office/drawing/2014/main" id="{B79BBA66-E662-4202-8088-56C207D2177A}"/>
                  </a:ext>
                </a:extLst>
              </p:cNvPr>
              <p:cNvSpPr/>
              <p:nvPr/>
            </p:nvSpPr>
            <p:spPr>
              <a:xfrm>
                <a:off x="6817512" y="3894482"/>
                <a:ext cx="49980" cy="523831"/>
              </a:xfrm>
              <a:custGeom>
                <a:avLst/>
                <a:gdLst>
                  <a:gd name="connsiteX0" fmla="*/ 0 w 49980"/>
                  <a:gd name="connsiteY0" fmla="*/ 516463 h 523831"/>
                  <a:gd name="connsiteX1" fmla="*/ 17942 w 49980"/>
                  <a:gd name="connsiteY1" fmla="*/ 517744 h 523831"/>
                  <a:gd name="connsiteX2" fmla="*/ 12815 w 49980"/>
                  <a:gd name="connsiteY2" fmla="*/ 501084 h 523831"/>
                  <a:gd name="connsiteX3" fmla="*/ 17942 w 49980"/>
                  <a:gd name="connsiteY3" fmla="*/ 307571 h 523831"/>
                  <a:gd name="connsiteX4" fmla="*/ 49980 w 49980"/>
                  <a:gd name="connsiteY4" fmla="*/ 266561 h 523831"/>
                  <a:gd name="connsiteX5" fmla="*/ 39728 w 49980"/>
                  <a:gd name="connsiteY5" fmla="*/ 24349 h 523831"/>
                  <a:gd name="connsiteX6" fmla="*/ 37165 w 49980"/>
                  <a:gd name="connsiteY6" fmla="*/ 0 h 523831"/>
                  <a:gd name="connsiteX7" fmla="*/ 34602 w 49980"/>
                  <a:gd name="connsiteY7" fmla="*/ 0 h 523831"/>
                  <a:gd name="connsiteX8" fmla="*/ 30757 w 49980"/>
                  <a:gd name="connsiteY8" fmla="*/ 24349 h 523831"/>
                  <a:gd name="connsiteX9" fmla="*/ 34602 w 49980"/>
                  <a:gd name="connsiteY9" fmla="*/ 25631 h 523831"/>
                  <a:gd name="connsiteX10" fmla="*/ 44854 w 49980"/>
                  <a:gd name="connsiteY10" fmla="*/ 265280 h 523831"/>
                  <a:gd name="connsiteX11" fmla="*/ 12815 w 49980"/>
                  <a:gd name="connsiteY11" fmla="*/ 306289 h 523831"/>
                  <a:gd name="connsiteX12" fmla="*/ 7689 w 49980"/>
                  <a:gd name="connsiteY12" fmla="*/ 502366 h 523831"/>
                  <a:gd name="connsiteX13" fmla="*/ 0 w 49980"/>
                  <a:gd name="connsiteY13" fmla="*/ 516463 h 52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980" h="523831">
                    <a:moveTo>
                      <a:pt x="0" y="516463"/>
                    </a:moveTo>
                    <a:cubicBezTo>
                      <a:pt x="1281" y="526715"/>
                      <a:pt x="12815" y="525434"/>
                      <a:pt x="17942" y="517744"/>
                    </a:cubicBezTo>
                    <a:cubicBezTo>
                      <a:pt x="20505" y="513900"/>
                      <a:pt x="21786" y="502366"/>
                      <a:pt x="12815" y="501084"/>
                    </a:cubicBezTo>
                    <a:cubicBezTo>
                      <a:pt x="16660" y="438289"/>
                      <a:pt x="17942" y="372930"/>
                      <a:pt x="17942" y="307571"/>
                    </a:cubicBezTo>
                    <a:lnTo>
                      <a:pt x="49980" y="266561"/>
                    </a:lnTo>
                    <a:cubicBezTo>
                      <a:pt x="49980" y="187106"/>
                      <a:pt x="46136" y="106368"/>
                      <a:pt x="39728" y="24349"/>
                    </a:cubicBezTo>
                    <a:cubicBezTo>
                      <a:pt x="53825" y="14097"/>
                      <a:pt x="46136" y="0"/>
                      <a:pt x="37165" y="0"/>
                    </a:cubicBezTo>
                    <a:cubicBezTo>
                      <a:pt x="35883" y="0"/>
                      <a:pt x="35883" y="0"/>
                      <a:pt x="34602" y="0"/>
                    </a:cubicBezTo>
                    <a:cubicBezTo>
                      <a:pt x="19223" y="6408"/>
                      <a:pt x="24349" y="21786"/>
                      <a:pt x="30757" y="24349"/>
                    </a:cubicBezTo>
                    <a:cubicBezTo>
                      <a:pt x="32039" y="24349"/>
                      <a:pt x="33320" y="25631"/>
                      <a:pt x="34602" y="25631"/>
                    </a:cubicBezTo>
                    <a:cubicBezTo>
                      <a:pt x="41010" y="107650"/>
                      <a:pt x="43573" y="187106"/>
                      <a:pt x="44854" y="265280"/>
                    </a:cubicBezTo>
                    <a:lnTo>
                      <a:pt x="12815" y="306289"/>
                    </a:lnTo>
                    <a:cubicBezTo>
                      <a:pt x="12815" y="372930"/>
                      <a:pt x="11534" y="438289"/>
                      <a:pt x="7689" y="502366"/>
                    </a:cubicBezTo>
                    <a:cubicBezTo>
                      <a:pt x="1281" y="506211"/>
                      <a:pt x="0" y="512618"/>
                      <a:pt x="0" y="51646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59" name="Freeform: Shape 379895">
                <a:extLst>
                  <a:ext uri="{FF2B5EF4-FFF2-40B4-BE49-F238E27FC236}">
                    <a16:creationId xmlns:a16="http://schemas.microsoft.com/office/drawing/2014/main" id="{F44A2E2B-A0BB-4A6B-B67F-73306535C99C}"/>
                  </a:ext>
                </a:extLst>
              </p:cNvPr>
              <p:cNvSpPr/>
              <p:nvPr/>
            </p:nvSpPr>
            <p:spPr>
              <a:xfrm>
                <a:off x="7764578" y="3823997"/>
                <a:ext cx="2912" cy="25630"/>
              </a:xfrm>
              <a:custGeom>
                <a:avLst/>
                <a:gdLst>
                  <a:gd name="connsiteX0" fmla="*/ 0 w 2912"/>
                  <a:gd name="connsiteY0" fmla="*/ 12816 h 25630"/>
                  <a:gd name="connsiteX1" fmla="*/ 0 w 2912"/>
                  <a:gd name="connsiteY1" fmla="*/ 25631 h 25630"/>
                  <a:gd name="connsiteX2" fmla="*/ 2563 w 2912"/>
                  <a:gd name="connsiteY2" fmla="*/ 0 h 25630"/>
                  <a:gd name="connsiteX3" fmla="*/ 2563 w 2912"/>
                  <a:gd name="connsiteY3" fmla="*/ 0 h 25630"/>
                  <a:gd name="connsiteX4" fmla="*/ 0 w 2912"/>
                  <a:gd name="connsiteY4" fmla="*/ 12816 h 25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12" h="25630">
                    <a:moveTo>
                      <a:pt x="0" y="12816"/>
                    </a:moveTo>
                    <a:cubicBezTo>
                      <a:pt x="0" y="17942"/>
                      <a:pt x="0" y="25631"/>
                      <a:pt x="0" y="25631"/>
                    </a:cubicBezTo>
                    <a:cubicBezTo>
                      <a:pt x="1281" y="24349"/>
                      <a:pt x="3844" y="1282"/>
                      <a:pt x="2563" y="0"/>
                    </a:cubicBezTo>
                    <a:cubicBezTo>
                      <a:pt x="2563" y="0"/>
                      <a:pt x="2563" y="0"/>
                      <a:pt x="2563" y="0"/>
                    </a:cubicBezTo>
                    <a:cubicBezTo>
                      <a:pt x="1281" y="0"/>
                      <a:pt x="1281" y="7689"/>
                      <a:pt x="0"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0" name="Freeform: Shape 379896">
                <a:extLst>
                  <a:ext uri="{FF2B5EF4-FFF2-40B4-BE49-F238E27FC236}">
                    <a16:creationId xmlns:a16="http://schemas.microsoft.com/office/drawing/2014/main" id="{94F5015D-050C-4BDF-86F8-80EF8BA49833}"/>
                  </a:ext>
                </a:extLst>
              </p:cNvPr>
              <p:cNvSpPr/>
              <p:nvPr/>
            </p:nvSpPr>
            <p:spPr>
              <a:xfrm>
                <a:off x="4715242" y="4317322"/>
                <a:ext cx="60760" cy="167160"/>
              </a:xfrm>
              <a:custGeom>
                <a:avLst/>
                <a:gdLst>
                  <a:gd name="connsiteX0" fmla="*/ 44101 w 60760"/>
                  <a:gd name="connsiteY0" fmla="*/ 160263 h 167160"/>
                  <a:gd name="connsiteX1" fmla="*/ 60761 w 60760"/>
                  <a:gd name="connsiteY1" fmla="*/ 161544 h 167160"/>
                  <a:gd name="connsiteX2" fmla="*/ 55635 w 60760"/>
                  <a:gd name="connsiteY2" fmla="*/ 147448 h 167160"/>
                  <a:gd name="connsiteX3" fmla="*/ 60761 w 60760"/>
                  <a:gd name="connsiteY3" fmla="*/ 115409 h 167160"/>
                  <a:gd name="connsiteX4" fmla="*/ 15906 w 60760"/>
                  <a:gd name="connsiteY4" fmla="*/ 23138 h 167160"/>
                  <a:gd name="connsiteX5" fmla="*/ 5654 w 60760"/>
                  <a:gd name="connsiteY5" fmla="*/ 70 h 167160"/>
                  <a:gd name="connsiteX6" fmla="*/ 4372 w 60760"/>
                  <a:gd name="connsiteY6" fmla="*/ 70 h 167160"/>
                  <a:gd name="connsiteX7" fmla="*/ 9499 w 60760"/>
                  <a:gd name="connsiteY7" fmla="*/ 24419 h 167160"/>
                  <a:gd name="connsiteX8" fmla="*/ 13344 w 60760"/>
                  <a:gd name="connsiteY8" fmla="*/ 24419 h 167160"/>
                  <a:gd name="connsiteX9" fmla="*/ 56916 w 60760"/>
                  <a:gd name="connsiteY9" fmla="*/ 115409 h 167160"/>
                  <a:gd name="connsiteX10" fmla="*/ 51790 w 60760"/>
                  <a:gd name="connsiteY10" fmla="*/ 146166 h 167160"/>
                  <a:gd name="connsiteX11" fmla="*/ 42819 w 60760"/>
                  <a:gd name="connsiteY11" fmla="*/ 157700 h 167160"/>
                  <a:gd name="connsiteX12" fmla="*/ 44101 w 60760"/>
                  <a:gd name="connsiteY12" fmla="*/ 160263 h 167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60" h="167160">
                    <a:moveTo>
                      <a:pt x="44101" y="160263"/>
                    </a:moveTo>
                    <a:cubicBezTo>
                      <a:pt x="50508" y="169234"/>
                      <a:pt x="59479" y="169234"/>
                      <a:pt x="60761" y="161544"/>
                    </a:cubicBezTo>
                    <a:cubicBezTo>
                      <a:pt x="60761" y="160263"/>
                      <a:pt x="60761" y="153855"/>
                      <a:pt x="55635" y="147448"/>
                    </a:cubicBezTo>
                    <a:lnTo>
                      <a:pt x="60761" y="115409"/>
                    </a:lnTo>
                    <a:cubicBezTo>
                      <a:pt x="45382" y="84652"/>
                      <a:pt x="30003" y="53895"/>
                      <a:pt x="15906" y="23138"/>
                    </a:cubicBezTo>
                    <a:cubicBezTo>
                      <a:pt x="23596" y="15448"/>
                      <a:pt x="13344" y="-1212"/>
                      <a:pt x="5654" y="70"/>
                    </a:cubicBezTo>
                    <a:cubicBezTo>
                      <a:pt x="5654" y="70"/>
                      <a:pt x="4372" y="70"/>
                      <a:pt x="4372" y="70"/>
                    </a:cubicBezTo>
                    <a:cubicBezTo>
                      <a:pt x="-4598" y="5196"/>
                      <a:pt x="1810" y="20575"/>
                      <a:pt x="9499" y="24419"/>
                    </a:cubicBezTo>
                    <a:cubicBezTo>
                      <a:pt x="10781" y="24419"/>
                      <a:pt x="12062" y="24419"/>
                      <a:pt x="13344" y="24419"/>
                    </a:cubicBezTo>
                    <a:cubicBezTo>
                      <a:pt x="27440" y="55176"/>
                      <a:pt x="41537" y="84652"/>
                      <a:pt x="56916" y="115409"/>
                    </a:cubicBezTo>
                    <a:cubicBezTo>
                      <a:pt x="55635" y="124380"/>
                      <a:pt x="53071" y="137195"/>
                      <a:pt x="51790" y="146166"/>
                    </a:cubicBezTo>
                    <a:cubicBezTo>
                      <a:pt x="44101" y="142321"/>
                      <a:pt x="38974" y="148729"/>
                      <a:pt x="42819" y="157700"/>
                    </a:cubicBezTo>
                    <a:cubicBezTo>
                      <a:pt x="41537" y="157700"/>
                      <a:pt x="42819" y="158982"/>
                      <a:pt x="44101" y="16026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1" name="Freeform: Shape 379897">
                <a:extLst>
                  <a:ext uri="{FF2B5EF4-FFF2-40B4-BE49-F238E27FC236}">
                    <a16:creationId xmlns:a16="http://schemas.microsoft.com/office/drawing/2014/main" id="{D97E58BA-D260-431C-B2A2-EA321260FF41}"/>
                  </a:ext>
                </a:extLst>
              </p:cNvPr>
              <p:cNvSpPr/>
              <p:nvPr/>
            </p:nvSpPr>
            <p:spPr>
              <a:xfrm>
                <a:off x="4780168" y="4452902"/>
                <a:ext cx="19304" cy="23323"/>
              </a:xfrm>
              <a:custGeom>
                <a:avLst/>
                <a:gdLst>
                  <a:gd name="connsiteX0" fmla="*/ 2243 w 19304"/>
                  <a:gd name="connsiteY0" fmla="*/ 15712 h 23323"/>
                  <a:gd name="connsiteX1" fmla="*/ 18903 w 19304"/>
                  <a:gd name="connsiteY1" fmla="*/ 18275 h 23323"/>
                  <a:gd name="connsiteX2" fmla="*/ 3524 w 19304"/>
                  <a:gd name="connsiteY2" fmla="*/ 333 h 23323"/>
                  <a:gd name="connsiteX3" fmla="*/ 2243 w 19304"/>
                  <a:gd name="connsiteY3" fmla="*/ 15712 h 23323"/>
                </a:gdLst>
                <a:ahLst/>
                <a:cxnLst>
                  <a:cxn ang="0">
                    <a:pos x="connsiteX0" y="connsiteY0"/>
                  </a:cxn>
                  <a:cxn ang="0">
                    <a:pos x="connsiteX1" y="connsiteY1"/>
                  </a:cxn>
                  <a:cxn ang="0">
                    <a:pos x="connsiteX2" y="connsiteY2"/>
                  </a:cxn>
                  <a:cxn ang="0">
                    <a:pos x="connsiteX3" y="connsiteY3"/>
                  </a:cxn>
                </a:cxnLst>
                <a:rect l="l" t="t" r="r" b="b"/>
                <a:pathLst>
                  <a:path w="19304" h="23323">
                    <a:moveTo>
                      <a:pt x="2243" y="15712"/>
                    </a:moveTo>
                    <a:cubicBezTo>
                      <a:pt x="7369" y="24683"/>
                      <a:pt x="17621" y="25964"/>
                      <a:pt x="18903" y="18275"/>
                    </a:cubicBezTo>
                    <a:cubicBezTo>
                      <a:pt x="21466" y="10586"/>
                      <a:pt x="11214" y="-2230"/>
                      <a:pt x="3524" y="333"/>
                    </a:cubicBezTo>
                    <a:cubicBezTo>
                      <a:pt x="-1602" y="2897"/>
                      <a:pt x="-320" y="10586"/>
                      <a:pt x="2243" y="1571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2" name="Freeform: Shape 379898">
                <a:extLst>
                  <a:ext uri="{FF2B5EF4-FFF2-40B4-BE49-F238E27FC236}">
                    <a16:creationId xmlns:a16="http://schemas.microsoft.com/office/drawing/2014/main" id="{8B9216C5-ECF4-4537-93A6-2C782EAF8257}"/>
                  </a:ext>
                </a:extLst>
              </p:cNvPr>
              <p:cNvSpPr/>
              <p:nvPr/>
            </p:nvSpPr>
            <p:spPr>
              <a:xfrm>
                <a:off x="5042072" y="4325081"/>
                <a:ext cx="37872" cy="59049"/>
              </a:xfrm>
              <a:custGeom>
                <a:avLst/>
                <a:gdLst>
                  <a:gd name="connsiteX0" fmla="*/ 1775 w 37872"/>
                  <a:gd name="connsiteY0" fmla="*/ 17942 h 59049"/>
                  <a:gd name="connsiteX1" fmla="*/ 13309 w 37872"/>
                  <a:gd name="connsiteY1" fmla="*/ 24349 h 59049"/>
                  <a:gd name="connsiteX2" fmla="*/ 18435 w 37872"/>
                  <a:gd name="connsiteY2" fmla="*/ 35883 h 59049"/>
                  <a:gd name="connsiteX3" fmla="*/ 27406 w 37872"/>
                  <a:gd name="connsiteY3" fmla="*/ 58951 h 59049"/>
                  <a:gd name="connsiteX4" fmla="*/ 33814 w 37872"/>
                  <a:gd name="connsiteY4" fmla="*/ 39728 h 59049"/>
                  <a:gd name="connsiteX5" fmla="*/ 23561 w 37872"/>
                  <a:gd name="connsiteY5" fmla="*/ 34602 h 59049"/>
                  <a:gd name="connsiteX6" fmla="*/ 18435 w 37872"/>
                  <a:gd name="connsiteY6" fmla="*/ 23068 h 59049"/>
                  <a:gd name="connsiteX7" fmla="*/ 10746 w 37872"/>
                  <a:gd name="connsiteY7" fmla="*/ 0 h 59049"/>
                  <a:gd name="connsiteX8" fmla="*/ 6901 w 37872"/>
                  <a:gd name="connsiteY8" fmla="*/ 0 h 59049"/>
                  <a:gd name="connsiteX9" fmla="*/ 1775 w 37872"/>
                  <a:gd name="connsiteY9" fmla="*/ 17942 h 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72" h="59049">
                    <a:moveTo>
                      <a:pt x="1775" y="17942"/>
                    </a:moveTo>
                    <a:cubicBezTo>
                      <a:pt x="3056" y="20505"/>
                      <a:pt x="6901" y="24349"/>
                      <a:pt x="13309" y="24349"/>
                    </a:cubicBezTo>
                    <a:cubicBezTo>
                      <a:pt x="14590" y="28194"/>
                      <a:pt x="17153" y="32039"/>
                      <a:pt x="18435" y="35883"/>
                    </a:cubicBezTo>
                    <a:cubicBezTo>
                      <a:pt x="9464" y="43573"/>
                      <a:pt x="17153" y="57669"/>
                      <a:pt x="27406" y="58951"/>
                    </a:cubicBezTo>
                    <a:cubicBezTo>
                      <a:pt x="37658" y="60233"/>
                      <a:pt x="41503" y="48699"/>
                      <a:pt x="33814" y="39728"/>
                    </a:cubicBezTo>
                    <a:cubicBezTo>
                      <a:pt x="29969" y="34602"/>
                      <a:pt x="24843" y="34602"/>
                      <a:pt x="23561" y="34602"/>
                    </a:cubicBezTo>
                    <a:cubicBezTo>
                      <a:pt x="22280" y="30757"/>
                      <a:pt x="19717" y="26912"/>
                      <a:pt x="18435" y="23068"/>
                    </a:cubicBezTo>
                    <a:cubicBezTo>
                      <a:pt x="27406" y="15378"/>
                      <a:pt x="19717" y="1282"/>
                      <a:pt x="10746" y="0"/>
                    </a:cubicBezTo>
                    <a:cubicBezTo>
                      <a:pt x="9464" y="0"/>
                      <a:pt x="8183" y="0"/>
                      <a:pt x="6901" y="0"/>
                    </a:cubicBezTo>
                    <a:cubicBezTo>
                      <a:pt x="-4633" y="6408"/>
                      <a:pt x="1775" y="17942"/>
                      <a:pt x="1775"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3" name="Freeform: Shape 379899">
                <a:extLst>
                  <a:ext uri="{FF2B5EF4-FFF2-40B4-BE49-F238E27FC236}">
                    <a16:creationId xmlns:a16="http://schemas.microsoft.com/office/drawing/2014/main" id="{FBE67954-8151-4BEA-AC35-C313E5C7C37A}"/>
                  </a:ext>
                </a:extLst>
              </p:cNvPr>
              <p:cNvSpPr/>
              <p:nvPr/>
            </p:nvSpPr>
            <p:spPr>
              <a:xfrm>
                <a:off x="5073598" y="4316110"/>
                <a:ext cx="37459" cy="59049"/>
              </a:xfrm>
              <a:custGeom>
                <a:avLst/>
                <a:gdLst>
                  <a:gd name="connsiteX0" fmla="*/ 2288 w 37459"/>
                  <a:gd name="connsiteY0" fmla="*/ 17942 h 59049"/>
                  <a:gd name="connsiteX1" fmla="*/ 13822 w 37459"/>
                  <a:gd name="connsiteY1" fmla="*/ 24349 h 59049"/>
                  <a:gd name="connsiteX2" fmla="*/ 18948 w 37459"/>
                  <a:gd name="connsiteY2" fmla="*/ 35883 h 59049"/>
                  <a:gd name="connsiteX3" fmla="*/ 26637 w 37459"/>
                  <a:gd name="connsiteY3" fmla="*/ 58951 h 59049"/>
                  <a:gd name="connsiteX4" fmla="*/ 34327 w 37459"/>
                  <a:gd name="connsiteY4" fmla="*/ 39728 h 59049"/>
                  <a:gd name="connsiteX5" fmla="*/ 24074 w 37459"/>
                  <a:gd name="connsiteY5" fmla="*/ 34602 h 59049"/>
                  <a:gd name="connsiteX6" fmla="*/ 18948 w 37459"/>
                  <a:gd name="connsiteY6" fmla="*/ 23068 h 59049"/>
                  <a:gd name="connsiteX7" fmla="*/ 11259 w 37459"/>
                  <a:gd name="connsiteY7" fmla="*/ 0 h 59049"/>
                  <a:gd name="connsiteX8" fmla="*/ 7414 w 37459"/>
                  <a:gd name="connsiteY8" fmla="*/ 0 h 59049"/>
                  <a:gd name="connsiteX9" fmla="*/ 2288 w 37459"/>
                  <a:gd name="connsiteY9" fmla="*/ 17942 h 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459" h="59049">
                    <a:moveTo>
                      <a:pt x="2288" y="17942"/>
                    </a:moveTo>
                    <a:cubicBezTo>
                      <a:pt x="3569" y="20505"/>
                      <a:pt x="7414" y="24349"/>
                      <a:pt x="13822" y="24349"/>
                    </a:cubicBezTo>
                    <a:cubicBezTo>
                      <a:pt x="15103" y="28194"/>
                      <a:pt x="17666" y="32039"/>
                      <a:pt x="18948" y="35883"/>
                    </a:cubicBezTo>
                    <a:cubicBezTo>
                      <a:pt x="9977" y="43573"/>
                      <a:pt x="17666" y="57669"/>
                      <a:pt x="26637" y="58951"/>
                    </a:cubicBezTo>
                    <a:cubicBezTo>
                      <a:pt x="36890" y="60233"/>
                      <a:pt x="40734" y="48699"/>
                      <a:pt x="34327" y="39728"/>
                    </a:cubicBezTo>
                    <a:cubicBezTo>
                      <a:pt x="30482" y="34602"/>
                      <a:pt x="25356" y="34602"/>
                      <a:pt x="24074" y="34602"/>
                    </a:cubicBezTo>
                    <a:cubicBezTo>
                      <a:pt x="22793" y="30757"/>
                      <a:pt x="20229" y="26912"/>
                      <a:pt x="18948" y="23068"/>
                    </a:cubicBezTo>
                    <a:cubicBezTo>
                      <a:pt x="27919" y="15378"/>
                      <a:pt x="20229" y="1282"/>
                      <a:pt x="11259" y="0"/>
                    </a:cubicBezTo>
                    <a:cubicBezTo>
                      <a:pt x="9977" y="0"/>
                      <a:pt x="8695" y="0"/>
                      <a:pt x="7414" y="0"/>
                    </a:cubicBezTo>
                    <a:cubicBezTo>
                      <a:pt x="-5402" y="5126"/>
                      <a:pt x="2288" y="17942"/>
                      <a:pt x="2288"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4" name="Freeform: Shape 379900">
                <a:extLst>
                  <a:ext uri="{FF2B5EF4-FFF2-40B4-BE49-F238E27FC236}">
                    <a16:creationId xmlns:a16="http://schemas.microsoft.com/office/drawing/2014/main" id="{B11A96C9-5715-4896-A7D1-CC68123660D6}"/>
                  </a:ext>
                </a:extLst>
              </p:cNvPr>
              <p:cNvSpPr/>
              <p:nvPr/>
            </p:nvSpPr>
            <p:spPr>
              <a:xfrm>
                <a:off x="5170773" y="4286635"/>
                <a:ext cx="39533" cy="59049"/>
              </a:xfrm>
              <a:custGeom>
                <a:avLst/>
                <a:gdLst>
                  <a:gd name="connsiteX0" fmla="*/ 2511 w 39533"/>
                  <a:gd name="connsiteY0" fmla="*/ 17942 h 59049"/>
                  <a:gd name="connsiteX1" fmla="*/ 15326 w 39533"/>
                  <a:gd name="connsiteY1" fmla="*/ 24349 h 59049"/>
                  <a:gd name="connsiteX2" fmla="*/ 20452 w 39533"/>
                  <a:gd name="connsiteY2" fmla="*/ 35883 h 59049"/>
                  <a:gd name="connsiteX3" fmla="*/ 28142 w 39533"/>
                  <a:gd name="connsiteY3" fmla="*/ 58951 h 59049"/>
                  <a:gd name="connsiteX4" fmla="*/ 35831 w 39533"/>
                  <a:gd name="connsiteY4" fmla="*/ 39728 h 59049"/>
                  <a:gd name="connsiteX5" fmla="*/ 24297 w 39533"/>
                  <a:gd name="connsiteY5" fmla="*/ 34602 h 59049"/>
                  <a:gd name="connsiteX6" fmla="*/ 19171 w 39533"/>
                  <a:gd name="connsiteY6" fmla="*/ 23068 h 59049"/>
                  <a:gd name="connsiteX7" fmla="*/ 11481 w 39533"/>
                  <a:gd name="connsiteY7" fmla="*/ 0 h 59049"/>
                  <a:gd name="connsiteX8" fmla="*/ 6356 w 39533"/>
                  <a:gd name="connsiteY8" fmla="*/ 0 h 59049"/>
                  <a:gd name="connsiteX9" fmla="*/ 2511 w 39533"/>
                  <a:gd name="connsiteY9" fmla="*/ 17942 h 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33" h="59049">
                    <a:moveTo>
                      <a:pt x="2511" y="17942"/>
                    </a:moveTo>
                    <a:cubicBezTo>
                      <a:pt x="3792" y="20505"/>
                      <a:pt x="7637" y="24349"/>
                      <a:pt x="15326" y="24349"/>
                    </a:cubicBezTo>
                    <a:cubicBezTo>
                      <a:pt x="16608" y="28194"/>
                      <a:pt x="17889" y="32039"/>
                      <a:pt x="20452" y="35883"/>
                    </a:cubicBezTo>
                    <a:cubicBezTo>
                      <a:pt x="10200" y="43573"/>
                      <a:pt x="17889" y="57670"/>
                      <a:pt x="28142" y="58951"/>
                    </a:cubicBezTo>
                    <a:cubicBezTo>
                      <a:pt x="38394" y="60233"/>
                      <a:pt x="43520" y="48699"/>
                      <a:pt x="35831" y="39728"/>
                    </a:cubicBezTo>
                    <a:cubicBezTo>
                      <a:pt x="31986" y="34602"/>
                      <a:pt x="26860" y="34602"/>
                      <a:pt x="24297" y="34602"/>
                    </a:cubicBezTo>
                    <a:cubicBezTo>
                      <a:pt x="23015" y="30757"/>
                      <a:pt x="21734" y="26913"/>
                      <a:pt x="19171" y="23068"/>
                    </a:cubicBezTo>
                    <a:cubicBezTo>
                      <a:pt x="29423" y="15379"/>
                      <a:pt x="21734" y="1282"/>
                      <a:pt x="11481" y="0"/>
                    </a:cubicBezTo>
                    <a:cubicBezTo>
                      <a:pt x="10200" y="0"/>
                      <a:pt x="7637" y="0"/>
                      <a:pt x="6356" y="0"/>
                    </a:cubicBezTo>
                    <a:cubicBezTo>
                      <a:pt x="-5178" y="5126"/>
                      <a:pt x="2511" y="17942"/>
                      <a:pt x="2511"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5" name="Freeform: Shape 379901">
                <a:extLst>
                  <a:ext uri="{FF2B5EF4-FFF2-40B4-BE49-F238E27FC236}">
                    <a16:creationId xmlns:a16="http://schemas.microsoft.com/office/drawing/2014/main" id="{284BB48B-1594-49D9-9595-EAC30F040FA5}"/>
                  </a:ext>
                </a:extLst>
              </p:cNvPr>
              <p:cNvSpPr/>
              <p:nvPr/>
            </p:nvSpPr>
            <p:spPr>
              <a:xfrm>
                <a:off x="7760164" y="3868851"/>
                <a:ext cx="10821" cy="58950"/>
              </a:xfrm>
              <a:custGeom>
                <a:avLst/>
                <a:gdLst>
                  <a:gd name="connsiteX0" fmla="*/ 570 w 10821"/>
                  <a:gd name="connsiteY0" fmla="*/ 47417 h 58950"/>
                  <a:gd name="connsiteX1" fmla="*/ 570 w 10821"/>
                  <a:gd name="connsiteY1" fmla="*/ 58951 h 58950"/>
                  <a:gd name="connsiteX2" fmla="*/ 4414 w 10821"/>
                  <a:gd name="connsiteY2" fmla="*/ 41009 h 58950"/>
                  <a:gd name="connsiteX3" fmla="*/ 8259 w 10821"/>
                  <a:gd name="connsiteY3" fmla="*/ 23068 h 58950"/>
                  <a:gd name="connsiteX4" fmla="*/ 8259 w 10821"/>
                  <a:gd name="connsiteY4" fmla="*/ 25631 h 58950"/>
                  <a:gd name="connsiteX5" fmla="*/ 10822 w 10821"/>
                  <a:gd name="connsiteY5" fmla="*/ 0 h 58950"/>
                  <a:gd name="connsiteX6" fmla="*/ 8259 w 10821"/>
                  <a:gd name="connsiteY6" fmla="*/ 17942 h 58950"/>
                  <a:gd name="connsiteX7" fmla="*/ 4414 w 10821"/>
                  <a:gd name="connsiteY7" fmla="*/ 35883 h 58950"/>
                  <a:gd name="connsiteX8" fmla="*/ 4414 w 10821"/>
                  <a:gd name="connsiteY8" fmla="*/ 33320 h 58950"/>
                  <a:gd name="connsiteX9" fmla="*/ 4414 w 10821"/>
                  <a:gd name="connsiteY9" fmla="*/ 33320 h 58950"/>
                  <a:gd name="connsiteX10" fmla="*/ 570 w 10821"/>
                  <a:gd name="connsiteY10" fmla="*/ 47417 h 5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21" h="58950">
                    <a:moveTo>
                      <a:pt x="570" y="47417"/>
                    </a:moveTo>
                    <a:cubicBezTo>
                      <a:pt x="570" y="49980"/>
                      <a:pt x="-712" y="56388"/>
                      <a:pt x="570" y="58951"/>
                    </a:cubicBezTo>
                    <a:cubicBezTo>
                      <a:pt x="1851" y="56388"/>
                      <a:pt x="4414" y="41009"/>
                      <a:pt x="4414" y="41009"/>
                    </a:cubicBezTo>
                    <a:cubicBezTo>
                      <a:pt x="5696" y="35883"/>
                      <a:pt x="6977" y="28194"/>
                      <a:pt x="8259" y="23068"/>
                    </a:cubicBezTo>
                    <a:cubicBezTo>
                      <a:pt x="8259" y="24349"/>
                      <a:pt x="8259" y="25631"/>
                      <a:pt x="8259" y="25631"/>
                    </a:cubicBezTo>
                    <a:cubicBezTo>
                      <a:pt x="9541" y="24349"/>
                      <a:pt x="10822" y="1281"/>
                      <a:pt x="10822" y="0"/>
                    </a:cubicBezTo>
                    <a:cubicBezTo>
                      <a:pt x="9541" y="2563"/>
                      <a:pt x="8259" y="17942"/>
                      <a:pt x="8259" y="17942"/>
                    </a:cubicBezTo>
                    <a:cubicBezTo>
                      <a:pt x="6977" y="23068"/>
                      <a:pt x="5696" y="30757"/>
                      <a:pt x="4414" y="35883"/>
                    </a:cubicBezTo>
                    <a:cubicBezTo>
                      <a:pt x="4414" y="34602"/>
                      <a:pt x="4414" y="33320"/>
                      <a:pt x="4414" y="33320"/>
                    </a:cubicBezTo>
                    <a:cubicBezTo>
                      <a:pt x="4414" y="33320"/>
                      <a:pt x="4414" y="33320"/>
                      <a:pt x="4414" y="33320"/>
                    </a:cubicBezTo>
                    <a:cubicBezTo>
                      <a:pt x="1851" y="35883"/>
                      <a:pt x="570" y="46135"/>
                      <a:pt x="570" y="474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6" name="Freeform: Shape 379902">
                <a:extLst>
                  <a:ext uri="{FF2B5EF4-FFF2-40B4-BE49-F238E27FC236}">
                    <a16:creationId xmlns:a16="http://schemas.microsoft.com/office/drawing/2014/main" id="{323DC680-05BF-4F25-A7C7-789FBECB3666}"/>
                  </a:ext>
                </a:extLst>
              </p:cNvPr>
              <p:cNvSpPr/>
              <p:nvPr/>
            </p:nvSpPr>
            <p:spPr>
              <a:xfrm>
                <a:off x="7763296" y="3876540"/>
                <a:ext cx="7689" cy="62795"/>
              </a:xfrm>
              <a:custGeom>
                <a:avLst/>
                <a:gdLst>
                  <a:gd name="connsiteX0" fmla="*/ 6408 w 7689"/>
                  <a:gd name="connsiteY0" fmla="*/ 14097 h 62795"/>
                  <a:gd name="connsiteX1" fmla="*/ 5126 w 7689"/>
                  <a:gd name="connsiteY1" fmla="*/ 25631 h 62795"/>
                  <a:gd name="connsiteX2" fmla="*/ 3845 w 7689"/>
                  <a:gd name="connsiteY2" fmla="*/ 37165 h 62795"/>
                  <a:gd name="connsiteX3" fmla="*/ 0 w 7689"/>
                  <a:gd name="connsiteY3" fmla="*/ 62796 h 62795"/>
                  <a:gd name="connsiteX4" fmla="*/ 3845 w 7689"/>
                  <a:gd name="connsiteY4" fmla="*/ 37165 h 62795"/>
                  <a:gd name="connsiteX5" fmla="*/ 5126 w 7689"/>
                  <a:gd name="connsiteY5" fmla="*/ 25631 h 62795"/>
                  <a:gd name="connsiteX6" fmla="*/ 7689 w 7689"/>
                  <a:gd name="connsiteY6" fmla="*/ 0 h 62795"/>
                  <a:gd name="connsiteX7" fmla="*/ 6408 w 7689"/>
                  <a:gd name="connsiteY7" fmla="*/ 14097 h 62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89" h="62795">
                    <a:moveTo>
                      <a:pt x="6408" y="14097"/>
                    </a:moveTo>
                    <a:cubicBezTo>
                      <a:pt x="6408" y="17942"/>
                      <a:pt x="5126" y="23068"/>
                      <a:pt x="5126" y="25631"/>
                    </a:cubicBezTo>
                    <a:cubicBezTo>
                      <a:pt x="5126" y="29475"/>
                      <a:pt x="3845" y="33320"/>
                      <a:pt x="3845" y="37165"/>
                    </a:cubicBezTo>
                    <a:cubicBezTo>
                      <a:pt x="3845" y="41009"/>
                      <a:pt x="1282" y="60233"/>
                      <a:pt x="0" y="62796"/>
                    </a:cubicBezTo>
                    <a:cubicBezTo>
                      <a:pt x="0" y="61514"/>
                      <a:pt x="2563" y="42291"/>
                      <a:pt x="3845" y="37165"/>
                    </a:cubicBezTo>
                    <a:cubicBezTo>
                      <a:pt x="3845" y="33320"/>
                      <a:pt x="5126" y="29475"/>
                      <a:pt x="5126" y="25631"/>
                    </a:cubicBezTo>
                    <a:cubicBezTo>
                      <a:pt x="5126" y="23068"/>
                      <a:pt x="7689" y="3844"/>
                      <a:pt x="7689" y="0"/>
                    </a:cubicBezTo>
                    <a:cubicBezTo>
                      <a:pt x="7689" y="1282"/>
                      <a:pt x="7689" y="8971"/>
                      <a:pt x="640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7" name="Freeform: Shape 379903">
                <a:extLst>
                  <a:ext uri="{FF2B5EF4-FFF2-40B4-BE49-F238E27FC236}">
                    <a16:creationId xmlns:a16="http://schemas.microsoft.com/office/drawing/2014/main" id="{6D2E9D90-678D-4EB0-A73F-0BEE923C3331}"/>
                  </a:ext>
                </a:extLst>
              </p:cNvPr>
              <p:cNvSpPr/>
              <p:nvPr/>
            </p:nvSpPr>
            <p:spPr>
              <a:xfrm>
                <a:off x="4545824" y="4093121"/>
                <a:ext cx="179212" cy="449689"/>
              </a:xfrm>
              <a:custGeom>
                <a:avLst/>
                <a:gdLst>
                  <a:gd name="connsiteX0" fmla="*/ 163538 w 179212"/>
                  <a:gd name="connsiteY0" fmla="*/ 443415 h 449689"/>
                  <a:gd name="connsiteX1" fmla="*/ 178917 w 179212"/>
                  <a:gd name="connsiteY1" fmla="*/ 445978 h 449689"/>
                  <a:gd name="connsiteX2" fmla="*/ 164820 w 179212"/>
                  <a:gd name="connsiteY2" fmla="*/ 426755 h 449689"/>
                  <a:gd name="connsiteX3" fmla="*/ 118684 w 179212"/>
                  <a:gd name="connsiteY3" fmla="*/ 339610 h 449689"/>
                  <a:gd name="connsiteX4" fmla="*/ 125092 w 179212"/>
                  <a:gd name="connsiteY4" fmla="*/ 298600 h 449689"/>
                  <a:gd name="connsiteX5" fmla="*/ 96898 w 179212"/>
                  <a:gd name="connsiteY5" fmla="*/ 238367 h 449689"/>
                  <a:gd name="connsiteX6" fmla="*/ 86645 w 179212"/>
                  <a:gd name="connsiteY6" fmla="*/ 215299 h 449689"/>
                  <a:gd name="connsiteX7" fmla="*/ 13597 w 179212"/>
                  <a:gd name="connsiteY7" fmla="*/ 24349 h 449689"/>
                  <a:gd name="connsiteX8" fmla="*/ 5908 w 179212"/>
                  <a:gd name="connsiteY8" fmla="*/ 0 h 449689"/>
                  <a:gd name="connsiteX9" fmla="*/ 4626 w 179212"/>
                  <a:gd name="connsiteY9" fmla="*/ 0 h 449689"/>
                  <a:gd name="connsiteX10" fmla="*/ 11034 w 179212"/>
                  <a:gd name="connsiteY10" fmla="*/ 25631 h 449689"/>
                  <a:gd name="connsiteX11" fmla="*/ 84082 w 179212"/>
                  <a:gd name="connsiteY11" fmla="*/ 216581 h 449689"/>
                  <a:gd name="connsiteX12" fmla="*/ 94335 w 179212"/>
                  <a:gd name="connsiteY12" fmla="*/ 239649 h 449689"/>
                  <a:gd name="connsiteX13" fmla="*/ 121247 w 179212"/>
                  <a:gd name="connsiteY13" fmla="*/ 297319 h 449689"/>
                  <a:gd name="connsiteX14" fmla="*/ 114839 w 179212"/>
                  <a:gd name="connsiteY14" fmla="*/ 338328 h 449689"/>
                  <a:gd name="connsiteX15" fmla="*/ 162257 w 179212"/>
                  <a:gd name="connsiteY15" fmla="*/ 426755 h 449689"/>
                  <a:gd name="connsiteX16" fmla="*/ 163538 w 179212"/>
                  <a:gd name="connsiteY16" fmla="*/ 443415 h 449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212" h="449689">
                    <a:moveTo>
                      <a:pt x="163538" y="443415"/>
                    </a:moveTo>
                    <a:cubicBezTo>
                      <a:pt x="168665" y="449822"/>
                      <a:pt x="176354" y="452385"/>
                      <a:pt x="178917" y="445978"/>
                    </a:cubicBezTo>
                    <a:cubicBezTo>
                      <a:pt x="180199" y="443415"/>
                      <a:pt x="177635" y="429318"/>
                      <a:pt x="164820" y="426755"/>
                    </a:cubicBezTo>
                    <a:cubicBezTo>
                      <a:pt x="149441" y="398560"/>
                      <a:pt x="134063" y="369085"/>
                      <a:pt x="118684" y="339610"/>
                    </a:cubicBezTo>
                    <a:lnTo>
                      <a:pt x="125092" y="298600"/>
                    </a:lnTo>
                    <a:cubicBezTo>
                      <a:pt x="116121" y="279377"/>
                      <a:pt x="105869" y="258872"/>
                      <a:pt x="96898" y="238367"/>
                    </a:cubicBezTo>
                    <a:cubicBezTo>
                      <a:pt x="102024" y="230678"/>
                      <a:pt x="96898" y="216581"/>
                      <a:pt x="86645" y="215299"/>
                    </a:cubicBezTo>
                    <a:cubicBezTo>
                      <a:pt x="59733" y="153785"/>
                      <a:pt x="35383" y="89708"/>
                      <a:pt x="13597" y="24349"/>
                    </a:cubicBezTo>
                    <a:cubicBezTo>
                      <a:pt x="21286" y="12815"/>
                      <a:pt x="11034" y="0"/>
                      <a:pt x="5908" y="0"/>
                    </a:cubicBezTo>
                    <a:cubicBezTo>
                      <a:pt x="5908" y="0"/>
                      <a:pt x="4626" y="0"/>
                      <a:pt x="4626" y="0"/>
                    </a:cubicBezTo>
                    <a:cubicBezTo>
                      <a:pt x="-4345" y="6408"/>
                      <a:pt x="781" y="23068"/>
                      <a:pt x="11034" y="25631"/>
                    </a:cubicBezTo>
                    <a:cubicBezTo>
                      <a:pt x="31539" y="83300"/>
                      <a:pt x="59733" y="160193"/>
                      <a:pt x="84082" y="216581"/>
                    </a:cubicBezTo>
                    <a:cubicBezTo>
                      <a:pt x="78956" y="224270"/>
                      <a:pt x="84082" y="238367"/>
                      <a:pt x="94335" y="239649"/>
                    </a:cubicBezTo>
                    <a:cubicBezTo>
                      <a:pt x="103305" y="258872"/>
                      <a:pt x="112276" y="278095"/>
                      <a:pt x="121247" y="297319"/>
                    </a:cubicBezTo>
                    <a:lnTo>
                      <a:pt x="114839" y="338328"/>
                    </a:lnTo>
                    <a:cubicBezTo>
                      <a:pt x="130218" y="369085"/>
                      <a:pt x="145597" y="398560"/>
                      <a:pt x="162257" y="426755"/>
                    </a:cubicBezTo>
                    <a:cubicBezTo>
                      <a:pt x="158412" y="431881"/>
                      <a:pt x="159694" y="437007"/>
                      <a:pt x="163538" y="4434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8" name="Freeform: Shape 379904">
                <a:extLst>
                  <a:ext uri="{FF2B5EF4-FFF2-40B4-BE49-F238E27FC236}">
                    <a16:creationId xmlns:a16="http://schemas.microsoft.com/office/drawing/2014/main" id="{2A737BB5-E7F7-4883-B695-059650EB5755}"/>
                  </a:ext>
                </a:extLst>
              </p:cNvPr>
              <p:cNvSpPr/>
              <p:nvPr/>
            </p:nvSpPr>
            <p:spPr>
              <a:xfrm>
                <a:off x="4727945" y="4510572"/>
                <a:ext cx="19987" cy="23323"/>
              </a:xfrm>
              <a:custGeom>
                <a:avLst/>
                <a:gdLst>
                  <a:gd name="connsiteX0" fmla="*/ 3204 w 19987"/>
                  <a:gd name="connsiteY0" fmla="*/ 15712 h 23323"/>
                  <a:gd name="connsiteX1" fmla="*/ 19864 w 19987"/>
                  <a:gd name="connsiteY1" fmla="*/ 18275 h 23323"/>
                  <a:gd name="connsiteX2" fmla="*/ 4485 w 19987"/>
                  <a:gd name="connsiteY2" fmla="*/ 333 h 23323"/>
                  <a:gd name="connsiteX3" fmla="*/ 3204 w 19987"/>
                  <a:gd name="connsiteY3" fmla="*/ 15712 h 23323"/>
                </a:gdLst>
                <a:ahLst/>
                <a:cxnLst>
                  <a:cxn ang="0">
                    <a:pos x="connsiteX0" y="connsiteY0"/>
                  </a:cxn>
                  <a:cxn ang="0">
                    <a:pos x="connsiteX1" y="connsiteY1"/>
                  </a:cxn>
                  <a:cxn ang="0">
                    <a:pos x="connsiteX2" y="connsiteY2"/>
                  </a:cxn>
                  <a:cxn ang="0">
                    <a:pos x="connsiteX3" y="connsiteY3"/>
                  </a:cxn>
                </a:cxnLst>
                <a:rect l="l" t="t" r="r" b="b"/>
                <a:pathLst>
                  <a:path w="19987" h="23323">
                    <a:moveTo>
                      <a:pt x="3204" y="15712"/>
                    </a:moveTo>
                    <a:cubicBezTo>
                      <a:pt x="8330" y="24683"/>
                      <a:pt x="18583" y="25964"/>
                      <a:pt x="19864" y="18275"/>
                    </a:cubicBezTo>
                    <a:cubicBezTo>
                      <a:pt x="21146" y="10586"/>
                      <a:pt x="12174" y="-2230"/>
                      <a:pt x="4485" y="333"/>
                    </a:cubicBezTo>
                    <a:cubicBezTo>
                      <a:pt x="-1922" y="2896"/>
                      <a:pt x="-641" y="11867"/>
                      <a:pt x="3204" y="1571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69" name="Freeform: Shape 379905">
                <a:extLst>
                  <a:ext uri="{FF2B5EF4-FFF2-40B4-BE49-F238E27FC236}">
                    <a16:creationId xmlns:a16="http://schemas.microsoft.com/office/drawing/2014/main" id="{D18F219D-054D-4DB1-B30F-E67B87E085BD}"/>
                  </a:ext>
                </a:extLst>
              </p:cNvPr>
              <p:cNvSpPr/>
              <p:nvPr/>
            </p:nvSpPr>
            <p:spPr>
              <a:xfrm>
                <a:off x="4750195" y="4502882"/>
                <a:ext cx="19523" cy="23323"/>
              </a:xfrm>
              <a:custGeom>
                <a:avLst/>
                <a:gdLst>
                  <a:gd name="connsiteX0" fmla="*/ 2740 w 19523"/>
                  <a:gd name="connsiteY0" fmla="*/ 15712 h 23323"/>
                  <a:gd name="connsiteX1" fmla="*/ 19400 w 19523"/>
                  <a:gd name="connsiteY1" fmla="*/ 18275 h 23323"/>
                  <a:gd name="connsiteX2" fmla="*/ 4022 w 19523"/>
                  <a:gd name="connsiteY2" fmla="*/ 333 h 23323"/>
                  <a:gd name="connsiteX3" fmla="*/ 2740 w 19523"/>
                  <a:gd name="connsiteY3" fmla="*/ 15712 h 23323"/>
                </a:gdLst>
                <a:ahLst/>
                <a:cxnLst>
                  <a:cxn ang="0">
                    <a:pos x="connsiteX0" y="connsiteY0"/>
                  </a:cxn>
                  <a:cxn ang="0">
                    <a:pos x="connsiteX1" y="connsiteY1"/>
                  </a:cxn>
                  <a:cxn ang="0">
                    <a:pos x="connsiteX2" y="connsiteY2"/>
                  </a:cxn>
                  <a:cxn ang="0">
                    <a:pos x="connsiteX3" y="connsiteY3"/>
                  </a:cxn>
                </a:cxnLst>
                <a:rect l="l" t="t" r="r" b="b"/>
                <a:pathLst>
                  <a:path w="19523" h="23323">
                    <a:moveTo>
                      <a:pt x="2740" y="15712"/>
                    </a:moveTo>
                    <a:cubicBezTo>
                      <a:pt x="7866" y="24683"/>
                      <a:pt x="18119" y="25964"/>
                      <a:pt x="19400" y="18275"/>
                    </a:cubicBezTo>
                    <a:cubicBezTo>
                      <a:pt x="20682" y="10586"/>
                      <a:pt x="11711" y="-2230"/>
                      <a:pt x="4022" y="333"/>
                    </a:cubicBezTo>
                    <a:cubicBezTo>
                      <a:pt x="-2386" y="2897"/>
                      <a:pt x="177" y="10586"/>
                      <a:pt x="2740" y="1571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0" name="Freeform: Shape 379906">
                <a:extLst>
                  <a:ext uri="{FF2B5EF4-FFF2-40B4-BE49-F238E27FC236}">
                    <a16:creationId xmlns:a16="http://schemas.microsoft.com/office/drawing/2014/main" id="{1D012EF2-5771-4172-845F-69F55AD5B693}"/>
                  </a:ext>
                </a:extLst>
              </p:cNvPr>
              <p:cNvSpPr/>
              <p:nvPr/>
            </p:nvSpPr>
            <p:spPr>
              <a:xfrm>
                <a:off x="4793009" y="4289122"/>
                <a:ext cx="100745" cy="193664"/>
              </a:xfrm>
              <a:custGeom>
                <a:avLst/>
                <a:gdLst>
                  <a:gd name="connsiteX0" fmla="*/ 2217 w 100745"/>
                  <a:gd name="connsiteY0" fmla="*/ 18017 h 193664"/>
                  <a:gd name="connsiteX1" fmla="*/ 13751 w 100745"/>
                  <a:gd name="connsiteY1" fmla="*/ 25706 h 193664"/>
                  <a:gd name="connsiteX2" fmla="*/ 82955 w 100745"/>
                  <a:gd name="connsiteY2" fmla="*/ 171802 h 193664"/>
                  <a:gd name="connsiteX3" fmla="*/ 94489 w 100745"/>
                  <a:gd name="connsiteY3" fmla="*/ 193589 h 193664"/>
                  <a:gd name="connsiteX4" fmla="*/ 94489 w 100745"/>
                  <a:gd name="connsiteY4" fmla="*/ 173084 h 193664"/>
                  <a:gd name="connsiteX5" fmla="*/ 85518 w 100745"/>
                  <a:gd name="connsiteY5" fmla="*/ 169239 h 193664"/>
                  <a:gd name="connsiteX6" fmla="*/ 16314 w 100745"/>
                  <a:gd name="connsiteY6" fmla="*/ 23143 h 193664"/>
                  <a:gd name="connsiteX7" fmla="*/ 6062 w 100745"/>
                  <a:gd name="connsiteY7" fmla="*/ 75 h 193664"/>
                  <a:gd name="connsiteX8" fmla="*/ 4780 w 100745"/>
                  <a:gd name="connsiteY8" fmla="*/ 75 h 193664"/>
                  <a:gd name="connsiteX9" fmla="*/ 2217 w 100745"/>
                  <a:gd name="connsiteY9" fmla="*/ 18017 h 19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745" h="193664">
                    <a:moveTo>
                      <a:pt x="2217" y="18017"/>
                    </a:moveTo>
                    <a:cubicBezTo>
                      <a:pt x="3499" y="20580"/>
                      <a:pt x="7343" y="24425"/>
                      <a:pt x="13751" y="25706"/>
                    </a:cubicBezTo>
                    <a:cubicBezTo>
                      <a:pt x="35538" y="75687"/>
                      <a:pt x="58606" y="124385"/>
                      <a:pt x="82955" y="171802"/>
                    </a:cubicBezTo>
                    <a:cubicBezTo>
                      <a:pt x="75265" y="179492"/>
                      <a:pt x="86799" y="194870"/>
                      <a:pt x="94489" y="193589"/>
                    </a:cubicBezTo>
                    <a:cubicBezTo>
                      <a:pt x="102178" y="193589"/>
                      <a:pt x="103460" y="180773"/>
                      <a:pt x="94489" y="173084"/>
                    </a:cubicBezTo>
                    <a:cubicBezTo>
                      <a:pt x="90644" y="169239"/>
                      <a:pt x="88081" y="169239"/>
                      <a:pt x="85518" y="169239"/>
                    </a:cubicBezTo>
                    <a:cubicBezTo>
                      <a:pt x="61169" y="121822"/>
                      <a:pt x="38101" y="73123"/>
                      <a:pt x="16314" y="23143"/>
                    </a:cubicBezTo>
                    <a:cubicBezTo>
                      <a:pt x="25285" y="14172"/>
                      <a:pt x="15033" y="-1206"/>
                      <a:pt x="6062" y="75"/>
                    </a:cubicBezTo>
                    <a:cubicBezTo>
                      <a:pt x="6062" y="75"/>
                      <a:pt x="4780" y="75"/>
                      <a:pt x="4780" y="75"/>
                    </a:cubicBezTo>
                    <a:cubicBezTo>
                      <a:pt x="-4190" y="5202"/>
                      <a:pt x="2217" y="18017"/>
                      <a:pt x="2217" y="180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1" name="Freeform: Shape 379907">
                <a:extLst>
                  <a:ext uri="{FF2B5EF4-FFF2-40B4-BE49-F238E27FC236}">
                    <a16:creationId xmlns:a16="http://schemas.microsoft.com/office/drawing/2014/main" id="{3D25A05B-51B7-475D-A17F-043A31A407A6}"/>
                  </a:ext>
                </a:extLst>
              </p:cNvPr>
              <p:cNvSpPr/>
              <p:nvPr/>
            </p:nvSpPr>
            <p:spPr>
              <a:xfrm>
                <a:off x="4866489" y="4380188"/>
                <a:ext cx="54818" cy="91064"/>
              </a:xfrm>
              <a:custGeom>
                <a:avLst/>
                <a:gdLst>
                  <a:gd name="connsiteX0" fmla="*/ 3067 w 54818"/>
                  <a:gd name="connsiteY0" fmla="*/ 19223 h 91064"/>
                  <a:gd name="connsiteX1" fmla="*/ 14601 w 54818"/>
                  <a:gd name="connsiteY1" fmla="*/ 25631 h 91064"/>
                  <a:gd name="connsiteX2" fmla="*/ 36387 w 54818"/>
                  <a:gd name="connsiteY2" fmla="*/ 69203 h 91064"/>
                  <a:gd name="connsiteX3" fmla="*/ 47921 w 54818"/>
                  <a:gd name="connsiteY3" fmla="*/ 90990 h 91064"/>
                  <a:gd name="connsiteX4" fmla="*/ 49203 w 54818"/>
                  <a:gd name="connsiteY4" fmla="*/ 70485 h 91064"/>
                  <a:gd name="connsiteX5" fmla="*/ 40232 w 54818"/>
                  <a:gd name="connsiteY5" fmla="*/ 66640 h 91064"/>
                  <a:gd name="connsiteX6" fmla="*/ 18446 w 54818"/>
                  <a:gd name="connsiteY6" fmla="*/ 23068 h 91064"/>
                  <a:gd name="connsiteX7" fmla="*/ 6912 w 54818"/>
                  <a:gd name="connsiteY7" fmla="*/ 0 h 91064"/>
                  <a:gd name="connsiteX8" fmla="*/ 4349 w 54818"/>
                  <a:gd name="connsiteY8" fmla="*/ 0 h 91064"/>
                  <a:gd name="connsiteX9" fmla="*/ 3067 w 54818"/>
                  <a:gd name="connsiteY9" fmla="*/ 19223 h 9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18" h="91064">
                    <a:moveTo>
                      <a:pt x="3067" y="19223"/>
                    </a:moveTo>
                    <a:cubicBezTo>
                      <a:pt x="5630" y="21786"/>
                      <a:pt x="8194" y="25631"/>
                      <a:pt x="14601" y="25631"/>
                    </a:cubicBezTo>
                    <a:cubicBezTo>
                      <a:pt x="22291" y="41009"/>
                      <a:pt x="28698" y="55106"/>
                      <a:pt x="36387" y="69203"/>
                    </a:cubicBezTo>
                    <a:cubicBezTo>
                      <a:pt x="27417" y="76893"/>
                      <a:pt x="38951" y="92271"/>
                      <a:pt x="47921" y="90990"/>
                    </a:cubicBezTo>
                    <a:cubicBezTo>
                      <a:pt x="56892" y="90990"/>
                      <a:pt x="56892" y="78174"/>
                      <a:pt x="49203" y="70485"/>
                    </a:cubicBezTo>
                    <a:cubicBezTo>
                      <a:pt x="45358" y="66640"/>
                      <a:pt x="42796" y="66640"/>
                      <a:pt x="40232" y="66640"/>
                    </a:cubicBezTo>
                    <a:cubicBezTo>
                      <a:pt x="32543" y="52543"/>
                      <a:pt x="26135" y="37165"/>
                      <a:pt x="18446" y="23068"/>
                    </a:cubicBezTo>
                    <a:cubicBezTo>
                      <a:pt x="27417" y="15378"/>
                      <a:pt x="15883" y="0"/>
                      <a:pt x="6912" y="0"/>
                    </a:cubicBezTo>
                    <a:cubicBezTo>
                      <a:pt x="6912" y="0"/>
                      <a:pt x="5630" y="0"/>
                      <a:pt x="4349" y="0"/>
                    </a:cubicBezTo>
                    <a:cubicBezTo>
                      <a:pt x="-4622" y="7689"/>
                      <a:pt x="3067" y="19223"/>
                      <a:pt x="3067"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2" name="Freeform: Shape 379908">
                <a:extLst>
                  <a:ext uri="{FF2B5EF4-FFF2-40B4-BE49-F238E27FC236}">
                    <a16:creationId xmlns:a16="http://schemas.microsoft.com/office/drawing/2014/main" id="{10315AA1-AA8C-420E-BA7C-186FA4ABE0CF}"/>
                  </a:ext>
                </a:extLst>
              </p:cNvPr>
              <p:cNvSpPr/>
              <p:nvPr/>
            </p:nvSpPr>
            <p:spPr>
              <a:xfrm>
                <a:off x="4983409" y="4422479"/>
                <a:ext cx="37988" cy="55229"/>
              </a:xfrm>
              <a:custGeom>
                <a:avLst/>
                <a:gdLst>
                  <a:gd name="connsiteX0" fmla="*/ 2768 w 37988"/>
                  <a:gd name="connsiteY0" fmla="*/ 16660 h 55229"/>
                  <a:gd name="connsiteX1" fmla="*/ 14302 w 37988"/>
                  <a:gd name="connsiteY1" fmla="*/ 23068 h 55229"/>
                  <a:gd name="connsiteX2" fmla="*/ 19429 w 37988"/>
                  <a:gd name="connsiteY2" fmla="*/ 33320 h 55229"/>
                  <a:gd name="connsiteX3" fmla="*/ 28399 w 37988"/>
                  <a:gd name="connsiteY3" fmla="*/ 55106 h 55229"/>
                  <a:gd name="connsiteX4" fmla="*/ 34807 w 37988"/>
                  <a:gd name="connsiteY4" fmla="*/ 38446 h 55229"/>
                  <a:gd name="connsiteX5" fmla="*/ 23273 w 37988"/>
                  <a:gd name="connsiteY5" fmla="*/ 32039 h 55229"/>
                  <a:gd name="connsiteX6" fmla="*/ 18147 w 37988"/>
                  <a:gd name="connsiteY6" fmla="*/ 21786 h 55229"/>
                  <a:gd name="connsiteX7" fmla="*/ 9176 w 37988"/>
                  <a:gd name="connsiteY7" fmla="*/ 0 h 55229"/>
                  <a:gd name="connsiteX8" fmla="*/ 5331 w 37988"/>
                  <a:gd name="connsiteY8" fmla="*/ 0 h 55229"/>
                  <a:gd name="connsiteX9" fmla="*/ 2768 w 37988"/>
                  <a:gd name="connsiteY9" fmla="*/ 16660 h 5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988" h="55229">
                    <a:moveTo>
                      <a:pt x="2768" y="16660"/>
                    </a:moveTo>
                    <a:cubicBezTo>
                      <a:pt x="5331" y="19223"/>
                      <a:pt x="7895" y="23068"/>
                      <a:pt x="14302" y="23068"/>
                    </a:cubicBezTo>
                    <a:cubicBezTo>
                      <a:pt x="15584" y="26912"/>
                      <a:pt x="18147" y="30757"/>
                      <a:pt x="19429" y="33320"/>
                    </a:cubicBezTo>
                    <a:cubicBezTo>
                      <a:pt x="11739" y="41009"/>
                      <a:pt x="20710" y="53825"/>
                      <a:pt x="28399" y="55106"/>
                    </a:cubicBezTo>
                    <a:cubicBezTo>
                      <a:pt x="37370" y="56388"/>
                      <a:pt x="41215" y="47417"/>
                      <a:pt x="34807" y="38446"/>
                    </a:cubicBezTo>
                    <a:cubicBezTo>
                      <a:pt x="32244" y="35883"/>
                      <a:pt x="29681" y="32039"/>
                      <a:pt x="23273" y="32039"/>
                    </a:cubicBezTo>
                    <a:cubicBezTo>
                      <a:pt x="21992" y="28194"/>
                      <a:pt x="19429" y="24349"/>
                      <a:pt x="18147" y="21786"/>
                    </a:cubicBezTo>
                    <a:cubicBezTo>
                      <a:pt x="27117" y="14097"/>
                      <a:pt x="18147" y="1282"/>
                      <a:pt x="9176" y="0"/>
                    </a:cubicBezTo>
                    <a:cubicBezTo>
                      <a:pt x="7895" y="0"/>
                      <a:pt x="6613" y="0"/>
                      <a:pt x="5331" y="0"/>
                    </a:cubicBezTo>
                    <a:cubicBezTo>
                      <a:pt x="-4921" y="5126"/>
                      <a:pt x="2768" y="16660"/>
                      <a:pt x="276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3" name="Freeform: Shape 379909">
                <a:extLst>
                  <a:ext uri="{FF2B5EF4-FFF2-40B4-BE49-F238E27FC236}">
                    <a16:creationId xmlns:a16="http://schemas.microsoft.com/office/drawing/2014/main" id="{D86B9E1B-F2AF-48F3-921B-D20ECF4DA8F8}"/>
                  </a:ext>
                </a:extLst>
              </p:cNvPr>
              <p:cNvSpPr/>
              <p:nvPr/>
            </p:nvSpPr>
            <p:spPr>
              <a:xfrm>
                <a:off x="5073023" y="4382750"/>
                <a:ext cx="122666" cy="266275"/>
              </a:xfrm>
              <a:custGeom>
                <a:avLst/>
                <a:gdLst>
                  <a:gd name="connsiteX0" fmla="*/ 91290 w 122666"/>
                  <a:gd name="connsiteY0" fmla="*/ 260154 h 266275"/>
                  <a:gd name="connsiteX1" fmla="*/ 110513 w 122666"/>
                  <a:gd name="connsiteY1" fmla="*/ 258872 h 266275"/>
                  <a:gd name="connsiteX2" fmla="*/ 95134 w 122666"/>
                  <a:gd name="connsiteY2" fmla="*/ 244775 h 266275"/>
                  <a:gd name="connsiteX3" fmla="*/ 32339 w 122666"/>
                  <a:gd name="connsiteY3" fmla="*/ 130718 h 266275"/>
                  <a:gd name="connsiteX4" fmla="*/ 43873 w 122666"/>
                  <a:gd name="connsiteY4" fmla="*/ 94835 h 266275"/>
                  <a:gd name="connsiteX5" fmla="*/ 102824 w 122666"/>
                  <a:gd name="connsiteY5" fmla="*/ 205047 h 266275"/>
                  <a:gd name="connsiteX6" fmla="*/ 113076 w 122666"/>
                  <a:gd name="connsiteY6" fmla="*/ 225552 h 266275"/>
                  <a:gd name="connsiteX7" fmla="*/ 119484 w 122666"/>
                  <a:gd name="connsiteY7" fmla="*/ 210174 h 266275"/>
                  <a:gd name="connsiteX8" fmla="*/ 107950 w 122666"/>
                  <a:gd name="connsiteY8" fmla="*/ 203766 h 266275"/>
                  <a:gd name="connsiteX9" fmla="*/ 46436 w 122666"/>
                  <a:gd name="connsiteY9" fmla="*/ 88427 h 266275"/>
                  <a:gd name="connsiteX10" fmla="*/ 60533 w 122666"/>
                  <a:gd name="connsiteY10" fmla="*/ 46136 h 266275"/>
                  <a:gd name="connsiteX11" fmla="*/ 50280 w 122666"/>
                  <a:gd name="connsiteY11" fmla="*/ 23068 h 266275"/>
                  <a:gd name="connsiteX12" fmla="*/ 41309 w 122666"/>
                  <a:gd name="connsiteY12" fmla="*/ 0 h 266275"/>
                  <a:gd name="connsiteX13" fmla="*/ 37465 w 122666"/>
                  <a:gd name="connsiteY13" fmla="*/ 0 h 266275"/>
                  <a:gd name="connsiteX14" fmla="*/ 41309 w 122666"/>
                  <a:gd name="connsiteY14" fmla="*/ 23068 h 266275"/>
                  <a:gd name="connsiteX15" fmla="*/ 45154 w 122666"/>
                  <a:gd name="connsiteY15" fmla="*/ 23068 h 266275"/>
                  <a:gd name="connsiteX16" fmla="*/ 55407 w 122666"/>
                  <a:gd name="connsiteY16" fmla="*/ 43573 h 266275"/>
                  <a:gd name="connsiteX17" fmla="*/ 42591 w 122666"/>
                  <a:gd name="connsiteY17" fmla="*/ 79456 h 266275"/>
                  <a:gd name="connsiteX18" fmla="*/ 19523 w 122666"/>
                  <a:gd name="connsiteY18" fmla="*/ 30757 h 266275"/>
                  <a:gd name="connsiteX19" fmla="*/ 10552 w 122666"/>
                  <a:gd name="connsiteY19" fmla="*/ 7689 h 266275"/>
                  <a:gd name="connsiteX20" fmla="*/ 2863 w 122666"/>
                  <a:gd name="connsiteY20" fmla="*/ 24349 h 266275"/>
                  <a:gd name="connsiteX21" fmla="*/ 14397 w 122666"/>
                  <a:gd name="connsiteY21" fmla="*/ 30757 h 266275"/>
                  <a:gd name="connsiteX22" fmla="*/ 40028 w 122666"/>
                  <a:gd name="connsiteY22" fmla="*/ 84582 h 266275"/>
                  <a:gd name="connsiteX23" fmla="*/ 27212 w 122666"/>
                  <a:gd name="connsiteY23" fmla="*/ 126873 h 266275"/>
                  <a:gd name="connsiteX24" fmla="*/ 91290 w 122666"/>
                  <a:gd name="connsiteY24" fmla="*/ 242212 h 266275"/>
                  <a:gd name="connsiteX25" fmla="*/ 91290 w 122666"/>
                  <a:gd name="connsiteY25" fmla="*/ 260154 h 26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2666" h="266275">
                    <a:moveTo>
                      <a:pt x="91290" y="260154"/>
                    </a:moveTo>
                    <a:cubicBezTo>
                      <a:pt x="98979" y="269125"/>
                      <a:pt x="110513" y="267843"/>
                      <a:pt x="110513" y="258872"/>
                    </a:cubicBezTo>
                    <a:cubicBezTo>
                      <a:pt x="110513" y="253746"/>
                      <a:pt x="105387" y="244775"/>
                      <a:pt x="95134" y="244775"/>
                    </a:cubicBezTo>
                    <a:cubicBezTo>
                      <a:pt x="73348" y="207610"/>
                      <a:pt x="52843" y="169164"/>
                      <a:pt x="32339" y="130718"/>
                    </a:cubicBezTo>
                    <a:lnTo>
                      <a:pt x="43873" y="94835"/>
                    </a:lnTo>
                    <a:cubicBezTo>
                      <a:pt x="61814" y="128155"/>
                      <a:pt x="84882" y="173009"/>
                      <a:pt x="102824" y="205047"/>
                    </a:cubicBezTo>
                    <a:cubicBezTo>
                      <a:pt x="95134" y="211455"/>
                      <a:pt x="104106" y="224270"/>
                      <a:pt x="113076" y="225552"/>
                    </a:cubicBezTo>
                    <a:cubicBezTo>
                      <a:pt x="122047" y="226834"/>
                      <a:pt x="125892" y="217863"/>
                      <a:pt x="119484" y="210174"/>
                    </a:cubicBezTo>
                    <a:cubicBezTo>
                      <a:pt x="116921" y="207610"/>
                      <a:pt x="113076" y="203766"/>
                      <a:pt x="107950" y="203766"/>
                    </a:cubicBezTo>
                    <a:cubicBezTo>
                      <a:pt x="87445" y="166601"/>
                      <a:pt x="66941" y="128155"/>
                      <a:pt x="46436" y="88427"/>
                    </a:cubicBezTo>
                    <a:lnTo>
                      <a:pt x="60533" y="46136"/>
                    </a:lnTo>
                    <a:cubicBezTo>
                      <a:pt x="56688" y="39728"/>
                      <a:pt x="52843" y="29476"/>
                      <a:pt x="50280" y="23068"/>
                    </a:cubicBezTo>
                    <a:cubicBezTo>
                      <a:pt x="59251" y="15379"/>
                      <a:pt x="51562" y="1282"/>
                      <a:pt x="41309" y="0"/>
                    </a:cubicBezTo>
                    <a:cubicBezTo>
                      <a:pt x="40028" y="0"/>
                      <a:pt x="38746" y="0"/>
                      <a:pt x="37465" y="0"/>
                    </a:cubicBezTo>
                    <a:cubicBezTo>
                      <a:pt x="25931" y="5126"/>
                      <a:pt x="32339" y="20505"/>
                      <a:pt x="41309" y="23068"/>
                    </a:cubicBezTo>
                    <a:cubicBezTo>
                      <a:pt x="42591" y="23068"/>
                      <a:pt x="43873" y="23068"/>
                      <a:pt x="45154" y="23068"/>
                    </a:cubicBezTo>
                    <a:cubicBezTo>
                      <a:pt x="48999" y="29476"/>
                      <a:pt x="51562" y="37165"/>
                      <a:pt x="55407" y="43573"/>
                    </a:cubicBezTo>
                    <a:lnTo>
                      <a:pt x="42591" y="79456"/>
                    </a:lnTo>
                    <a:cubicBezTo>
                      <a:pt x="34902" y="62796"/>
                      <a:pt x="27212" y="47417"/>
                      <a:pt x="19523" y="30757"/>
                    </a:cubicBezTo>
                    <a:cubicBezTo>
                      <a:pt x="28494" y="23068"/>
                      <a:pt x="19523" y="8971"/>
                      <a:pt x="10552" y="7689"/>
                    </a:cubicBezTo>
                    <a:cubicBezTo>
                      <a:pt x="1581" y="6408"/>
                      <a:pt x="-3545" y="16660"/>
                      <a:pt x="2863" y="24349"/>
                    </a:cubicBezTo>
                    <a:cubicBezTo>
                      <a:pt x="5426" y="26913"/>
                      <a:pt x="7989" y="30757"/>
                      <a:pt x="14397" y="30757"/>
                    </a:cubicBezTo>
                    <a:cubicBezTo>
                      <a:pt x="23368" y="48699"/>
                      <a:pt x="31057" y="66640"/>
                      <a:pt x="40028" y="84582"/>
                    </a:cubicBezTo>
                    <a:lnTo>
                      <a:pt x="27212" y="126873"/>
                    </a:lnTo>
                    <a:cubicBezTo>
                      <a:pt x="47717" y="166601"/>
                      <a:pt x="69504" y="205047"/>
                      <a:pt x="91290" y="242212"/>
                    </a:cubicBezTo>
                    <a:cubicBezTo>
                      <a:pt x="84882" y="251183"/>
                      <a:pt x="91290" y="260154"/>
                      <a:pt x="91290" y="2601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4" name="Freeform: Shape 379910">
                <a:extLst>
                  <a:ext uri="{FF2B5EF4-FFF2-40B4-BE49-F238E27FC236}">
                    <a16:creationId xmlns:a16="http://schemas.microsoft.com/office/drawing/2014/main" id="{FF76437D-E954-4E0D-8930-140A01D3EBF6}"/>
                  </a:ext>
                </a:extLst>
              </p:cNvPr>
              <p:cNvSpPr/>
              <p:nvPr/>
            </p:nvSpPr>
            <p:spPr>
              <a:xfrm>
                <a:off x="5105156" y="4307139"/>
                <a:ext cx="85113" cy="81994"/>
              </a:xfrm>
              <a:custGeom>
                <a:avLst/>
                <a:gdLst>
                  <a:gd name="connsiteX0" fmla="*/ 2768 w 85113"/>
                  <a:gd name="connsiteY0" fmla="*/ 16660 h 81994"/>
                  <a:gd name="connsiteX1" fmla="*/ 14302 w 85113"/>
                  <a:gd name="connsiteY1" fmla="*/ 23068 h 81994"/>
                  <a:gd name="connsiteX2" fmla="*/ 24554 w 85113"/>
                  <a:gd name="connsiteY2" fmla="*/ 48699 h 81994"/>
                  <a:gd name="connsiteX3" fmla="*/ 61719 w 85113"/>
                  <a:gd name="connsiteY3" fmla="*/ 67922 h 81994"/>
                  <a:gd name="connsiteX4" fmla="*/ 82224 w 85113"/>
                  <a:gd name="connsiteY4" fmla="*/ 79456 h 81994"/>
                  <a:gd name="connsiteX5" fmla="*/ 70690 w 85113"/>
                  <a:gd name="connsiteY5" fmla="*/ 57670 h 81994"/>
                  <a:gd name="connsiteX6" fmla="*/ 63001 w 85113"/>
                  <a:gd name="connsiteY6" fmla="*/ 62796 h 81994"/>
                  <a:gd name="connsiteX7" fmla="*/ 28399 w 85113"/>
                  <a:gd name="connsiteY7" fmla="*/ 46136 h 81994"/>
                  <a:gd name="connsiteX8" fmla="*/ 18147 w 85113"/>
                  <a:gd name="connsiteY8" fmla="*/ 23068 h 81994"/>
                  <a:gd name="connsiteX9" fmla="*/ 10457 w 85113"/>
                  <a:gd name="connsiteY9" fmla="*/ 0 h 81994"/>
                  <a:gd name="connsiteX10" fmla="*/ 5331 w 85113"/>
                  <a:gd name="connsiteY10" fmla="*/ 0 h 81994"/>
                  <a:gd name="connsiteX11" fmla="*/ 2768 w 85113"/>
                  <a:gd name="connsiteY11" fmla="*/ 16660 h 8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113" h="81994">
                    <a:moveTo>
                      <a:pt x="2768" y="16660"/>
                    </a:moveTo>
                    <a:cubicBezTo>
                      <a:pt x="4050" y="19223"/>
                      <a:pt x="7895" y="23068"/>
                      <a:pt x="14302" y="23068"/>
                    </a:cubicBezTo>
                    <a:cubicBezTo>
                      <a:pt x="18147" y="32039"/>
                      <a:pt x="21991" y="39728"/>
                      <a:pt x="24554" y="48699"/>
                    </a:cubicBezTo>
                    <a:cubicBezTo>
                      <a:pt x="36088" y="53825"/>
                      <a:pt x="50185" y="61514"/>
                      <a:pt x="61719" y="67922"/>
                    </a:cubicBezTo>
                    <a:cubicBezTo>
                      <a:pt x="61719" y="79456"/>
                      <a:pt x="75817" y="85864"/>
                      <a:pt x="82224" y="79456"/>
                    </a:cubicBezTo>
                    <a:cubicBezTo>
                      <a:pt x="89914" y="71767"/>
                      <a:pt x="80943" y="57670"/>
                      <a:pt x="70690" y="57670"/>
                    </a:cubicBezTo>
                    <a:cubicBezTo>
                      <a:pt x="65564" y="57670"/>
                      <a:pt x="63001" y="61514"/>
                      <a:pt x="63001" y="62796"/>
                    </a:cubicBezTo>
                    <a:lnTo>
                      <a:pt x="28399" y="46136"/>
                    </a:lnTo>
                    <a:cubicBezTo>
                      <a:pt x="24554" y="38447"/>
                      <a:pt x="21991" y="30757"/>
                      <a:pt x="18147" y="23068"/>
                    </a:cubicBezTo>
                    <a:cubicBezTo>
                      <a:pt x="28399" y="15379"/>
                      <a:pt x="19428" y="1282"/>
                      <a:pt x="10457" y="0"/>
                    </a:cubicBezTo>
                    <a:cubicBezTo>
                      <a:pt x="9176" y="0"/>
                      <a:pt x="7895" y="0"/>
                      <a:pt x="5331" y="0"/>
                    </a:cubicBezTo>
                    <a:cubicBezTo>
                      <a:pt x="-4921" y="5126"/>
                      <a:pt x="2768" y="16660"/>
                      <a:pt x="276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5" name="Freeform: Shape 379911">
                <a:extLst>
                  <a:ext uri="{FF2B5EF4-FFF2-40B4-BE49-F238E27FC236}">
                    <a16:creationId xmlns:a16="http://schemas.microsoft.com/office/drawing/2014/main" id="{EBD65A27-B1CD-40CD-BCC0-189646D31477}"/>
                  </a:ext>
                </a:extLst>
              </p:cNvPr>
              <p:cNvSpPr/>
              <p:nvPr/>
            </p:nvSpPr>
            <p:spPr>
              <a:xfrm>
                <a:off x="7756319" y="3898326"/>
                <a:ext cx="3994" cy="25630"/>
              </a:xfrm>
              <a:custGeom>
                <a:avLst/>
                <a:gdLst>
                  <a:gd name="connsiteX0" fmla="*/ 569 w 3994"/>
                  <a:gd name="connsiteY0" fmla="*/ 12816 h 25630"/>
                  <a:gd name="connsiteX1" fmla="*/ 569 w 3994"/>
                  <a:gd name="connsiteY1" fmla="*/ 25631 h 25630"/>
                  <a:gd name="connsiteX2" fmla="*/ 3133 w 3994"/>
                  <a:gd name="connsiteY2" fmla="*/ 0 h 25630"/>
                  <a:gd name="connsiteX3" fmla="*/ 3133 w 3994"/>
                  <a:gd name="connsiteY3" fmla="*/ 0 h 25630"/>
                  <a:gd name="connsiteX4" fmla="*/ 569 w 3994"/>
                  <a:gd name="connsiteY4" fmla="*/ 12816 h 256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4" h="25630">
                    <a:moveTo>
                      <a:pt x="569" y="12816"/>
                    </a:moveTo>
                    <a:cubicBezTo>
                      <a:pt x="569" y="17942"/>
                      <a:pt x="-712" y="25631"/>
                      <a:pt x="569" y="25631"/>
                    </a:cubicBezTo>
                    <a:cubicBezTo>
                      <a:pt x="1851" y="24349"/>
                      <a:pt x="5696" y="2563"/>
                      <a:pt x="3133" y="0"/>
                    </a:cubicBezTo>
                    <a:cubicBezTo>
                      <a:pt x="3133" y="0"/>
                      <a:pt x="3133" y="0"/>
                      <a:pt x="3133" y="0"/>
                    </a:cubicBezTo>
                    <a:cubicBezTo>
                      <a:pt x="3133" y="1282"/>
                      <a:pt x="1851" y="8971"/>
                      <a:pt x="569"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6" name="Freeform: Shape 379912">
                <a:extLst>
                  <a:ext uri="{FF2B5EF4-FFF2-40B4-BE49-F238E27FC236}">
                    <a16:creationId xmlns:a16="http://schemas.microsoft.com/office/drawing/2014/main" id="{E4114E36-A275-4E6C-B68C-6E67E4C20537}"/>
                  </a:ext>
                </a:extLst>
              </p:cNvPr>
              <p:cNvSpPr/>
              <p:nvPr/>
            </p:nvSpPr>
            <p:spPr>
              <a:xfrm>
                <a:off x="7763296" y="3909860"/>
                <a:ext cx="3844" cy="25630"/>
              </a:xfrm>
              <a:custGeom>
                <a:avLst/>
                <a:gdLst>
                  <a:gd name="connsiteX0" fmla="*/ 1282 w 3844"/>
                  <a:gd name="connsiteY0" fmla="*/ 12815 h 25630"/>
                  <a:gd name="connsiteX1" fmla="*/ 0 w 3844"/>
                  <a:gd name="connsiteY1" fmla="*/ 25631 h 25630"/>
                  <a:gd name="connsiteX2" fmla="*/ 3845 w 3844"/>
                  <a:gd name="connsiteY2" fmla="*/ 0 h 25630"/>
                  <a:gd name="connsiteX3" fmla="*/ 1282 w 3844"/>
                  <a:gd name="connsiteY3" fmla="*/ 12815 h 25630"/>
                </a:gdLst>
                <a:ahLst/>
                <a:cxnLst>
                  <a:cxn ang="0">
                    <a:pos x="connsiteX0" y="connsiteY0"/>
                  </a:cxn>
                  <a:cxn ang="0">
                    <a:pos x="connsiteX1" y="connsiteY1"/>
                  </a:cxn>
                  <a:cxn ang="0">
                    <a:pos x="connsiteX2" y="connsiteY2"/>
                  </a:cxn>
                  <a:cxn ang="0">
                    <a:pos x="connsiteX3" y="connsiteY3"/>
                  </a:cxn>
                </a:cxnLst>
                <a:rect l="l" t="t" r="r" b="b"/>
                <a:pathLst>
                  <a:path w="3844" h="25630">
                    <a:moveTo>
                      <a:pt x="1282" y="12815"/>
                    </a:moveTo>
                    <a:cubicBezTo>
                      <a:pt x="1282" y="16660"/>
                      <a:pt x="0" y="24349"/>
                      <a:pt x="0" y="25631"/>
                    </a:cubicBezTo>
                    <a:cubicBezTo>
                      <a:pt x="1282" y="24349"/>
                      <a:pt x="3845" y="1282"/>
                      <a:pt x="3845" y="0"/>
                    </a:cubicBezTo>
                    <a:cubicBezTo>
                      <a:pt x="3845" y="0"/>
                      <a:pt x="2563" y="10252"/>
                      <a:pt x="1282"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7" name="Freeform: Shape 379913">
                <a:extLst>
                  <a:ext uri="{FF2B5EF4-FFF2-40B4-BE49-F238E27FC236}">
                    <a16:creationId xmlns:a16="http://schemas.microsoft.com/office/drawing/2014/main" id="{83600FD8-3D60-42AE-A6E7-9C7EBB84AC5D}"/>
                  </a:ext>
                </a:extLst>
              </p:cNvPr>
              <p:cNvSpPr/>
              <p:nvPr/>
            </p:nvSpPr>
            <p:spPr>
              <a:xfrm>
                <a:off x="4435448" y="4349431"/>
                <a:ext cx="176113" cy="279466"/>
              </a:xfrm>
              <a:custGeom>
                <a:avLst/>
                <a:gdLst>
                  <a:gd name="connsiteX0" fmla="*/ 3507 w 176113"/>
                  <a:gd name="connsiteY0" fmla="*/ 15378 h 279466"/>
                  <a:gd name="connsiteX1" fmla="*/ 12477 w 176113"/>
                  <a:gd name="connsiteY1" fmla="*/ 23068 h 279466"/>
                  <a:gd name="connsiteX2" fmla="*/ 131662 w 176113"/>
                  <a:gd name="connsiteY2" fmla="*/ 247338 h 279466"/>
                  <a:gd name="connsiteX3" fmla="*/ 159856 w 176113"/>
                  <a:gd name="connsiteY3" fmla="*/ 267843 h 279466"/>
                  <a:gd name="connsiteX4" fmla="*/ 173953 w 176113"/>
                  <a:gd name="connsiteY4" fmla="*/ 279377 h 279466"/>
                  <a:gd name="connsiteX5" fmla="*/ 159856 w 176113"/>
                  <a:gd name="connsiteY5" fmla="*/ 257590 h 279466"/>
                  <a:gd name="connsiteX6" fmla="*/ 158574 w 176113"/>
                  <a:gd name="connsiteY6" fmla="*/ 261435 h 279466"/>
                  <a:gd name="connsiteX7" fmla="*/ 132943 w 176113"/>
                  <a:gd name="connsiteY7" fmla="*/ 244775 h 279466"/>
                  <a:gd name="connsiteX8" fmla="*/ 15041 w 176113"/>
                  <a:gd name="connsiteY8" fmla="*/ 23068 h 279466"/>
                  <a:gd name="connsiteX9" fmla="*/ 3507 w 176113"/>
                  <a:gd name="connsiteY9" fmla="*/ 0 h 279466"/>
                  <a:gd name="connsiteX10" fmla="*/ 3507 w 176113"/>
                  <a:gd name="connsiteY10" fmla="*/ 15378 h 279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6113" h="279466">
                    <a:moveTo>
                      <a:pt x="3507" y="15378"/>
                    </a:moveTo>
                    <a:cubicBezTo>
                      <a:pt x="4788" y="17942"/>
                      <a:pt x="8633" y="21786"/>
                      <a:pt x="12477" y="23068"/>
                    </a:cubicBezTo>
                    <a:cubicBezTo>
                      <a:pt x="48361" y="101242"/>
                      <a:pt x="88089" y="175572"/>
                      <a:pt x="131662" y="247338"/>
                    </a:cubicBezTo>
                    <a:cubicBezTo>
                      <a:pt x="140632" y="252464"/>
                      <a:pt x="156011" y="257590"/>
                      <a:pt x="159856" y="267843"/>
                    </a:cubicBezTo>
                    <a:cubicBezTo>
                      <a:pt x="159856" y="267843"/>
                      <a:pt x="164982" y="280658"/>
                      <a:pt x="173953" y="279377"/>
                    </a:cubicBezTo>
                    <a:cubicBezTo>
                      <a:pt x="182924" y="269124"/>
                      <a:pt x="161137" y="257590"/>
                      <a:pt x="159856" y="257590"/>
                    </a:cubicBezTo>
                    <a:cubicBezTo>
                      <a:pt x="158574" y="258872"/>
                      <a:pt x="158574" y="260154"/>
                      <a:pt x="158574" y="261435"/>
                    </a:cubicBezTo>
                    <a:lnTo>
                      <a:pt x="132943" y="244775"/>
                    </a:lnTo>
                    <a:cubicBezTo>
                      <a:pt x="89371" y="174290"/>
                      <a:pt x="49643" y="99960"/>
                      <a:pt x="15041" y="23068"/>
                    </a:cubicBezTo>
                    <a:cubicBezTo>
                      <a:pt x="18885" y="15378"/>
                      <a:pt x="11196" y="0"/>
                      <a:pt x="3507" y="0"/>
                    </a:cubicBezTo>
                    <a:cubicBezTo>
                      <a:pt x="-2901" y="3844"/>
                      <a:pt x="943" y="10252"/>
                      <a:pt x="3507"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8" name="Freeform: Shape 379914">
                <a:extLst>
                  <a:ext uri="{FF2B5EF4-FFF2-40B4-BE49-F238E27FC236}">
                    <a16:creationId xmlns:a16="http://schemas.microsoft.com/office/drawing/2014/main" id="{659314F2-C247-42FC-96D3-C58E066E965F}"/>
                  </a:ext>
                </a:extLst>
              </p:cNvPr>
              <p:cNvSpPr/>
              <p:nvPr/>
            </p:nvSpPr>
            <p:spPr>
              <a:xfrm>
                <a:off x="4722498" y="4551790"/>
                <a:ext cx="21002" cy="63178"/>
              </a:xfrm>
              <a:custGeom>
                <a:avLst/>
                <a:gdLst>
                  <a:gd name="connsiteX0" fmla="*/ 4806 w 21002"/>
                  <a:gd name="connsiteY0" fmla="*/ 56513 h 63178"/>
                  <a:gd name="connsiteX1" fmla="*/ 18903 w 21002"/>
                  <a:gd name="connsiteY1" fmla="*/ 59076 h 63178"/>
                  <a:gd name="connsiteX2" fmla="*/ 12495 w 21002"/>
                  <a:gd name="connsiteY2" fmla="*/ 44979 h 63178"/>
                  <a:gd name="connsiteX3" fmla="*/ 13776 w 21002"/>
                  <a:gd name="connsiteY3" fmla="*/ 23193 h 63178"/>
                  <a:gd name="connsiteX4" fmla="*/ 18903 w 21002"/>
                  <a:gd name="connsiteY4" fmla="*/ 9096 h 63178"/>
                  <a:gd name="connsiteX5" fmla="*/ 4806 w 21002"/>
                  <a:gd name="connsiteY5" fmla="*/ 125 h 63178"/>
                  <a:gd name="connsiteX6" fmla="*/ 9932 w 21002"/>
                  <a:gd name="connsiteY6" fmla="*/ 19348 h 63178"/>
                  <a:gd name="connsiteX7" fmla="*/ 8650 w 21002"/>
                  <a:gd name="connsiteY7" fmla="*/ 39853 h 63178"/>
                  <a:gd name="connsiteX8" fmla="*/ 961 w 21002"/>
                  <a:gd name="connsiteY8" fmla="*/ 47542 h 63178"/>
                  <a:gd name="connsiteX9" fmla="*/ 4806 w 21002"/>
                  <a:gd name="connsiteY9" fmla="*/ 56513 h 6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002" h="63178">
                    <a:moveTo>
                      <a:pt x="4806" y="56513"/>
                    </a:moveTo>
                    <a:cubicBezTo>
                      <a:pt x="9932" y="64202"/>
                      <a:pt x="17621" y="65484"/>
                      <a:pt x="18903" y="59076"/>
                    </a:cubicBezTo>
                    <a:cubicBezTo>
                      <a:pt x="18903" y="56513"/>
                      <a:pt x="18903" y="50105"/>
                      <a:pt x="12495" y="44979"/>
                    </a:cubicBezTo>
                    <a:cubicBezTo>
                      <a:pt x="12495" y="38571"/>
                      <a:pt x="13776" y="29600"/>
                      <a:pt x="13776" y="23193"/>
                    </a:cubicBezTo>
                    <a:cubicBezTo>
                      <a:pt x="21466" y="25756"/>
                      <a:pt x="22747" y="16785"/>
                      <a:pt x="18903" y="9096"/>
                    </a:cubicBezTo>
                    <a:cubicBezTo>
                      <a:pt x="17621" y="7814"/>
                      <a:pt x="12495" y="-1157"/>
                      <a:pt x="4806" y="125"/>
                    </a:cubicBezTo>
                    <a:cubicBezTo>
                      <a:pt x="-1602" y="3969"/>
                      <a:pt x="3524" y="14222"/>
                      <a:pt x="9932" y="19348"/>
                    </a:cubicBezTo>
                    <a:cubicBezTo>
                      <a:pt x="9932" y="25756"/>
                      <a:pt x="8650" y="33445"/>
                      <a:pt x="8650" y="39853"/>
                    </a:cubicBezTo>
                    <a:cubicBezTo>
                      <a:pt x="961" y="36008"/>
                      <a:pt x="-1602" y="42416"/>
                      <a:pt x="961" y="47542"/>
                    </a:cubicBezTo>
                    <a:cubicBezTo>
                      <a:pt x="961" y="51387"/>
                      <a:pt x="3524" y="53950"/>
                      <a:pt x="4806" y="5651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79" name="Freeform: Shape 379915">
                <a:extLst>
                  <a:ext uri="{FF2B5EF4-FFF2-40B4-BE49-F238E27FC236}">
                    <a16:creationId xmlns:a16="http://schemas.microsoft.com/office/drawing/2014/main" id="{BCD23CDB-2FC3-489E-95EF-94B7C36D264B}"/>
                  </a:ext>
                </a:extLst>
              </p:cNvPr>
              <p:cNvSpPr/>
              <p:nvPr/>
            </p:nvSpPr>
            <p:spPr>
              <a:xfrm>
                <a:off x="4744931" y="4542819"/>
                <a:ext cx="21637" cy="62960"/>
              </a:xfrm>
              <a:custGeom>
                <a:avLst/>
                <a:gdLst>
                  <a:gd name="connsiteX0" fmla="*/ 2878 w 21637"/>
                  <a:gd name="connsiteY0" fmla="*/ 56513 h 62960"/>
                  <a:gd name="connsiteX1" fmla="*/ 18256 w 21637"/>
                  <a:gd name="connsiteY1" fmla="*/ 57795 h 62960"/>
                  <a:gd name="connsiteX2" fmla="*/ 13130 w 21637"/>
                  <a:gd name="connsiteY2" fmla="*/ 44979 h 62960"/>
                  <a:gd name="connsiteX3" fmla="*/ 14412 w 21637"/>
                  <a:gd name="connsiteY3" fmla="*/ 23193 h 62960"/>
                  <a:gd name="connsiteX4" fmla="*/ 19538 w 21637"/>
                  <a:gd name="connsiteY4" fmla="*/ 9096 h 62960"/>
                  <a:gd name="connsiteX5" fmla="*/ 5441 w 21637"/>
                  <a:gd name="connsiteY5" fmla="*/ 125 h 62960"/>
                  <a:gd name="connsiteX6" fmla="*/ 10567 w 21637"/>
                  <a:gd name="connsiteY6" fmla="*/ 20630 h 62960"/>
                  <a:gd name="connsiteX7" fmla="*/ 9285 w 21637"/>
                  <a:gd name="connsiteY7" fmla="*/ 42416 h 62960"/>
                  <a:gd name="connsiteX8" fmla="*/ 315 w 21637"/>
                  <a:gd name="connsiteY8" fmla="*/ 50105 h 62960"/>
                  <a:gd name="connsiteX9" fmla="*/ 2878 w 21637"/>
                  <a:gd name="connsiteY9" fmla="*/ 56513 h 6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637" h="62960">
                    <a:moveTo>
                      <a:pt x="2878" y="56513"/>
                    </a:moveTo>
                    <a:cubicBezTo>
                      <a:pt x="9285" y="64202"/>
                      <a:pt x="18256" y="65484"/>
                      <a:pt x="18256" y="57795"/>
                    </a:cubicBezTo>
                    <a:cubicBezTo>
                      <a:pt x="18256" y="56513"/>
                      <a:pt x="18256" y="51387"/>
                      <a:pt x="13130" y="44979"/>
                    </a:cubicBezTo>
                    <a:cubicBezTo>
                      <a:pt x="13130" y="38571"/>
                      <a:pt x="14412" y="29601"/>
                      <a:pt x="14412" y="23193"/>
                    </a:cubicBezTo>
                    <a:cubicBezTo>
                      <a:pt x="22101" y="25756"/>
                      <a:pt x="23383" y="16785"/>
                      <a:pt x="19538" y="9096"/>
                    </a:cubicBezTo>
                    <a:cubicBezTo>
                      <a:pt x="18256" y="7814"/>
                      <a:pt x="13130" y="-1156"/>
                      <a:pt x="5441" y="125"/>
                    </a:cubicBezTo>
                    <a:cubicBezTo>
                      <a:pt x="-967" y="3970"/>
                      <a:pt x="2878" y="14222"/>
                      <a:pt x="10567" y="20630"/>
                    </a:cubicBezTo>
                    <a:cubicBezTo>
                      <a:pt x="10567" y="27037"/>
                      <a:pt x="9285" y="36008"/>
                      <a:pt x="9285" y="42416"/>
                    </a:cubicBezTo>
                    <a:cubicBezTo>
                      <a:pt x="1596" y="38571"/>
                      <a:pt x="-967" y="44979"/>
                      <a:pt x="315" y="50105"/>
                    </a:cubicBezTo>
                    <a:cubicBezTo>
                      <a:pt x="315" y="52668"/>
                      <a:pt x="1596" y="55231"/>
                      <a:pt x="2878" y="5651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0" name="Freeform: Shape 379916">
                <a:extLst>
                  <a:ext uri="{FF2B5EF4-FFF2-40B4-BE49-F238E27FC236}">
                    <a16:creationId xmlns:a16="http://schemas.microsoft.com/office/drawing/2014/main" id="{C6BAB855-C96A-4EDD-9E00-76813338AEF1}"/>
                  </a:ext>
                </a:extLst>
              </p:cNvPr>
              <p:cNvSpPr/>
              <p:nvPr/>
            </p:nvSpPr>
            <p:spPr>
              <a:xfrm>
                <a:off x="4768651" y="4533973"/>
                <a:ext cx="38148" cy="55106"/>
              </a:xfrm>
              <a:custGeom>
                <a:avLst/>
                <a:gdLst>
                  <a:gd name="connsiteX0" fmla="*/ 3507 w 38148"/>
                  <a:gd name="connsiteY0" fmla="*/ 16660 h 55106"/>
                  <a:gd name="connsiteX1" fmla="*/ 13759 w 38148"/>
                  <a:gd name="connsiteY1" fmla="*/ 23068 h 55106"/>
                  <a:gd name="connsiteX2" fmla="*/ 20167 w 38148"/>
                  <a:gd name="connsiteY2" fmla="*/ 33320 h 55106"/>
                  <a:gd name="connsiteX3" fmla="*/ 32983 w 38148"/>
                  <a:gd name="connsiteY3" fmla="*/ 55106 h 55106"/>
                  <a:gd name="connsiteX4" fmla="*/ 31701 w 38148"/>
                  <a:gd name="connsiteY4" fmla="*/ 35883 h 55106"/>
                  <a:gd name="connsiteX5" fmla="*/ 24012 w 38148"/>
                  <a:gd name="connsiteY5" fmla="*/ 32039 h 55106"/>
                  <a:gd name="connsiteX6" fmla="*/ 17604 w 38148"/>
                  <a:gd name="connsiteY6" fmla="*/ 21786 h 55106"/>
                  <a:gd name="connsiteX7" fmla="*/ 4788 w 38148"/>
                  <a:gd name="connsiteY7" fmla="*/ 0 h 55106"/>
                  <a:gd name="connsiteX8" fmla="*/ 3507 w 38148"/>
                  <a:gd name="connsiteY8" fmla="*/ 0 h 55106"/>
                  <a:gd name="connsiteX9" fmla="*/ 3507 w 38148"/>
                  <a:gd name="connsiteY9" fmla="*/ 16660 h 5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48" h="55106">
                    <a:moveTo>
                      <a:pt x="3507" y="16660"/>
                    </a:moveTo>
                    <a:cubicBezTo>
                      <a:pt x="6070" y="19223"/>
                      <a:pt x="8633" y="23068"/>
                      <a:pt x="13759" y="23068"/>
                    </a:cubicBezTo>
                    <a:cubicBezTo>
                      <a:pt x="16322" y="26913"/>
                      <a:pt x="17604" y="29475"/>
                      <a:pt x="20167" y="33320"/>
                    </a:cubicBezTo>
                    <a:cubicBezTo>
                      <a:pt x="13759" y="41009"/>
                      <a:pt x="25293" y="55106"/>
                      <a:pt x="32983" y="55106"/>
                    </a:cubicBezTo>
                    <a:cubicBezTo>
                      <a:pt x="40672" y="55106"/>
                      <a:pt x="39390" y="43573"/>
                      <a:pt x="31701" y="35883"/>
                    </a:cubicBezTo>
                    <a:cubicBezTo>
                      <a:pt x="27856" y="33320"/>
                      <a:pt x="25293" y="32039"/>
                      <a:pt x="24012" y="32039"/>
                    </a:cubicBezTo>
                    <a:cubicBezTo>
                      <a:pt x="21449" y="28194"/>
                      <a:pt x="20167" y="25631"/>
                      <a:pt x="17604" y="21786"/>
                    </a:cubicBezTo>
                    <a:cubicBezTo>
                      <a:pt x="24012" y="14097"/>
                      <a:pt x="12478" y="0"/>
                      <a:pt x="4788" y="0"/>
                    </a:cubicBezTo>
                    <a:cubicBezTo>
                      <a:pt x="4788" y="0"/>
                      <a:pt x="3507" y="0"/>
                      <a:pt x="3507" y="0"/>
                    </a:cubicBezTo>
                    <a:cubicBezTo>
                      <a:pt x="-2901" y="5126"/>
                      <a:pt x="944" y="14097"/>
                      <a:pt x="3507"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1" name="Freeform: Shape 379917">
                <a:extLst>
                  <a:ext uri="{FF2B5EF4-FFF2-40B4-BE49-F238E27FC236}">
                    <a16:creationId xmlns:a16="http://schemas.microsoft.com/office/drawing/2014/main" id="{979851A7-9818-44D8-9F72-F3D0EFE4FEF3}"/>
                  </a:ext>
                </a:extLst>
              </p:cNvPr>
              <p:cNvSpPr/>
              <p:nvPr/>
            </p:nvSpPr>
            <p:spPr>
              <a:xfrm>
                <a:off x="5057996" y="4436575"/>
                <a:ext cx="38127" cy="55229"/>
              </a:xfrm>
              <a:custGeom>
                <a:avLst/>
                <a:gdLst>
                  <a:gd name="connsiteX0" fmla="*/ 2511 w 38127"/>
                  <a:gd name="connsiteY0" fmla="*/ 16660 h 55229"/>
                  <a:gd name="connsiteX1" fmla="*/ 14045 w 38127"/>
                  <a:gd name="connsiteY1" fmla="*/ 23068 h 55229"/>
                  <a:gd name="connsiteX2" fmla="*/ 19171 w 38127"/>
                  <a:gd name="connsiteY2" fmla="*/ 33320 h 55229"/>
                  <a:gd name="connsiteX3" fmla="*/ 28142 w 38127"/>
                  <a:gd name="connsiteY3" fmla="*/ 55106 h 55229"/>
                  <a:gd name="connsiteX4" fmla="*/ 35831 w 38127"/>
                  <a:gd name="connsiteY4" fmla="*/ 38447 h 55229"/>
                  <a:gd name="connsiteX5" fmla="*/ 24297 w 38127"/>
                  <a:gd name="connsiteY5" fmla="*/ 32039 h 55229"/>
                  <a:gd name="connsiteX6" fmla="*/ 19171 w 38127"/>
                  <a:gd name="connsiteY6" fmla="*/ 21786 h 55229"/>
                  <a:gd name="connsiteX7" fmla="*/ 10200 w 38127"/>
                  <a:gd name="connsiteY7" fmla="*/ 0 h 55229"/>
                  <a:gd name="connsiteX8" fmla="*/ 6356 w 38127"/>
                  <a:gd name="connsiteY8" fmla="*/ 0 h 55229"/>
                  <a:gd name="connsiteX9" fmla="*/ 2511 w 38127"/>
                  <a:gd name="connsiteY9" fmla="*/ 16660 h 5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27" h="55229">
                    <a:moveTo>
                      <a:pt x="2511" y="16660"/>
                    </a:moveTo>
                    <a:cubicBezTo>
                      <a:pt x="5074" y="19223"/>
                      <a:pt x="7637" y="23068"/>
                      <a:pt x="14045" y="23068"/>
                    </a:cubicBezTo>
                    <a:cubicBezTo>
                      <a:pt x="15326" y="26913"/>
                      <a:pt x="17890" y="30757"/>
                      <a:pt x="19171" y="33320"/>
                    </a:cubicBezTo>
                    <a:cubicBezTo>
                      <a:pt x="10200" y="41010"/>
                      <a:pt x="19171" y="53825"/>
                      <a:pt x="28142" y="55106"/>
                    </a:cubicBezTo>
                    <a:cubicBezTo>
                      <a:pt x="37113" y="56388"/>
                      <a:pt x="40957" y="47417"/>
                      <a:pt x="35831" y="38447"/>
                    </a:cubicBezTo>
                    <a:cubicBezTo>
                      <a:pt x="33268" y="35883"/>
                      <a:pt x="30705" y="32039"/>
                      <a:pt x="24297" y="32039"/>
                    </a:cubicBezTo>
                    <a:cubicBezTo>
                      <a:pt x="23016" y="28194"/>
                      <a:pt x="20453" y="25631"/>
                      <a:pt x="19171" y="21786"/>
                    </a:cubicBezTo>
                    <a:cubicBezTo>
                      <a:pt x="28142" y="14097"/>
                      <a:pt x="19171" y="1282"/>
                      <a:pt x="10200" y="0"/>
                    </a:cubicBezTo>
                    <a:cubicBezTo>
                      <a:pt x="8919" y="0"/>
                      <a:pt x="7637" y="0"/>
                      <a:pt x="6356" y="0"/>
                    </a:cubicBezTo>
                    <a:cubicBezTo>
                      <a:pt x="-5178" y="5126"/>
                      <a:pt x="2511" y="16660"/>
                      <a:pt x="251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2" name="Freeform: Shape 379918">
                <a:extLst>
                  <a:ext uri="{FF2B5EF4-FFF2-40B4-BE49-F238E27FC236}">
                    <a16:creationId xmlns:a16="http://schemas.microsoft.com/office/drawing/2014/main" id="{5DB1B76F-628F-4F46-AE27-CBE16FAC13A5}"/>
                  </a:ext>
                </a:extLst>
              </p:cNvPr>
              <p:cNvSpPr/>
              <p:nvPr/>
            </p:nvSpPr>
            <p:spPr>
              <a:xfrm>
                <a:off x="5182365" y="4398129"/>
                <a:ext cx="93441" cy="263712"/>
              </a:xfrm>
              <a:custGeom>
                <a:avLst/>
                <a:gdLst>
                  <a:gd name="connsiteX0" fmla="*/ 57558 w 93441"/>
                  <a:gd name="connsiteY0" fmla="*/ 257591 h 263712"/>
                  <a:gd name="connsiteX1" fmla="*/ 76782 w 93441"/>
                  <a:gd name="connsiteY1" fmla="*/ 256309 h 263712"/>
                  <a:gd name="connsiteX2" fmla="*/ 70374 w 93441"/>
                  <a:gd name="connsiteY2" fmla="*/ 244775 h 263712"/>
                  <a:gd name="connsiteX3" fmla="*/ 93442 w 93441"/>
                  <a:gd name="connsiteY3" fmla="*/ 173009 h 263712"/>
                  <a:gd name="connsiteX4" fmla="*/ 19112 w 93441"/>
                  <a:gd name="connsiteY4" fmla="*/ 21786 h 263712"/>
                  <a:gd name="connsiteX5" fmla="*/ 11423 w 93441"/>
                  <a:gd name="connsiteY5" fmla="*/ 0 h 263712"/>
                  <a:gd name="connsiteX6" fmla="*/ 6296 w 93441"/>
                  <a:gd name="connsiteY6" fmla="*/ 0 h 263712"/>
                  <a:gd name="connsiteX7" fmla="*/ 8859 w 93441"/>
                  <a:gd name="connsiteY7" fmla="*/ 21786 h 263712"/>
                  <a:gd name="connsiteX8" fmla="*/ 15268 w 93441"/>
                  <a:gd name="connsiteY8" fmla="*/ 23068 h 263712"/>
                  <a:gd name="connsiteX9" fmla="*/ 89597 w 93441"/>
                  <a:gd name="connsiteY9" fmla="*/ 171727 h 263712"/>
                  <a:gd name="connsiteX10" fmla="*/ 67811 w 93441"/>
                  <a:gd name="connsiteY10" fmla="*/ 242212 h 263712"/>
                  <a:gd name="connsiteX11" fmla="*/ 57558 w 93441"/>
                  <a:gd name="connsiteY11" fmla="*/ 255028 h 263712"/>
                  <a:gd name="connsiteX12" fmla="*/ 57558 w 93441"/>
                  <a:gd name="connsiteY12" fmla="*/ 257591 h 26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441" h="263712">
                    <a:moveTo>
                      <a:pt x="57558" y="257591"/>
                    </a:moveTo>
                    <a:cubicBezTo>
                      <a:pt x="63966" y="266561"/>
                      <a:pt x="76782" y="265280"/>
                      <a:pt x="76782" y="256309"/>
                    </a:cubicBezTo>
                    <a:cubicBezTo>
                      <a:pt x="76782" y="253746"/>
                      <a:pt x="75500" y="249901"/>
                      <a:pt x="70374" y="244775"/>
                    </a:cubicBezTo>
                    <a:lnTo>
                      <a:pt x="93442" y="173009"/>
                    </a:lnTo>
                    <a:cubicBezTo>
                      <a:pt x="67811" y="124310"/>
                      <a:pt x="42180" y="73048"/>
                      <a:pt x="19112" y="21786"/>
                    </a:cubicBezTo>
                    <a:cubicBezTo>
                      <a:pt x="29364" y="14097"/>
                      <a:pt x="20393" y="1282"/>
                      <a:pt x="11423" y="0"/>
                    </a:cubicBezTo>
                    <a:cubicBezTo>
                      <a:pt x="10141" y="0"/>
                      <a:pt x="8859" y="0"/>
                      <a:pt x="6296" y="0"/>
                    </a:cubicBezTo>
                    <a:cubicBezTo>
                      <a:pt x="-5237" y="5126"/>
                      <a:pt x="1170" y="17942"/>
                      <a:pt x="8859" y="21786"/>
                    </a:cubicBezTo>
                    <a:cubicBezTo>
                      <a:pt x="11423" y="23068"/>
                      <a:pt x="12704" y="23068"/>
                      <a:pt x="15268" y="23068"/>
                    </a:cubicBezTo>
                    <a:cubicBezTo>
                      <a:pt x="38335" y="74330"/>
                      <a:pt x="63966" y="124310"/>
                      <a:pt x="89597" y="171727"/>
                    </a:cubicBezTo>
                    <a:cubicBezTo>
                      <a:pt x="83190" y="192232"/>
                      <a:pt x="74219" y="220426"/>
                      <a:pt x="67811" y="242212"/>
                    </a:cubicBezTo>
                    <a:cubicBezTo>
                      <a:pt x="56277" y="239649"/>
                      <a:pt x="53714" y="248620"/>
                      <a:pt x="57558" y="255028"/>
                    </a:cubicBezTo>
                    <a:cubicBezTo>
                      <a:pt x="56277" y="256309"/>
                      <a:pt x="56277" y="257591"/>
                      <a:pt x="57558" y="25759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3" name="Freeform: Shape 379919">
                <a:extLst>
                  <a:ext uri="{FF2B5EF4-FFF2-40B4-BE49-F238E27FC236}">
                    <a16:creationId xmlns:a16="http://schemas.microsoft.com/office/drawing/2014/main" id="{3E83B3A2-706A-42C6-9E1D-F4603B455663}"/>
                  </a:ext>
                </a:extLst>
              </p:cNvPr>
              <p:cNvSpPr/>
              <p:nvPr/>
            </p:nvSpPr>
            <p:spPr>
              <a:xfrm>
                <a:off x="5214568" y="4389158"/>
                <a:ext cx="55970" cy="88524"/>
              </a:xfrm>
              <a:custGeom>
                <a:avLst/>
                <a:gdLst>
                  <a:gd name="connsiteX0" fmla="*/ 2288 w 55970"/>
                  <a:gd name="connsiteY0" fmla="*/ 16660 h 88524"/>
                  <a:gd name="connsiteX1" fmla="*/ 15103 w 55970"/>
                  <a:gd name="connsiteY1" fmla="*/ 23068 h 88524"/>
                  <a:gd name="connsiteX2" fmla="*/ 35608 w 55970"/>
                  <a:gd name="connsiteY2" fmla="*/ 66640 h 88524"/>
                  <a:gd name="connsiteX3" fmla="*/ 44579 w 55970"/>
                  <a:gd name="connsiteY3" fmla="*/ 88427 h 88524"/>
                  <a:gd name="connsiteX4" fmla="*/ 52268 w 55970"/>
                  <a:gd name="connsiteY4" fmla="*/ 70485 h 88524"/>
                  <a:gd name="connsiteX5" fmla="*/ 40734 w 55970"/>
                  <a:gd name="connsiteY5" fmla="*/ 65359 h 88524"/>
                  <a:gd name="connsiteX6" fmla="*/ 20229 w 55970"/>
                  <a:gd name="connsiteY6" fmla="*/ 21786 h 88524"/>
                  <a:gd name="connsiteX7" fmla="*/ 12540 w 55970"/>
                  <a:gd name="connsiteY7" fmla="*/ 0 h 88524"/>
                  <a:gd name="connsiteX8" fmla="*/ 7414 w 55970"/>
                  <a:gd name="connsiteY8" fmla="*/ 0 h 88524"/>
                  <a:gd name="connsiteX9" fmla="*/ 2288 w 55970"/>
                  <a:gd name="connsiteY9" fmla="*/ 16660 h 8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70" h="88524">
                    <a:moveTo>
                      <a:pt x="2288" y="16660"/>
                    </a:moveTo>
                    <a:cubicBezTo>
                      <a:pt x="3569" y="19223"/>
                      <a:pt x="7414" y="23068"/>
                      <a:pt x="15103" y="23068"/>
                    </a:cubicBezTo>
                    <a:cubicBezTo>
                      <a:pt x="21511" y="37165"/>
                      <a:pt x="27919" y="52543"/>
                      <a:pt x="35608" y="66640"/>
                    </a:cubicBezTo>
                    <a:cubicBezTo>
                      <a:pt x="26637" y="74330"/>
                      <a:pt x="34326" y="87145"/>
                      <a:pt x="44579" y="88427"/>
                    </a:cubicBezTo>
                    <a:cubicBezTo>
                      <a:pt x="54831" y="89708"/>
                      <a:pt x="59957" y="78174"/>
                      <a:pt x="52268" y="70485"/>
                    </a:cubicBezTo>
                    <a:cubicBezTo>
                      <a:pt x="48423" y="65359"/>
                      <a:pt x="43297" y="65359"/>
                      <a:pt x="40734" y="65359"/>
                    </a:cubicBezTo>
                    <a:cubicBezTo>
                      <a:pt x="34326" y="51262"/>
                      <a:pt x="27919" y="35883"/>
                      <a:pt x="20229" y="21786"/>
                    </a:cubicBezTo>
                    <a:cubicBezTo>
                      <a:pt x="30482" y="14097"/>
                      <a:pt x="21511" y="0"/>
                      <a:pt x="12540" y="0"/>
                    </a:cubicBezTo>
                    <a:cubicBezTo>
                      <a:pt x="11258" y="0"/>
                      <a:pt x="8695" y="0"/>
                      <a:pt x="7414" y="0"/>
                    </a:cubicBezTo>
                    <a:cubicBezTo>
                      <a:pt x="-5401" y="3844"/>
                      <a:pt x="2288" y="15378"/>
                      <a:pt x="228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4" name="Freeform: Shape 379920">
                <a:extLst>
                  <a:ext uri="{FF2B5EF4-FFF2-40B4-BE49-F238E27FC236}">
                    <a16:creationId xmlns:a16="http://schemas.microsoft.com/office/drawing/2014/main" id="{3B974083-1E98-479D-8B8D-645F642FF1F0}"/>
                  </a:ext>
                </a:extLst>
              </p:cNvPr>
              <p:cNvSpPr/>
              <p:nvPr/>
            </p:nvSpPr>
            <p:spPr>
              <a:xfrm>
                <a:off x="5137985" y="4295606"/>
                <a:ext cx="133525" cy="106344"/>
              </a:xfrm>
              <a:custGeom>
                <a:avLst/>
                <a:gdLst>
                  <a:gd name="connsiteX0" fmla="*/ 1978 w 133525"/>
                  <a:gd name="connsiteY0" fmla="*/ 17942 h 106344"/>
                  <a:gd name="connsiteX1" fmla="*/ 14793 w 133525"/>
                  <a:gd name="connsiteY1" fmla="*/ 24349 h 106344"/>
                  <a:gd name="connsiteX2" fmla="*/ 25046 w 133525"/>
                  <a:gd name="connsiteY2" fmla="*/ 49980 h 106344"/>
                  <a:gd name="connsiteX3" fmla="*/ 109628 w 133525"/>
                  <a:gd name="connsiteY3" fmla="*/ 92271 h 106344"/>
                  <a:gd name="connsiteX4" fmla="*/ 130133 w 133525"/>
                  <a:gd name="connsiteY4" fmla="*/ 103805 h 106344"/>
                  <a:gd name="connsiteX5" fmla="*/ 121162 w 133525"/>
                  <a:gd name="connsiteY5" fmla="*/ 82019 h 106344"/>
                  <a:gd name="connsiteX6" fmla="*/ 110909 w 133525"/>
                  <a:gd name="connsiteY6" fmla="*/ 87145 h 106344"/>
                  <a:gd name="connsiteX7" fmla="*/ 28890 w 133525"/>
                  <a:gd name="connsiteY7" fmla="*/ 46135 h 106344"/>
                  <a:gd name="connsiteX8" fmla="*/ 18637 w 133525"/>
                  <a:gd name="connsiteY8" fmla="*/ 23068 h 106344"/>
                  <a:gd name="connsiteX9" fmla="*/ 10949 w 133525"/>
                  <a:gd name="connsiteY9" fmla="*/ 0 h 106344"/>
                  <a:gd name="connsiteX10" fmla="*/ 5822 w 133525"/>
                  <a:gd name="connsiteY10" fmla="*/ 0 h 106344"/>
                  <a:gd name="connsiteX11" fmla="*/ 1978 w 133525"/>
                  <a:gd name="connsiteY11" fmla="*/ 17942 h 106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525" h="106344">
                    <a:moveTo>
                      <a:pt x="1978" y="17942"/>
                    </a:moveTo>
                    <a:cubicBezTo>
                      <a:pt x="3259" y="20505"/>
                      <a:pt x="7104" y="24349"/>
                      <a:pt x="14793" y="24349"/>
                    </a:cubicBezTo>
                    <a:cubicBezTo>
                      <a:pt x="18637" y="33320"/>
                      <a:pt x="22482" y="41009"/>
                      <a:pt x="25046" y="49980"/>
                    </a:cubicBezTo>
                    <a:cubicBezTo>
                      <a:pt x="50676" y="62796"/>
                      <a:pt x="83997" y="79456"/>
                      <a:pt x="109628" y="92271"/>
                    </a:cubicBezTo>
                    <a:cubicBezTo>
                      <a:pt x="109628" y="103805"/>
                      <a:pt x="123725" y="110213"/>
                      <a:pt x="130133" y="103805"/>
                    </a:cubicBezTo>
                    <a:cubicBezTo>
                      <a:pt x="137822" y="97397"/>
                      <a:pt x="131414" y="83300"/>
                      <a:pt x="121162" y="82019"/>
                    </a:cubicBezTo>
                    <a:cubicBezTo>
                      <a:pt x="118599" y="82019"/>
                      <a:pt x="113472" y="82019"/>
                      <a:pt x="110909" y="87145"/>
                    </a:cubicBezTo>
                    <a:lnTo>
                      <a:pt x="28890" y="46135"/>
                    </a:lnTo>
                    <a:cubicBezTo>
                      <a:pt x="25046" y="38446"/>
                      <a:pt x="22482" y="30757"/>
                      <a:pt x="18637" y="23068"/>
                    </a:cubicBezTo>
                    <a:cubicBezTo>
                      <a:pt x="28890" y="15378"/>
                      <a:pt x="21201" y="1281"/>
                      <a:pt x="10949" y="0"/>
                    </a:cubicBezTo>
                    <a:cubicBezTo>
                      <a:pt x="9667" y="0"/>
                      <a:pt x="7104" y="0"/>
                      <a:pt x="5822" y="0"/>
                    </a:cubicBezTo>
                    <a:cubicBezTo>
                      <a:pt x="-4430" y="6408"/>
                      <a:pt x="1978" y="17942"/>
                      <a:pt x="1978"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5" name="Freeform: Shape 379921">
                <a:extLst>
                  <a:ext uri="{FF2B5EF4-FFF2-40B4-BE49-F238E27FC236}">
                    <a16:creationId xmlns:a16="http://schemas.microsoft.com/office/drawing/2014/main" id="{0642DA58-216C-41F1-A044-B27342784E90}"/>
                  </a:ext>
                </a:extLst>
              </p:cNvPr>
              <p:cNvSpPr/>
              <p:nvPr/>
            </p:nvSpPr>
            <p:spPr>
              <a:xfrm>
                <a:off x="4882799" y="4531410"/>
                <a:ext cx="76955" cy="117983"/>
              </a:xfrm>
              <a:custGeom>
                <a:avLst/>
                <a:gdLst>
                  <a:gd name="connsiteX0" fmla="*/ 3418 w 76955"/>
                  <a:gd name="connsiteY0" fmla="*/ 17942 h 117983"/>
                  <a:gd name="connsiteX1" fmla="*/ 14952 w 76955"/>
                  <a:gd name="connsiteY1" fmla="*/ 24349 h 117983"/>
                  <a:gd name="connsiteX2" fmla="*/ 58524 w 76955"/>
                  <a:gd name="connsiteY2" fmla="*/ 97397 h 117983"/>
                  <a:gd name="connsiteX3" fmla="*/ 71340 w 76955"/>
                  <a:gd name="connsiteY3" fmla="*/ 117902 h 117983"/>
                  <a:gd name="connsiteX4" fmla="*/ 70058 w 76955"/>
                  <a:gd name="connsiteY4" fmla="*/ 98679 h 117983"/>
                  <a:gd name="connsiteX5" fmla="*/ 61087 w 76955"/>
                  <a:gd name="connsiteY5" fmla="*/ 94835 h 117983"/>
                  <a:gd name="connsiteX6" fmla="*/ 17514 w 76955"/>
                  <a:gd name="connsiteY6" fmla="*/ 21786 h 117983"/>
                  <a:gd name="connsiteX7" fmla="*/ 4699 w 76955"/>
                  <a:gd name="connsiteY7" fmla="*/ 0 h 117983"/>
                  <a:gd name="connsiteX8" fmla="*/ 3418 w 76955"/>
                  <a:gd name="connsiteY8" fmla="*/ 0 h 117983"/>
                  <a:gd name="connsiteX9" fmla="*/ 3418 w 76955"/>
                  <a:gd name="connsiteY9" fmla="*/ 17942 h 11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955" h="117983">
                    <a:moveTo>
                      <a:pt x="3418" y="17942"/>
                    </a:moveTo>
                    <a:cubicBezTo>
                      <a:pt x="5981" y="20505"/>
                      <a:pt x="9825" y="24349"/>
                      <a:pt x="14952" y="24349"/>
                    </a:cubicBezTo>
                    <a:cubicBezTo>
                      <a:pt x="29048" y="48699"/>
                      <a:pt x="43145" y="73048"/>
                      <a:pt x="58524" y="97397"/>
                    </a:cubicBezTo>
                    <a:cubicBezTo>
                      <a:pt x="50835" y="105087"/>
                      <a:pt x="63650" y="119184"/>
                      <a:pt x="71340" y="117902"/>
                    </a:cubicBezTo>
                    <a:cubicBezTo>
                      <a:pt x="79029" y="117902"/>
                      <a:pt x="79029" y="106369"/>
                      <a:pt x="70058" y="98679"/>
                    </a:cubicBezTo>
                    <a:cubicBezTo>
                      <a:pt x="66213" y="96116"/>
                      <a:pt x="63650" y="94835"/>
                      <a:pt x="61087" y="94835"/>
                    </a:cubicBezTo>
                    <a:cubicBezTo>
                      <a:pt x="45708" y="70485"/>
                      <a:pt x="31611" y="46136"/>
                      <a:pt x="17514" y="21786"/>
                    </a:cubicBezTo>
                    <a:cubicBezTo>
                      <a:pt x="25204" y="14097"/>
                      <a:pt x="13670" y="0"/>
                      <a:pt x="4699" y="0"/>
                    </a:cubicBezTo>
                    <a:cubicBezTo>
                      <a:pt x="4699" y="0"/>
                      <a:pt x="3418" y="0"/>
                      <a:pt x="3418" y="0"/>
                    </a:cubicBezTo>
                    <a:cubicBezTo>
                      <a:pt x="-4272" y="6408"/>
                      <a:pt x="3418" y="17942"/>
                      <a:pt x="3418"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6" name="Freeform: Shape 379922">
                <a:extLst>
                  <a:ext uri="{FF2B5EF4-FFF2-40B4-BE49-F238E27FC236}">
                    <a16:creationId xmlns:a16="http://schemas.microsoft.com/office/drawing/2014/main" id="{E1F643E2-558D-49CC-B813-867BE545829D}"/>
                  </a:ext>
                </a:extLst>
              </p:cNvPr>
              <p:cNvSpPr/>
              <p:nvPr/>
            </p:nvSpPr>
            <p:spPr>
              <a:xfrm>
                <a:off x="4961323" y="4504497"/>
                <a:ext cx="75964" cy="117983"/>
              </a:xfrm>
              <a:custGeom>
                <a:avLst/>
                <a:gdLst>
                  <a:gd name="connsiteX0" fmla="*/ 3067 w 75964"/>
                  <a:gd name="connsiteY0" fmla="*/ 17942 h 117983"/>
                  <a:gd name="connsiteX1" fmla="*/ 14601 w 75964"/>
                  <a:gd name="connsiteY1" fmla="*/ 24349 h 117983"/>
                  <a:gd name="connsiteX2" fmla="*/ 56892 w 75964"/>
                  <a:gd name="connsiteY2" fmla="*/ 97397 h 117983"/>
                  <a:gd name="connsiteX3" fmla="*/ 69708 w 75964"/>
                  <a:gd name="connsiteY3" fmla="*/ 117902 h 117983"/>
                  <a:gd name="connsiteX4" fmla="*/ 69708 w 75964"/>
                  <a:gd name="connsiteY4" fmla="*/ 98679 h 117983"/>
                  <a:gd name="connsiteX5" fmla="*/ 60737 w 75964"/>
                  <a:gd name="connsiteY5" fmla="*/ 94834 h 117983"/>
                  <a:gd name="connsiteX6" fmla="*/ 18446 w 75964"/>
                  <a:gd name="connsiteY6" fmla="*/ 21786 h 117983"/>
                  <a:gd name="connsiteX7" fmla="*/ 6912 w 75964"/>
                  <a:gd name="connsiteY7" fmla="*/ 0 h 117983"/>
                  <a:gd name="connsiteX8" fmla="*/ 4349 w 75964"/>
                  <a:gd name="connsiteY8" fmla="*/ 0 h 117983"/>
                  <a:gd name="connsiteX9" fmla="*/ 3067 w 75964"/>
                  <a:gd name="connsiteY9" fmla="*/ 17942 h 11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964" h="117983">
                    <a:moveTo>
                      <a:pt x="3067" y="17942"/>
                    </a:moveTo>
                    <a:cubicBezTo>
                      <a:pt x="5630" y="20505"/>
                      <a:pt x="8193" y="24349"/>
                      <a:pt x="14601" y="24349"/>
                    </a:cubicBezTo>
                    <a:cubicBezTo>
                      <a:pt x="28698" y="48699"/>
                      <a:pt x="42795" y="73048"/>
                      <a:pt x="56892" y="97397"/>
                    </a:cubicBezTo>
                    <a:cubicBezTo>
                      <a:pt x="49203" y="105087"/>
                      <a:pt x="60737" y="119184"/>
                      <a:pt x="69708" y="117902"/>
                    </a:cubicBezTo>
                    <a:cubicBezTo>
                      <a:pt x="78678" y="117902"/>
                      <a:pt x="77397" y="106368"/>
                      <a:pt x="69708" y="98679"/>
                    </a:cubicBezTo>
                    <a:cubicBezTo>
                      <a:pt x="65863" y="96116"/>
                      <a:pt x="62019" y="94834"/>
                      <a:pt x="60737" y="94834"/>
                    </a:cubicBezTo>
                    <a:cubicBezTo>
                      <a:pt x="46640" y="70485"/>
                      <a:pt x="32543" y="46136"/>
                      <a:pt x="18446" y="21786"/>
                    </a:cubicBezTo>
                    <a:cubicBezTo>
                      <a:pt x="27417" y="14097"/>
                      <a:pt x="15883" y="0"/>
                      <a:pt x="6912" y="0"/>
                    </a:cubicBezTo>
                    <a:cubicBezTo>
                      <a:pt x="6912" y="0"/>
                      <a:pt x="5630" y="0"/>
                      <a:pt x="4349" y="0"/>
                    </a:cubicBezTo>
                    <a:cubicBezTo>
                      <a:pt x="-4622" y="6408"/>
                      <a:pt x="3067" y="17942"/>
                      <a:pt x="3067"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7" name="Freeform: Shape 379923">
                <a:extLst>
                  <a:ext uri="{FF2B5EF4-FFF2-40B4-BE49-F238E27FC236}">
                    <a16:creationId xmlns:a16="http://schemas.microsoft.com/office/drawing/2014/main" id="{E963FA80-CD11-46F6-9F9F-7C1DF8C739DE}"/>
                  </a:ext>
                </a:extLst>
              </p:cNvPr>
              <p:cNvSpPr/>
              <p:nvPr/>
            </p:nvSpPr>
            <p:spPr>
              <a:xfrm>
                <a:off x="4938812" y="4396848"/>
                <a:ext cx="100779" cy="113817"/>
              </a:xfrm>
              <a:custGeom>
                <a:avLst/>
                <a:gdLst>
                  <a:gd name="connsiteX0" fmla="*/ 2511 w 100779"/>
                  <a:gd name="connsiteY0" fmla="*/ 17942 h 113817"/>
                  <a:gd name="connsiteX1" fmla="*/ 14045 w 100779"/>
                  <a:gd name="connsiteY1" fmla="*/ 24349 h 113817"/>
                  <a:gd name="connsiteX2" fmla="*/ 42239 w 100779"/>
                  <a:gd name="connsiteY2" fmla="*/ 80738 h 113817"/>
                  <a:gd name="connsiteX3" fmla="*/ 78122 w 100779"/>
                  <a:gd name="connsiteY3" fmla="*/ 98679 h 113817"/>
                  <a:gd name="connsiteX4" fmla="*/ 98627 w 100779"/>
                  <a:gd name="connsiteY4" fmla="*/ 111495 h 113817"/>
                  <a:gd name="connsiteX5" fmla="*/ 85811 w 100779"/>
                  <a:gd name="connsiteY5" fmla="*/ 90990 h 113817"/>
                  <a:gd name="connsiteX6" fmla="*/ 79404 w 100779"/>
                  <a:gd name="connsiteY6" fmla="*/ 94834 h 113817"/>
                  <a:gd name="connsiteX7" fmla="*/ 46084 w 100779"/>
                  <a:gd name="connsiteY7" fmla="*/ 76893 h 113817"/>
                  <a:gd name="connsiteX8" fmla="*/ 19171 w 100779"/>
                  <a:gd name="connsiteY8" fmla="*/ 23068 h 113817"/>
                  <a:gd name="connsiteX9" fmla="*/ 10200 w 100779"/>
                  <a:gd name="connsiteY9" fmla="*/ 0 h 113817"/>
                  <a:gd name="connsiteX10" fmla="*/ 6355 w 100779"/>
                  <a:gd name="connsiteY10" fmla="*/ 0 h 113817"/>
                  <a:gd name="connsiteX11" fmla="*/ 2511 w 100779"/>
                  <a:gd name="connsiteY11" fmla="*/ 17942 h 113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779" h="113817">
                    <a:moveTo>
                      <a:pt x="2511" y="17942"/>
                    </a:moveTo>
                    <a:cubicBezTo>
                      <a:pt x="5074" y="20505"/>
                      <a:pt x="7637" y="24349"/>
                      <a:pt x="14045" y="24349"/>
                    </a:cubicBezTo>
                    <a:cubicBezTo>
                      <a:pt x="23016" y="43573"/>
                      <a:pt x="31986" y="61514"/>
                      <a:pt x="42239" y="80738"/>
                    </a:cubicBezTo>
                    <a:cubicBezTo>
                      <a:pt x="52491" y="85864"/>
                      <a:pt x="67870" y="93553"/>
                      <a:pt x="78122" y="98679"/>
                    </a:cubicBezTo>
                    <a:cubicBezTo>
                      <a:pt x="79404" y="110213"/>
                      <a:pt x="92219" y="117902"/>
                      <a:pt x="98627" y="111495"/>
                    </a:cubicBezTo>
                    <a:cubicBezTo>
                      <a:pt x="105035" y="105087"/>
                      <a:pt x="96064" y="89708"/>
                      <a:pt x="85811" y="90990"/>
                    </a:cubicBezTo>
                    <a:cubicBezTo>
                      <a:pt x="83248" y="90990"/>
                      <a:pt x="80685" y="92271"/>
                      <a:pt x="79404" y="94834"/>
                    </a:cubicBezTo>
                    <a:lnTo>
                      <a:pt x="46084" y="76893"/>
                    </a:lnTo>
                    <a:cubicBezTo>
                      <a:pt x="37112" y="58951"/>
                      <a:pt x="28142" y="41009"/>
                      <a:pt x="19171" y="23068"/>
                    </a:cubicBezTo>
                    <a:cubicBezTo>
                      <a:pt x="26860" y="15379"/>
                      <a:pt x="19171" y="1282"/>
                      <a:pt x="10200" y="0"/>
                    </a:cubicBezTo>
                    <a:cubicBezTo>
                      <a:pt x="8919" y="0"/>
                      <a:pt x="7637" y="0"/>
                      <a:pt x="6355" y="0"/>
                    </a:cubicBezTo>
                    <a:cubicBezTo>
                      <a:pt x="-5179" y="6408"/>
                      <a:pt x="2511" y="17942"/>
                      <a:pt x="2511"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8" name="Freeform: Shape 379924">
                <a:extLst>
                  <a:ext uri="{FF2B5EF4-FFF2-40B4-BE49-F238E27FC236}">
                    <a16:creationId xmlns:a16="http://schemas.microsoft.com/office/drawing/2014/main" id="{118C799B-5382-4149-BE41-0047C0DFB75C}"/>
                  </a:ext>
                </a:extLst>
              </p:cNvPr>
              <p:cNvSpPr/>
              <p:nvPr/>
            </p:nvSpPr>
            <p:spPr>
              <a:xfrm>
                <a:off x="4467185" y="4374986"/>
                <a:ext cx="201570" cy="308253"/>
              </a:xfrm>
              <a:custGeom>
                <a:avLst/>
                <a:gdLst>
                  <a:gd name="connsiteX0" fmla="*/ 3808 w 201570"/>
                  <a:gd name="connsiteY0" fmla="*/ 16736 h 308253"/>
                  <a:gd name="connsiteX1" fmla="*/ 12779 w 201570"/>
                  <a:gd name="connsiteY1" fmla="*/ 24425 h 308253"/>
                  <a:gd name="connsiteX2" fmla="*/ 115303 w 201570"/>
                  <a:gd name="connsiteY2" fmla="*/ 214093 h 308253"/>
                  <a:gd name="connsiteX3" fmla="*/ 151187 w 201570"/>
                  <a:gd name="connsiteY3" fmla="*/ 237161 h 308253"/>
                  <a:gd name="connsiteX4" fmla="*/ 184507 w 201570"/>
                  <a:gd name="connsiteY4" fmla="*/ 288423 h 308253"/>
                  <a:gd name="connsiteX5" fmla="*/ 201167 w 201570"/>
                  <a:gd name="connsiteY5" fmla="*/ 307646 h 308253"/>
                  <a:gd name="connsiteX6" fmla="*/ 187070 w 201570"/>
                  <a:gd name="connsiteY6" fmla="*/ 287141 h 308253"/>
                  <a:gd name="connsiteX7" fmla="*/ 152468 w 201570"/>
                  <a:gd name="connsiteY7" fmla="*/ 234598 h 308253"/>
                  <a:gd name="connsiteX8" fmla="*/ 116585 w 201570"/>
                  <a:gd name="connsiteY8" fmla="*/ 211530 h 308253"/>
                  <a:gd name="connsiteX9" fmla="*/ 15342 w 201570"/>
                  <a:gd name="connsiteY9" fmla="*/ 23143 h 308253"/>
                  <a:gd name="connsiteX10" fmla="*/ 2527 w 201570"/>
                  <a:gd name="connsiteY10" fmla="*/ 75 h 308253"/>
                  <a:gd name="connsiteX11" fmla="*/ 3808 w 201570"/>
                  <a:gd name="connsiteY11" fmla="*/ 16736 h 308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570" h="308253">
                    <a:moveTo>
                      <a:pt x="3808" y="16736"/>
                    </a:moveTo>
                    <a:cubicBezTo>
                      <a:pt x="5090" y="19298"/>
                      <a:pt x="8935" y="23143"/>
                      <a:pt x="12779" y="24425"/>
                    </a:cubicBezTo>
                    <a:cubicBezTo>
                      <a:pt x="43536" y="89784"/>
                      <a:pt x="78138" y="153861"/>
                      <a:pt x="115303" y="214093"/>
                    </a:cubicBezTo>
                    <a:lnTo>
                      <a:pt x="151187" y="237161"/>
                    </a:lnTo>
                    <a:cubicBezTo>
                      <a:pt x="161439" y="253821"/>
                      <a:pt x="172973" y="271763"/>
                      <a:pt x="184507" y="288423"/>
                    </a:cubicBezTo>
                    <a:cubicBezTo>
                      <a:pt x="181944" y="296112"/>
                      <a:pt x="193478" y="311491"/>
                      <a:pt x="201167" y="307646"/>
                    </a:cubicBezTo>
                    <a:cubicBezTo>
                      <a:pt x="203730" y="298675"/>
                      <a:pt x="193478" y="287141"/>
                      <a:pt x="187070" y="287141"/>
                    </a:cubicBezTo>
                    <a:cubicBezTo>
                      <a:pt x="175536" y="269200"/>
                      <a:pt x="164002" y="252540"/>
                      <a:pt x="152468" y="234598"/>
                    </a:cubicBezTo>
                    <a:lnTo>
                      <a:pt x="116585" y="211530"/>
                    </a:lnTo>
                    <a:cubicBezTo>
                      <a:pt x="79420" y="151298"/>
                      <a:pt x="46099" y="88502"/>
                      <a:pt x="15342" y="23143"/>
                    </a:cubicBezTo>
                    <a:cubicBezTo>
                      <a:pt x="19187" y="14172"/>
                      <a:pt x="10216" y="-1206"/>
                      <a:pt x="2527" y="75"/>
                    </a:cubicBezTo>
                    <a:cubicBezTo>
                      <a:pt x="-2599" y="5202"/>
                      <a:pt x="1245" y="12891"/>
                      <a:pt x="3808" y="1673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89" name="Freeform: Shape 379925">
                <a:extLst>
                  <a:ext uri="{FF2B5EF4-FFF2-40B4-BE49-F238E27FC236}">
                    <a16:creationId xmlns:a16="http://schemas.microsoft.com/office/drawing/2014/main" id="{C417ADF8-8293-4ACC-BAE1-7DA20B29B2FA}"/>
                  </a:ext>
                </a:extLst>
              </p:cNvPr>
              <p:cNvSpPr/>
              <p:nvPr/>
            </p:nvSpPr>
            <p:spPr>
              <a:xfrm>
                <a:off x="7092965" y="4029044"/>
                <a:ext cx="58880" cy="208282"/>
              </a:xfrm>
              <a:custGeom>
                <a:avLst/>
                <a:gdLst>
                  <a:gd name="connsiteX0" fmla="*/ 80 w 58880"/>
                  <a:gd name="connsiteY0" fmla="*/ 199921 h 208282"/>
                  <a:gd name="connsiteX1" fmla="*/ 12896 w 58880"/>
                  <a:gd name="connsiteY1" fmla="*/ 205047 h 208282"/>
                  <a:gd name="connsiteX2" fmla="*/ 11614 w 58880"/>
                  <a:gd name="connsiteY2" fmla="*/ 183261 h 208282"/>
                  <a:gd name="connsiteX3" fmla="*/ 19304 w 58880"/>
                  <a:gd name="connsiteY3" fmla="*/ 89708 h 208282"/>
                  <a:gd name="connsiteX4" fmla="*/ 50060 w 58880"/>
                  <a:gd name="connsiteY4" fmla="*/ 49980 h 208282"/>
                  <a:gd name="connsiteX5" fmla="*/ 51342 w 58880"/>
                  <a:gd name="connsiteY5" fmla="*/ 24349 h 208282"/>
                  <a:gd name="connsiteX6" fmla="*/ 53905 w 58880"/>
                  <a:gd name="connsiteY6" fmla="*/ 0 h 208282"/>
                  <a:gd name="connsiteX7" fmla="*/ 50060 w 58880"/>
                  <a:gd name="connsiteY7" fmla="*/ 0 h 208282"/>
                  <a:gd name="connsiteX8" fmla="*/ 43653 w 58880"/>
                  <a:gd name="connsiteY8" fmla="*/ 24349 h 208282"/>
                  <a:gd name="connsiteX9" fmla="*/ 46216 w 58880"/>
                  <a:gd name="connsiteY9" fmla="*/ 25631 h 208282"/>
                  <a:gd name="connsiteX10" fmla="*/ 44935 w 58880"/>
                  <a:gd name="connsiteY10" fmla="*/ 48699 h 208282"/>
                  <a:gd name="connsiteX11" fmla="*/ 14177 w 58880"/>
                  <a:gd name="connsiteY11" fmla="*/ 88426 h 208282"/>
                  <a:gd name="connsiteX12" fmla="*/ 6488 w 58880"/>
                  <a:gd name="connsiteY12" fmla="*/ 184542 h 208282"/>
                  <a:gd name="connsiteX13" fmla="*/ 80 w 58880"/>
                  <a:gd name="connsiteY13" fmla="*/ 199921 h 20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80" h="208282">
                    <a:moveTo>
                      <a:pt x="80" y="199921"/>
                    </a:moveTo>
                    <a:cubicBezTo>
                      <a:pt x="80" y="207610"/>
                      <a:pt x="7770" y="211455"/>
                      <a:pt x="12896" y="205047"/>
                    </a:cubicBezTo>
                    <a:cubicBezTo>
                      <a:pt x="19304" y="198639"/>
                      <a:pt x="20585" y="185824"/>
                      <a:pt x="11614" y="183261"/>
                    </a:cubicBezTo>
                    <a:cubicBezTo>
                      <a:pt x="14177" y="152504"/>
                      <a:pt x="16740" y="121747"/>
                      <a:pt x="19304" y="89708"/>
                    </a:cubicBezTo>
                    <a:lnTo>
                      <a:pt x="50060" y="49980"/>
                    </a:lnTo>
                    <a:cubicBezTo>
                      <a:pt x="50060" y="41009"/>
                      <a:pt x="51342" y="33320"/>
                      <a:pt x="51342" y="24349"/>
                    </a:cubicBezTo>
                    <a:cubicBezTo>
                      <a:pt x="61594" y="17942"/>
                      <a:pt x="60313" y="2563"/>
                      <a:pt x="53905" y="0"/>
                    </a:cubicBezTo>
                    <a:cubicBezTo>
                      <a:pt x="52624" y="0"/>
                      <a:pt x="51342" y="0"/>
                      <a:pt x="50060" y="0"/>
                    </a:cubicBezTo>
                    <a:cubicBezTo>
                      <a:pt x="38527" y="2563"/>
                      <a:pt x="37245" y="19223"/>
                      <a:pt x="43653" y="24349"/>
                    </a:cubicBezTo>
                    <a:cubicBezTo>
                      <a:pt x="44935" y="24349"/>
                      <a:pt x="46216" y="25631"/>
                      <a:pt x="46216" y="25631"/>
                    </a:cubicBezTo>
                    <a:cubicBezTo>
                      <a:pt x="46216" y="33320"/>
                      <a:pt x="44935" y="41009"/>
                      <a:pt x="44935" y="48699"/>
                    </a:cubicBezTo>
                    <a:lnTo>
                      <a:pt x="14177" y="88426"/>
                    </a:lnTo>
                    <a:cubicBezTo>
                      <a:pt x="11614" y="120465"/>
                      <a:pt x="9051" y="152504"/>
                      <a:pt x="6488" y="184542"/>
                    </a:cubicBezTo>
                    <a:cubicBezTo>
                      <a:pt x="-1201" y="189669"/>
                      <a:pt x="80" y="199921"/>
                      <a:pt x="80" y="19992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0" name="Freeform: Shape 379926">
                <a:extLst>
                  <a:ext uri="{FF2B5EF4-FFF2-40B4-BE49-F238E27FC236}">
                    <a16:creationId xmlns:a16="http://schemas.microsoft.com/office/drawing/2014/main" id="{EDE3331F-0654-4211-9139-D01E95344BDE}"/>
                  </a:ext>
                </a:extLst>
              </p:cNvPr>
              <p:cNvSpPr/>
              <p:nvPr/>
            </p:nvSpPr>
            <p:spPr>
              <a:xfrm>
                <a:off x="5079525" y="4541662"/>
                <a:ext cx="38701" cy="53947"/>
              </a:xfrm>
              <a:custGeom>
                <a:avLst/>
                <a:gdLst>
                  <a:gd name="connsiteX0" fmla="*/ 2768 w 38701"/>
                  <a:gd name="connsiteY0" fmla="*/ 16660 h 53947"/>
                  <a:gd name="connsiteX1" fmla="*/ 14302 w 38701"/>
                  <a:gd name="connsiteY1" fmla="*/ 23068 h 53947"/>
                  <a:gd name="connsiteX2" fmla="*/ 19429 w 38701"/>
                  <a:gd name="connsiteY2" fmla="*/ 33320 h 53947"/>
                  <a:gd name="connsiteX3" fmla="*/ 29681 w 38701"/>
                  <a:gd name="connsiteY3" fmla="*/ 53825 h 53947"/>
                  <a:gd name="connsiteX4" fmla="*/ 36088 w 38701"/>
                  <a:gd name="connsiteY4" fmla="*/ 38446 h 53947"/>
                  <a:gd name="connsiteX5" fmla="*/ 24554 w 38701"/>
                  <a:gd name="connsiteY5" fmla="*/ 32039 h 53947"/>
                  <a:gd name="connsiteX6" fmla="*/ 19429 w 38701"/>
                  <a:gd name="connsiteY6" fmla="*/ 21786 h 53947"/>
                  <a:gd name="connsiteX7" fmla="*/ 9176 w 38701"/>
                  <a:gd name="connsiteY7" fmla="*/ 0 h 53947"/>
                  <a:gd name="connsiteX8" fmla="*/ 5331 w 38701"/>
                  <a:gd name="connsiteY8" fmla="*/ 0 h 53947"/>
                  <a:gd name="connsiteX9" fmla="*/ 2768 w 38701"/>
                  <a:gd name="connsiteY9" fmla="*/ 16660 h 5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01" h="53947">
                    <a:moveTo>
                      <a:pt x="2768" y="16660"/>
                    </a:moveTo>
                    <a:cubicBezTo>
                      <a:pt x="5331" y="19223"/>
                      <a:pt x="9176" y="23068"/>
                      <a:pt x="14302" y="23068"/>
                    </a:cubicBezTo>
                    <a:cubicBezTo>
                      <a:pt x="15584" y="26912"/>
                      <a:pt x="18147" y="29475"/>
                      <a:pt x="19429" y="33320"/>
                    </a:cubicBezTo>
                    <a:cubicBezTo>
                      <a:pt x="11739" y="39728"/>
                      <a:pt x="20710" y="52543"/>
                      <a:pt x="29681" y="53825"/>
                    </a:cubicBezTo>
                    <a:cubicBezTo>
                      <a:pt x="38651" y="55106"/>
                      <a:pt x="41215" y="46135"/>
                      <a:pt x="36088" y="38446"/>
                    </a:cubicBezTo>
                    <a:cubicBezTo>
                      <a:pt x="33526" y="35883"/>
                      <a:pt x="29681" y="32039"/>
                      <a:pt x="24554" y="32039"/>
                    </a:cubicBezTo>
                    <a:cubicBezTo>
                      <a:pt x="23273" y="28194"/>
                      <a:pt x="20710" y="25631"/>
                      <a:pt x="19429" y="21786"/>
                    </a:cubicBezTo>
                    <a:cubicBezTo>
                      <a:pt x="27117" y="14097"/>
                      <a:pt x="18147" y="1281"/>
                      <a:pt x="9176" y="0"/>
                    </a:cubicBezTo>
                    <a:cubicBezTo>
                      <a:pt x="7895" y="0"/>
                      <a:pt x="6613" y="0"/>
                      <a:pt x="5331" y="0"/>
                    </a:cubicBezTo>
                    <a:cubicBezTo>
                      <a:pt x="-4921" y="6408"/>
                      <a:pt x="2768" y="16660"/>
                      <a:pt x="2768"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1" name="Freeform: Shape 379927">
                <a:extLst>
                  <a:ext uri="{FF2B5EF4-FFF2-40B4-BE49-F238E27FC236}">
                    <a16:creationId xmlns:a16="http://schemas.microsoft.com/office/drawing/2014/main" id="{01A64903-99B9-40C4-B30E-26DB48C0982A}"/>
                  </a:ext>
                </a:extLst>
              </p:cNvPr>
              <p:cNvSpPr/>
              <p:nvPr/>
            </p:nvSpPr>
            <p:spPr>
              <a:xfrm>
                <a:off x="7103298" y="4070054"/>
                <a:ext cx="18649" cy="24968"/>
              </a:xfrm>
              <a:custGeom>
                <a:avLst/>
                <a:gdLst>
                  <a:gd name="connsiteX0" fmla="*/ 0 w 18649"/>
                  <a:gd name="connsiteY0" fmla="*/ 15378 h 24968"/>
                  <a:gd name="connsiteX1" fmla="*/ 14097 w 18649"/>
                  <a:gd name="connsiteY1" fmla="*/ 21786 h 24968"/>
                  <a:gd name="connsiteX2" fmla="*/ 10252 w 18649"/>
                  <a:gd name="connsiteY2" fmla="*/ 0 h 24968"/>
                  <a:gd name="connsiteX3" fmla="*/ 8971 w 18649"/>
                  <a:gd name="connsiteY3" fmla="*/ 0 h 24968"/>
                  <a:gd name="connsiteX4" fmla="*/ 0 w 18649"/>
                  <a:gd name="connsiteY4" fmla="*/ 15378 h 24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9" h="24968">
                    <a:moveTo>
                      <a:pt x="0" y="15378"/>
                    </a:moveTo>
                    <a:cubicBezTo>
                      <a:pt x="0" y="24349"/>
                      <a:pt x="7689" y="28194"/>
                      <a:pt x="14097" y="21786"/>
                    </a:cubicBezTo>
                    <a:cubicBezTo>
                      <a:pt x="21786" y="14097"/>
                      <a:pt x="19223" y="0"/>
                      <a:pt x="10252" y="0"/>
                    </a:cubicBezTo>
                    <a:cubicBezTo>
                      <a:pt x="10252" y="0"/>
                      <a:pt x="8971" y="0"/>
                      <a:pt x="8971" y="0"/>
                    </a:cubicBezTo>
                    <a:cubicBezTo>
                      <a:pt x="2563" y="2563"/>
                      <a:pt x="0" y="10252"/>
                      <a:pt x="0"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2" name="Freeform: Shape 379928">
                <a:extLst>
                  <a:ext uri="{FF2B5EF4-FFF2-40B4-BE49-F238E27FC236}">
                    <a16:creationId xmlns:a16="http://schemas.microsoft.com/office/drawing/2014/main" id="{50B03F93-52B9-4FF2-BD8A-D993701F0D36}"/>
                  </a:ext>
                </a:extLst>
              </p:cNvPr>
              <p:cNvSpPr/>
              <p:nvPr/>
            </p:nvSpPr>
            <p:spPr>
              <a:xfrm>
                <a:off x="4943382" y="4473294"/>
                <a:ext cx="120008" cy="141498"/>
              </a:xfrm>
              <a:custGeom>
                <a:avLst/>
                <a:gdLst>
                  <a:gd name="connsiteX0" fmla="*/ 3067 w 120008"/>
                  <a:gd name="connsiteY0" fmla="*/ 17107 h 141498"/>
                  <a:gd name="connsiteX1" fmla="*/ 21009 w 120008"/>
                  <a:gd name="connsiteY1" fmla="*/ 19670 h 141498"/>
                  <a:gd name="connsiteX2" fmla="*/ 54329 w 120008"/>
                  <a:gd name="connsiteY2" fmla="*/ 37611 h 141498"/>
                  <a:gd name="connsiteX3" fmla="*/ 100465 w 120008"/>
                  <a:gd name="connsiteY3" fmla="*/ 120912 h 141498"/>
                  <a:gd name="connsiteX4" fmla="*/ 113280 w 120008"/>
                  <a:gd name="connsiteY4" fmla="*/ 141417 h 141498"/>
                  <a:gd name="connsiteX5" fmla="*/ 113280 w 120008"/>
                  <a:gd name="connsiteY5" fmla="*/ 122193 h 141498"/>
                  <a:gd name="connsiteX6" fmla="*/ 104310 w 120008"/>
                  <a:gd name="connsiteY6" fmla="*/ 118349 h 141498"/>
                  <a:gd name="connsiteX7" fmla="*/ 56892 w 120008"/>
                  <a:gd name="connsiteY7" fmla="*/ 32485 h 141498"/>
                  <a:gd name="connsiteX8" fmla="*/ 21009 w 120008"/>
                  <a:gd name="connsiteY8" fmla="*/ 14544 h 141498"/>
                  <a:gd name="connsiteX9" fmla="*/ 4349 w 120008"/>
                  <a:gd name="connsiteY9" fmla="*/ 447 h 141498"/>
                  <a:gd name="connsiteX10" fmla="*/ 3067 w 120008"/>
                  <a:gd name="connsiteY10" fmla="*/ 17107 h 141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008" h="141498">
                    <a:moveTo>
                      <a:pt x="3067" y="17107"/>
                    </a:moveTo>
                    <a:cubicBezTo>
                      <a:pt x="6912" y="23515"/>
                      <a:pt x="15883" y="27359"/>
                      <a:pt x="21009" y="19670"/>
                    </a:cubicBezTo>
                    <a:lnTo>
                      <a:pt x="54329" y="37611"/>
                    </a:lnTo>
                    <a:cubicBezTo>
                      <a:pt x="69708" y="65805"/>
                      <a:pt x="85086" y="93999"/>
                      <a:pt x="100465" y="120912"/>
                    </a:cubicBezTo>
                    <a:cubicBezTo>
                      <a:pt x="91494" y="128601"/>
                      <a:pt x="104310" y="142698"/>
                      <a:pt x="113280" y="141417"/>
                    </a:cubicBezTo>
                    <a:cubicBezTo>
                      <a:pt x="122251" y="141417"/>
                      <a:pt x="122251" y="129883"/>
                      <a:pt x="113280" y="122193"/>
                    </a:cubicBezTo>
                    <a:cubicBezTo>
                      <a:pt x="109436" y="119630"/>
                      <a:pt x="105591" y="118349"/>
                      <a:pt x="104310" y="118349"/>
                    </a:cubicBezTo>
                    <a:cubicBezTo>
                      <a:pt x="87649" y="90155"/>
                      <a:pt x="72271" y="61961"/>
                      <a:pt x="56892" y="32485"/>
                    </a:cubicBezTo>
                    <a:cubicBezTo>
                      <a:pt x="46640" y="27359"/>
                      <a:pt x="32543" y="19670"/>
                      <a:pt x="21009" y="14544"/>
                    </a:cubicBezTo>
                    <a:cubicBezTo>
                      <a:pt x="19727" y="6854"/>
                      <a:pt x="13320" y="-2117"/>
                      <a:pt x="4349" y="447"/>
                    </a:cubicBezTo>
                    <a:cubicBezTo>
                      <a:pt x="-4622" y="5573"/>
                      <a:pt x="3067" y="17107"/>
                      <a:pt x="3067" y="1710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3" name="Freeform: Shape 379929">
                <a:extLst>
                  <a:ext uri="{FF2B5EF4-FFF2-40B4-BE49-F238E27FC236}">
                    <a16:creationId xmlns:a16="http://schemas.microsoft.com/office/drawing/2014/main" id="{48DD252F-E002-452D-867A-A6FB790BA317}"/>
                  </a:ext>
                </a:extLst>
              </p:cNvPr>
              <p:cNvSpPr/>
              <p:nvPr/>
            </p:nvSpPr>
            <p:spPr>
              <a:xfrm>
                <a:off x="5134139" y="4450672"/>
                <a:ext cx="71802" cy="119306"/>
              </a:xfrm>
              <a:custGeom>
                <a:avLst/>
                <a:gdLst>
                  <a:gd name="connsiteX0" fmla="*/ 3261 w 71802"/>
                  <a:gd name="connsiteY0" fmla="*/ 16660 h 119306"/>
                  <a:gd name="connsiteX1" fmla="*/ 14795 w 71802"/>
                  <a:gd name="connsiteY1" fmla="*/ 23068 h 119306"/>
                  <a:gd name="connsiteX2" fmla="*/ 53242 w 71802"/>
                  <a:gd name="connsiteY2" fmla="*/ 97397 h 119306"/>
                  <a:gd name="connsiteX3" fmla="*/ 62212 w 71802"/>
                  <a:gd name="connsiteY3" fmla="*/ 119184 h 119306"/>
                  <a:gd name="connsiteX4" fmla="*/ 68620 w 71802"/>
                  <a:gd name="connsiteY4" fmla="*/ 102524 h 119306"/>
                  <a:gd name="connsiteX5" fmla="*/ 55805 w 71802"/>
                  <a:gd name="connsiteY5" fmla="*/ 96116 h 119306"/>
                  <a:gd name="connsiteX6" fmla="*/ 17358 w 71802"/>
                  <a:gd name="connsiteY6" fmla="*/ 21786 h 119306"/>
                  <a:gd name="connsiteX7" fmla="*/ 8387 w 71802"/>
                  <a:gd name="connsiteY7" fmla="*/ 0 h 119306"/>
                  <a:gd name="connsiteX8" fmla="*/ 4542 w 71802"/>
                  <a:gd name="connsiteY8" fmla="*/ 0 h 119306"/>
                  <a:gd name="connsiteX9" fmla="*/ 3261 w 71802"/>
                  <a:gd name="connsiteY9" fmla="*/ 16660 h 119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02" h="119306">
                    <a:moveTo>
                      <a:pt x="3261" y="16660"/>
                    </a:moveTo>
                    <a:cubicBezTo>
                      <a:pt x="5824" y="19223"/>
                      <a:pt x="8387" y="23068"/>
                      <a:pt x="14795" y="23068"/>
                    </a:cubicBezTo>
                    <a:cubicBezTo>
                      <a:pt x="27610" y="48699"/>
                      <a:pt x="40426" y="73048"/>
                      <a:pt x="53242" y="97397"/>
                    </a:cubicBezTo>
                    <a:cubicBezTo>
                      <a:pt x="44271" y="105087"/>
                      <a:pt x="53242" y="117902"/>
                      <a:pt x="62212" y="119184"/>
                    </a:cubicBezTo>
                    <a:cubicBezTo>
                      <a:pt x="71183" y="120465"/>
                      <a:pt x="75028" y="111495"/>
                      <a:pt x="68620" y="102524"/>
                    </a:cubicBezTo>
                    <a:cubicBezTo>
                      <a:pt x="66057" y="99961"/>
                      <a:pt x="62212" y="96116"/>
                      <a:pt x="55805" y="96116"/>
                    </a:cubicBezTo>
                    <a:cubicBezTo>
                      <a:pt x="44271" y="74330"/>
                      <a:pt x="28892" y="43573"/>
                      <a:pt x="17358" y="21786"/>
                    </a:cubicBezTo>
                    <a:cubicBezTo>
                      <a:pt x="26329" y="14097"/>
                      <a:pt x="17358" y="1282"/>
                      <a:pt x="8387" y="0"/>
                    </a:cubicBezTo>
                    <a:cubicBezTo>
                      <a:pt x="7106" y="0"/>
                      <a:pt x="5824" y="0"/>
                      <a:pt x="4542" y="0"/>
                    </a:cubicBezTo>
                    <a:cubicBezTo>
                      <a:pt x="-3146" y="3845"/>
                      <a:pt x="698" y="12816"/>
                      <a:pt x="326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4" name="Freeform: Shape 379930">
                <a:extLst>
                  <a:ext uri="{FF2B5EF4-FFF2-40B4-BE49-F238E27FC236}">
                    <a16:creationId xmlns:a16="http://schemas.microsoft.com/office/drawing/2014/main" id="{58C3709E-79C7-4093-B154-1DCBA43CCD0B}"/>
                  </a:ext>
                </a:extLst>
              </p:cNvPr>
              <p:cNvSpPr/>
              <p:nvPr/>
            </p:nvSpPr>
            <p:spPr>
              <a:xfrm>
                <a:off x="6430955" y="3662522"/>
                <a:ext cx="284533" cy="710339"/>
              </a:xfrm>
              <a:custGeom>
                <a:avLst/>
                <a:gdLst>
                  <a:gd name="connsiteX0" fmla="*/ 810 w 284533"/>
                  <a:gd name="connsiteY0" fmla="*/ 19223 h 710339"/>
                  <a:gd name="connsiteX1" fmla="*/ 12344 w 284533"/>
                  <a:gd name="connsiteY1" fmla="*/ 28194 h 710339"/>
                  <a:gd name="connsiteX2" fmla="*/ 36694 w 284533"/>
                  <a:gd name="connsiteY2" fmla="*/ 166601 h 710339"/>
                  <a:gd name="connsiteX3" fmla="*/ 123840 w 284533"/>
                  <a:gd name="connsiteY3" fmla="*/ 225552 h 710339"/>
                  <a:gd name="connsiteX4" fmla="*/ 149470 w 284533"/>
                  <a:gd name="connsiteY4" fmla="*/ 430599 h 710339"/>
                  <a:gd name="connsiteX5" fmla="*/ 149470 w 284533"/>
                  <a:gd name="connsiteY5" fmla="*/ 454949 h 710339"/>
                  <a:gd name="connsiteX6" fmla="*/ 163567 w 284533"/>
                  <a:gd name="connsiteY6" fmla="*/ 435725 h 710339"/>
                  <a:gd name="connsiteX7" fmla="*/ 154597 w 284533"/>
                  <a:gd name="connsiteY7" fmla="*/ 429318 h 710339"/>
                  <a:gd name="connsiteX8" fmla="*/ 130247 w 284533"/>
                  <a:gd name="connsiteY8" fmla="*/ 229397 h 710339"/>
                  <a:gd name="connsiteX9" fmla="*/ 166131 w 284533"/>
                  <a:gd name="connsiteY9" fmla="*/ 255028 h 710339"/>
                  <a:gd name="connsiteX10" fmla="*/ 186635 w 284533"/>
                  <a:gd name="connsiteY10" fmla="*/ 437007 h 710339"/>
                  <a:gd name="connsiteX11" fmla="*/ 225082 w 284533"/>
                  <a:gd name="connsiteY11" fmla="*/ 465201 h 710339"/>
                  <a:gd name="connsiteX12" fmla="*/ 230208 w 284533"/>
                  <a:gd name="connsiteY12" fmla="*/ 527997 h 710339"/>
                  <a:gd name="connsiteX13" fmla="*/ 198169 w 284533"/>
                  <a:gd name="connsiteY13" fmla="*/ 503647 h 710339"/>
                  <a:gd name="connsiteX14" fmla="*/ 196888 w 284533"/>
                  <a:gd name="connsiteY14" fmla="*/ 481861 h 710339"/>
                  <a:gd name="connsiteX15" fmla="*/ 196888 w 284533"/>
                  <a:gd name="connsiteY15" fmla="*/ 457512 h 710339"/>
                  <a:gd name="connsiteX16" fmla="*/ 182791 w 284533"/>
                  <a:gd name="connsiteY16" fmla="*/ 475453 h 710339"/>
                  <a:gd name="connsiteX17" fmla="*/ 191762 w 284533"/>
                  <a:gd name="connsiteY17" fmla="*/ 481861 h 710339"/>
                  <a:gd name="connsiteX18" fmla="*/ 194325 w 284533"/>
                  <a:gd name="connsiteY18" fmla="*/ 506210 h 710339"/>
                  <a:gd name="connsiteX19" fmla="*/ 231489 w 284533"/>
                  <a:gd name="connsiteY19" fmla="*/ 534404 h 710339"/>
                  <a:gd name="connsiteX20" fmla="*/ 234053 w 284533"/>
                  <a:gd name="connsiteY20" fmla="*/ 590793 h 710339"/>
                  <a:gd name="connsiteX21" fmla="*/ 232771 w 284533"/>
                  <a:gd name="connsiteY21" fmla="*/ 613860 h 710339"/>
                  <a:gd name="connsiteX22" fmla="*/ 246868 w 284533"/>
                  <a:gd name="connsiteY22" fmla="*/ 595919 h 710339"/>
                  <a:gd name="connsiteX23" fmla="*/ 239179 w 284533"/>
                  <a:gd name="connsiteY23" fmla="*/ 589511 h 710339"/>
                  <a:gd name="connsiteX24" fmla="*/ 236616 w 284533"/>
                  <a:gd name="connsiteY24" fmla="*/ 538249 h 710339"/>
                  <a:gd name="connsiteX25" fmla="*/ 267373 w 284533"/>
                  <a:gd name="connsiteY25" fmla="*/ 562598 h 710339"/>
                  <a:gd name="connsiteX26" fmla="*/ 271218 w 284533"/>
                  <a:gd name="connsiteY26" fmla="*/ 686908 h 710339"/>
                  <a:gd name="connsiteX27" fmla="*/ 269936 w 284533"/>
                  <a:gd name="connsiteY27" fmla="*/ 709976 h 710339"/>
                  <a:gd name="connsiteX28" fmla="*/ 284033 w 284533"/>
                  <a:gd name="connsiteY28" fmla="*/ 692035 h 710339"/>
                  <a:gd name="connsiteX29" fmla="*/ 276344 w 284533"/>
                  <a:gd name="connsiteY29" fmla="*/ 685627 h 710339"/>
                  <a:gd name="connsiteX30" fmla="*/ 272499 w 284533"/>
                  <a:gd name="connsiteY30" fmla="*/ 558754 h 710339"/>
                  <a:gd name="connsiteX31" fmla="*/ 236616 w 284533"/>
                  <a:gd name="connsiteY31" fmla="*/ 530560 h 710339"/>
                  <a:gd name="connsiteX32" fmla="*/ 231489 w 284533"/>
                  <a:gd name="connsiteY32" fmla="*/ 460075 h 710339"/>
                  <a:gd name="connsiteX33" fmla="*/ 193043 w 284533"/>
                  <a:gd name="connsiteY33" fmla="*/ 431881 h 710339"/>
                  <a:gd name="connsiteX34" fmla="*/ 173820 w 284533"/>
                  <a:gd name="connsiteY34" fmla="*/ 257591 h 710339"/>
                  <a:gd name="connsiteX35" fmla="*/ 209703 w 284533"/>
                  <a:gd name="connsiteY35" fmla="*/ 283221 h 710339"/>
                  <a:gd name="connsiteX36" fmla="*/ 225082 w 284533"/>
                  <a:gd name="connsiteY36" fmla="*/ 428036 h 710339"/>
                  <a:gd name="connsiteX37" fmla="*/ 263528 w 284533"/>
                  <a:gd name="connsiteY37" fmla="*/ 457512 h 710339"/>
                  <a:gd name="connsiteX38" fmla="*/ 267373 w 284533"/>
                  <a:gd name="connsiteY38" fmla="*/ 515181 h 710339"/>
                  <a:gd name="connsiteX39" fmla="*/ 267373 w 284533"/>
                  <a:gd name="connsiteY39" fmla="*/ 538249 h 710339"/>
                  <a:gd name="connsiteX40" fmla="*/ 281470 w 284533"/>
                  <a:gd name="connsiteY40" fmla="*/ 520307 h 710339"/>
                  <a:gd name="connsiteX41" fmla="*/ 272499 w 284533"/>
                  <a:gd name="connsiteY41" fmla="*/ 513900 h 710339"/>
                  <a:gd name="connsiteX42" fmla="*/ 268654 w 284533"/>
                  <a:gd name="connsiteY42" fmla="*/ 453667 h 710339"/>
                  <a:gd name="connsiteX43" fmla="*/ 228927 w 284533"/>
                  <a:gd name="connsiteY43" fmla="*/ 425473 h 710339"/>
                  <a:gd name="connsiteX44" fmla="*/ 213548 w 284533"/>
                  <a:gd name="connsiteY44" fmla="*/ 280659 h 710339"/>
                  <a:gd name="connsiteX45" fmla="*/ 172538 w 284533"/>
                  <a:gd name="connsiteY45" fmla="*/ 251183 h 710339"/>
                  <a:gd name="connsiteX46" fmla="*/ 164849 w 284533"/>
                  <a:gd name="connsiteY46" fmla="*/ 190950 h 710339"/>
                  <a:gd name="connsiteX47" fmla="*/ 163567 w 284533"/>
                  <a:gd name="connsiteY47" fmla="*/ 166601 h 710339"/>
                  <a:gd name="connsiteX48" fmla="*/ 149470 w 284533"/>
                  <a:gd name="connsiteY48" fmla="*/ 185824 h 710339"/>
                  <a:gd name="connsiteX49" fmla="*/ 159723 w 284533"/>
                  <a:gd name="connsiteY49" fmla="*/ 192232 h 710339"/>
                  <a:gd name="connsiteX50" fmla="*/ 167412 w 284533"/>
                  <a:gd name="connsiteY50" fmla="*/ 247338 h 710339"/>
                  <a:gd name="connsiteX51" fmla="*/ 131529 w 284533"/>
                  <a:gd name="connsiteY51" fmla="*/ 221707 h 710339"/>
                  <a:gd name="connsiteX52" fmla="*/ 126402 w 284533"/>
                  <a:gd name="connsiteY52" fmla="*/ 184543 h 710339"/>
                  <a:gd name="connsiteX53" fmla="*/ 82830 w 284533"/>
                  <a:gd name="connsiteY53" fmla="*/ 155067 h 710339"/>
                  <a:gd name="connsiteX54" fmla="*/ 72577 w 284533"/>
                  <a:gd name="connsiteY54" fmla="*/ 94834 h 710339"/>
                  <a:gd name="connsiteX55" fmla="*/ 70014 w 284533"/>
                  <a:gd name="connsiteY55" fmla="*/ 69203 h 710339"/>
                  <a:gd name="connsiteX56" fmla="*/ 55917 w 284533"/>
                  <a:gd name="connsiteY56" fmla="*/ 88427 h 710339"/>
                  <a:gd name="connsiteX57" fmla="*/ 66170 w 284533"/>
                  <a:gd name="connsiteY57" fmla="*/ 94834 h 710339"/>
                  <a:gd name="connsiteX58" fmla="*/ 76422 w 284533"/>
                  <a:gd name="connsiteY58" fmla="*/ 157630 h 710339"/>
                  <a:gd name="connsiteX59" fmla="*/ 119995 w 284533"/>
                  <a:gd name="connsiteY59" fmla="*/ 187106 h 710339"/>
                  <a:gd name="connsiteX60" fmla="*/ 123840 w 284533"/>
                  <a:gd name="connsiteY60" fmla="*/ 216581 h 710339"/>
                  <a:gd name="connsiteX61" fmla="*/ 41820 w 284533"/>
                  <a:gd name="connsiteY61" fmla="*/ 161475 h 710339"/>
                  <a:gd name="connsiteX62" fmla="*/ 17471 w 284533"/>
                  <a:gd name="connsiteY62" fmla="*/ 25631 h 710339"/>
                  <a:gd name="connsiteX63" fmla="*/ 14908 w 284533"/>
                  <a:gd name="connsiteY63" fmla="*/ 0 h 710339"/>
                  <a:gd name="connsiteX64" fmla="*/ 9781 w 284533"/>
                  <a:gd name="connsiteY64" fmla="*/ 0 h 710339"/>
                  <a:gd name="connsiteX65" fmla="*/ 810 w 284533"/>
                  <a:gd name="connsiteY65" fmla="*/ 19223 h 710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284533" h="710339">
                    <a:moveTo>
                      <a:pt x="810" y="19223"/>
                    </a:moveTo>
                    <a:cubicBezTo>
                      <a:pt x="3374" y="25631"/>
                      <a:pt x="8500" y="26912"/>
                      <a:pt x="12344" y="28194"/>
                    </a:cubicBezTo>
                    <a:cubicBezTo>
                      <a:pt x="21315" y="74330"/>
                      <a:pt x="29005" y="120465"/>
                      <a:pt x="36694" y="166601"/>
                    </a:cubicBezTo>
                    <a:lnTo>
                      <a:pt x="123840" y="225552"/>
                    </a:lnTo>
                    <a:cubicBezTo>
                      <a:pt x="134092" y="294755"/>
                      <a:pt x="143063" y="362677"/>
                      <a:pt x="149470" y="430599"/>
                    </a:cubicBezTo>
                    <a:cubicBezTo>
                      <a:pt x="134092" y="440852"/>
                      <a:pt x="144344" y="453667"/>
                      <a:pt x="149470" y="454949"/>
                    </a:cubicBezTo>
                    <a:cubicBezTo>
                      <a:pt x="159723" y="457512"/>
                      <a:pt x="167412" y="444696"/>
                      <a:pt x="163567" y="435725"/>
                    </a:cubicBezTo>
                    <a:cubicBezTo>
                      <a:pt x="161004" y="430599"/>
                      <a:pt x="157160" y="430599"/>
                      <a:pt x="154597" y="429318"/>
                    </a:cubicBezTo>
                    <a:cubicBezTo>
                      <a:pt x="148189" y="363959"/>
                      <a:pt x="139218" y="297319"/>
                      <a:pt x="130247" y="229397"/>
                    </a:cubicBezTo>
                    <a:lnTo>
                      <a:pt x="166131" y="255028"/>
                    </a:lnTo>
                    <a:cubicBezTo>
                      <a:pt x="173820" y="316542"/>
                      <a:pt x="181509" y="376774"/>
                      <a:pt x="186635" y="437007"/>
                    </a:cubicBezTo>
                    <a:lnTo>
                      <a:pt x="225082" y="465201"/>
                    </a:lnTo>
                    <a:cubicBezTo>
                      <a:pt x="226364" y="486987"/>
                      <a:pt x="227645" y="507492"/>
                      <a:pt x="230208" y="527997"/>
                    </a:cubicBezTo>
                    <a:lnTo>
                      <a:pt x="198169" y="503647"/>
                    </a:lnTo>
                    <a:cubicBezTo>
                      <a:pt x="198169" y="495958"/>
                      <a:pt x="196888" y="488269"/>
                      <a:pt x="196888" y="481861"/>
                    </a:cubicBezTo>
                    <a:cubicBezTo>
                      <a:pt x="212266" y="471609"/>
                      <a:pt x="202014" y="458793"/>
                      <a:pt x="196888" y="457512"/>
                    </a:cubicBezTo>
                    <a:cubicBezTo>
                      <a:pt x="186635" y="454949"/>
                      <a:pt x="178946" y="467764"/>
                      <a:pt x="182791" y="475453"/>
                    </a:cubicBezTo>
                    <a:cubicBezTo>
                      <a:pt x="185354" y="480580"/>
                      <a:pt x="189198" y="480580"/>
                      <a:pt x="191762" y="481861"/>
                    </a:cubicBezTo>
                    <a:cubicBezTo>
                      <a:pt x="193043" y="489550"/>
                      <a:pt x="193043" y="498521"/>
                      <a:pt x="194325" y="506210"/>
                    </a:cubicBezTo>
                    <a:lnTo>
                      <a:pt x="231489" y="534404"/>
                    </a:lnTo>
                    <a:cubicBezTo>
                      <a:pt x="232771" y="553628"/>
                      <a:pt x="234053" y="572851"/>
                      <a:pt x="234053" y="590793"/>
                    </a:cubicBezTo>
                    <a:cubicBezTo>
                      <a:pt x="219956" y="599763"/>
                      <a:pt x="228927" y="612579"/>
                      <a:pt x="232771" y="613860"/>
                    </a:cubicBezTo>
                    <a:cubicBezTo>
                      <a:pt x="241742" y="616423"/>
                      <a:pt x="250713" y="603608"/>
                      <a:pt x="246868" y="595919"/>
                    </a:cubicBezTo>
                    <a:cubicBezTo>
                      <a:pt x="245587" y="593355"/>
                      <a:pt x="241742" y="590793"/>
                      <a:pt x="239179" y="589511"/>
                    </a:cubicBezTo>
                    <a:cubicBezTo>
                      <a:pt x="237898" y="572851"/>
                      <a:pt x="237898" y="554909"/>
                      <a:pt x="236616" y="538249"/>
                    </a:cubicBezTo>
                    <a:lnTo>
                      <a:pt x="267373" y="562598"/>
                    </a:lnTo>
                    <a:cubicBezTo>
                      <a:pt x="268654" y="604889"/>
                      <a:pt x="269936" y="645899"/>
                      <a:pt x="271218" y="686908"/>
                    </a:cubicBezTo>
                    <a:cubicBezTo>
                      <a:pt x="257120" y="695879"/>
                      <a:pt x="264810" y="708695"/>
                      <a:pt x="269936" y="709976"/>
                    </a:cubicBezTo>
                    <a:cubicBezTo>
                      <a:pt x="278907" y="712539"/>
                      <a:pt x="286596" y="701005"/>
                      <a:pt x="284033" y="692035"/>
                    </a:cubicBezTo>
                    <a:cubicBezTo>
                      <a:pt x="282752" y="689471"/>
                      <a:pt x="278907" y="686908"/>
                      <a:pt x="276344" y="685627"/>
                    </a:cubicBezTo>
                    <a:cubicBezTo>
                      <a:pt x="276344" y="643336"/>
                      <a:pt x="275062" y="601045"/>
                      <a:pt x="272499" y="558754"/>
                    </a:cubicBezTo>
                    <a:lnTo>
                      <a:pt x="236616" y="530560"/>
                    </a:lnTo>
                    <a:cubicBezTo>
                      <a:pt x="235334" y="507492"/>
                      <a:pt x="234053" y="483143"/>
                      <a:pt x="231489" y="460075"/>
                    </a:cubicBezTo>
                    <a:lnTo>
                      <a:pt x="193043" y="431881"/>
                    </a:lnTo>
                    <a:cubicBezTo>
                      <a:pt x="187917" y="374211"/>
                      <a:pt x="181509" y="316542"/>
                      <a:pt x="173820" y="257591"/>
                    </a:cubicBezTo>
                    <a:lnTo>
                      <a:pt x="209703" y="283221"/>
                    </a:lnTo>
                    <a:cubicBezTo>
                      <a:pt x="214830" y="331920"/>
                      <a:pt x="219956" y="380619"/>
                      <a:pt x="225082" y="428036"/>
                    </a:cubicBezTo>
                    <a:lnTo>
                      <a:pt x="263528" y="457512"/>
                    </a:lnTo>
                    <a:cubicBezTo>
                      <a:pt x="264810" y="476735"/>
                      <a:pt x="266091" y="495958"/>
                      <a:pt x="267373" y="515181"/>
                    </a:cubicBezTo>
                    <a:cubicBezTo>
                      <a:pt x="253276" y="525434"/>
                      <a:pt x="260965" y="536968"/>
                      <a:pt x="267373" y="538249"/>
                    </a:cubicBezTo>
                    <a:cubicBezTo>
                      <a:pt x="277625" y="540812"/>
                      <a:pt x="285315" y="529278"/>
                      <a:pt x="281470" y="520307"/>
                    </a:cubicBezTo>
                    <a:cubicBezTo>
                      <a:pt x="278907" y="515181"/>
                      <a:pt x="273781" y="513900"/>
                      <a:pt x="272499" y="513900"/>
                    </a:cubicBezTo>
                    <a:cubicBezTo>
                      <a:pt x="271218" y="493395"/>
                      <a:pt x="269936" y="474172"/>
                      <a:pt x="268654" y="453667"/>
                    </a:cubicBezTo>
                    <a:lnTo>
                      <a:pt x="228927" y="425473"/>
                    </a:lnTo>
                    <a:cubicBezTo>
                      <a:pt x="225082" y="378056"/>
                      <a:pt x="219956" y="329357"/>
                      <a:pt x="213548" y="280659"/>
                    </a:cubicBezTo>
                    <a:lnTo>
                      <a:pt x="172538" y="251183"/>
                    </a:lnTo>
                    <a:cubicBezTo>
                      <a:pt x="169975" y="230678"/>
                      <a:pt x="167412" y="211455"/>
                      <a:pt x="164849" y="190950"/>
                    </a:cubicBezTo>
                    <a:cubicBezTo>
                      <a:pt x="180228" y="180698"/>
                      <a:pt x="168694" y="167882"/>
                      <a:pt x="163567" y="166601"/>
                    </a:cubicBezTo>
                    <a:cubicBezTo>
                      <a:pt x="152033" y="164038"/>
                      <a:pt x="144344" y="176853"/>
                      <a:pt x="149470" y="185824"/>
                    </a:cubicBezTo>
                    <a:cubicBezTo>
                      <a:pt x="152033" y="190950"/>
                      <a:pt x="157160" y="192232"/>
                      <a:pt x="159723" y="192232"/>
                    </a:cubicBezTo>
                    <a:cubicBezTo>
                      <a:pt x="162286" y="210173"/>
                      <a:pt x="164849" y="229397"/>
                      <a:pt x="167412" y="247338"/>
                    </a:cubicBezTo>
                    <a:lnTo>
                      <a:pt x="131529" y="221707"/>
                    </a:lnTo>
                    <a:cubicBezTo>
                      <a:pt x="130247" y="208892"/>
                      <a:pt x="127684" y="197358"/>
                      <a:pt x="126402" y="184543"/>
                    </a:cubicBezTo>
                    <a:lnTo>
                      <a:pt x="82830" y="155067"/>
                    </a:lnTo>
                    <a:cubicBezTo>
                      <a:pt x="78985" y="134562"/>
                      <a:pt x="76422" y="114057"/>
                      <a:pt x="72577" y="94834"/>
                    </a:cubicBezTo>
                    <a:cubicBezTo>
                      <a:pt x="87956" y="84582"/>
                      <a:pt x="76422" y="70485"/>
                      <a:pt x="70014" y="69203"/>
                    </a:cubicBezTo>
                    <a:cubicBezTo>
                      <a:pt x="58480" y="66640"/>
                      <a:pt x="50791" y="79456"/>
                      <a:pt x="55917" y="88427"/>
                    </a:cubicBezTo>
                    <a:cubicBezTo>
                      <a:pt x="58480" y="93553"/>
                      <a:pt x="63607" y="94834"/>
                      <a:pt x="66170" y="94834"/>
                    </a:cubicBezTo>
                    <a:cubicBezTo>
                      <a:pt x="70014" y="116621"/>
                      <a:pt x="73859" y="137125"/>
                      <a:pt x="76422" y="157630"/>
                    </a:cubicBezTo>
                    <a:lnTo>
                      <a:pt x="119995" y="187106"/>
                    </a:lnTo>
                    <a:cubicBezTo>
                      <a:pt x="121276" y="197358"/>
                      <a:pt x="122558" y="206329"/>
                      <a:pt x="123840" y="216581"/>
                    </a:cubicBezTo>
                    <a:lnTo>
                      <a:pt x="41820" y="161475"/>
                    </a:lnTo>
                    <a:cubicBezTo>
                      <a:pt x="34131" y="116621"/>
                      <a:pt x="26442" y="71766"/>
                      <a:pt x="17471" y="25631"/>
                    </a:cubicBezTo>
                    <a:cubicBezTo>
                      <a:pt x="32849" y="15378"/>
                      <a:pt x="21315" y="1282"/>
                      <a:pt x="14908" y="0"/>
                    </a:cubicBezTo>
                    <a:cubicBezTo>
                      <a:pt x="13626" y="0"/>
                      <a:pt x="11063" y="0"/>
                      <a:pt x="9781" y="0"/>
                    </a:cubicBezTo>
                    <a:cubicBezTo>
                      <a:pt x="-1753" y="6408"/>
                      <a:pt x="-471" y="15378"/>
                      <a:pt x="810" y="192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5" name="Freeform: Shape 379931">
                <a:extLst>
                  <a:ext uri="{FF2B5EF4-FFF2-40B4-BE49-F238E27FC236}">
                    <a16:creationId xmlns:a16="http://schemas.microsoft.com/office/drawing/2014/main" id="{68DF40C8-CD2D-4081-849A-C435D49EB910}"/>
                  </a:ext>
                </a:extLst>
              </p:cNvPr>
              <p:cNvSpPr/>
              <p:nvPr/>
            </p:nvSpPr>
            <p:spPr>
              <a:xfrm>
                <a:off x="7019997" y="4109781"/>
                <a:ext cx="70840" cy="274354"/>
              </a:xfrm>
              <a:custGeom>
                <a:avLst/>
                <a:gdLst>
                  <a:gd name="connsiteX0" fmla="*/ 0 w 70840"/>
                  <a:gd name="connsiteY0" fmla="*/ 266561 h 274354"/>
                  <a:gd name="connsiteX1" fmla="*/ 12816 w 70840"/>
                  <a:gd name="connsiteY1" fmla="*/ 271688 h 274354"/>
                  <a:gd name="connsiteX2" fmla="*/ 17942 w 70840"/>
                  <a:gd name="connsiteY2" fmla="*/ 255028 h 274354"/>
                  <a:gd name="connsiteX3" fmla="*/ 43573 w 70840"/>
                  <a:gd name="connsiteY3" fmla="*/ 224270 h 274354"/>
                  <a:gd name="connsiteX4" fmla="*/ 62796 w 70840"/>
                  <a:gd name="connsiteY4" fmla="*/ 24349 h 274354"/>
                  <a:gd name="connsiteX5" fmla="*/ 65359 w 70840"/>
                  <a:gd name="connsiteY5" fmla="*/ 0 h 274354"/>
                  <a:gd name="connsiteX6" fmla="*/ 61514 w 70840"/>
                  <a:gd name="connsiteY6" fmla="*/ 0 h 274354"/>
                  <a:gd name="connsiteX7" fmla="*/ 55107 w 70840"/>
                  <a:gd name="connsiteY7" fmla="*/ 24349 h 274354"/>
                  <a:gd name="connsiteX8" fmla="*/ 57670 w 70840"/>
                  <a:gd name="connsiteY8" fmla="*/ 25631 h 274354"/>
                  <a:gd name="connsiteX9" fmla="*/ 38446 w 70840"/>
                  <a:gd name="connsiteY9" fmla="*/ 222989 h 274354"/>
                  <a:gd name="connsiteX10" fmla="*/ 14097 w 70840"/>
                  <a:gd name="connsiteY10" fmla="*/ 251183 h 274354"/>
                  <a:gd name="connsiteX11" fmla="*/ 0 w 70840"/>
                  <a:gd name="connsiteY11" fmla="*/ 266561 h 274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840" h="274354">
                    <a:moveTo>
                      <a:pt x="0" y="266561"/>
                    </a:moveTo>
                    <a:cubicBezTo>
                      <a:pt x="0" y="274251"/>
                      <a:pt x="6408" y="276814"/>
                      <a:pt x="12816" y="271688"/>
                    </a:cubicBezTo>
                    <a:cubicBezTo>
                      <a:pt x="12816" y="271688"/>
                      <a:pt x="20505" y="265280"/>
                      <a:pt x="17942" y="255028"/>
                    </a:cubicBezTo>
                    <a:lnTo>
                      <a:pt x="43573" y="224270"/>
                    </a:lnTo>
                    <a:cubicBezTo>
                      <a:pt x="52544" y="158912"/>
                      <a:pt x="58951" y="92271"/>
                      <a:pt x="62796" y="24349"/>
                    </a:cubicBezTo>
                    <a:cubicBezTo>
                      <a:pt x="73048" y="17942"/>
                      <a:pt x="73048" y="3845"/>
                      <a:pt x="65359" y="0"/>
                    </a:cubicBezTo>
                    <a:cubicBezTo>
                      <a:pt x="64078" y="0"/>
                      <a:pt x="62796" y="0"/>
                      <a:pt x="61514" y="0"/>
                    </a:cubicBezTo>
                    <a:cubicBezTo>
                      <a:pt x="49980" y="3845"/>
                      <a:pt x="48699" y="19223"/>
                      <a:pt x="55107" y="24349"/>
                    </a:cubicBezTo>
                    <a:cubicBezTo>
                      <a:pt x="56389" y="24349"/>
                      <a:pt x="57670" y="25631"/>
                      <a:pt x="57670" y="25631"/>
                    </a:cubicBezTo>
                    <a:cubicBezTo>
                      <a:pt x="53825" y="92271"/>
                      <a:pt x="47418" y="158912"/>
                      <a:pt x="38446" y="222989"/>
                    </a:cubicBezTo>
                    <a:cubicBezTo>
                      <a:pt x="30757" y="231960"/>
                      <a:pt x="21787" y="243494"/>
                      <a:pt x="14097" y="251183"/>
                    </a:cubicBezTo>
                    <a:cubicBezTo>
                      <a:pt x="7689" y="247338"/>
                      <a:pt x="0" y="258872"/>
                      <a:pt x="0" y="26656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6" name="Freeform: Shape 379932">
                <a:extLst>
                  <a:ext uri="{FF2B5EF4-FFF2-40B4-BE49-F238E27FC236}">
                    <a16:creationId xmlns:a16="http://schemas.microsoft.com/office/drawing/2014/main" id="{F674452B-3247-4471-BC55-22A4B327E068}"/>
                  </a:ext>
                </a:extLst>
              </p:cNvPr>
              <p:cNvSpPr/>
              <p:nvPr/>
            </p:nvSpPr>
            <p:spPr>
              <a:xfrm>
                <a:off x="4773285" y="4494170"/>
                <a:ext cx="158956" cy="210248"/>
              </a:xfrm>
              <a:custGeom>
                <a:avLst/>
                <a:gdLst>
                  <a:gd name="connsiteX0" fmla="*/ 37319 w 158956"/>
                  <a:gd name="connsiteY0" fmla="*/ 120541 h 210248"/>
                  <a:gd name="connsiteX1" fmla="*/ 48853 w 158956"/>
                  <a:gd name="connsiteY1" fmla="*/ 126948 h 210248"/>
                  <a:gd name="connsiteX2" fmla="*/ 62950 w 158956"/>
                  <a:gd name="connsiteY2" fmla="*/ 148735 h 210248"/>
                  <a:gd name="connsiteX3" fmla="*/ 103960 w 158956"/>
                  <a:gd name="connsiteY3" fmla="*/ 170521 h 210248"/>
                  <a:gd name="connsiteX4" fmla="*/ 116775 w 158956"/>
                  <a:gd name="connsiteY4" fmla="*/ 189744 h 210248"/>
                  <a:gd name="connsiteX5" fmla="*/ 130872 w 158956"/>
                  <a:gd name="connsiteY5" fmla="*/ 210249 h 210248"/>
                  <a:gd name="connsiteX6" fmla="*/ 128309 w 158956"/>
                  <a:gd name="connsiteY6" fmla="*/ 192307 h 210248"/>
                  <a:gd name="connsiteX7" fmla="*/ 120620 w 158956"/>
                  <a:gd name="connsiteY7" fmla="*/ 188462 h 210248"/>
                  <a:gd name="connsiteX8" fmla="*/ 110368 w 158956"/>
                  <a:gd name="connsiteY8" fmla="*/ 174366 h 210248"/>
                  <a:gd name="connsiteX9" fmla="*/ 138561 w 158956"/>
                  <a:gd name="connsiteY9" fmla="*/ 188462 h 210248"/>
                  <a:gd name="connsiteX10" fmla="*/ 157785 w 158956"/>
                  <a:gd name="connsiteY10" fmla="*/ 199996 h 210248"/>
                  <a:gd name="connsiteX11" fmla="*/ 141125 w 158956"/>
                  <a:gd name="connsiteY11" fmla="*/ 180773 h 210248"/>
                  <a:gd name="connsiteX12" fmla="*/ 138561 w 158956"/>
                  <a:gd name="connsiteY12" fmla="*/ 184618 h 210248"/>
                  <a:gd name="connsiteX13" fmla="*/ 106523 w 158956"/>
                  <a:gd name="connsiteY13" fmla="*/ 167958 h 210248"/>
                  <a:gd name="connsiteX14" fmla="*/ 18096 w 158956"/>
                  <a:gd name="connsiteY14" fmla="*/ 21862 h 210248"/>
                  <a:gd name="connsiteX15" fmla="*/ 5281 w 158956"/>
                  <a:gd name="connsiteY15" fmla="*/ 75 h 210248"/>
                  <a:gd name="connsiteX16" fmla="*/ 3999 w 158956"/>
                  <a:gd name="connsiteY16" fmla="*/ 75 h 210248"/>
                  <a:gd name="connsiteX17" fmla="*/ 11688 w 158956"/>
                  <a:gd name="connsiteY17" fmla="*/ 21862 h 210248"/>
                  <a:gd name="connsiteX18" fmla="*/ 14251 w 158956"/>
                  <a:gd name="connsiteY18" fmla="*/ 21862 h 210248"/>
                  <a:gd name="connsiteX19" fmla="*/ 100115 w 158956"/>
                  <a:gd name="connsiteY19" fmla="*/ 162832 h 210248"/>
                  <a:gd name="connsiteX20" fmla="*/ 64232 w 158956"/>
                  <a:gd name="connsiteY20" fmla="*/ 143609 h 210248"/>
                  <a:gd name="connsiteX21" fmla="*/ 51416 w 158956"/>
                  <a:gd name="connsiteY21" fmla="*/ 124385 h 210248"/>
                  <a:gd name="connsiteX22" fmla="*/ 38601 w 158956"/>
                  <a:gd name="connsiteY22" fmla="*/ 103881 h 210248"/>
                  <a:gd name="connsiteX23" fmla="*/ 37319 w 158956"/>
                  <a:gd name="connsiteY23" fmla="*/ 120541 h 210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8956" h="210248">
                    <a:moveTo>
                      <a:pt x="37319" y="120541"/>
                    </a:moveTo>
                    <a:cubicBezTo>
                      <a:pt x="39882" y="123104"/>
                      <a:pt x="43727" y="126948"/>
                      <a:pt x="48853" y="126948"/>
                    </a:cubicBezTo>
                    <a:cubicBezTo>
                      <a:pt x="53979" y="134638"/>
                      <a:pt x="57824" y="141045"/>
                      <a:pt x="62950" y="148735"/>
                    </a:cubicBezTo>
                    <a:lnTo>
                      <a:pt x="103960" y="170521"/>
                    </a:lnTo>
                    <a:cubicBezTo>
                      <a:pt x="107804" y="176929"/>
                      <a:pt x="112931" y="183336"/>
                      <a:pt x="116775" y="189744"/>
                    </a:cubicBezTo>
                    <a:cubicBezTo>
                      <a:pt x="110368" y="197433"/>
                      <a:pt x="123183" y="210249"/>
                      <a:pt x="130872" y="210249"/>
                    </a:cubicBezTo>
                    <a:cubicBezTo>
                      <a:pt x="138561" y="210249"/>
                      <a:pt x="137280" y="198715"/>
                      <a:pt x="128309" y="192307"/>
                    </a:cubicBezTo>
                    <a:cubicBezTo>
                      <a:pt x="124465" y="189744"/>
                      <a:pt x="121902" y="188462"/>
                      <a:pt x="120620" y="188462"/>
                    </a:cubicBezTo>
                    <a:cubicBezTo>
                      <a:pt x="116775" y="183336"/>
                      <a:pt x="114212" y="178210"/>
                      <a:pt x="110368" y="174366"/>
                    </a:cubicBezTo>
                    <a:cubicBezTo>
                      <a:pt x="119338" y="178210"/>
                      <a:pt x="129591" y="184618"/>
                      <a:pt x="138561" y="188462"/>
                    </a:cubicBezTo>
                    <a:cubicBezTo>
                      <a:pt x="141125" y="199996"/>
                      <a:pt x="155222" y="205123"/>
                      <a:pt x="157785" y="199996"/>
                    </a:cubicBezTo>
                    <a:cubicBezTo>
                      <a:pt x="162911" y="192307"/>
                      <a:pt x="150095" y="178210"/>
                      <a:pt x="141125" y="180773"/>
                    </a:cubicBezTo>
                    <a:cubicBezTo>
                      <a:pt x="139843" y="180773"/>
                      <a:pt x="138561" y="182055"/>
                      <a:pt x="138561" y="184618"/>
                    </a:cubicBezTo>
                    <a:lnTo>
                      <a:pt x="106523" y="167958"/>
                    </a:lnTo>
                    <a:cubicBezTo>
                      <a:pt x="79610" y="124385"/>
                      <a:pt x="43727" y="66716"/>
                      <a:pt x="18096" y="21862"/>
                    </a:cubicBezTo>
                    <a:cubicBezTo>
                      <a:pt x="25785" y="14172"/>
                      <a:pt x="14251" y="-1206"/>
                      <a:pt x="5281" y="75"/>
                    </a:cubicBezTo>
                    <a:cubicBezTo>
                      <a:pt x="5281" y="75"/>
                      <a:pt x="3999" y="75"/>
                      <a:pt x="3999" y="75"/>
                    </a:cubicBezTo>
                    <a:cubicBezTo>
                      <a:pt x="-4972" y="5201"/>
                      <a:pt x="2717" y="19299"/>
                      <a:pt x="11688" y="21862"/>
                    </a:cubicBezTo>
                    <a:cubicBezTo>
                      <a:pt x="12970" y="21862"/>
                      <a:pt x="14251" y="21862"/>
                      <a:pt x="14251" y="21862"/>
                    </a:cubicBezTo>
                    <a:cubicBezTo>
                      <a:pt x="41164" y="70560"/>
                      <a:pt x="69358" y="117978"/>
                      <a:pt x="100115" y="162832"/>
                    </a:cubicBezTo>
                    <a:lnTo>
                      <a:pt x="64232" y="143609"/>
                    </a:lnTo>
                    <a:cubicBezTo>
                      <a:pt x="60387" y="137201"/>
                      <a:pt x="56542" y="130793"/>
                      <a:pt x="51416" y="124385"/>
                    </a:cubicBezTo>
                    <a:cubicBezTo>
                      <a:pt x="57824" y="116696"/>
                      <a:pt x="46290" y="102599"/>
                      <a:pt x="38601" y="103881"/>
                    </a:cubicBezTo>
                    <a:cubicBezTo>
                      <a:pt x="32193" y="105162"/>
                      <a:pt x="30911" y="112851"/>
                      <a:pt x="37319" y="12054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7" name="Freeform: Shape 379933">
                <a:extLst>
                  <a:ext uri="{FF2B5EF4-FFF2-40B4-BE49-F238E27FC236}">
                    <a16:creationId xmlns:a16="http://schemas.microsoft.com/office/drawing/2014/main" id="{2A1B8212-7C6F-42AD-82BA-57A8F8391230}"/>
                  </a:ext>
                </a:extLst>
              </p:cNvPr>
              <p:cNvSpPr/>
              <p:nvPr/>
            </p:nvSpPr>
            <p:spPr>
              <a:xfrm>
                <a:off x="4797584" y="4485199"/>
                <a:ext cx="157388" cy="201983"/>
              </a:xfrm>
              <a:custGeom>
                <a:avLst/>
                <a:gdLst>
                  <a:gd name="connsiteX0" fmla="*/ 2768 w 157388"/>
                  <a:gd name="connsiteY0" fmla="*/ 16735 h 201983"/>
                  <a:gd name="connsiteX1" fmla="*/ 14302 w 157388"/>
                  <a:gd name="connsiteY1" fmla="*/ 23143 h 201983"/>
                  <a:gd name="connsiteX2" fmla="*/ 102729 w 157388"/>
                  <a:gd name="connsiteY2" fmla="*/ 170521 h 201983"/>
                  <a:gd name="connsiteX3" fmla="*/ 137331 w 157388"/>
                  <a:gd name="connsiteY3" fmla="*/ 188462 h 201983"/>
                  <a:gd name="connsiteX4" fmla="*/ 156554 w 157388"/>
                  <a:gd name="connsiteY4" fmla="*/ 199996 h 201983"/>
                  <a:gd name="connsiteX5" fmla="*/ 142457 w 157388"/>
                  <a:gd name="connsiteY5" fmla="*/ 180773 h 201983"/>
                  <a:gd name="connsiteX6" fmla="*/ 137331 w 157388"/>
                  <a:gd name="connsiteY6" fmla="*/ 184618 h 201983"/>
                  <a:gd name="connsiteX7" fmla="*/ 105292 w 157388"/>
                  <a:gd name="connsiteY7" fmla="*/ 167958 h 201983"/>
                  <a:gd name="connsiteX8" fmla="*/ 18146 w 157388"/>
                  <a:gd name="connsiteY8" fmla="*/ 21862 h 201983"/>
                  <a:gd name="connsiteX9" fmla="*/ 6612 w 157388"/>
                  <a:gd name="connsiteY9" fmla="*/ 75 h 201983"/>
                  <a:gd name="connsiteX10" fmla="*/ 5331 w 157388"/>
                  <a:gd name="connsiteY10" fmla="*/ 75 h 201983"/>
                  <a:gd name="connsiteX11" fmla="*/ 2768 w 157388"/>
                  <a:gd name="connsiteY11" fmla="*/ 16735 h 201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388" h="201983">
                    <a:moveTo>
                      <a:pt x="2768" y="16735"/>
                    </a:moveTo>
                    <a:cubicBezTo>
                      <a:pt x="5331" y="19299"/>
                      <a:pt x="7894" y="23143"/>
                      <a:pt x="14302" y="23143"/>
                    </a:cubicBezTo>
                    <a:cubicBezTo>
                      <a:pt x="42496" y="74405"/>
                      <a:pt x="71972" y="123104"/>
                      <a:pt x="102729" y="170521"/>
                    </a:cubicBezTo>
                    <a:cubicBezTo>
                      <a:pt x="112981" y="175647"/>
                      <a:pt x="127079" y="183336"/>
                      <a:pt x="137331" y="188462"/>
                    </a:cubicBezTo>
                    <a:cubicBezTo>
                      <a:pt x="139894" y="199996"/>
                      <a:pt x="153991" y="205123"/>
                      <a:pt x="156554" y="199996"/>
                    </a:cubicBezTo>
                    <a:cubicBezTo>
                      <a:pt x="160399" y="193589"/>
                      <a:pt x="150146" y="179492"/>
                      <a:pt x="142457" y="180773"/>
                    </a:cubicBezTo>
                    <a:cubicBezTo>
                      <a:pt x="138613" y="180773"/>
                      <a:pt x="138613" y="183336"/>
                      <a:pt x="137331" y="184618"/>
                    </a:cubicBezTo>
                    <a:lnTo>
                      <a:pt x="105292" y="167958"/>
                    </a:lnTo>
                    <a:cubicBezTo>
                      <a:pt x="74535" y="120541"/>
                      <a:pt x="45059" y="71842"/>
                      <a:pt x="18146" y="21862"/>
                    </a:cubicBezTo>
                    <a:cubicBezTo>
                      <a:pt x="25836" y="14172"/>
                      <a:pt x="14302" y="-1206"/>
                      <a:pt x="6612" y="75"/>
                    </a:cubicBezTo>
                    <a:cubicBezTo>
                      <a:pt x="6612" y="75"/>
                      <a:pt x="5331" y="75"/>
                      <a:pt x="5331" y="75"/>
                    </a:cubicBezTo>
                    <a:cubicBezTo>
                      <a:pt x="-4921" y="5201"/>
                      <a:pt x="2768" y="16735"/>
                      <a:pt x="2768" y="1673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8" name="Freeform: Shape 379934">
                <a:extLst>
                  <a:ext uri="{FF2B5EF4-FFF2-40B4-BE49-F238E27FC236}">
                    <a16:creationId xmlns:a16="http://schemas.microsoft.com/office/drawing/2014/main" id="{498D4AE0-370D-4179-B313-396DE98D1A83}"/>
                  </a:ext>
                </a:extLst>
              </p:cNvPr>
              <p:cNvSpPr/>
              <p:nvPr/>
            </p:nvSpPr>
            <p:spPr>
              <a:xfrm>
                <a:off x="4958312" y="4658283"/>
                <a:ext cx="101724" cy="138406"/>
              </a:xfrm>
              <a:custGeom>
                <a:avLst/>
                <a:gdLst>
                  <a:gd name="connsiteX0" fmla="*/ 3515 w 101724"/>
                  <a:gd name="connsiteY0" fmla="*/ 15378 h 138406"/>
                  <a:gd name="connsiteX1" fmla="*/ 15049 w 101724"/>
                  <a:gd name="connsiteY1" fmla="*/ 21786 h 138406"/>
                  <a:gd name="connsiteX2" fmla="*/ 82971 w 101724"/>
                  <a:gd name="connsiteY2" fmla="*/ 119184 h 138406"/>
                  <a:gd name="connsiteX3" fmla="*/ 97069 w 101724"/>
                  <a:gd name="connsiteY3" fmla="*/ 138407 h 138406"/>
                  <a:gd name="connsiteX4" fmla="*/ 95787 w 101724"/>
                  <a:gd name="connsiteY4" fmla="*/ 121747 h 138406"/>
                  <a:gd name="connsiteX5" fmla="*/ 85535 w 101724"/>
                  <a:gd name="connsiteY5" fmla="*/ 117902 h 138406"/>
                  <a:gd name="connsiteX6" fmla="*/ 17612 w 101724"/>
                  <a:gd name="connsiteY6" fmla="*/ 20505 h 138406"/>
                  <a:gd name="connsiteX7" fmla="*/ 3515 w 101724"/>
                  <a:gd name="connsiteY7" fmla="*/ 0 h 138406"/>
                  <a:gd name="connsiteX8" fmla="*/ 2234 w 101724"/>
                  <a:gd name="connsiteY8" fmla="*/ 0 h 138406"/>
                  <a:gd name="connsiteX9" fmla="*/ 3515 w 101724"/>
                  <a:gd name="connsiteY9" fmla="*/ 15378 h 13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24" h="138406">
                    <a:moveTo>
                      <a:pt x="3515" y="15378"/>
                    </a:moveTo>
                    <a:cubicBezTo>
                      <a:pt x="6078" y="17942"/>
                      <a:pt x="9923" y="21786"/>
                      <a:pt x="15049" y="21786"/>
                    </a:cubicBezTo>
                    <a:cubicBezTo>
                      <a:pt x="36836" y="55106"/>
                      <a:pt x="59903" y="87145"/>
                      <a:pt x="82971" y="119184"/>
                    </a:cubicBezTo>
                    <a:cubicBezTo>
                      <a:pt x="76564" y="126873"/>
                      <a:pt x="89379" y="138407"/>
                      <a:pt x="97069" y="138407"/>
                    </a:cubicBezTo>
                    <a:cubicBezTo>
                      <a:pt x="103476" y="138407"/>
                      <a:pt x="103476" y="129436"/>
                      <a:pt x="95787" y="121747"/>
                    </a:cubicBezTo>
                    <a:cubicBezTo>
                      <a:pt x="90661" y="117902"/>
                      <a:pt x="86816" y="117902"/>
                      <a:pt x="85535" y="117902"/>
                    </a:cubicBezTo>
                    <a:cubicBezTo>
                      <a:pt x="62467" y="85864"/>
                      <a:pt x="39399" y="53825"/>
                      <a:pt x="17612" y="20505"/>
                    </a:cubicBezTo>
                    <a:cubicBezTo>
                      <a:pt x="25302" y="12815"/>
                      <a:pt x="12486" y="0"/>
                      <a:pt x="3515" y="0"/>
                    </a:cubicBezTo>
                    <a:cubicBezTo>
                      <a:pt x="3515" y="0"/>
                      <a:pt x="2234" y="0"/>
                      <a:pt x="2234" y="0"/>
                    </a:cubicBezTo>
                    <a:cubicBezTo>
                      <a:pt x="-2893" y="3844"/>
                      <a:pt x="2234" y="11534"/>
                      <a:pt x="3515"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799" name="Freeform: Shape 379935">
                <a:extLst>
                  <a:ext uri="{FF2B5EF4-FFF2-40B4-BE49-F238E27FC236}">
                    <a16:creationId xmlns:a16="http://schemas.microsoft.com/office/drawing/2014/main" id="{A7F1BB54-A6CE-40BB-AFEB-747D7B95019B}"/>
                  </a:ext>
                </a:extLst>
              </p:cNvPr>
              <p:cNvSpPr/>
              <p:nvPr/>
            </p:nvSpPr>
            <p:spPr>
              <a:xfrm>
                <a:off x="4830258" y="4433937"/>
                <a:ext cx="174350" cy="235961"/>
              </a:xfrm>
              <a:custGeom>
                <a:avLst/>
                <a:gdLst>
                  <a:gd name="connsiteX0" fmla="*/ 3415 w 174350"/>
                  <a:gd name="connsiteY0" fmla="*/ 18017 h 235961"/>
                  <a:gd name="connsiteX1" fmla="*/ 14948 w 174350"/>
                  <a:gd name="connsiteY1" fmla="*/ 24425 h 235961"/>
                  <a:gd name="connsiteX2" fmla="*/ 44424 w 174350"/>
                  <a:gd name="connsiteY2" fmla="*/ 79531 h 235961"/>
                  <a:gd name="connsiteX3" fmla="*/ 89278 w 174350"/>
                  <a:gd name="connsiteY3" fmla="*/ 103881 h 235961"/>
                  <a:gd name="connsiteX4" fmla="*/ 155919 w 174350"/>
                  <a:gd name="connsiteY4" fmla="*/ 215375 h 235961"/>
                  <a:gd name="connsiteX5" fmla="*/ 168734 w 174350"/>
                  <a:gd name="connsiteY5" fmla="*/ 235880 h 235961"/>
                  <a:gd name="connsiteX6" fmla="*/ 167453 w 174350"/>
                  <a:gd name="connsiteY6" fmla="*/ 217938 h 235961"/>
                  <a:gd name="connsiteX7" fmla="*/ 158482 w 174350"/>
                  <a:gd name="connsiteY7" fmla="*/ 214093 h 235961"/>
                  <a:gd name="connsiteX8" fmla="*/ 90560 w 174350"/>
                  <a:gd name="connsiteY8" fmla="*/ 100036 h 235961"/>
                  <a:gd name="connsiteX9" fmla="*/ 45705 w 174350"/>
                  <a:gd name="connsiteY9" fmla="*/ 75687 h 235961"/>
                  <a:gd name="connsiteX10" fmla="*/ 17511 w 174350"/>
                  <a:gd name="connsiteY10" fmla="*/ 21862 h 235961"/>
                  <a:gd name="connsiteX11" fmla="*/ 5977 w 174350"/>
                  <a:gd name="connsiteY11" fmla="*/ 75 h 235961"/>
                  <a:gd name="connsiteX12" fmla="*/ 4696 w 174350"/>
                  <a:gd name="connsiteY12" fmla="*/ 75 h 235961"/>
                  <a:gd name="connsiteX13" fmla="*/ 3415 w 174350"/>
                  <a:gd name="connsiteY13" fmla="*/ 18017 h 23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4350" h="235961">
                    <a:moveTo>
                      <a:pt x="3415" y="18017"/>
                    </a:moveTo>
                    <a:cubicBezTo>
                      <a:pt x="5977" y="20580"/>
                      <a:pt x="8540" y="24425"/>
                      <a:pt x="14948" y="24425"/>
                    </a:cubicBezTo>
                    <a:cubicBezTo>
                      <a:pt x="25201" y="43648"/>
                      <a:pt x="34171" y="61590"/>
                      <a:pt x="44424" y="79531"/>
                    </a:cubicBezTo>
                    <a:lnTo>
                      <a:pt x="89278" y="103881"/>
                    </a:lnTo>
                    <a:cubicBezTo>
                      <a:pt x="111065" y="142327"/>
                      <a:pt x="132851" y="179492"/>
                      <a:pt x="155919" y="215375"/>
                    </a:cubicBezTo>
                    <a:cubicBezTo>
                      <a:pt x="148229" y="223064"/>
                      <a:pt x="161045" y="237161"/>
                      <a:pt x="168734" y="235880"/>
                    </a:cubicBezTo>
                    <a:cubicBezTo>
                      <a:pt x="176424" y="235880"/>
                      <a:pt x="176424" y="224346"/>
                      <a:pt x="167453" y="217938"/>
                    </a:cubicBezTo>
                    <a:cubicBezTo>
                      <a:pt x="163608" y="215375"/>
                      <a:pt x="159763" y="214093"/>
                      <a:pt x="158482" y="214093"/>
                    </a:cubicBezTo>
                    <a:cubicBezTo>
                      <a:pt x="135414" y="176929"/>
                      <a:pt x="112346" y="138482"/>
                      <a:pt x="90560" y="100036"/>
                    </a:cubicBezTo>
                    <a:lnTo>
                      <a:pt x="45705" y="75687"/>
                    </a:lnTo>
                    <a:cubicBezTo>
                      <a:pt x="35453" y="57745"/>
                      <a:pt x="26482" y="39803"/>
                      <a:pt x="17511" y="21862"/>
                    </a:cubicBezTo>
                    <a:cubicBezTo>
                      <a:pt x="25201" y="14172"/>
                      <a:pt x="14948" y="-1206"/>
                      <a:pt x="5977" y="75"/>
                    </a:cubicBezTo>
                    <a:cubicBezTo>
                      <a:pt x="5977" y="75"/>
                      <a:pt x="4696" y="75"/>
                      <a:pt x="4696" y="75"/>
                    </a:cubicBezTo>
                    <a:cubicBezTo>
                      <a:pt x="-4275" y="5201"/>
                      <a:pt x="2133" y="16735"/>
                      <a:pt x="3415" y="180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0" name="Freeform: Shape 379936">
                <a:extLst>
                  <a:ext uri="{FF2B5EF4-FFF2-40B4-BE49-F238E27FC236}">
                    <a16:creationId xmlns:a16="http://schemas.microsoft.com/office/drawing/2014/main" id="{1BA9BB2B-1925-4452-BB75-E1E49E7B398A}"/>
                  </a:ext>
                </a:extLst>
              </p:cNvPr>
              <p:cNvSpPr/>
              <p:nvPr/>
            </p:nvSpPr>
            <p:spPr>
              <a:xfrm>
                <a:off x="5060555" y="4623599"/>
                <a:ext cx="59715" cy="82100"/>
              </a:xfrm>
              <a:custGeom>
                <a:avLst/>
                <a:gdLst>
                  <a:gd name="connsiteX0" fmla="*/ 3797 w 59715"/>
                  <a:gd name="connsiteY0" fmla="*/ 15460 h 82100"/>
                  <a:gd name="connsiteX1" fmla="*/ 15330 w 59715"/>
                  <a:gd name="connsiteY1" fmla="*/ 21868 h 82100"/>
                  <a:gd name="connsiteX2" fmla="*/ 40962 w 59715"/>
                  <a:gd name="connsiteY2" fmla="*/ 61596 h 82100"/>
                  <a:gd name="connsiteX3" fmla="*/ 53777 w 59715"/>
                  <a:gd name="connsiteY3" fmla="*/ 82101 h 82100"/>
                  <a:gd name="connsiteX4" fmla="*/ 55058 w 59715"/>
                  <a:gd name="connsiteY4" fmla="*/ 65441 h 82100"/>
                  <a:gd name="connsiteX5" fmla="*/ 44806 w 59715"/>
                  <a:gd name="connsiteY5" fmla="*/ 60314 h 82100"/>
                  <a:gd name="connsiteX6" fmla="*/ 19175 w 59715"/>
                  <a:gd name="connsiteY6" fmla="*/ 20586 h 82100"/>
                  <a:gd name="connsiteX7" fmla="*/ 6360 w 59715"/>
                  <a:gd name="connsiteY7" fmla="*/ 82 h 82100"/>
                  <a:gd name="connsiteX8" fmla="*/ 5078 w 59715"/>
                  <a:gd name="connsiteY8" fmla="*/ 82 h 82100"/>
                  <a:gd name="connsiteX9" fmla="*/ 3797 w 59715"/>
                  <a:gd name="connsiteY9" fmla="*/ 15460 h 8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715" h="82100">
                    <a:moveTo>
                      <a:pt x="3797" y="15460"/>
                    </a:moveTo>
                    <a:cubicBezTo>
                      <a:pt x="6360" y="18023"/>
                      <a:pt x="10204" y="21868"/>
                      <a:pt x="15330" y="21868"/>
                    </a:cubicBezTo>
                    <a:cubicBezTo>
                      <a:pt x="23019" y="34684"/>
                      <a:pt x="31990" y="48780"/>
                      <a:pt x="40962" y="61596"/>
                    </a:cubicBezTo>
                    <a:cubicBezTo>
                      <a:pt x="33272" y="69285"/>
                      <a:pt x="46087" y="82101"/>
                      <a:pt x="53777" y="82101"/>
                    </a:cubicBezTo>
                    <a:cubicBezTo>
                      <a:pt x="61466" y="82101"/>
                      <a:pt x="61466" y="71848"/>
                      <a:pt x="55058" y="65441"/>
                    </a:cubicBezTo>
                    <a:cubicBezTo>
                      <a:pt x="49932" y="61596"/>
                      <a:pt x="46087" y="61596"/>
                      <a:pt x="44806" y="60314"/>
                    </a:cubicBezTo>
                    <a:cubicBezTo>
                      <a:pt x="35835" y="47499"/>
                      <a:pt x="28146" y="33402"/>
                      <a:pt x="19175" y="20586"/>
                    </a:cubicBezTo>
                    <a:cubicBezTo>
                      <a:pt x="26864" y="12897"/>
                      <a:pt x="15330" y="-1200"/>
                      <a:pt x="6360" y="82"/>
                    </a:cubicBezTo>
                    <a:cubicBezTo>
                      <a:pt x="6360" y="82"/>
                      <a:pt x="5078" y="82"/>
                      <a:pt x="5078" y="82"/>
                    </a:cubicBezTo>
                    <a:cubicBezTo>
                      <a:pt x="-3893" y="3926"/>
                      <a:pt x="1233" y="12897"/>
                      <a:pt x="3797" y="154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1" name="Freeform: Shape 379937">
                <a:extLst>
                  <a:ext uri="{FF2B5EF4-FFF2-40B4-BE49-F238E27FC236}">
                    <a16:creationId xmlns:a16="http://schemas.microsoft.com/office/drawing/2014/main" id="{DCE0DD38-3823-4814-9E37-7A527A2BC4A0}"/>
                  </a:ext>
                </a:extLst>
              </p:cNvPr>
              <p:cNvSpPr/>
              <p:nvPr/>
            </p:nvSpPr>
            <p:spPr>
              <a:xfrm>
                <a:off x="5032740" y="4521157"/>
                <a:ext cx="104085" cy="107625"/>
              </a:xfrm>
              <a:custGeom>
                <a:avLst/>
                <a:gdLst>
                  <a:gd name="connsiteX0" fmla="*/ 3418 w 104085"/>
                  <a:gd name="connsiteY0" fmla="*/ 15379 h 107625"/>
                  <a:gd name="connsiteX1" fmla="*/ 14952 w 104085"/>
                  <a:gd name="connsiteY1" fmla="*/ 21786 h 107625"/>
                  <a:gd name="connsiteX2" fmla="*/ 45709 w 104085"/>
                  <a:gd name="connsiteY2" fmla="*/ 75611 h 107625"/>
                  <a:gd name="connsiteX3" fmla="*/ 81592 w 104085"/>
                  <a:gd name="connsiteY3" fmla="*/ 93553 h 107625"/>
                  <a:gd name="connsiteX4" fmla="*/ 102097 w 104085"/>
                  <a:gd name="connsiteY4" fmla="*/ 105087 h 107625"/>
                  <a:gd name="connsiteX5" fmla="*/ 88000 w 104085"/>
                  <a:gd name="connsiteY5" fmla="*/ 85864 h 107625"/>
                  <a:gd name="connsiteX6" fmla="*/ 81592 w 104085"/>
                  <a:gd name="connsiteY6" fmla="*/ 89708 h 107625"/>
                  <a:gd name="connsiteX7" fmla="*/ 46990 w 104085"/>
                  <a:gd name="connsiteY7" fmla="*/ 73048 h 107625"/>
                  <a:gd name="connsiteX8" fmla="*/ 17515 w 104085"/>
                  <a:gd name="connsiteY8" fmla="*/ 21786 h 107625"/>
                  <a:gd name="connsiteX9" fmla="*/ 7262 w 104085"/>
                  <a:gd name="connsiteY9" fmla="*/ 0 h 107625"/>
                  <a:gd name="connsiteX10" fmla="*/ 3418 w 104085"/>
                  <a:gd name="connsiteY10" fmla="*/ 0 h 107625"/>
                  <a:gd name="connsiteX11" fmla="*/ 3418 w 104085"/>
                  <a:gd name="connsiteY11" fmla="*/ 15379 h 10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4085" h="107625">
                    <a:moveTo>
                      <a:pt x="3418" y="15379"/>
                    </a:moveTo>
                    <a:cubicBezTo>
                      <a:pt x="5981" y="17942"/>
                      <a:pt x="9825" y="21786"/>
                      <a:pt x="14952" y="21786"/>
                    </a:cubicBezTo>
                    <a:cubicBezTo>
                      <a:pt x="25204" y="39728"/>
                      <a:pt x="35456" y="57670"/>
                      <a:pt x="45709" y="75611"/>
                    </a:cubicBezTo>
                    <a:cubicBezTo>
                      <a:pt x="55961" y="80738"/>
                      <a:pt x="71340" y="88427"/>
                      <a:pt x="81592" y="93553"/>
                    </a:cubicBezTo>
                    <a:cubicBezTo>
                      <a:pt x="82874" y="105087"/>
                      <a:pt x="96971" y="111495"/>
                      <a:pt x="102097" y="105087"/>
                    </a:cubicBezTo>
                    <a:cubicBezTo>
                      <a:pt x="108505" y="98679"/>
                      <a:pt x="98252" y="84582"/>
                      <a:pt x="88000" y="85864"/>
                    </a:cubicBezTo>
                    <a:cubicBezTo>
                      <a:pt x="84155" y="85864"/>
                      <a:pt x="82874" y="88427"/>
                      <a:pt x="81592" y="89708"/>
                    </a:cubicBezTo>
                    <a:lnTo>
                      <a:pt x="46990" y="73048"/>
                    </a:lnTo>
                    <a:cubicBezTo>
                      <a:pt x="36738" y="56388"/>
                      <a:pt x="27767" y="38447"/>
                      <a:pt x="17515" y="21786"/>
                    </a:cubicBezTo>
                    <a:cubicBezTo>
                      <a:pt x="25204" y="14097"/>
                      <a:pt x="16233" y="1282"/>
                      <a:pt x="7262" y="0"/>
                    </a:cubicBezTo>
                    <a:cubicBezTo>
                      <a:pt x="5981" y="0"/>
                      <a:pt x="4699" y="0"/>
                      <a:pt x="3418" y="0"/>
                    </a:cubicBezTo>
                    <a:cubicBezTo>
                      <a:pt x="-4272" y="3845"/>
                      <a:pt x="3418" y="15379"/>
                      <a:pt x="3418"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2" name="Freeform: Shape 379938">
                <a:extLst>
                  <a:ext uri="{FF2B5EF4-FFF2-40B4-BE49-F238E27FC236}">
                    <a16:creationId xmlns:a16="http://schemas.microsoft.com/office/drawing/2014/main" id="{0E487A88-5CD9-4195-8EB2-5905C223EE9F}"/>
                  </a:ext>
                </a:extLst>
              </p:cNvPr>
              <p:cNvSpPr/>
              <p:nvPr/>
            </p:nvSpPr>
            <p:spPr>
              <a:xfrm>
                <a:off x="6517069" y="4246907"/>
                <a:ext cx="44636" cy="384863"/>
              </a:xfrm>
              <a:custGeom>
                <a:avLst/>
                <a:gdLst>
                  <a:gd name="connsiteX0" fmla="*/ 561 w 44636"/>
                  <a:gd name="connsiteY0" fmla="*/ 16660 h 384863"/>
                  <a:gd name="connsiteX1" fmla="*/ 10813 w 44636"/>
                  <a:gd name="connsiteY1" fmla="*/ 24349 h 384863"/>
                  <a:gd name="connsiteX2" fmla="*/ 32600 w 44636"/>
                  <a:gd name="connsiteY2" fmla="*/ 363959 h 384863"/>
                  <a:gd name="connsiteX3" fmla="*/ 31318 w 44636"/>
                  <a:gd name="connsiteY3" fmla="*/ 384464 h 384863"/>
                  <a:gd name="connsiteX4" fmla="*/ 44134 w 44636"/>
                  <a:gd name="connsiteY4" fmla="*/ 367804 h 384863"/>
                  <a:gd name="connsiteX5" fmla="*/ 36444 w 44636"/>
                  <a:gd name="connsiteY5" fmla="*/ 362677 h 384863"/>
                  <a:gd name="connsiteX6" fmla="*/ 15939 w 44636"/>
                  <a:gd name="connsiteY6" fmla="*/ 23068 h 384863"/>
                  <a:gd name="connsiteX7" fmla="*/ 15939 w 44636"/>
                  <a:gd name="connsiteY7" fmla="*/ 0 h 384863"/>
                  <a:gd name="connsiteX8" fmla="*/ 10813 w 44636"/>
                  <a:gd name="connsiteY8" fmla="*/ 0 h 384863"/>
                  <a:gd name="connsiteX9" fmla="*/ 561 w 44636"/>
                  <a:gd name="connsiteY9" fmla="*/ 16660 h 384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636" h="384863">
                    <a:moveTo>
                      <a:pt x="561" y="16660"/>
                    </a:moveTo>
                    <a:cubicBezTo>
                      <a:pt x="1842" y="19223"/>
                      <a:pt x="4405" y="23068"/>
                      <a:pt x="10813" y="24349"/>
                    </a:cubicBezTo>
                    <a:cubicBezTo>
                      <a:pt x="22347" y="143533"/>
                      <a:pt x="28755" y="256309"/>
                      <a:pt x="32600" y="363959"/>
                    </a:cubicBezTo>
                    <a:cubicBezTo>
                      <a:pt x="19784" y="372930"/>
                      <a:pt x="27473" y="383182"/>
                      <a:pt x="31318" y="384464"/>
                    </a:cubicBezTo>
                    <a:cubicBezTo>
                      <a:pt x="39007" y="387027"/>
                      <a:pt x="46697" y="376774"/>
                      <a:pt x="44134" y="367804"/>
                    </a:cubicBezTo>
                    <a:cubicBezTo>
                      <a:pt x="42852" y="363959"/>
                      <a:pt x="39007" y="362677"/>
                      <a:pt x="36444" y="362677"/>
                    </a:cubicBezTo>
                    <a:cubicBezTo>
                      <a:pt x="33881" y="255028"/>
                      <a:pt x="27473" y="142252"/>
                      <a:pt x="15939" y="23068"/>
                    </a:cubicBezTo>
                    <a:cubicBezTo>
                      <a:pt x="27473" y="16660"/>
                      <a:pt x="24910" y="2563"/>
                      <a:pt x="15939" y="0"/>
                    </a:cubicBezTo>
                    <a:cubicBezTo>
                      <a:pt x="14658" y="0"/>
                      <a:pt x="12095" y="0"/>
                      <a:pt x="10813" y="0"/>
                    </a:cubicBezTo>
                    <a:cubicBezTo>
                      <a:pt x="-721" y="3845"/>
                      <a:pt x="-721" y="12816"/>
                      <a:pt x="56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3" name="Freeform: Shape 379939">
                <a:extLst>
                  <a:ext uri="{FF2B5EF4-FFF2-40B4-BE49-F238E27FC236}">
                    <a16:creationId xmlns:a16="http://schemas.microsoft.com/office/drawing/2014/main" id="{44B4A7B1-6705-464B-B5FD-21F9DA916B81}"/>
                  </a:ext>
                </a:extLst>
              </p:cNvPr>
              <p:cNvSpPr/>
              <p:nvPr/>
            </p:nvSpPr>
            <p:spPr>
              <a:xfrm>
                <a:off x="6784052" y="4182829"/>
                <a:ext cx="91298" cy="307493"/>
              </a:xfrm>
              <a:custGeom>
                <a:avLst/>
                <a:gdLst>
                  <a:gd name="connsiteX0" fmla="*/ 140 w 91298"/>
                  <a:gd name="connsiteY0" fmla="*/ 299882 h 307493"/>
                  <a:gd name="connsiteX1" fmla="*/ 15519 w 91298"/>
                  <a:gd name="connsiteY1" fmla="*/ 302445 h 307493"/>
                  <a:gd name="connsiteX2" fmla="*/ 18082 w 91298"/>
                  <a:gd name="connsiteY2" fmla="*/ 288348 h 307493"/>
                  <a:gd name="connsiteX3" fmla="*/ 75752 w 91298"/>
                  <a:gd name="connsiteY3" fmla="*/ 219144 h 307493"/>
                  <a:gd name="connsiteX4" fmla="*/ 83441 w 91298"/>
                  <a:gd name="connsiteY4" fmla="*/ 23068 h 307493"/>
                  <a:gd name="connsiteX5" fmla="*/ 84723 w 91298"/>
                  <a:gd name="connsiteY5" fmla="*/ 0 h 307493"/>
                  <a:gd name="connsiteX6" fmla="*/ 80878 w 91298"/>
                  <a:gd name="connsiteY6" fmla="*/ 0 h 307493"/>
                  <a:gd name="connsiteX7" fmla="*/ 75752 w 91298"/>
                  <a:gd name="connsiteY7" fmla="*/ 23068 h 307493"/>
                  <a:gd name="connsiteX8" fmla="*/ 79597 w 91298"/>
                  <a:gd name="connsiteY8" fmla="*/ 24349 h 307493"/>
                  <a:gd name="connsiteX9" fmla="*/ 71907 w 91298"/>
                  <a:gd name="connsiteY9" fmla="*/ 217863 h 307493"/>
                  <a:gd name="connsiteX10" fmla="*/ 15519 w 91298"/>
                  <a:gd name="connsiteY10" fmla="*/ 285785 h 307493"/>
                  <a:gd name="connsiteX11" fmla="*/ 140 w 91298"/>
                  <a:gd name="connsiteY11" fmla="*/ 299882 h 30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298" h="307493">
                    <a:moveTo>
                      <a:pt x="140" y="299882"/>
                    </a:moveTo>
                    <a:cubicBezTo>
                      <a:pt x="1422" y="308852"/>
                      <a:pt x="10393" y="310134"/>
                      <a:pt x="15519" y="302445"/>
                    </a:cubicBezTo>
                    <a:cubicBezTo>
                      <a:pt x="15519" y="301163"/>
                      <a:pt x="20645" y="294756"/>
                      <a:pt x="18082" y="288348"/>
                    </a:cubicBezTo>
                    <a:lnTo>
                      <a:pt x="75752" y="219144"/>
                    </a:lnTo>
                    <a:cubicBezTo>
                      <a:pt x="80878" y="155067"/>
                      <a:pt x="83441" y="89708"/>
                      <a:pt x="83441" y="23068"/>
                    </a:cubicBezTo>
                    <a:cubicBezTo>
                      <a:pt x="94975" y="16660"/>
                      <a:pt x="92412" y="2563"/>
                      <a:pt x="84723" y="0"/>
                    </a:cubicBezTo>
                    <a:cubicBezTo>
                      <a:pt x="83441" y="0"/>
                      <a:pt x="82159" y="0"/>
                      <a:pt x="80878" y="0"/>
                    </a:cubicBezTo>
                    <a:cubicBezTo>
                      <a:pt x="68063" y="3845"/>
                      <a:pt x="68063" y="19223"/>
                      <a:pt x="75752" y="23068"/>
                    </a:cubicBezTo>
                    <a:cubicBezTo>
                      <a:pt x="77034" y="23068"/>
                      <a:pt x="78315" y="24349"/>
                      <a:pt x="79597" y="24349"/>
                    </a:cubicBezTo>
                    <a:cubicBezTo>
                      <a:pt x="79597" y="89708"/>
                      <a:pt x="77034" y="155067"/>
                      <a:pt x="71907" y="217863"/>
                    </a:cubicBezTo>
                    <a:cubicBezTo>
                      <a:pt x="55247" y="238368"/>
                      <a:pt x="32179" y="265280"/>
                      <a:pt x="15519" y="285785"/>
                    </a:cubicBezTo>
                    <a:cubicBezTo>
                      <a:pt x="6548" y="280659"/>
                      <a:pt x="-1141" y="292192"/>
                      <a:pt x="140" y="29988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4" name="Freeform: Shape 379940">
                <a:extLst>
                  <a:ext uri="{FF2B5EF4-FFF2-40B4-BE49-F238E27FC236}">
                    <a16:creationId xmlns:a16="http://schemas.microsoft.com/office/drawing/2014/main" id="{F121BDFE-79ED-48E8-B956-1E6A803B17DF}"/>
                  </a:ext>
                </a:extLst>
              </p:cNvPr>
              <p:cNvSpPr/>
              <p:nvPr/>
            </p:nvSpPr>
            <p:spPr>
              <a:xfrm>
                <a:off x="7024559" y="4153354"/>
                <a:ext cx="35521" cy="197721"/>
              </a:xfrm>
              <a:custGeom>
                <a:avLst/>
                <a:gdLst>
                  <a:gd name="connsiteX0" fmla="*/ 15943 w 35521"/>
                  <a:gd name="connsiteY0" fmla="*/ 14097 h 197721"/>
                  <a:gd name="connsiteX1" fmla="*/ 22351 w 35521"/>
                  <a:gd name="connsiteY1" fmla="*/ 23068 h 197721"/>
                  <a:gd name="connsiteX2" fmla="*/ 8254 w 35521"/>
                  <a:gd name="connsiteY2" fmla="*/ 174290 h 197721"/>
                  <a:gd name="connsiteX3" fmla="*/ 4409 w 35521"/>
                  <a:gd name="connsiteY3" fmla="*/ 197358 h 197721"/>
                  <a:gd name="connsiteX4" fmla="*/ 18506 w 35521"/>
                  <a:gd name="connsiteY4" fmla="*/ 179416 h 197721"/>
                  <a:gd name="connsiteX5" fmla="*/ 13380 w 35521"/>
                  <a:gd name="connsiteY5" fmla="*/ 174290 h 197721"/>
                  <a:gd name="connsiteX6" fmla="*/ 27477 w 35521"/>
                  <a:gd name="connsiteY6" fmla="*/ 23068 h 197721"/>
                  <a:gd name="connsiteX7" fmla="*/ 30040 w 35521"/>
                  <a:gd name="connsiteY7" fmla="*/ 0 h 197721"/>
                  <a:gd name="connsiteX8" fmla="*/ 26196 w 35521"/>
                  <a:gd name="connsiteY8" fmla="*/ 0 h 197721"/>
                  <a:gd name="connsiteX9" fmla="*/ 15943 w 35521"/>
                  <a:gd name="connsiteY9" fmla="*/ 14097 h 19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21" h="197721">
                    <a:moveTo>
                      <a:pt x="15943" y="14097"/>
                    </a:moveTo>
                    <a:cubicBezTo>
                      <a:pt x="15943" y="17942"/>
                      <a:pt x="17225" y="21786"/>
                      <a:pt x="22351" y="23068"/>
                    </a:cubicBezTo>
                    <a:cubicBezTo>
                      <a:pt x="18506" y="74330"/>
                      <a:pt x="14662" y="124310"/>
                      <a:pt x="8254" y="174290"/>
                    </a:cubicBezTo>
                    <a:cubicBezTo>
                      <a:pt x="-1999" y="179416"/>
                      <a:pt x="-1999" y="194795"/>
                      <a:pt x="4409" y="197358"/>
                    </a:cubicBezTo>
                    <a:cubicBezTo>
                      <a:pt x="12099" y="199921"/>
                      <a:pt x="21069" y="188387"/>
                      <a:pt x="18506" y="179416"/>
                    </a:cubicBezTo>
                    <a:cubicBezTo>
                      <a:pt x="17225" y="175572"/>
                      <a:pt x="14662" y="174290"/>
                      <a:pt x="13380" y="174290"/>
                    </a:cubicBezTo>
                    <a:cubicBezTo>
                      <a:pt x="19788" y="124310"/>
                      <a:pt x="23633" y="74330"/>
                      <a:pt x="27477" y="23068"/>
                    </a:cubicBezTo>
                    <a:cubicBezTo>
                      <a:pt x="37730" y="16660"/>
                      <a:pt x="37730" y="2563"/>
                      <a:pt x="30040" y="0"/>
                    </a:cubicBezTo>
                    <a:cubicBezTo>
                      <a:pt x="28759" y="0"/>
                      <a:pt x="27477" y="0"/>
                      <a:pt x="26196" y="0"/>
                    </a:cubicBezTo>
                    <a:cubicBezTo>
                      <a:pt x="17225" y="0"/>
                      <a:pt x="15943" y="10252"/>
                      <a:pt x="15943"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5" name="Freeform: Shape 379941">
                <a:extLst>
                  <a:ext uri="{FF2B5EF4-FFF2-40B4-BE49-F238E27FC236}">
                    <a16:creationId xmlns:a16="http://schemas.microsoft.com/office/drawing/2014/main" id="{9442E688-0C89-4BF0-BC7F-E493E5EA2D1A}"/>
                  </a:ext>
                </a:extLst>
              </p:cNvPr>
              <p:cNvSpPr/>
              <p:nvPr/>
            </p:nvSpPr>
            <p:spPr>
              <a:xfrm>
                <a:off x="4501053" y="4400617"/>
                <a:ext cx="307876" cy="381056"/>
              </a:xfrm>
              <a:custGeom>
                <a:avLst/>
                <a:gdLst>
                  <a:gd name="connsiteX0" fmla="*/ 3261 w 307876"/>
                  <a:gd name="connsiteY0" fmla="*/ 16735 h 381056"/>
                  <a:gd name="connsiteX1" fmla="*/ 12232 w 307876"/>
                  <a:gd name="connsiteY1" fmla="*/ 24424 h 381056"/>
                  <a:gd name="connsiteX2" fmla="*/ 98096 w 307876"/>
                  <a:gd name="connsiteY2" fmla="*/ 180773 h 381056"/>
                  <a:gd name="connsiteX3" fmla="*/ 135261 w 307876"/>
                  <a:gd name="connsiteY3" fmla="*/ 205123 h 381056"/>
                  <a:gd name="connsiteX4" fmla="*/ 209591 w 307876"/>
                  <a:gd name="connsiteY4" fmla="*/ 315335 h 381056"/>
                  <a:gd name="connsiteX5" fmla="*/ 226251 w 307876"/>
                  <a:gd name="connsiteY5" fmla="*/ 335840 h 381056"/>
                  <a:gd name="connsiteX6" fmla="*/ 212154 w 307876"/>
                  <a:gd name="connsiteY6" fmla="*/ 315335 h 381056"/>
                  <a:gd name="connsiteX7" fmla="*/ 140387 w 307876"/>
                  <a:gd name="connsiteY7" fmla="*/ 208967 h 381056"/>
                  <a:gd name="connsiteX8" fmla="*/ 172426 w 307876"/>
                  <a:gd name="connsiteY8" fmla="*/ 229472 h 381056"/>
                  <a:gd name="connsiteX9" fmla="*/ 226251 w 307876"/>
                  <a:gd name="connsiteY9" fmla="*/ 308928 h 381056"/>
                  <a:gd name="connsiteX10" fmla="*/ 242911 w 307876"/>
                  <a:gd name="connsiteY10" fmla="*/ 329432 h 381056"/>
                  <a:gd name="connsiteX11" fmla="*/ 232658 w 307876"/>
                  <a:gd name="connsiteY11" fmla="*/ 308928 h 381056"/>
                  <a:gd name="connsiteX12" fmla="*/ 230095 w 307876"/>
                  <a:gd name="connsiteY12" fmla="*/ 308928 h 381056"/>
                  <a:gd name="connsiteX13" fmla="*/ 178834 w 307876"/>
                  <a:gd name="connsiteY13" fmla="*/ 233317 h 381056"/>
                  <a:gd name="connsiteX14" fmla="*/ 212154 w 307876"/>
                  <a:gd name="connsiteY14" fmla="*/ 252540 h 381056"/>
                  <a:gd name="connsiteX15" fmla="*/ 289047 w 307876"/>
                  <a:gd name="connsiteY15" fmla="*/ 361471 h 381056"/>
                  <a:gd name="connsiteX16" fmla="*/ 305707 w 307876"/>
                  <a:gd name="connsiteY16" fmla="*/ 380694 h 381056"/>
                  <a:gd name="connsiteX17" fmla="*/ 294173 w 307876"/>
                  <a:gd name="connsiteY17" fmla="*/ 360190 h 381056"/>
                  <a:gd name="connsiteX18" fmla="*/ 291610 w 307876"/>
                  <a:gd name="connsiteY18" fmla="*/ 360190 h 381056"/>
                  <a:gd name="connsiteX19" fmla="*/ 213436 w 307876"/>
                  <a:gd name="connsiteY19" fmla="*/ 248695 h 381056"/>
                  <a:gd name="connsiteX20" fmla="*/ 174989 w 307876"/>
                  <a:gd name="connsiteY20" fmla="*/ 225627 h 381056"/>
                  <a:gd name="connsiteX21" fmla="*/ 142950 w 307876"/>
                  <a:gd name="connsiteY21" fmla="*/ 173084 h 381056"/>
                  <a:gd name="connsiteX22" fmla="*/ 128853 w 307876"/>
                  <a:gd name="connsiteY22" fmla="*/ 151298 h 381056"/>
                  <a:gd name="connsiteX23" fmla="*/ 137824 w 307876"/>
                  <a:gd name="connsiteY23" fmla="*/ 173084 h 381056"/>
                  <a:gd name="connsiteX24" fmla="*/ 140387 w 307876"/>
                  <a:gd name="connsiteY24" fmla="*/ 173084 h 381056"/>
                  <a:gd name="connsiteX25" fmla="*/ 169863 w 307876"/>
                  <a:gd name="connsiteY25" fmla="*/ 220501 h 381056"/>
                  <a:gd name="connsiteX26" fmla="*/ 137824 w 307876"/>
                  <a:gd name="connsiteY26" fmla="*/ 199996 h 381056"/>
                  <a:gd name="connsiteX27" fmla="*/ 87843 w 307876"/>
                  <a:gd name="connsiteY27" fmla="*/ 114133 h 381056"/>
                  <a:gd name="connsiteX28" fmla="*/ 73746 w 307876"/>
                  <a:gd name="connsiteY28" fmla="*/ 92346 h 381056"/>
                  <a:gd name="connsiteX29" fmla="*/ 82717 w 307876"/>
                  <a:gd name="connsiteY29" fmla="*/ 115414 h 381056"/>
                  <a:gd name="connsiteX30" fmla="*/ 85280 w 307876"/>
                  <a:gd name="connsiteY30" fmla="*/ 116696 h 381056"/>
                  <a:gd name="connsiteX31" fmla="*/ 132698 w 307876"/>
                  <a:gd name="connsiteY31" fmla="*/ 197433 h 381056"/>
                  <a:gd name="connsiteX32" fmla="*/ 101941 w 307876"/>
                  <a:gd name="connsiteY32" fmla="*/ 176928 h 381056"/>
                  <a:gd name="connsiteX33" fmla="*/ 17358 w 307876"/>
                  <a:gd name="connsiteY33" fmla="*/ 23143 h 381056"/>
                  <a:gd name="connsiteX34" fmla="*/ 4543 w 307876"/>
                  <a:gd name="connsiteY34" fmla="*/ 75 h 381056"/>
                  <a:gd name="connsiteX35" fmla="*/ 3261 w 307876"/>
                  <a:gd name="connsiteY35" fmla="*/ 16735 h 38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07876" h="381056">
                    <a:moveTo>
                      <a:pt x="3261" y="16735"/>
                    </a:moveTo>
                    <a:cubicBezTo>
                      <a:pt x="7106" y="23143"/>
                      <a:pt x="9669" y="23143"/>
                      <a:pt x="12232" y="24424"/>
                    </a:cubicBezTo>
                    <a:cubicBezTo>
                      <a:pt x="39145" y="78249"/>
                      <a:pt x="67339" y="130793"/>
                      <a:pt x="98096" y="180773"/>
                    </a:cubicBezTo>
                    <a:lnTo>
                      <a:pt x="135261" y="205123"/>
                    </a:lnTo>
                    <a:cubicBezTo>
                      <a:pt x="158329" y="243569"/>
                      <a:pt x="183960" y="279452"/>
                      <a:pt x="209591" y="315335"/>
                    </a:cubicBezTo>
                    <a:cubicBezTo>
                      <a:pt x="207027" y="323025"/>
                      <a:pt x="217280" y="335840"/>
                      <a:pt x="226251" y="335840"/>
                    </a:cubicBezTo>
                    <a:cubicBezTo>
                      <a:pt x="231377" y="330714"/>
                      <a:pt x="222406" y="316617"/>
                      <a:pt x="212154" y="315335"/>
                    </a:cubicBezTo>
                    <a:cubicBezTo>
                      <a:pt x="187804" y="280734"/>
                      <a:pt x="163455" y="244850"/>
                      <a:pt x="140387" y="208967"/>
                    </a:cubicBezTo>
                    <a:lnTo>
                      <a:pt x="172426" y="229472"/>
                    </a:lnTo>
                    <a:cubicBezTo>
                      <a:pt x="190368" y="256384"/>
                      <a:pt x="208309" y="283297"/>
                      <a:pt x="226251" y="308928"/>
                    </a:cubicBezTo>
                    <a:cubicBezTo>
                      <a:pt x="222406" y="319180"/>
                      <a:pt x="237785" y="330714"/>
                      <a:pt x="242911" y="329432"/>
                    </a:cubicBezTo>
                    <a:cubicBezTo>
                      <a:pt x="249319" y="326869"/>
                      <a:pt x="240348" y="311491"/>
                      <a:pt x="232658" y="308928"/>
                    </a:cubicBezTo>
                    <a:cubicBezTo>
                      <a:pt x="231377" y="308928"/>
                      <a:pt x="230095" y="308928"/>
                      <a:pt x="230095" y="308928"/>
                    </a:cubicBezTo>
                    <a:cubicBezTo>
                      <a:pt x="212154" y="284578"/>
                      <a:pt x="195494" y="258947"/>
                      <a:pt x="178834" y="233317"/>
                    </a:cubicBezTo>
                    <a:lnTo>
                      <a:pt x="212154" y="252540"/>
                    </a:lnTo>
                    <a:cubicBezTo>
                      <a:pt x="236503" y="289705"/>
                      <a:pt x="262134" y="325588"/>
                      <a:pt x="289047" y="361471"/>
                    </a:cubicBezTo>
                    <a:cubicBezTo>
                      <a:pt x="285202" y="371723"/>
                      <a:pt x="301862" y="383257"/>
                      <a:pt x="305707" y="380694"/>
                    </a:cubicBezTo>
                    <a:cubicBezTo>
                      <a:pt x="312115" y="378131"/>
                      <a:pt x="303144" y="364034"/>
                      <a:pt x="294173" y="360190"/>
                    </a:cubicBezTo>
                    <a:cubicBezTo>
                      <a:pt x="292892" y="360190"/>
                      <a:pt x="291610" y="360190"/>
                      <a:pt x="291610" y="360190"/>
                    </a:cubicBezTo>
                    <a:cubicBezTo>
                      <a:pt x="264697" y="324306"/>
                      <a:pt x="237785" y="287141"/>
                      <a:pt x="213436" y="248695"/>
                    </a:cubicBezTo>
                    <a:lnTo>
                      <a:pt x="174989" y="225627"/>
                    </a:lnTo>
                    <a:cubicBezTo>
                      <a:pt x="163455" y="208967"/>
                      <a:pt x="153203" y="191026"/>
                      <a:pt x="142950" y="173084"/>
                    </a:cubicBezTo>
                    <a:cubicBezTo>
                      <a:pt x="148076" y="162831"/>
                      <a:pt x="133979" y="150016"/>
                      <a:pt x="128853" y="151298"/>
                    </a:cubicBezTo>
                    <a:cubicBezTo>
                      <a:pt x="122445" y="153861"/>
                      <a:pt x="130135" y="170521"/>
                      <a:pt x="137824" y="173084"/>
                    </a:cubicBezTo>
                    <a:cubicBezTo>
                      <a:pt x="139105" y="173084"/>
                      <a:pt x="139105" y="173084"/>
                      <a:pt x="140387" y="173084"/>
                    </a:cubicBezTo>
                    <a:cubicBezTo>
                      <a:pt x="150639" y="188462"/>
                      <a:pt x="159610" y="205123"/>
                      <a:pt x="169863" y="220501"/>
                    </a:cubicBezTo>
                    <a:lnTo>
                      <a:pt x="137824" y="199996"/>
                    </a:lnTo>
                    <a:cubicBezTo>
                      <a:pt x="119882" y="171802"/>
                      <a:pt x="103222" y="143608"/>
                      <a:pt x="87843" y="114133"/>
                    </a:cubicBezTo>
                    <a:cubicBezTo>
                      <a:pt x="92970" y="103880"/>
                      <a:pt x="78873" y="89783"/>
                      <a:pt x="73746" y="92346"/>
                    </a:cubicBezTo>
                    <a:cubicBezTo>
                      <a:pt x="67339" y="94910"/>
                      <a:pt x="75028" y="111570"/>
                      <a:pt x="82717" y="115414"/>
                    </a:cubicBezTo>
                    <a:cubicBezTo>
                      <a:pt x="83999" y="115414"/>
                      <a:pt x="83999" y="115414"/>
                      <a:pt x="85280" y="116696"/>
                    </a:cubicBezTo>
                    <a:cubicBezTo>
                      <a:pt x="100659" y="143608"/>
                      <a:pt x="116037" y="171802"/>
                      <a:pt x="132698" y="197433"/>
                    </a:cubicBezTo>
                    <a:lnTo>
                      <a:pt x="101941" y="176928"/>
                    </a:lnTo>
                    <a:cubicBezTo>
                      <a:pt x="72465" y="126948"/>
                      <a:pt x="44271" y="75687"/>
                      <a:pt x="17358" y="23143"/>
                    </a:cubicBezTo>
                    <a:cubicBezTo>
                      <a:pt x="21203" y="14172"/>
                      <a:pt x="12232" y="-1206"/>
                      <a:pt x="4543" y="75"/>
                    </a:cubicBezTo>
                    <a:cubicBezTo>
                      <a:pt x="-3147" y="5201"/>
                      <a:pt x="698" y="12891"/>
                      <a:pt x="3261" y="1673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6" name="Freeform: Shape 379942">
                <a:extLst>
                  <a:ext uri="{FF2B5EF4-FFF2-40B4-BE49-F238E27FC236}">
                    <a16:creationId xmlns:a16="http://schemas.microsoft.com/office/drawing/2014/main" id="{2E137A89-7885-44CC-BA67-79E2FDCA4F42}"/>
                  </a:ext>
                </a:extLst>
              </p:cNvPr>
              <p:cNvSpPr/>
              <p:nvPr/>
            </p:nvSpPr>
            <p:spPr>
              <a:xfrm>
                <a:off x="4806109" y="4753028"/>
                <a:ext cx="42722" cy="47813"/>
              </a:xfrm>
              <a:custGeom>
                <a:avLst/>
                <a:gdLst>
                  <a:gd name="connsiteX0" fmla="*/ 5777 w 42722"/>
                  <a:gd name="connsiteY0" fmla="*/ 12905 h 47813"/>
                  <a:gd name="connsiteX1" fmla="*/ 16030 w 42722"/>
                  <a:gd name="connsiteY1" fmla="*/ 19312 h 47813"/>
                  <a:gd name="connsiteX2" fmla="*/ 23719 w 42722"/>
                  <a:gd name="connsiteY2" fmla="*/ 28283 h 47813"/>
                  <a:gd name="connsiteX3" fmla="*/ 40379 w 42722"/>
                  <a:gd name="connsiteY3" fmla="*/ 47506 h 47813"/>
                  <a:gd name="connsiteX4" fmla="*/ 28845 w 42722"/>
                  <a:gd name="connsiteY4" fmla="*/ 28283 h 47813"/>
                  <a:gd name="connsiteX5" fmla="*/ 26282 w 42722"/>
                  <a:gd name="connsiteY5" fmla="*/ 28283 h 47813"/>
                  <a:gd name="connsiteX6" fmla="*/ 18593 w 42722"/>
                  <a:gd name="connsiteY6" fmla="*/ 19312 h 47813"/>
                  <a:gd name="connsiteX7" fmla="*/ 3214 w 42722"/>
                  <a:gd name="connsiteY7" fmla="*/ 89 h 47813"/>
                  <a:gd name="connsiteX8" fmla="*/ 1933 w 42722"/>
                  <a:gd name="connsiteY8" fmla="*/ 89 h 47813"/>
                  <a:gd name="connsiteX9" fmla="*/ 5777 w 42722"/>
                  <a:gd name="connsiteY9" fmla="*/ 12905 h 47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22" h="47813">
                    <a:moveTo>
                      <a:pt x="5777" y="12905"/>
                    </a:moveTo>
                    <a:cubicBezTo>
                      <a:pt x="8340" y="15468"/>
                      <a:pt x="12185" y="19312"/>
                      <a:pt x="16030" y="19312"/>
                    </a:cubicBezTo>
                    <a:cubicBezTo>
                      <a:pt x="18593" y="21876"/>
                      <a:pt x="21156" y="25720"/>
                      <a:pt x="23719" y="28283"/>
                    </a:cubicBezTo>
                    <a:cubicBezTo>
                      <a:pt x="18593" y="35972"/>
                      <a:pt x="33971" y="50069"/>
                      <a:pt x="40379" y="47506"/>
                    </a:cubicBezTo>
                    <a:cubicBezTo>
                      <a:pt x="46787" y="44943"/>
                      <a:pt x="39098" y="30846"/>
                      <a:pt x="28845" y="28283"/>
                    </a:cubicBezTo>
                    <a:cubicBezTo>
                      <a:pt x="27564" y="28283"/>
                      <a:pt x="26282" y="28283"/>
                      <a:pt x="26282" y="28283"/>
                    </a:cubicBezTo>
                    <a:cubicBezTo>
                      <a:pt x="23719" y="25720"/>
                      <a:pt x="21156" y="21876"/>
                      <a:pt x="18593" y="19312"/>
                    </a:cubicBezTo>
                    <a:cubicBezTo>
                      <a:pt x="23719" y="11623"/>
                      <a:pt x="9622" y="-1192"/>
                      <a:pt x="3214" y="89"/>
                    </a:cubicBezTo>
                    <a:cubicBezTo>
                      <a:pt x="3214" y="89"/>
                      <a:pt x="1933" y="89"/>
                      <a:pt x="1933" y="89"/>
                    </a:cubicBezTo>
                    <a:cubicBezTo>
                      <a:pt x="-3194" y="2652"/>
                      <a:pt x="3214" y="10342"/>
                      <a:pt x="5777" y="1290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7" name="Freeform: Shape 379943">
                <a:extLst>
                  <a:ext uri="{FF2B5EF4-FFF2-40B4-BE49-F238E27FC236}">
                    <a16:creationId xmlns:a16="http://schemas.microsoft.com/office/drawing/2014/main" id="{B98FC43E-9C53-4AAA-B399-E5AD0DF7E915}"/>
                  </a:ext>
                </a:extLst>
              </p:cNvPr>
              <p:cNvSpPr/>
              <p:nvPr/>
            </p:nvSpPr>
            <p:spPr>
              <a:xfrm>
                <a:off x="4909067" y="4712108"/>
                <a:ext cx="63380" cy="79544"/>
              </a:xfrm>
              <a:custGeom>
                <a:avLst/>
                <a:gdLst>
                  <a:gd name="connsiteX0" fmla="*/ 4061 w 63380"/>
                  <a:gd name="connsiteY0" fmla="*/ 15378 h 79544"/>
                  <a:gd name="connsiteX1" fmla="*/ 15595 w 63380"/>
                  <a:gd name="connsiteY1" fmla="*/ 21786 h 79544"/>
                  <a:gd name="connsiteX2" fmla="*/ 43789 w 63380"/>
                  <a:gd name="connsiteY2" fmla="*/ 60233 h 79544"/>
                  <a:gd name="connsiteX3" fmla="*/ 59168 w 63380"/>
                  <a:gd name="connsiteY3" fmla="*/ 79456 h 79544"/>
                  <a:gd name="connsiteX4" fmla="*/ 57886 w 63380"/>
                  <a:gd name="connsiteY4" fmla="*/ 62796 h 79544"/>
                  <a:gd name="connsiteX5" fmla="*/ 47634 w 63380"/>
                  <a:gd name="connsiteY5" fmla="*/ 58951 h 79544"/>
                  <a:gd name="connsiteX6" fmla="*/ 19440 w 63380"/>
                  <a:gd name="connsiteY6" fmla="*/ 20505 h 79544"/>
                  <a:gd name="connsiteX7" fmla="*/ 5343 w 63380"/>
                  <a:gd name="connsiteY7" fmla="*/ 0 h 79544"/>
                  <a:gd name="connsiteX8" fmla="*/ 4061 w 63380"/>
                  <a:gd name="connsiteY8" fmla="*/ 0 h 79544"/>
                  <a:gd name="connsiteX9" fmla="*/ 4061 w 63380"/>
                  <a:gd name="connsiteY9" fmla="*/ 15378 h 7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380" h="79544">
                    <a:moveTo>
                      <a:pt x="4061" y="15378"/>
                    </a:moveTo>
                    <a:cubicBezTo>
                      <a:pt x="6624" y="17942"/>
                      <a:pt x="10469" y="21786"/>
                      <a:pt x="15595" y="21786"/>
                    </a:cubicBezTo>
                    <a:cubicBezTo>
                      <a:pt x="24566" y="34602"/>
                      <a:pt x="34818" y="47417"/>
                      <a:pt x="43789" y="60233"/>
                    </a:cubicBezTo>
                    <a:cubicBezTo>
                      <a:pt x="37381" y="67922"/>
                      <a:pt x="51478" y="80737"/>
                      <a:pt x="59168" y="79456"/>
                    </a:cubicBezTo>
                    <a:cubicBezTo>
                      <a:pt x="65576" y="79456"/>
                      <a:pt x="64294" y="70485"/>
                      <a:pt x="57886" y="62796"/>
                    </a:cubicBezTo>
                    <a:cubicBezTo>
                      <a:pt x="52760" y="58951"/>
                      <a:pt x="48915" y="58951"/>
                      <a:pt x="47634" y="58951"/>
                    </a:cubicBezTo>
                    <a:cubicBezTo>
                      <a:pt x="38663" y="47417"/>
                      <a:pt x="28410" y="32039"/>
                      <a:pt x="19440" y="20505"/>
                    </a:cubicBezTo>
                    <a:cubicBezTo>
                      <a:pt x="25847" y="12815"/>
                      <a:pt x="13032" y="0"/>
                      <a:pt x="5343" y="0"/>
                    </a:cubicBezTo>
                    <a:cubicBezTo>
                      <a:pt x="5343" y="0"/>
                      <a:pt x="4061" y="0"/>
                      <a:pt x="4061" y="0"/>
                    </a:cubicBezTo>
                    <a:cubicBezTo>
                      <a:pt x="-3628" y="3844"/>
                      <a:pt x="1498" y="12815"/>
                      <a:pt x="4061"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8" name="Freeform: Shape 379944">
                <a:extLst>
                  <a:ext uri="{FF2B5EF4-FFF2-40B4-BE49-F238E27FC236}">
                    <a16:creationId xmlns:a16="http://schemas.microsoft.com/office/drawing/2014/main" id="{E5453DF4-B85C-421E-B3F2-0BD14F3E0A41}"/>
                  </a:ext>
                </a:extLst>
              </p:cNvPr>
              <p:cNvSpPr/>
              <p:nvPr/>
            </p:nvSpPr>
            <p:spPr>
              <a:xfrm>
                <a:off x="4931821" y="4704418"/>
                <a:ext cx="62857" cy="79545"/>
              </a:xfrm>
              <a:custGeom>
                <a:avLst/>
                <a:gdLst>
                  <a:gd name="connsiteX0" fmla="*/ 4376 w 62857"/>
                  <a:gd name="connsiteY0" fmla="*/ 15379 h 79545"/>
                  <a:gd name="connsiteX1" fmla="*/ 15910 w 62857"/>
                  <a:gd name="connsiteY1" fmla="*/ 21786 h 79545"/>
                  <a:gd name="connsiteX2" fmla="*/ 44104 w 62857"/>
                  <a:gd name="connsiteY2" fmla="*/ 60233 h 79545"/>
                  <a:gd name="connsiteX3" fmla="*/ 58201 w 62857"/>
                  <a:gd name="connsiteY3" fmla="*/ 79456 h 79545"/>
                  <a:gd name="connsiteX4" fmla="*/ 56920 w 62857"/>
                  <a:gd name="connsiteY4" fmla="*/ 62796 h 79545"/>
                  <a:gd name="connsiteX5" fmla="*/ 46667 w 62857"/>
                  <a:gd name="connsiteY5" fmla="*/ 58951 h 79545"/>
                  <a:gd name="connsiteX6" fmla="*/ 18473 w 62857"/>
                  <a:gd name="connsiteY6" fmla="*/ 20505 h 79545"/>
                  <a:gd name="connsiteX7" fmla="*/ 4376 w 62857"/>
                  <a:gd name="connsiteY7" fmla="*/ 0 h 79545"/>
                  <a:gd name="connsiteX8" fmla="*/ 3094 w 62857"/>
                  <a:gd name="connsiteY8" fmla="*/ 0 h 79545"/>
                  <a:gd name="connsiteX9" fmla="*/ 4376 w 62857"/>
                  <a:gd name="connsiteY9" fmla="*/ 15379 h 79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57" h="79545">
                    <a:moveTo>
                      <a:pt x="4376" y="15379"/>
                    </a:moveTo>
                    <a:cubicBezTo>
                      <a:pt x="6939" y="17942"/>
                      <a:pt x="10784" y="21786"/>
                      <a:pt x="15910" y="21786"/>
                    </a:cubicBezTo>
                    <a:cubicBezTo>
                      <a:pt x="24881" y="34602"/>
                      <a:pt x="33852" y="47417"/>
                      <a:pt x="44104" y="60233"/>
                    </a:cubicBezTo>
                    <a:cubicBezTo>
                      <a:pt x="37696" y="67922"/>
                      <a:pt x="50512" y="80738"/>
                      <a:pt x="58201" y="79456"/>
                    </a:cubicBezTo>
                    <a:cubicBezTo>
                      <a:pt x="64608" y="79456"/>
                      <a:pt x="64608" y="70485"/>
                      <a:pt x="56920" y="62796"/>
                    </a:cubicBezTo>
                    <a:cubicBezTo>
                      <a:pt x="51793" y="58951"/>
                      <a:pt x="47949" y="58951"/>
                      <a:pt x="46667" y="58951"/>
                    </a:cubicBezTo>
                    <a:cubicBezTo>
                      <a:pt x="37696" y="46136"/>
                      <a:pt x="27444" y="33320"/>
                      <a:pt x="18473" y="20505"/>
                    </a:cubicBezTo>
                    <a:cubicBezTo>
                      <a:pt x="24881" y="12816"/>
                      <a:pt x="12065" y="0"/>
                      <a:pt x="4376" y="0"/>
                    </a:cubicBezTo>
                    <a:cubicBezTo>
                      <a:pt x="4376" y="0"/>
                      <a:pt x="3094" y="0"/>
                      <a:pt x="3094" y="0"/>
                    </a:cubicBezTo>
                    <a:cubicBezTo>
                      <a:pt x="-3314" y="3845"/>
                      <a:pt x="1813" y="12816"/>
                      <a:pt x="4376"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09" name="Freeform: Shape 379945">
                <a:extLst>
                  <a:ext uri="{FF2B5EF4-FFF2-40B4-BE49-F238E27FC236}">
                    <a16:creationId xmlns:a16="http://schemas.microsoft.com/office/drawing/2014/main" id="{E22D1FBF-25C5-4056-A0DF-BD38A30FF6F7}"/>
                  </a:ext>
                </a:extLst>
              </p:cNvPr>
              <p:cNvSpPr/>
              <p:nvPr/>
            </p:nvSpPr>
            <p:spPr>
              <a:xfrm>
                <a:off x="4954611" y="4694166"/>
                <a:ext cx="41348" cy="51351"/>
              </a:xfrm>
              <a:custGeom>
                <a:avLst/>
                <a:gdLst>
                  <a:gd name="connsiteX0" fmla="*/ 4654 w 41348"/>
                  <a:gd name="connsiteY0" fmla="*/ 16660 h 51351"/>
                  <a:gd name="connsiteX1" fmla="*/ 16188 w 41348"/>
                  <a:gd name="connsiteY1" fmla="*/ 23068 h 51351"/>
                  <a:gd name="connsiteX2" fmla="*/ 22595 w 41348"/>
                  <a:gd name="connsiteY2" fmla="*/ 32039 h 51351"/>
                  <a:gd name="connsiteX3" fmla="*/ 36692 w 41348"/>
                  <a:gd name="connsiteY3" fmla="*/ 51262 h 51351"/>
                  <a:gd name="connsiteX4" fmla="*/ 35410 w 41348"/>
                  <a:gd name="connsiteY4" fmla="*/ 34602 h 51351"/>
                  <a:gd name="connsiteX5" fmla="*/ 25158 w 41348"/>
                  <a:gd name="connsiteY5" fmla="*/ 29475 h 51351"/>
                  <a:gd name="connsiteX6" fmla="*/ 18751 w 41348"/>
                  <a:gd name="connsiteY6" fmla="*/ 20505 h 51351"/>
                  <a:gd name="connsiteX7" fmla="*/ 4654 w 41348"/>
                  <a:gd name="connsiteY7" fmla="*/ 0 h 51351"/>
                  <a:gd name="connsiteX8" fmla="*/ 3372 w 41348"/>
                  <a:gd name="connsiteY8" fmla="*/ 0 h 51351"/>
                  <a:gd name="connsiteX9" fmla="*/ 4654 w 41348"/>
                  <a:gd name="connsiteY9" fmla="*/ 16660 h 5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348" h="51351">
                    <a:moveTo>
                      <a:pt x="4654" y="16660"/>
                    </a:moveTo>
                    <a:cubicBezTo>
                      <a:pt x="7217" y="19223"/>
                      <a:pt x="11061" y="23068"/>
                      <a:pt x="16188" y="23068"/>
                    </a:cubicBezTo>
                    <a:cubicBezTo>
                      <a:pt x="18751" y="25631"/>
                      <a:pt x="20032" y="29475"/>
                      <a:pt x="22595" y="32039"/>
                    </a:cubicBezTo>
                    <a:cubicBezTo>
                      <a:pt x="16188" y="39728"/>
                      <a:pt x="29003" y="52543"/>
                      <a:pt x="36692" y="51262"/>
                    </a:cubicBezTo>
                    <a:cubicBezTo>
                      <a:pt x="43100" y="51262"/>
                      <a:pt x="43100" y="41009"/>
                      <a:pt x="35410" y="34602"/>
                    </a:cubicBezTo>
                    <a:cubicBezTo>
                      <a:pt x="30285" y="30757"/>
                      <a:pt x="26440" y="30757"/>
                      <a:pt x="25158" y="29475"/>
                    </a:cubicBezTo>
                    <a:cubicBezTo>
                      <a:pt x="22595" y="26913"/>
                      <a:pt x="21313" y="23068"/>
                      <a:pt x="18751" y="20505"/>
                    </a:cubicBezTo>
                    <a:cubicBezTo>
                      <a:pt x="25158" y="12816"/>
                      <a:pt x="12343" y="0"/>
                      <a:pt x="4654" y="0"/>
                    </a:cubicBezTo>
                    <a:cubicBezTo>
                      <a:pt x="4654" y="0"/>
                      <a:pt x="3372" y="0"/>
                      <a:pt x="3372" y="0"/>
                    </a:cubicBezTo>
                    <a:cubicBezTo>
                      <a:pt x="-4317" y="6408"/>
                      <a:pt x="3372" y="16660"/>
                      <a:pt x="4654"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0" name="Freeform: Shape 379946">
                <a:extLst>
                  <a:ext uri="{FF2B5EF4-FFF2-40B4-BE49-F238E27FC236}">
                    <a16:creationId xmlns:a16="http://schemas.microsoft.com/office/drawing/2014/main" id="{0595F15C-AB49-49EB-B30D-6B8634D78F89}"/>
                  </a:ext>
                </a:extLst>
              </p:cNvPr>
              <p:cNvSpPr/>
              <p:nvPr/>
            </p:nvSpPr>
            <p:spPr>
              <a:xfrm>
                <a:off x="5278050" y="4591643"/>
                <a:ext cx="58608" cy="82141"/>
              </a:xfrm>
              <a:custGeom>
                <a:avLst/>
                <a:gdLst>
                  <a:gd name="connsiteX0" fmla="*/ 2883 w 58608"/>
                  <a:gd name="connsiteY0" fmla="*/ 15378 h 82141"/>
                  <a:gd name="connsiteX1" fmla="*/ 15699 w 58608"/>
                  <a:gd name="connsiteY1" fmla="*/ 21786 h 82141"/>
                  <a:gd name="connsiteX2" fmla="*/ 38767 w 58608"/>
                  <a:gd name="connsiteY2" fmla="*/ 61514 h 82141"/>
                  <a:gd name="connsiteX3" fmla="*/ 49019 w 58608"/>
                  <a:gd name="connsiteY3" fmla="*/ 82019 h 82141"/>
                  <a:gd name="connsiteX4" fmla="*/ 55427 w 58608"/>
                  <a:gd name="connsiteY4" fmla="*/ 66640 h 82141"/>
                  <a:gd name="connsiteX5" fmla="*/ 42612 w 58608"/>
                  <a:gd name="connsiteY5" fmla="*/ 60233 h 82141"/>
                  <a:gd name="connsiteX6" fmla="*/ 19544 w 58608"/>
                  <a:gd name="connsiteY6" fmla="*/ 20505 h 82141"/>
                  <a:gd name="connsiteX7" fmla="*/ 10573 w 58608"/>
                  <a:gd name="connsiteY7" fmla="*/ 0 h 82141"/>
                  <a:gd name="connsiteX8" fmla="*/ 6728 w 58608"/>
                  <a:gd name="connsiteY8" fmla="*/ 0 h 82141"/>
                  <a:gd name="connsiteX9" fmla="*/ 2883 w 58608"/>
                  <a:gd name="connsiteY9" fmla="*/ 15378 h 8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08" h="82141">
                    <a:moveTo>
                      <a:pt x="2883" y="15378"/>
                    </a:moveTo>
                    <a:cubicBezTo>
                      <a:pt x="5447" y="17942"/>
                      <a:pt x="9291" y="21786"/>
                      <a:pt x="15699" y="21786"/>
                    </a:cubicBezTo>
                    <a:cubicBezTo>
                      <a:pt x="23388" y="35883"/>
                      <a:pt x="31078" y="48699"/>
                      <a:pt x="38767" y="61514"/>
                    </a:cubicBezTo>
                    <a:cubicBezTo>
                      <a:pt x="29796" y="67922"/>
                      <a:pt x="38767" y="80737"/>
                      <a:pt x="49019" y="82019"/>
                    </a:cubicBezTo>
                    <a:cubicBezTo>
                      <a:pt x="57990" y="83300"/>
                      <a:pt x="61835" y="74330"/>
                      <a:pt x="55427" y="66640"/>
                    </a:cubicBezTo>
                    <a:cubicBezTo>
                      <a:pt x="52864" y="64077"/>
                      <a:pt x="49019" y="60233"/>
                      <a:pt x="42612" y="60233"/>
                    </a:cubicBezTo>
                    <a:cubicBezTo>
                      <a:pt x="34922" y="47417"/>
                      <a:pt x="27233" y="33320"/>
                      <a:pt x="19544" y="20505"/>
                    </a:cubicBezTo>
                    <a:cubicBezTo>
                      <a:pt x="28515" y="14097"/>
                      <a:pt x="19544" y="1282"/>
                      <a:pt x="10573" y="0"/>
                    </a:cubicBezTo>
                    <a:cubicBezTo>
                      <a:pt x="9291" y="0"/>
                      <a:pt x="8010" y="0"/>
                      <a:pt x="6728" y="0"/>
                    </a:cubicBezTo>
                    <a:cubicBezTo>
                      <a:pt x="-3524" y="3844"/>
                      <a:pt x="320" y="12816"/>
                      <a:pt x="2883"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1" name="Freeform: Shape 379947">
                <a:extLst>
                  <a:ext uri="{FF2B5EF4-FFF2-40B4-BE49-F238E27FC236}">
                    <a16:creationId xmlns:a16="http://schemas.microsoft.com/office/drawing/2014/main" id="{3A2093B3-DCCE-494E-BAF3-52BC9C5D4466}"/>
                  </a:ext>
                </a:extLst>
              </p:cNvPr>
              <p:cNvSpPr/>
              <p:nvPr/>
            </p:nvSpPr>
            <p:spPr>
              <a:xfrm>
                <a:off x="4627183" y="4472175"/>
                <a:ext cx="326782" cy="398844"/>
              </a:xfrm>
              <a:custGeom>
                <a:avLst/>
                <a:gdLst>
                  <a:gd name="connsiteX0" fmla="*/ 41170 w 326782"/>
                  <a:gd name="connsiteY0" fmla="*/ 119468 h 398844"/>
                  <a:gd name="connsiteX1" fmla="*/ 51422 w 326782"/>
                  <a:gd name="connsiteY1" fmla="*/ 125876 h 398844"/>
                  <a:gd name="connsiteX2" fmla="*/ 65519 w 326782"/>
                  <a:gd name="connsiteY2" fmla="*/ 147662 h 398844"/>
                  <a:gd name="connsiteX3" fmla="*/ 105247 w 326782"/>
                  <a:gd name="connsiteY3" fmla="*/ 170730 h 398844"/>
                  <a:gd name="connsiteX4" fmla="*/ 138568 w 326782"/>
                  <a:gd name="connsiteY4" fmla="*/ 220710 h 398844"/>
                  <a:gd name="connsiteX5" fmla="*/ 152665 w 326782"/>
                  <a:gd name="connsiteY5" fmla="*/ 241215 h 398844"/>
                  <a:gd name="connsiteX6" fmla="*/ 150101 w 326782"/>
                  <a:gd name="connsiteY6" fmla="*/ 224555 h 398844"/>
                  <a:gd name="connsiteX7" fmla="*/ 141131 w 326782"/>
                  <a:gd name="connsiteY7" fmla="*/ 219428 h 398844"/>
                  <a:gd name="connsiteX8" fmla="*/ 110374 w 326782"/>
                  <a:gd name="connsiteY8" fmla="*/ 174574 h 398844"/>
                  <a:gd name="connsiteX9" fmla="*/ 144975 w 326782"/>
                  <a:gd name="connsiteY9" fmla="*/ 193798 h 398844"/>
                  <a:gd name="connsiteX10" fmla="*/ 202645 w 326782"/>
                  <a:gd name="connsiteY10" fmla="*/ 277098 h 398844"/>
                  <a:gd name="connsiteX11" fmla="*/ 164199 w 326782"/>
                  <a:gd name="connsiteY11" fmla="*/ 251467 h 398844"/>
                  <a:gd name="connsiteX12" fmla="*/ 157791 w 326782"/>
                  <a:gd name="connsiteY12" fmla="*/ 257875 h 398844"/>
                  <a:gd name="connsiteX13" fmla="*/ 175733 w 326782"/>
                  <a:gd name="connsiteY13" fmla="*/ 270690 h 398844"/>
                  <a:gd name="connsiteX14" fmla="*/ 177014 w 326782"/>
                  <a:gd name="connsiteY14" fmla="*/ 266846 h 398844"/>
                  <a:gd name="connsiteX15" fmla="*/ 206490 w 326782"/>
                  <a:gd name="connsiteY15" fmla="*/ 283506 h 398844"/>
                  <a:gd name="connsiteX16" fmla="*/ 220587 w 326782"/>
                  <a:gd name="connsiteY16" fmla="*/ 302729 h 398844"/>
                  <a:gd name="connsiteX17" fmla="*/ 235966 w 326782"/>
                  <a:gd name="connsiteY17" fmla="*/ 321952 h 398844"/>
                  <a:gd name="connsiteX18" fmla="*/ 233402 w 326782"/>
                  <a:gd name="connsiteY18" fmla="*/ 306574 h 398844"/>
                  <a:gd name="connsiteX19" fmla="*/ 224432 w 326782"/>
                  <a:gd name="connsiteY19" fmla="*/ 301447 h 398844"/>
                  <a:gd name="connsiteX20" fmla="*/ 212898 w 326782"/>
                  <a:gd name="connsiteY20" fmla="*/ 287350 h 398844"/>
                  <a:gd name="connsiteX21" fmla="*/ 248781 w 326782"/>
                  <a:gd name="connsiteY21" fmla="*/ 306574 h 398844"/>
                  <a:gd name="connsiteX22" fmla="*/ 307732 w 326782"/>
                  <a:gd name="connsiteY22" fmla="*/ 380903 h 398844"/>
                  <a:gd name="connsiteX23" fmla="*/ 325674 w 326782"/>
                  <a:gd name="connsiteY23" fmla="*/ 398845 h 398844"/>
                  <a:gd name="connsiteX24" fmla="*/ 310295 w 326782"/>
                  <a:gd name="connsiteY24" fmla="*/ 379622 h 398844"/>
                  <a:gd name="connsiteX25" fmla="*/ 250063 w 326782"/>
                  <a:gd name="connsiteY25" fmla="*/ 304011 h 398844"/>
                  <a:gd name="connsiteX26" fmla="*/ 207771 w 326782"/>
                  <a:gd name="connsiteY26" fmla="*/ 282224 h 398844"/>
                  <a:gd name="connsiteX27" fmla="*/ 144975 w 326782"/>
                  <a:gd name="connsiteY27" fmla="*/ 192516 h 398844"/>
                  <a:gd name="connsiteX28" fmla="*/ 105247 w 326782"/>
                  <a:gd name="connsiteY28" fmla="*/ 169448 h 398844"/>
                  <a:gd name="connsiteX29" fmla="*/ 16820 w 326782"/>
                  <a:gd name="connsiteY29" fmla="*/ 22071 h 398844"/>
                  <a:gd name="connsiteX30" fmla="*/ 2723 w 326782"/>
                  <a:gd name="connsiteY30" fmla="*/ 284 h 398844"/>
                  <a:gd name="connsiteX31" fmla="*/ 12976 w 326782"/>
                  <a:gd name="connsiteY31" fmla="*/ 23352 h 398844"/>
                  <a:gd name="connsiteX32" fmla="*/ 98840 w 326782"/>
                  <a:gd name="connsiteY32" fmla="*/ 166885 h 398844"/>
                  <a:gd name="connsiteX33" fmla="*/ 65519 w 326782"/>
                  <a:gd name="connsiteY33" fmla="*/ 146380 h 398844"/>
                  <a:gd name="connsiteX34" fmla="*/ 52704 w 326782"/>
                  <a:gd name="connsiteY34" fmla="*/ 127157 h 398844"/>
                  <a:gd name="connsiteX35" fmla="*/ 39888 w 326782"/>
                  <a:gd name="connsiteY35" fmla="*/ 105371 h 398844"/>
                  <a:gd name="connsiteX36" fmla="*/ 41170 w 326782"/>
                  <a:gd name="connsiteY36" fmla="*/ 119468 h 398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6782" h="398844">
                    <a:moveTo>
                      <a:pt x="41170" y="119468"/>
                    </a:moveTo>
                    <a:cubicBezTo>
                      <a:pt x="45014" y="124594"/>
                      <a:pt x="48859" y="125876"/>
                      <a:pt x="51422" y="125876"/>
                    </a:cubicBezTo>
                    <a:cubicBezTo>
                      <a:pt x="56548" y="133565"/>
                      <a:pt x="60393" y="139973"/>
                      <a:pt x="65519" y="147662"/>
                    </a:cubicBezTo>
                    <a:lnTo>
                      <a:pt x="105247" y="170730"/>
                    </a:lnTo>
                    <a:cubicBezTo>
                      <a:pt x="116781" y="187390"/>
                      <a:pt x="127034" y="204050"/>
                      <a:pt x="138568" y="220710"/>
                    </a:cubicBezTo>
                    <a:cubicBezTo>
                      <a:pt x="134723" y="229681"/>
                      <a:pt x="147538" y="241215"/>
                      <a:pt x="152665" y="241215"/>
                    </a:cubicBezTo>
                    <a:cubicBezTo>
                      <a:pt x="159072" y="241215"/>
                      <a:pt x="157791" y="230962"/>
                      <a:pt x="150101" y="224555"/>
                    </a:cubicBezTo>
                    <a:cubicBezTo>
                      <a:pt x="146257" y="220710"/>
                      <a:pt x="142413" y="220710"/>
                      <a:pt x="141131" y="219428"/>
                    </a:cubicBezTo>
                    <a:cubicBezTo>
                      <a:pt x="130879" y="204050"/>
                      <a:pt x="120626" y="189953"/>
                      <a:pt x="110374" y="174574"/>
                    </a:cubicBezTo>
                    <a:lnTo>
                      <a:pt x="144975" y="193798"/>
                    </a:lnTo>
                    <a:cubicBezTo>
                      <a:pt x="164199" y="221992"/>
                      <a:pt x="183422" y="248904"/>
                      <a:pt x="202645" y="277098"/>
                    </a:cubicBezTo>
                    <a:cubicBezTo>
                      <a:pt x="188548" y="269409"/>
                      <a:pt x="179577" y="257875"/>
                      <a:pt x="164199" y="251467"/>
                    </a:cubicBezTo>
                    <a:cubicBezTo>
                      <a:pt x="160354" y="250186"/>
                      <a:pt x="155228" y="251467"/>
                      <a:pt x="157791" y="257875"/>
                    </a:cubicBezTo>
                    <a:cubicBezTo>
                      <a:pt x="160354" y="266846"/>
                      <a:pt x="171888" y="274535"/>
                      <a:pt x="175733" y="270690"/>
                    </a:cubicBezTo>
                    <a:cubicBezTo>
                      <a:pt x="177014" y="269409"/>
                      <a:pt x="177014" y="268127"/>
                      <a:pt x="177014" y="266846"/>
                    </a:cubicBezTo>
                    <a:lnTo>
                      <a:pt x="206490" y="283506"/>
                    </a:lnTo>
                    <a:cubicBezTo>
                      <a:pt x="211616" y="289914"/>
                      <a:pt x="215461" y="296321"/>
                      <a:pt x="220587" y="302729"/>
                    </a:cubicBezTo>
                    <a:cubicBezTo>
                      <a:pt x="216742" y="311700"/>
                      <a:pt x="230839" y="323234"/>
                      <a:pt x="235966" y="321952"/>
                    </a:cubicBezTo>
                    <a:cubicBezTo>
                      <a:pt x="242373" y="321952"/>
                      <a:pt x="239810" y="312981"/>
                      <a:pt x="233402" y="306574"/>
                    </a:cubicBezTo>
                    <a:cubicBezTo>
                      <a:pt x="229558" y="302729"/>
                      <a:pt x="225713" y="302729"/>
                      <a:pt x="224432" y="301447"/>
                    </a:cubicBezTo>
                    <a:cubicBezTo>
                      <a:pt x="220587" y="296321"/>
                      <a:pt x="216742" y="291195"/>
                      <a:pt x="212898" y="287350"/>
                    </a:cubicBezTo>
                    <a:lnTo>
                      <a:pt x="248781" y="306574"/>
                    </a:lnTo>
                    <a:cubicBezTo>
                      <a:pt x="268004" y="332205"/>
                      <a:pt x="287227" y="356554"/>
                      <a:pt x="307732" y="380903"/>
                    </a:cubicBezTo>
                    <a:cubicBezTo>
                      <a:pt x="302606" y="396282"/>
                      <a:pt x="325674" y="398845"/>
                      <a:pt x="325674" y="398845"/>
                    </a:cubicBezTo>
                    <a:cubicBezTo>
                      <a:pt x="329519" y="396282"/>
                      <a:pt x="323111" y="382185"/>
                      <a:pt x="310295" y="379622"/>
                    </a:cubicBezTo>
                    <a:cubicBezTo>
                      <a:pt x="289790" y="355272"/>
                      <a:pt x="269286" y="329641"/>
                      <a:pt x="250063" y="304011"/>
                    </a:cubicBezTo>
                    <a:lnTo>
                      <a:pt x="207771" y="282224"/>
                    </a:lnTo>
                    <a:cubicBezTo>
                      <a:pt x="185985" y="252749"/>
                      <a:pt x="165480" y="223273"/>
                      <a:pt x="144975" y="192516"/>
                    </a:cubicBezTo>
                    <a:lnTo>
                      <a:pt x="105247" y="169448"/>
                    </a:lnTo>
                    <a:cubicBezTo>
                      <a:pt x="74490" y="122031"/>
                      <a:pt x="45014" y="72051"/>
                      <a:pt x="16820" y="22071"/>
                    </a:cubicBezTo>
                    <a:cubicBezTo>
                      <a:pt x="21946" y="13100"/>
                      <a:pt x="11694" y="-2279"/>
                      <a:pt x="2723" y="284"/>
                    </a:cubicBezTo>
                    <a:cubicBezTo>
                      <a:pt x="-4966" y="7973"/>
                      <a:pt x="5286" y="22071"/>
                      <a:pt x="12976" y="23352"/>
                    </a:cubicBezTo>
                    <a:cubicBezTo>
                      <a:pt x="39888" y="72051"/>
                      <a:pt x="68082" y="120750"/>
                      <a:pt x="98840" y="166885"/>
                    </a:cubicBezTo>
                    <a:lnTo>
                      <a:pt x="65519" y="146380"/>
                    </a:lnTo>
                    <a:cubicBezTo>
                      <a:pt x="61675" y="139973"/>
                      <a:pt x="57830" y="133565"/>
                      <a:pt x="52704" y="127157"/>
                    </a:cubicBezTo>
                    <a:cubicBezTo>
                      <a:pt x="57830" y="116905"/>
                      <a:pt x="45014" y="105371"/>
                      <a:pt x="39888" y="105371"/>
                    </a:cubicBezTo>
                    <a:cubicBezTo>
                      <a:pt x="34762" y="104089"/>
                      <a:pt x="36044" y="113060"/>
                      <a:pt x="41170" y="11946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2" name="Freeform: Shape 379948">
                <a:extLst>
                  <a:ext uri="{FF2B5EF4-FFF2-40B4-BE49-F238E27FC236}">
                    <a16:creationId xmlns:a16="http://schemas.microsoft.com/office/drawing/2014/main" id="{356172F1-2D0B-4F1D-8CBE-EFEDFFCCCCDC}"/>
                  </a:ext>
                </a:extLst>
              </p:cNvPr>
              <p:cNvSpPr/>
              <p:nvPr/>
            </p:nvSpPr>
            <p:spPr>
              <a:xfrm>
                <a:off x="5265702" y="4631370"/>
                <a:ext cx="58141" cy="82141"/>
              </a:xfrm>
              <a:custGeom>
                <a:avLst/>
                <a:gdLst>
                  <a:gd name="connsiteX0" fmla="*/ 2416 w 58141"/>
                  <a:gd name="connsiteY0" fmla="*/ 15379 h 82141"/>
                  <a:gd name="connsiteX1" fmla="*/ 15231 w 58141"/>
                  <a:gd name="connsiteY1" fmla="*/ 21786 h 82141"/>
                  <a:gd name="connsiteX2" fmla="*/ 38299 w 58141"/>
                  <a:gd name="connsiteY2" fmla="*/ 61514 h 82141"/>
                  <a:gd name="connsiteX3" fmla="*/ 48552 w 58141"/>
                  <a:gd name="connsiteY3" fmla="*/ 82019 h 82141"/>
                  <a:gd name="connsiteX4" fmla="*/ 54959 w 58141"/>
                  <a:gd name="connsiteY4" fmla="*/ 66640 h 82141"/>
                  <a:gd name="connsiteX5" fmla="*/ 43426 w 58141"/>
                  <a:gd name="connsiteY5" fmla="*/ 60233 h 82141"/>
                  <a:gd name="connsiteX6" fmla="*/ 20358 w 58141"/>
                  <a:gd name="connsiteY6" fmla="*/ 20505 h 82141"/>
                  <a:gd name="connsiteX7" fmla="*/ 10105 w 58141"/>
                  <a:gd name="connsiteY7" fmla="*/ 0 h 82141"/>
                  <a:gd name="connsiteX8" fmla="*/ 6260 w 58141"/>
                  <a:gd name="connsiteY8" fmla="*/ 0 h 82141"/>
                  <a:gd name="connsiteX9" fmla="*/ 2416 w 58141"/>
                  <a:gd name="connsiteY9" fmla="*/ 15379 h 82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141" h="82141">
                    <a:moveTo>
                      <a:pt x="2416" y="15379"/>
                    </a:moveTo>
                    <a:cubicBezTo>
                      <a:pt x="4979" y="17942"/>
                      <a:pt x="8824" y="21786"/>
                      <a:pt x="15231" y="21786"/>
                    </a:cubicBezTo>
                    <a:cubicBezTo>
                      <a:pt x="22921" y="34602"/>
                      <a:pt x="30610" y="48699"/>
                      <a:pt x="38299" y="61514"/>
                    </a:cubicBezTo>
                    <a:cubicBezTo>
                      <a:pt x="30610" y="67922"/>
                      <a:pt x="39581" y="80738"/>
                      <a:pt x="48552" y="82019"/>
                    </a:cubicBezTo>
                    <a:cubicBezTo>
                      <a:pt x="57523" y="83300"/>
                      <a:pt x="61367" y="74330"/>
                      <a:pt x="54959" y="66640"/>
                    </a:cubicBezTo>
                    <a:cubicBezTo>
                      <a:pt x="52396" y="64077"/>
                      <a:pt x="48552" y="60233"/>
                      <a:pt x="43426" y="60233"/>
                    </a:cubicBezTo>
                    <a:cubicBezTo>
                      <a:pt x="35736" y="47417"/>
                      <a:pt x="28047" y="33320"/>
                      <a:pt x="20358" y="20505"/>
                    </a:cubicBezTo>
                    <a:cubicBezTo>
                      <a:pt x="28047" y="14097"/>
                      <a:pt x="19076" y="1282"/>
                      <a:pt x="10105" y="0"/>
                    </a:cubicBezTo>
                    <a:cubicBezTo>
                      <a:pt x="8824" y="0"/>
                      <a:pt x="7542" y="0"/>
                      <a:pt x="6260" y="0"/>
                    </a:cubicBezTo>
                    <a:cubicBezTo>
                      <a:pt x="-3992" y="3845"/>
                      <a:pt x="1134" y="12816"/>
                      <a:pt x="2416"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3" name="Freeform: Shape 379949">
                <a:extLst>
                  <a:ext uri="{FF2B5EF4-FFF2-40B4-BE49-F238E27FC236}">
                    <a16:creationId xmlns:a16="http://schemas.microsoft.com/office/drawing/2014/main" id="{BB102F26-654D-48A1-909F-A19AF38A638C}"/>
                  </a:ext>
                </a:extLst>
              </p:cNvPr>
              <p:cNvSpPr/>
              <p:nvPr/>
            </p:nvSpPr>
            <p:spPr>
              <a:xfrm>
                <a:off x="6785119" y="4264848"/>
                <a:ext cx="25344" cy="191283"/>
              </a:xfrm>
              <a:custGeom>
                <a:avLst/>
                <a:gdLst>
                  <a:gd name="connsiteX0" fmla="*/ 5481 w 25344"/>
                  <a:gd name="connsiteY0" fmla="*/ 15379 h 191283"/>
                  <a:gd name="connsiteX1" fmla="*/ 13170 w 25344"/>
                  <a:gd name="connsiteY1" fmla="*/ 23068 h 191283"/>
                  <a:gd name="connsiteX2" fmla="*/ 8044 w 25344"/>
                  <a:gd name="connsiteY2" fmla="*/ 169164 h 191283"/>
                  <a:gd name="connsiteX3" fmla="*/ 5481 w 25344"/>
                  <a:gd name="connsiteY3" fmla="*/ 190950 h 191283"/>
                  <a:gd name="connsiteX4" fmla="*/ 18297 w 25344"/>
                  <a:gd name="connsiteY4" fmla="*/ 173009 h 191283"/>
                  <a:gd name="connsiteX5" fmla="*/ 11889 w 25344"/>
                  <a:gd name="connsiteY5" fmla="*/ 169164 h 191283"/>
                  <a:gd name="connsiteX6" fmla="*/ 17015 w 25344"/>
                  <a:gd name="connsiteY6" fmla="*/ 23068 h 191283"/>
                  <a:gd name="connsiteX7" fmla="*/ 18297 w 25344"/>
                  <a:gd name="connsiteY7" fmla="*/ 0 h 191283"/>
                  <a:gd name="connsiteX8" fmla="*/ 14452 w 25344"/>
                  <a:gd name="connsiteY8" fmla="*/ 0 h 191283"/>
                  <a:gd name="connsiteX9" fmla="*/ 5481 w 25344"/>
                  <a:gd name="connsiteY9" fmla="*/ 15379 h 19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44" h="191283">
                    <a:moveTo>
                      <a:pt x="5481" y="15379"/>
                    </a:moveTo>
                    <a:cubicBezTo>
                      <a:pt x="5481" y="17942"/>
                      <a:pt x="8044" y="23068"/>
                      <a:pt x="13170" y="23068"/>
                    </a:cubicBezTo>
                    <a:cubicBezTo>
                      <a:pt x="13170" y="73048"/>
                      <a:pt x="10607" y="121747"/>
                      <a:pt x="8044" y="169164"/>
                    </a:cubicBezTo>
                    <a:cubicBezTo>
                      <a:pt x="-2208" y="175572"/>
                      <a:pt x="-2208" y="188387"/>
                      <a:pt x="5481" y="190950"/>
                    </a:cubicBezTo>
                    <a:cubicBezTo>
                      <a:pt x="14452" y="193513"/>
                      <a:pt x="23423" y="180698"/>
                      <a:pt x="18297" y="173009"/>
                    </a:cubicBezTo>
                    <a:cubicBezTo>
                      <a:pt x="17015" y="169164"/>
                      <a:pt x="13170" y="169164"/>
                      <a:pt x="11889" y="169164"/>
                    </a:cubicBezTo>
                    <a:cubicBezTo>
                      <a:pt x="14452" y="121747"/>
                      <a:pt x="15733" y="71767"/>
                      <a:pt x="17015" y="23068"/>
                    </a:cubicBezTo>
                    <a:cubicBezTo>
                      <a:pt x="28549" y="16660"/>
                      <a:pt x="27267" y="2563"/>
                      <a:pt x="18297" y="0"/>
                    </a:cubicBezTo>
                    <a:cubicBezTo>
                      <a:pt x="17015" y="0"/>
                      <a:pt x="15733" y="0"/>
                      <a:pt x="14452" y="0"/>
                    </a:cubicBezTo>
                    <a:cubicBezTo>
                      <a:pt x="6763" y="2563"/>
                      <a:pt x="5481" y="11534"/>
                      <a:pt x="5481"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4" name="Freeform: Shape 379950">
                <a:extLst>
                  <a:ext uri="{FF2B5EF4-FFF2-40B4-BE49-F238E27FC236}">
                    <a16:creationId xmlns:a16="http://schemas.microsoft.com/office/drawing/2014/main" id="{FBA5D6F8-C401-433F-A749-D323C3F68818}"/>
                  </a:ext>
                </a:extLst>
              </p:cNvPr>
              <p:cNvSpPr/>
              <p:nvPr/>
            </p:nvSpPr>
            <p:spPr>
              <a:xfrm>
                <a:off x="4909654" y="4789000"/>
                <a:ext cx="64856" cy="75611"/>
              </a:xfrm>
              <a:custGeom>
                <a:avLst/>
                <a:gdLst>
                  <a:gd name="connsiteX0" fmla="*/ 4756 w 64856"/>
                  <a:gd name="connsiteY0" fmla="*/ 12816 h 75611"/>
                  <a:gd name="connsiteX1" fmla="*/ 16290 w 64856"/>
                  <a:gd name="connsiteY1" fmla="*/ 19223 h 75611"/>
                  <a:gd name="connsiteX2" fmla="*/ 45766 w 64856"/>
                  <a:gd name="connsiteY2" fmla="*/ 56388 h 75611"/>
                  <a:gd name="connsiteX3" fmla="*/ 61145 w 64856"/>
                  <a:gd name="connsiteY3" fmla="*/ 75611 h 75611"/>
                  <a:gd name="connsiteX4" fmla="*/ 58582 w 64856"/>
                  <a:gd name="connsiteY4" fmla="*/ 60233 h 75611"/>
                  <a:gd name="connsiteX5" fmla="*/ 48329 w 64856"/>
                  <a:gd name="connsiteY5" fmla="*/ 56388 h 75611"/>
                  <a:gd name="connsiteX6" fmla="*/ 18854 w 64856"/>
                  <a:gd name="connsiteY6" fmla="*/ 19223 h 75611"/>
                  <a:gd name="connsiteX7" fmla="*/ 3475 w 64856"/>
                  <a:gd name="connsiteY7" fmla="*/ 0 h 75611"/>
                  <a:gd name="connsiteX8" fmla="*/ 2193 w 64856"/>
                  <a:gd name="connsiteY8" fmla="*/ 0 h 75611"/>
                  <a:gd name="connsiteX9" fmla="*/ 4756 w 64856"/>
                  <a:gd name="connsiteY9" fmla="*/ 12816 h 7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56" h="75611">
                    <a:moveTo>
                      <a:pt x="4756" y="12816"/>
                    </a:moveTo>
                    <a:cubicBezTo>
                      <a:pt x="7320" y="15379"/>
                      <a:pt x="11165" y="17942"/>
                      <a:pt x="16290" y="19223"/>
                    </a:cubicBezTo>
                    <a:cubicBezTo>
                      <a:pt x="26543" y="32039"/>
                      <a:pt x="35514" y="43573"/>
                      <a:pt x="45766" y="56388"/>
                    </a:cubicBezTo>
                    <a:cubicBezTo>
                      <a:pt x="40640" y="62796"/>
                      <a:pt x="54737" y="75611"/>
                      <a:pt x="61145" y="75611"/>
                    </a:cubicBezTo>
                    <a:cubicBezTo>
                      <a:pt x="67553" y="75611"/>
                      <a:pt x="64989" y="66640"/>
                      <a:pt x="58582" y="60233"/>
                    </a:cubicBezTo>
                    <a:cubicBezTo>
                      <a:pt x="53455" y="56388"/>
                      <a:pt x="50892" y="56388"/>
                      <a:pt x="48329" y="56388"/>
                    </a:cubicBezTo>
                    <a:cubicBezTo>
                      <a:pt x="38077" y="43573"/>
                      <a:pt x="27824" y="32039"/>
                      <a:pt x="18854" y="19223"/>
                    </a:cubicBezTo>
                    <a:cubicBezTo>
                      <a:pt x="23980" y="12816"/>
                      <a:pt x="11165" y="0"/>
                      <a:pt x="3475" y="0"/>
                    </a:cubicBezTo>
                    <a:cubicBezTo>
                      <a:pt x="3475" y="0"/>
                      <a:pt x="2193" y="0"/>
                      <a:pt x="2193" y="0"/>
                    </a:cubicBezTo>
                    <a:cubicBezTo>
                      <a:pt x="-2933" y="1282"/>
                      <a:pt x="2193" y="10252"/>
                      <a:pt x="4756"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5" name="Freeform: Shape 379951">
                <a:extLst>
                  <a:ext uri="{FF2B5EF4-FFF2-40B4-BE49-F238E27FC236}">
                    <a16:creationId xmlns:a16="http://schemas.microsoft.com/office/drawing/2014/main" id="{DDB6C14A-F465-4194-906C-23CB3D2BFA69}"/>
                  </a:ext>
                </a:extLst>
              </p:cNvPr>
              <p:cNvSpPr/>
              <p:nvPr/>
            </p:nvSpPr>
            <p:spPr>
              <a:xfrm>
                <a:off x="4765159" y="4574982"/>
                <a:ext cx="185397" cy="224379"/>
              </a:xfrm>
              <a:custGeom>
                <a:avLst/>
                <a:gdLst>
                  <a:gd name="connsiteX0" fmla="*/ 3155 w 185397"/>
                  <a:gd name="connsiteY0" fmla="*/ 16660 h 224379"/>
                  <a:gd name="connsiteX1" fmla="*/ 13407 w 185397"/>
                  <a:gd name="connsiteY1" fmla="*/ 23068 h 224379"/>
                  <a:gd name="connsiteX2" fmla="*/ 46727 w 185397"/>
                  <a:gd name="connsiteY2" fmla="*/ 75611 h 224379"/>
                  <a:gd name="connsiteX3" fmla="*/ 89019 w 185397"/>
                  <a:gd name="connsiteY3" fmla="*/ 97397 h 224379"/>
                  <a:gd name="connsiteX4" fmla="*/ 165911 w 185397"/>
                  <a:gd name="connsiteY4" fmla="*/ 205047 h 224379"/>
                  <a:gd name="connsiteX5" fmla="*/ 182572 w 185397"/>
                  <a:gd name="connsiteY5" fmla="*/ 224270 h 224379"/>
                  <a:gd name="connsiteX6" fmla="*/ 173601 w 185397"/>
                  <a:gd name="connsiteY6" fmla="*/ 205047 h 224379"/>
                  <a:gd name="connsiteX7" fmla="*/ 168475 w 185397"/>
                  <a:gd name="connsiteY7" fmla="*/ 203766 h 224379"/>
                  <a:gd name="connsiteX8" fmla="*/ 90300 w 185397"/>
                  <a:gd name="connsiteY8" fmla="*/ 94835 h 224379"/>
                  <a:gd name="connsiteX9" fmla="*/ 49290 w 185397"/>
                  <a:gd name="connsiteY9" fmla="*/ 73048 h 224379"/>
                  <a:gd name="connsiteX10" fmla="*/ 17252 w 185397"/>
                  <a:gd name="connsiteY10" fmla="*/ 21786 h 224379"/>
                  <a:gd name="connsiteX11" fmla="*/ 4436 w 185397"/>
                  <a:gd name="connsiteY11" fmla="*/ 0 h 224379"/>
                  <a:gd name="connsiteX12" fmla="*/ 3155 w 185397"/>
                  <a:gd name="connsiteY12" fmla="*/ 0 h 224379"/>
                  <a:gd name="connsiteX13" fmla="*/ 3155 w 185397"/>
                  <a:gd name="connsiteY13" fmla="*/ 16660 h 22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397" h="224379">
                    <a:moveTo>
                      <a:pt x="3155" y="16660"/>
                    </a:moveTo>
                    <a:cubicBezTo>
                      <a:pt x="5718" y="19223"/>
                      <a:pt x="8281" y="23068"/>
                      <a:pt x="13407" y="23068"/>
                    </a:cubicBezTo>
                    <a:cubicBezTo>
                      <a:pt x="24941" y="41010"/>
                      <a:pt x="35193" y="58951"/>
                      <a:pt x="46727" y="75611"/>
                    </a:cubicBezTo>
                    <a:lnTo>
                      <a:pt x="89019" y="97397"/>
                    </a:lnTo>
                    <a:cubicBezTo>
                      <a:pt x="112087" y="129436"/>
                      <a:pt x="142844" y="173009"/>
                      <a:pt x="165911" y="205047"/>
                    </a:cubicBezTo>
                    <a:cubicBezTo>
                      <a:pt x="159504" y="215300"/>
                      <a:pt x="177445" y="225552"/>
                      <a:pt x="182572" y="224270"/>
                    </a:cubicBezTo>
                    <a:cubicBezTo>
                      <a:pt x="188979" y="221708"/>
                      <a:pt x="183853" y="210174"/>
                      <a:pt x="173601" y="205047"/>
                    </a:cubicBezTo>
                    <a:cubicBezTo>
                      <a:pt x="171038" y="203766"/>
                      <a:pt x="169756" y="203766"/>
                      <a:pt x="168475" y="203766"/>
                    </a:cubicBezTo>
                    <a:lnTo>
                      <a:pt x="90300" y="94835"/>
                    </a:lnTo>
                    <a:lnTo>
                      <a:pt x="49290" y="73048"/>
                    </a:lnTo>
                    <a:cubicBezTo>
                      <a:pt x="39038" y="56388"/>
                      <a:pt x="27504" y="39728"/>
                      <a:pt x="17252" y="21786"/>
                    </a:cubicBezTo>
                    <a:cubicBezTo>
                      <a:pt x="23659" y="14097"/>
                      <a:pt x="12125" y="0"/>
                      <a:pt x="4436" y="0"/>
                    </a:cubicBezTo>
                    <a:cubicBezTo>
                      <a:pt x="4436" y="0"/>
                      <a:pt x="3155" y="0"/>
                      <a:pt x="3155" y="0"/>
                    </a:cubicBezTo>
                    <a:cubicBezTo>
                      <a:pt x="-3253" y="3845"/>
                      <a:pt x="1873" y="12816"/>
                      <a:pt x="3155"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6" name="Freeform: Shape 379952">
                <a:extLst>
                  <a:ext uri="{FF2B5EF4-FFF2-40B4-BE49-F238E27FC236}">
                    <a16:creationId xmlns:a16="http://schemas.microsoft.com/office/drawing/2014/main" id="{C23B1B6A-82F1-410F-84F7-4F2F960EF786}"/>
                  </a:ext>
                </a:extLst>
              </p:cNvPr>
              <p:cNvSpPr/>
              <p:nvPr/>
            </p:nvSpPr>
            <p:spPr>
              <a:xfrm>
                <a:off x="5092329" y="4723552"/>
                <a:ext cx="82406" cy="105176"/>
              </a:xfrm>
              <a:custGeom>
                <a:avLst/>
                <a:gdLst>
                  <a:gd name="connsiteX0" fmla="*/ 4061 w 82406"/>
                  <a:gd name="connsiteY0" fmla="*/ 12905 h 105176"/>
                  <a:gd name="connsiteX1" fmla="*/ 15595 w 82406"/>
                  <a:gd name="connsiteY1" fmla="*/ 19313 h 105176"/>
                  <a:gd name="connsiteX2" fmla="*/ 63012 w 82406"/>
                  <a:gd name="connsiteY2" fmla="*/ 85953 h 105176"/>
                  <a:gd name="connsiteX3" fmla="*/ 77110 w 82406"/>
                  <a:gd name="connsiteY3" fmla="*/ 105176 h 105176"/>
                  <a:gd name="connsiteX4" fmla="*/ 77110 w 82406"/>
                  <a:gd name="connsiteY4" fmla="*/ 89798 h 105176"/>
                  <a:gd name="connsiteX5" fmla="*/ 66857 w 82406"/>
                  <a:gd name="connsiteY5" fmla="*/ 85953 h 105176"/>
                  <a:gd name="connsiteX6" fmla="*/ 19440 w 82406"/>
                  <a:gd name="connsiteY6" fmla="*/ 19313 h 105176"/>
                  <a:gd name="connsiteX7" fmla="*/ 5343 w 82406"/>
                  <a:gd name="connsiteY7" fmla="*/ 89 h 105176"/>
                  <a:gd name="connsiteX8" fmla="*/ 4061 w 82406"/>
                  <a:gd name="connsiteY8" fmla="*/ 89 h 105176"/>
                  <a:gd name="connsiteX9" fmla="*/ 4061 w 82406"/>
                  <a:gd name="connsiteY9" fmla="*/ 12905 h 105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406" h="105176">
                    <a:moveTo>
                      <a:pt x="4061" y="12905"/>
                    </a:moveTo>
                    <a:cubicBezTo>
                      <a:pt x="6624" y="15468"/>
                      <a:pt x="10469" y="18031"/>
                      <a:pt x="15595" y="19313"/>
                    </a:cubicBezTo>
                    <a:cubicBezTo>
                      <a:pt x="30974" y="42380"/>
                      <a:pt x="46352" y="64167"/>
                      <a:pt x="63012" y="85953"/>
                    </a:cubicBezTo>
                    <a:cubicBezTo>
                      <a:pt x="55323" y="93642"/>
                      <a:pt x="69420" y="105176"/>
                      <a:pt x="77110" y="105176"/>
                    </a:cubicBezTo>
                    <a:cubicBezTo>
                      <a:pt x="84799" y="105176"/>
                      <a:pt x="83517" y="96205"/>
                      <a:pt x="77110" y="89798"/>
                    </a:cubicBezTo>
                    <a:cubicBezTo>
                      <a:pt x="71983" y="85953"/>
                      <a:pt x="68139" y="85953"/>
                      <a:pt x="66857" y="85953"/>
                    </a:cubicBezTo>
                    <a:cubicBezTo>
                      <a:pt x="50197" y="64167"/>
                      <a:pt x="34818" y="42380"/>
                      <a:pt x="19440" y="19313"/>
                    </a:cubicBezTo>
                    <a:cubicBezTo>
                      <a:pt x="27129" y="11623"/>
                      <a:pt x="14313" y="-1192"/>
                      <a:pt x="5343" y="89"/>
                    </a:cubicBezTo>
                    <a:cubicBezTo>
                      <a:pt x="5343" y="89"/>
                      <a:pt x="4061" y="89"/>
                      <a:pt x="4061" y="89"/>
                    </a:cubicBezTo>
                    <a:cubicBezTo>
                      <a:pt x="-3628" y="2652"/>
                      <a:pt x="1498" y="10342"/>
                      <a:pt x="4061" y="1290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7" name="Freeform: Shape 379953">
                <a:extLst>
                  <a:ext uri="{FF2B5EF4-FFF2-40B4-BE49-F238E27FC236}">
                    <a16:creationId xmlns:a16="http://schemas.microsoft.com/office/drawing/2014/main" id="{37643F94-1369-43F0-800E-2A3C0DB40A3D}"/>
                  </a:ext>
                </a:extLst>
              </p:cNvPr>
              <p:cNvSpPr/>
              <p:nvPr/>
            </p:nvSpPr>
            <p:spPr>
              <a:xfrm>
                <a:off x="5124796" y="4674819"/>
                <a:ext cx="68470" cy="42226"/>
              </a:xfrm>
              <a:custGeom>
                <a:avLst/>
                <a:gdLst>
                  <a:gd name="connsiteX0" fmla="*/ 3633 w 68470"/>
                  <a:gd name="connsiteY0" fmla="*/ 15502 h 42226"/>
                  <a:gd name="connsiteX1" fmla="*/ 20293 w 68470"/>
                  <a:gd name="connsiteY1" fmla="*/ 18065 h 42226"/>
                  <a:gd name="connsiteX2" fmla="*/ 45924 w 68470"/>
                  <a:gd name="connsiteY2" fmla="*/ 29599 h 42226"/>
                  <a:gd name="connsiteX3" fmla="*/ 67710 w 68470"/>
                  <a:gd name="connsiteY3" fmla="*/ 38570 h 42226"/>
                  <a:gd name="connsiteX4" fmla="*/ 51050 w 68470"/>
                  <a:gd name="connsiteY4" fmla="*/ 21910 h 42226"/>
                  <a:gd name="connsiteX5" fmla="*/ 47206 w 68470"/>
                  <a:gd name="connsiteY5" fmla="*/ 25754 h 42226"/>
                  <a:gd name="connsiteX6" fmla="*/ 22856 w 68470"/>
                  <a:gd name="connsiteY6" fmla="*/ 14221 h 42226"/>
                  <a:gd name="connsiteX7" fmla="*/ 4914 w 68470"/>
                  <a:gd name="connsiteY7" fmla="*/ 123 h 42226"/>
                  <a:gd name="connsiteX8" fmla="*/ 3633 w 68470"/>
                  <a:gd name="connsiteY8" fmla="*/ 15502 h 42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470" h="42226">
                    <a:moveTo>
                      <a:pt x="3633" y="15502"/>
                    </a:moveTo>
                    <a:cubicBezTo>
                      <a:pt x="7477" y="20628"/>
                      <a:pt x="16448" y="24473"/>
                      <a:pt x="20293" y="18065"/>
                    </a:cubicBezTo>
                    <a:cubicBezTo>
                      <a:pt x="27982" y="21910"/>
                      <a:pt x="38235" y="25754"/>
                      <a:pt x="45924" y="29599"/>
                    </a:cubicBezTo>
                    <a:cubicBezTo>
                      <a:pt x="48487" y="41133"/>
                      <a:pt x="63865" y="46259"/>
                      <a:pt x="67710" y="38570"/>
                    </a:cubicBezTo>
                    <a:cubicBezTo>
                      <a:pt x="71555" y="30881"/>
                      <a:pt x="60021" y="18065"/>
                      <a:pt x="51050" y="21910"/>
                    </a:cubicBezTo>
                    <a:cubicBezTo>
                      <a:pt x="48487" y="23191"/>
                      <a:pt x="47206" y="25754"/>
                      <a:pt x="47206" y="25754"/>
                    </a:cubicBezTo>
                    <a:cubicBezTo>
                      <a:pt x="39516" y="21910"/>
                      <a:pt x="30545" y="18065"/>
                      <a:pt x="22856" y="14221"/>
                    </a:cubicBezTo>
                    <a:cubicBezTo>
                      <a:pt x="22856" y="7813"/>
                      <a:pt x="15167" y="-1158"/>
                      <a:pt x="4914" y="123"/>
                    </a:cubicBezTo>
                    <a:cubicBezTo>
                      <a:pt x="-5338" y="5250"/>
                      <a:pt x="3633" y="15502"/>
                      <a:pt x="3633" y="1550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8" name="Freeform: Shape 379954">
                <a:extLst>
                  <a:ext uri="{FF2B5EF4-FFF2-40B4-BE49-F238E27FC236}">
                    <a16:creationId xmlns:a16="http://schemas.microsoft.com/office/drawing/2014/main" id="{F5CEB2D4-EAA2-4D1B-B6A7-0C7116C28EDA}"/>
                  </a:ext>
                </a:extLst>
              </p:cNvPr>
              <p:cNvSpPr/>
              <p:nvPr/>
            </p:nvSpPr>
            <p:spPr>
              <a:xfrm>
                <a:off x="5200196" y="4578369"/>
                <a:ext cx="48699" cy="121918"/>
              </a:xfrm>
              <a:custGeom>
                <a:avLst/>
                <a:gdLst>
                  <a:gd name="connsiteX0" fmla="*/ 29476 w 48699"/>
                  <a:gd name="connsiteY0" fmla="*/ 115797 h 121918"/>
                  <a:gd name="connsiteX1" fmla="*/ 48699 w 48699"/>
                  <a:gd name="connsiteY1" fmla="*/ 114516 h 121918"/>
                  <a:gd name="connsiteX2" fmla="*/ 33321 w 48699"/>
                  <a:gd name="connsiteY2" fmla="*/ 100419 h 121918"/>
                  <a:gd name="connsiteX3" fmla="*/ 3845 w 48699"/>
                  <a:gd name="connsiteY3" fmla="*/ 51720 h 121918"/>
                  <a:gd name="connsiteX4" fmla="*/ 12816 w 48699"/>
                  <a:gd name="connsiteY4" fmla="*/ 22244 h 121918"/>
                  <a:gd name="connsiteX5" fmla="*/ 23068 w 48699"/>
                  <a:gd name="connsiteY5" fmla="*/ 8147 h 121918"/>
                  <a:gd name="connsiteX6" fmla="*/ 7689 w 48699"/>
                  <a:gd name="connsiteY6" fmla="*/ 458 h 121918"/>
                  <a:gd name="connsiteX7" fmla="*/ 8971 w 48699"/>
                  <a:gd name="connsiteY7" fmla="*/ 19681 h 121918"/>
                  <a:gd name="connsiteX8" fmla="*/ 0 w 48699"/>
                  <a:gd name="connsiteY8" fmla="*/ 51720 h 121918"/>
                  <a:gd name="connsiteX9" fmla="*/ 30757 w 48699"/>
                  <a:gd name="connsiteY9" fmla="*/ 102982 h 121918"/>
                  <a:gd name="connsiteX10" fmla="*/ 29476 w 48699"/>
                  <a:gd name="connsiteY10" fmla="*/ 115797 h 12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699" h="121918">
                    <a:moveTo>
                      <a:pt x="29476" y="115797"/>
                    </a:moveTo>
                    <a:cubicBezTo>
                      <a:pt x="37165" y="124768"/>
                      <a:pt x="48699" y="123487"/>
                      <a:pt x="48699" y="114516"/>
                    </a:cubicBezTo>
                    <a:cubicBezTo>
                      <a:pt x="48699" y="109390"/>
                      <a:pt x="43573" y="100419"/>
                      <a:pt x="33321" y="100419"/>
                    </a:cubicBezTo>
                    <a:cubicBezTo>
                      <a:pt x="23068" y="83759"/>
                      <a:pt x="14097" y="68380"/>
                      <a:pt x="3845" y="51720"/>
                    </a:cubicBezTo>
                    <a:cubicBezTo>
                      <a:pt x="6408" y="42749"/>
                      <a:pt x="10253" y="31215"/>
                      <a:pt x="12816" y="22244"/>
                    </a:cubicBezTo>
                    <a:cubicBezTo>
                      <a:pt x="23068" y="24808"/>
                      <a:pt x="26913" y="17118"/>
                      <a:pt x="23068" y="8147"/>
                    </a:cubicBezTo>
                    <a:cubicBezTo>
                      <a:pt x="23068" y="6866"/>
                      <a:pt x="17942" y="-2105"/>
                      <a:pt x="7689" y="458"/>
                    </a:cubicBezTo>
                    <a:cubicBezTo>
                      <a:pt x="-1281" y="4303"/>
                      <a:pt x="2563" y="14555"/>
                      <a:pt x="8971" y="19681"/>
                    </a:cubicBezTo>
                    <a:lnTo>
                      <a:pt x="0" y="51720"/>
                    </a:lnTo>
                    <a:cubicBezTo>
                      <a:pt x="8971" y="67099"/>
                      <a:pt x="21787" y="87603"/>
                      <a:pt x="30757" y="102982"/>
                    </a:cubicBezTo>
                    <a:cubicBezTo>
                      <a:pt x="21787" y="108108"/>
                      <a:pt x="28194" y="115797"/>
                      <a:pt x="29476" y="1157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19" name="Freeform: Shape 379955">
                <a:extLst>
                  <a:ext uri="{FF2B5EF4-FFF2-40B4-BE49-F238E27FC236}">
                    <a16:creationId xmlns:a16="http://schemas.microsoft.com/office/drawing/2014/main" id="{D46F2E33-C8EC-4CB0-9178-B95BA58E83C3}"/>
                  </a:ext>
                </a:extLst>
              </p:cNvPr>
              <p:cNvSpPr/>
              <p:nvPr/>
            </p:nvSpPr>
            <p:spPr>
              <a:xfrm>
                <a:off x="5254169" y="4668535"/>
                <a:ext cx="40910" cy="51384"/>
              </a:xfrm>
              <a:custGeom>
                <a:avLst/>
                <a:gdLst>
                  <a:gd name="connsiteX0" fmla="*/ 3696 w 40910"/>
                  <a:gd name="connsiteY0" fmla="*/ 16660 h 51384"/>
                  <a:gd name="connsiteX1" fmla="*/ 15230 w 40910"/>
                  <a:gd name="connsiteY1" fmla="*/ 23068 h 51384"/>
                  <a:gd name="connsiteX2" fmla="*/ 21638 w 40910"/>
                  <a:gd name="connsiteY2" fmla="*/ 32039 h 51384"/>
                  <a:gd name="connsiteX3" fmla="*/ 31891 w 40910"/>
                  <a:gd name="connsiteY3" fmla="*/ 51262 h 51384"/>
                  <a:gd name="connsiteX4" fmla="*/ 38298 w 40910"/>
                  <a:gd name="connsiteY4" fmla="*/ 35883 h 51384"/>
                  <a:gd name="connsiteX5" fmla="*/ 26764 w 40910"/>
                  <a:gd name="connsiteY5" fmla="*/ 29475 h 51384"/>
                  <a:gd name="connsiteX6" fmla="*/ 20357 w 40910"/>
                  <a:gd name="connsiteY6" fmla="*/ 20505 h 51384"/>
                  <a:gd name="connsiteX7" fmla="*/ 10104 w 40910"/>
                  <a:gd name="connsiteY7" fmla="*/ 0 h 51384"/>
                  <a:gd name="connsiteX8" fmla="*/ 6260 w 40910"/>
                  <a:gd name="connsiteY8" fmla="*/ 0 h 51384"/>
                  <a:gd name="connsiteX9" fmla="*/ 3696 w 40910"/>
                  <a:gd name="connsiteY9" fmla="*/ 16660 h 51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910" h="51384">
                    <a:moveTo>
                      <a:pt x="3696" y="16660"/>
                    </a:moveTo>
                    <a:cubicBezTo>
                      <a:pt x="6260" y="19223"/>
                      <a:pt x="10104" y="23068"/>
                      <a:pt x="15230" y="23068"/>
                    </a:cubicBezTo>
                    <a:cubicBezTo>
                      <a:pt x="17793" y="26912"/>
                      <a:pt x="19075" y="29475"/>
                      <a:pt x="21638" y="32039"/>
                    </a:cubicBezTo>
                    <a:cubicBezTo>
                      <a:pt x="13949" y="38446"/>
                      <a:pt x="22920" y="51262"/>
                      <a:pt x="31891" y="51262"/>
                    </a:cubicBezTo>
                    <a:cubicBezTo>
                      <a:pt x="40861" y="52543"/>
                      <a:pt x="43425" y="43573"/>
                      <a:pt x="38298" y="35883"/>
                    </a:cubicBezTo>
                    <a:cubicBezTo>
                      <a:pt x="35735" y="33320"/>
                      <a:pt x="31891" y="29475"/>
                      <a:pt x="26764" y="29475"/>
                    </a:cubicBezTo>
                    <a:cubicBezTo>
                      <a:pt x="24201" y="26912"/>
                      <a:pt x="22920" y="23068"/>
                      <a:pt x="20357" y="20505"/>
                    </a:cubicBezTo>
                    <a:cubicBezTo>
                      <a:pt x="28046" y="14097"/>
                      <a:pt x="19075" y="1282"/>
                      <a:pt x="10104" y="0"/>
                    </a:cubicBezTo>
                    <a:cubicBezTo>
                      <a:pt x="8823" y="0"/>
                      <a:pt x="7541" y="0"/>
                      <a:pt x="6260" y="0"/>
                    </a:cubicBezTo>
                    <a:cubicBezTo>
                      <a:pt x="-5274" y="6408"/>
                      <a:pt x="2415" y="16660"/>
                      <a:pt x="3696"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0" name="Freeform: Shape 379956">
                <a:extLst>
                  <a:ext uri="{FF2B5EF4-FFF2-40B4-BE49-F238E27FC236}">
                    <a16:creationId xmlns:a16="http://schemas.microsoft.com/office/drawing/2014/main" id="{FA4379B2-1FB9-45D9-8A89-FAC37EF8218F}"/>
                  </a:ext>
                </a:extLst>
              </p:cNvPr>
              <p:cNvSpPr/>
              <p:nvPr/>
            </p:nvSpPr>
            <p:spPr>
              <a:xfrm>
                <a:off x="6489435" y="4025199"/>
                <a:ext cx="70485" cy="354026"/>
              </a:xfrm>
              <a:custGeom>
                <a:avLst/>
                <a:gdLst>
                  <a:gd name="connsiteX0" fmla="*/ 3844 w 70485"/>
                  <a:gd name="connsiteY0" fmla="*/ 347299 h 354026"/>
                  <a:gd name="connsiteX1" fmla="*/ 24349 w 70485"/>
                  <a:gd name="connsiteY1" fmla="*/ 347299 h 354026"/>
                  <a:gd name="connsiteX2" fmla="*/ 15378 w 70485"/>
                  <a:gd name="connsiteY2" fmla="*/ 330639 h 354026"/>
                  <a:gd name="connsiteX3" fmla="*/ 6408 w 70485"/>
                  <a:gd name="connsiteY3" fmla="*/ 240930 h 354026"/>
                  <a:gd name="connsiteX4" fmla="*/ 70485 w 70485"/>
                  <a:gd name="connsiteY4" fmla="*/ 156348 h 354026"/>
                  <a:gd name="connsiteX5" fmla="*/ 56388 w 70485"/>
                  <a:gd name="connsiteY5" fmla="*/ 24349 h 354026"/>
                  <a:gd name="connsiteX6" fmla="*/ 55107 w 70485"/>
                  <a:gd name="connsiteY6" fmla="*/ 0 h 354026"/>
                  <a:gd name="connsiteX7" fmla="*/ 49980 w 70485"/>
                  <a:gd name="connsiteY7" fmla="*/ 0 h 354026"/>
                  <a:gd name="connsiteX8" fmla="*/ 44854 w 70485"/>
                  <a:gd name="connsiteY8" fmla="*/ 23068 h 354026"/>
                  <a:gd name="connsiteX9" fmla="*/ 49980 w 70485"/>
                  <a:gd name="connsiteY9" fmla="*/ 24349 h 354026"/>
                  <a:gd name="connsiteX10" fmla="*/ 64078 w 70485"/>
                  <a:gd name="connsiteY10" fmla="*/ 153785 h 354026"/>
                  <a:gd name="connsiteX11" fmla="*/ 0 w 70485"/>
                  <a:gd name="connsiteY11" fmla="*/ 238368 h 354026"/>
                  <a:gd name="connsiteX12" fmla="*/ 8971 w 70485"/>
                  <a:gd name="connsiteY12" fmla="*/ 330639 h 354026"/>
                  <a:gd name="connsiteX13" fmla="*/ 3844 w 70485"/>
                  <a:gd name="connsiteY13" fmla="*/ 347299 h 354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485" h="354026">
                    <a:moveTo>
                      <a:pt x="3844" y="347299"/>
                    </a:moveTo>
                    <a:cubicBezTo>
                      <a:pt x="6408" y="356270"/>
                      <a:pt x="19223" y="356270"/>
                      <a:pt x="24349" y="347299"/>
                    </a:cubicBezTo>
                    <a:cubicBezTo>
                      <a:pt x="26912" y="342173"/>
                      <a:pt x="26912" y="331920"/>
                      <a:pt x="15378" y="330639"/>
                    </a:cubicBezTo>
                    <a:cubicBezTo>
                      <a:pt x="12815" y="301163"/>
                      <a:pt x="10253" y="271688"/>
                      <a:pt x="6408" y="240930"/>
                    </a:cubicBezTo>
                    <a:lnTo>
                      <a:pt x="70485" y="156348"/>
                    </a:lnTo>
                    <a:cubicBezTo>
                      <a:pt x="66641" y="112776"/>
                      <a:pt x="61514" y="69203"/>
                      <a:pt x="56388" y="24349"/>
                    </a:cubicBezTo>
                    <a:cubicBezTo>
                      <a:pt x="69204" y="17942"/>
                      <a:pt x="65359" y="2563"/>
                      <a:pt x="55107" y="0"/>
                    </a:cubicBezTo>
                    <a:cubicBezTo>
                      <a:pt x="53825" y="0"/>
                      <a:pt x="51262" y="0"/>
                      <a:pt x="49980" y="0"/>
                    </a:cubicBezTo>
                    <a:cubicBezTo>
                      <a:pt x="35883" y="3845"/>
                      <a:pt x="37165" y="19223"/>
                      <a:pt x="44854" y="23068"/>
                    </a:cubicBezTo>
                    <a:cubicBezTo>
                      <a:pt x="47417" y="24349"/>
                      <a:pt x="48699" y="24349"/>
                      <a:pt x="49980" y="24349"/>
                    </a:cubicBezTo>
                    <a:cubicBezTo>
                      <a:pt x="55107" y="67922"/>
                      <a:pt x="60233" y="111494"/>
                      <a:pt x="64078" y="153785"/>
                    </a:cubicBezTo>
                    <a:lnTo>
                      <a:pt x="0" y="238368"/>
                    </a:lnTo>
                    <a:cubicBezTo>
                      <a:pt x="3844" y="269125"/>
                      <a:pt x="6408" y="299882"/>
                      <a:pt x="8971" y="330639"/>
                    </a:cubicBezTo>
                    <a:cubicBezTo>
                      <a:pt x="1282" y="338328"/>
                      <a:pt x="3844" y="347299"/>
                      <a:pt x="3844" y="34729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1" name="Freeform: Shape 379957">
                <a:extLst>
                  <a:ext uri="{FF2B5EF4-FFF2-40B4-BE49-F238E27FC236}">
                    <a16:creationId xmlns:a16="http://schemas.microsoft.com/office/drawing/2014/main" id="{FF0B7303-A8D9-4756-B7B7-7620A74E01BE}"/>
                  </a:ext>
                </a:extLst>
              </p:cNvPr>
              <p:cNvSpPr/>
              <p:nvPr/>
            </p:nvSpPr>
            <p:spPr>
              <a:xfrm>
                <a:off x="4952549" y="4807822"/>
                <a:ext cx="20812" cy="19882"/>
              </a:xfrm>
              <a:custGeom>
                <a:avLst/>
                <a:gdLst>
                  <a:gd name="connsiteX0" fmla="*/ 4152 w 20812"/>
                  <a:gd name="connsiteY0" fmla="*/ 13217 h 19882"/>
                  <a:gd name="connsiteX1" fmla="*/ 20812 w 20812"/>
                  <a:gd name="connsiteY1" fmla="*/ 15780 h 19882"/>
                  <a:gd name="connsiteX2" fmla="*/ 2870 w 20812"/>
                  <a:gd name="connsiteY2" fmla="*/ 401 h 19882"/>
                  <a:gd name="connsiteX3" fmla="*/ 4152 w 20812"/>
                  <a:gd name="connsiteY3" fmla="*/ 13217 h 19882"/>
                </a:gdLst>
                <a:ahLst/>
                <a:cxnLst>
                  <a:cxn ang="0">
                    <a:pos x="connsiteX0" y="connsiteY0"/>
                  </a:cxn>
                  <a:cxn ang="0">
                    <a:pos x="connsiteX1" y="connsiteY1"/>
                  </a:cxn>
                  <a:cxn ang="0">
                    <a:pos x="connsiteX2" y="connsiteY2"/>
                  </a:cxn>
                  <a:cxn ang="0">
                    <a:pos x="connsiteX3" y="connsiteY3"/>
                  </a:cxn>
                </a:cxnLst>
                <a:rect l="l" t="t" r="r" b="b"/>
                <a:pathLst>
                  <a:path w="20812" h="19882">
                    <a:moveTo>
                      <a:pt x="4152" y="13217"/>
                    </a:moveTo>
                    <a:cubicBezTo>
                      <a:pt x="10560" y="20906"/>
                      <a:pt x="19531" y="22188"/>
                      <a:pt x="20812" y="15780"/>
                    </a:cubicBezTo>
                    <a:cubicBezTo>
                      <a:pt x="20812" y="8091"/>
                      <a:pt x="10560" y="-2162"/>
                      <a:pt x="2870" y="401"/>
                    </a:cubicBezTo>
                    <a:cubicBezTo>
                      <a:pt x="-2255" y="2964"/>
                      <a:pt x="308" y="9372"/>
                      <a:pt x="4152" y="132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2" name="Freeform: Shape 379958">
                <a:extLst>
                  <a:ext uri="{FF2B5EF4-FFF2-40B4-BE49-F238E27FC236}">
                    <a16:creationId xmlns:a16="http://schemas.microsoft.com/office/drawing/2014/main" id="{EF841031-CF23-4B1F-A6BC-C2397C89CEA5}"/>
                  </a:ext>
                </a:extLst>
              </p:cNvPr>
              <p:cNvSpPr/>
              <p:nvPr/>
            </p:nvSpPr>
            <p:spPr>
              <a:xfrm>
                <a:off x="5190155" y="4724923"/>
                <a:ext cx="101134" cy="133444"/>
              </a:xfrm>
              <a:custGeom>
                <a:avLst/>
                <a:gdLst>
                  <a:gd name="connsiteX0" fmla="*/ 3633 w 101134"/>
                  <a:gd name="connsiteY0" fmla="*/ 15379 h 133444"/>
                  <a:gd name="connsiteX1" fmla="*/ 15167 w 101134"/>
                  <a:gd name="connsiteY1" fmla="*/ 21786 h 133444"/>
                  <a:gd name="connsiteX2" fmla="*/ 81807 w 101134"/>
                  <a:gd name="connsiteY2" fmla="*/ 115339 h 133444"/>
                  <a:gd name="connsiteX3" fmla="*/ 93341 w 101134"/>
                  <a:gd name="connsiteY3" fmla="*/ 133281 h 133444"/>
                  <a:gd name="connsiteX4" fmla="*/ 98468 w 101134"/>
                  <a:gd name="connsiteY4" fmla="*/ 120465 h 133444"/>
                  <a:gd name="connsiteX5" fmla="*/ 85652 w 101134"/>
                  <a:gd name="connsiteY5" fmla="*/ 112776 h 133444"/>
                  <a:gd name="connsiteX6" fmla="*/ 20293 w 101134"/>
                  <a:gd name="connsiteY6" fmla="*/ 19223 h 133444"/>
                  <a:gd name="connsiteX7" fmla="*/ 8759 w 101134"/>
                  <a:gd name="connsiteY7" fmla="*/ 0 h 133444"/>
                  <a:gd name="connsiteX8" fmla="*/ 4915 w 101134"/>
                  <a:gd name="connsiteY8" fmla="*/ 0 h 133444"/>
                  <a:gd name="connsiteX9" fmla="*/ 3633 w 101134"/>
                  <a:gd name="connsiteY9" fmla="*/ 15379 h 13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134" h="133444">
                    <a:moveTo>
                      <a:pt x="3633" y="15379"/>
                    </a:moveTo>
                    <a:cubicBezTo>
                      <a:pt x="6196" y="17942"/>
                      <a:pt x="10040" y="20505"/>
                      <a:pt x="15167" y="21786"/>
                    </a:cubicBezTo>
                    <a:cubicBezTo>
                      <a:pt x="36953" y="53825"/>
                      <a:pt x="58739" y="84582"/>
                      <a:pt x="81807" y="115339"/>
                    </a:cubicBezTo>
                    <a:cubicBezTo>
                      <a:pt x="75400" y="121747"/>
                      <a:pt x="85652" y="133281"/>
                      <a:pt x="93341" y="133281"/>
                    </a:cubicBezTo>
                    <a:cubicBezTo>
                      <a:pt x="101031" y="134562"/>
                      <a:pt x="103594" y="128155"/>
                      <a:pt x="98468" y="120465"/>
                    </a:cubicBezTo>
                    <a:cubicBezTo>
                      <a:pt x="97186" y="117902"/>
                      <a:pt x="92060" y="114058"/>
                      <a:pt x="85652" y="112776"/>
                    </a:cubicBezTo>
                    <a:cubicBezTo>
                      <a:pt x="62584" y="82019"/>
                      <a:pt x="40798" y="51262"/>
                      <a:pt x="20293" y="19223"/>
                    </a:cubicBezTo>
                    <a:cubicBezTo>
                      <a:pt x="27983" y="12816"/>
                      <a:pt x="17730" y="0"/>
                      <a:pt x="8759" y="0"/>
                    </a:cubicBezTo>
                    <a:cubicBezTo>
                      <a:pt x="7478" y="0"/>
                      <a:pt x="6196" y="0"/>
                      <a:pt x="4915" y="0"/>
                    </a:cubicBezTo>
                    <a:cubicBezTo>
                      <a:pt x="-5338" y="5126"/>
                      <a:pt x="3633" y="15379"/>
                      <a:pt x="3633"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3" name="Freeform: Shape 379959">
                <a:extLst>
                  <a:ext uri="{FF2B5EF4-FFF2-40B4-BE49-F238E27FC236}">
                    <a16:creationId xmlns:a16="http://schemas.microsoft.com/office/drawing/2014/main" id="{847657D4-D4DC-4963-B1FD-BA28E68E8263}"/>
                  </a:ext>
                </a:extLst>
              </p:cNvPr>
              <p:cNvSpPr/>
              <p:nvPr/>
            </p:nvSpPr>
            <p:spPr>
              <a:xfrm>
                <a:off x="6427921" y="4005872"/>
                <a:ext cx="56430" cy="414364"/>
              </a:xfrm>
              <a:custGeom>
                <a:avLst/>
                <a:gdLst>
                  <a:gd name="connsiteX0" fmla="*/ 34602 w 56430"/>
                  <a:gd name="connsiteY0" fmla="*/ 407636 h 414364"/>
                  <a:gd name="connsiteX1" fmla="*/ 55107 w 56430"/>
                  <a:gd name="connsiteY1" fmla="*/ 407636 h 414364"/>
                  <a:gd name="connsiteX2" fmla="*/ 46136 w 56430"/>
                  <a:gd name="connsiteY2" fmla="*/ 390976 h 414364"/>
                  <a:gd name="connsiteX3" fmla="*/ 5126 w 56430"/>
                  <a:gd name="connsiteY3" fmla="*/ 56492 h 414364"/>
                  <a:gd name="connsiteX4" fmla="*/ 29476 w 56430"/>
                  <a:gd name="connsiteY4" fmla="*/ 24454 h 414364"/>
                  <a:gd name="connsiteX5" fmla="*/ 46136 w 56430"/>
                  <a:gd name="connsiteY5" fmla="*/ 5231 h 414364"/>
                  <a:gd name="connsiteX6" fmla="*/ 33320 w 56430"/>
                  <a:gd name="connsiteY6" fmla="*/ 105 h 414364"/>
                  <a:gd name="connsiteX7" fmla="*/ 25631 w 56430"/>
                  <a:gd name="connsiteY7" fmla="*/ 20609 h 414364"/>
                  <a:gd name="connsiteX8" fmla="*/ 0 w 56430"/>
                  <a:gd name="connsiteY8" fmla="*/ 55211 h 414364"/>
                  <a:gd name="connsiteX9" fmla="*/ 42291 w 56430"/>
                  <a:gd name="connsiteY9" fmla="*/ 392257 h 414364"/>
                  <a:gd name="connsiteX10" fmla="*/ 34602 w 56430"/>
                  <a:gd name="connsiteY10" fmla="*/ 407636 h 41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430" h="414364">
                    <a:moveTo>
                      <a:pt x="34602" y="407636"/>
                    </a:moveTo>
                    <a:cubicBezTo>
                      <a:pt x="37165" y="416607"/>
                      <a:pt x="49980" y="416607"/>
                      <a:pt x="55107" y="407636"/>
                    </a:cubicBezTo>
                    <a:cubicBezTo>
                      <a:pt x="55107" y="407636"/>
                      <a:pt x="61514" y="394821"/>
                      <a:pt x="46136" y="390976"/>
                    </a:cubicBezTo>
                    <a:cubicBezTo>
                      <a:pt x="35883" y="284608"/>
                      <a:pt x="21786" y="171832"/>
                      <a:pt x="5126" y="56492"/>
                    </a:cubicBezTo>
                    <a:cubicBezTo>
                      <a:pt x="12815" y="46240"/>
                      <a:pt x="21786" y="33425"/>
                      <a:pt x="29476" y="24454"/>
                    </a:cubicBezTo>
                    <a:cubicBezTo>
                      <a:pt x="44854" y="29580"/>
                      <a:pt x="49980" y="12920"/>
                      <a:pt x="46136" y="5231"/>
                    </a:cubicBezTo>
                    <a:cubicBezTo>
                      <a:pt x="42291" y="-1177"/>
                      <a:pt x="35883" y="105"/>
                      <a:pt x="33320" y="105"/>
                    </a:cubicBezTo>
                    <a:cubicBezTo>
                      <a:pt x="23068" y="3949"/>
                      <a:pt x="20505" y="14201"/>
                      <a:pt x="25631" y="20609"/>
                    </a:cubicBezTo>
                    <a:lnTo>
                      <a:pt x="0" y="55211"/>
                    </a:lnTo>
                    <a:cubicBezTo>
                      <a:pt x="17942" y="171832"/>
                      <a:pt x="32039" y="283326"/>
                      <a:pt x="42291" y="392257"/>
                    </a:cubicBezTo>
                    <a:cubicBezTo>
                      <a:pt x="33320" y="397384"/>
                      <a:pt x="33320" y="403791"/>
                      <a:pt x="34602" y="40763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4" name="Freeform: Shape 379960">
                <a:extLst>
                  <a:ext uri="{FF2B5EF4-FFF2-40B4-BE49-F238E27FC236}">
                    <a16:creationId xmlns:a16="http://schemas.microsoft.com/office/drawing/2014/main" id="{B5E62FC9-E151-433B-932E-C09CDD76F943}"/>
                  </a:ext>
                </a:extLst>
              </p:cNvPr>
              <p:cNvSpPr/>
              <p:nvPr/>
            </p:nvSpPr>
            <p:spPr>
              <a:xfrm>
                <a:off x="6495318" y="4391722"/>
                <a:ext cx="34060" cy="184875"/>
              </a:xfrm>
              <a:custGeom>
                <a:avLst/>
                <a:gdLst>
                  <a:gd name="connsiteX0" fmla="*/ 525 w 34060"/>
                  <a:gd name="connsiteY0" fmla="*/ 14097 h 184875"/>
                  <a:gd name="connsiteX1" fmla="*/ 9496 w 34060"/>
                  <a:gd name="connsiteY1" fmla="*/ 21786 h 184875"/>
                  <a:gd name="connsiteX2" fmla="*/ 19748 w 34060"/>
                  <a:gd name="connsiteY2" fmla="*/ 162756 h 184875"/>
                  <a:gd name="connsiteX3" fmla="*/ 19748 w 34060"/>
                  <a:gd name="connsiteY3" fmla="*/ 184542 h 184875"/>
                  <a:gd name="connsiteX4" fmla="*/ 32564 w 34060"/>
                  <a:gd name="connsiteY4" fmla="*/ 166601 h 184875"/>
                  <a:gd name="connsiteX5" fmla="*/ 26156 w 34060"/>
                  <a:gd name="connsiteY5" fmla="*/ 162756 h 184875"/>
                  <a:gd name="connsiteX6" fmla="*/ 17185 w 34060"/>
                  <a:gd name="connsiteY6" fmla="*/ 21786 h 184875"/>
                  <a:gd name="connsiteX7" fmla="*/ 17185 w 34060"/>
                  <a:gd name="connsiteY7" fmla="*/ 0 h 184875"/>
                  <a:gd name="connsiteX8" fmla="*/ 13341 w 34060"/>
                  <a:gd name="connsiteY8" fmla="*/ 0 h 184875"/>
                  <a:gd name="connsiteX9" fmla="*/ 525 w 34060"/>
                  <a:gd name="connsiteY9" fmla="*/ 14097 h 184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60" h="184875">
                    <a:moveTo>
                      <a:pt x="525" y="14097"/>
                    </a:moveTo>
                    <a:cubicBezTo>
                      <a:pt x="1807" y="16660"/>
                      <a:pt x="3088" y="20505"/>
                      <a:pt x="9496" y="21786"/>
                    </a:cubicBezTo>
                    <a:cubicBezTo>
                      <a:pt x="13341" y="69203"/>
                      <a:pt x="17185" y="116621"/>
                      <a:pt x="19748" y="162756"/>
                    </a:cubicBezTo>
                    <a:cubicBezTo>
                      <a:pt x="8214" y="169164"/>
                      <a:pt x="10778" y="181979"/>
                      <a:pt x="19748" y="184542"/>
                    </a:cubicBezTo>
                    <a:cubicBezTo>
                      <a:pt x="28719" y="187106"/>
                      <a:pt x="37690" y="174290"/>
                      <a:pt x="32564" y="166601"/>
                    </a:cubicBezTo>
                    <a:cubicBezTo>
                      <a:pt x="30000" y="162756"/>
                      <a:pt x="27438" y="162756"/>
                      <a:pt x="26156" y="162756"/>
                    </a:cubicBezTo>
                    <a:cubicBezTo>
                      <a:pt x="23593" y="116621"/>
                      <a:pt x="21030" y="70485"/>
                      <a:pt x="17185" y="21786"/>
                    </a:cubicBezTo>
                    <a:cubicBezTo>
                      <a:pt x="28719" y="15378"/>
                      <a:pt x="26156" y="1281"/>
                      <a:pt x="17185" y="0"/>
                    </a:cubicBezTo>
                    <a:cubicBezTo>
                      <a:pt x="15904" y="0"/>
                      <a:pt x="14622" y="0"/>
                      <a:pt x="13341" y="0"/>
                    </a:cubicBezTo>
                    <a:cubicBezTo>
                      <a:pt x="-756" y="1281"/>
                      <a:pt x="-756" y="11534"/>
                      <a:pt x="525"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5" name="Freeform: Shape 379961">
                <a:extLst>
                  <a:ext uri="{FF2B5EF4-FFF2-40B4-BE49-F238E27FC236}">
                    <a16:creationId xmlns:a16="http://schemas.microsoft.com/office/drawing/2014/main" id="{35B3BB85-9BF3-4F0D-8905-2722EE2562C7}"/>
                  </a:ext>
                </a:extLst>
              </p:cNvPr>
              <p:cNvSpPr/>
              <p:nvPr/>
            </p:nvSpPr>
            <p:spPr>
              <a:xfrm>
                <a:off x="6587299" y="4193082"/>
                <a:ext cx="94584" cy="287399"/>
              </a:xfrm>
              <a:custGeom>
                <a:avLst/>
                <a:gdLst>
                  <a:gd name="connsiteX0" fmla="*/ 816 w 94584"/>
                  <a:gd name="connsiteY0" fmla="*/ 56388 h 287399"/>
                  <a:gd name="connsiteX1" fmla="*/ 18758 w 94584"/>
                  <a:gd name="connsiteY1" fmla="*/ 60233 h 287399"/>
                  <a:gd name="connsiteX2" fmla="*/ 45670 w 94584"/>
                  <a:gd name="connsiteY2" fmla="*/ 80738 h 287399"/>
                  <a:gd name="connsiteX3" fmla="*/ 49515 w 94584"/>
                  <a:gd name="connsiteY3" fmla="*/ 170446 h 287399"/>
                  <a:gd name="connsiteX4" fmla="*/ 48233 w 94584"/>
                  <a:gd name="connsiteY4" fmla="*/ 193513 h 287399"/>
                  <a:gd name="connsiteX5" fmla="*/ 61049 w 94584"/>
                  <a:gd name="connsiteY5" fmla="*/ 174290 h 287399"/>
                  <a:gd name="connsiteX6" fmla="*/ 53359 w 94584"/>
                  <a:gd name="connsiteY6" fmla="*/ 170446 h 287399"/>
                  <a:gd name="connsiteX7" fmla="*/ 49515 w 94584"/>
                  <a:gd name="connsiteY7" fmla="*/ 85864 h 287399"/>
                  <a:gd name="connsiteX8" fmla="*/ 78991 w 94584"/>
                  <a:gd name="connsiteY8" fmla="*/ 110213 h 287399"/>
                  <a:gd name="connsiteX9" fmla="*/ 81554 w 94584"/>
                  <a:gd name="connsiteY9" fmla="*/ 265280 h 287399"/>
                  <a:gd name="connsiteX10" fmla="*/ 80272 w 94584"/>
                  <a:gd name="connsiteY10" fmla="*/ 287066 h 287399"/>
                  <a:gd name="connsiteX11" fmla="*/ 93088 w 94584"/>
                  <a:gd name="connsiteY11" fmla="*/ 269125 h 287399"/>
                  <a:gd name="connsiteX12" fmla="*/ 86680 w 94584"/>
                  <a:gd name="connsiteY12" fmla="*/ 265280 h 287399"/>
                  <a:gd name="connsiteX13" fmla="*/ 84117 w 94584"/>
                  <a:gd name="connsiteY13" fmla="*/ 107650 h 287399"/>
                  <a:gd name="connsiteX14" fmla="*/ 48233 w 94584"/>
                  <a:gd name="connsiteY14" fmla="*/ 79456 h 287399"/>
                  <a:gd name="connsiteX15" fmla="*/ 44389 w 94584"/>
                  <a:gd name="connsiteY15" fmla="*/ 23068 h 287399"/>
                  <a:gd name="connsiteX16" fmla="*/ 44389 w 94584"/>
                  <a:gd name="connsiteY16" fmla="*/ 0 h 287399"/>
                  <a:gd name="connsiteX17" fmla="*/ 39262 w 94584"/>
                  <a:gd name="connsiteY17" fmla="*/ 0 h 287399"/>
                  <a:gd name="connsiteX18" fmla="*/ 35418 w 94584"/>
                  <a:gd name="connsiteY18" fmla="*/ 23068 h 287399"/>
                  <a:gd name="connsiteX19" fmla="*/ 39262 w 94584"/>
                  <a:gd name="connsiteY19" fmla="*/ 24349 h 287399"/>
                  <a:gd name="connsiteX20" fmla="*/ 43107 w 94584"/>
                  <a:gd name="connsiteY20" fmla="*/ 75611 h 287399"/>
                  <a:gd name="connsiteX21" fmla="*/ 20039 w 94584"/>
                  <a:gd name="connsiteY21" fmla="*/ 57670 h 287399"/>
                  <a:gd name="connsiteX22" fmla="*/ 7224 w 94584"/>
                  <a:gd name="connsiteY22" fmla="*/ 42291 h 287399"/>
                  <a:gd name="connsiteX23" fmla="*/ 816 w 94584"/>
                  <a:gd name="connsiteY23" fmla="*/ 56388 h 287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4584" h="287399">
                    <a:moveTo>
                      <a:pt x="816" y="56388"/>
                    </a:moveTo>
                    <a:cubicBezTo>
                      <a:pt x="2097" y="62796"/>
                      <a:pt x="11068" y="67922"/>
                      <a:pt x="18758" y="60233"/>
                    </a:cubicBezTo>
                    <a:lnTo>
                      <a:pt x="45670" y="80738"/>
                    </a:lnTo>
                    <a:cubicBezTo>
                      <a:pt x="46952" y="111495"/>
                      <a:pt x="48233" y="140970"/>
                      <a:pt x="49515" y="170446"/>
                    </a:cubicBezTo>
                    <a:cubicBezTo>
                      <a:pt x="37981" y="176853"/>
                      <a:pt x="40544" y="190950"/>
                      <a:pt x="48233" y="193513"/>
                    </a:cubicBezTo>
                    <a:cubicBezTo>
                      <a:pt x="57204" y="196077"/>
                      <a:pt x="66175" y="183261"/>
                      <a:pt x="61049" y="174290"/>
                    </a:cubicBezTo>
                    <a:cubicBezTo>
                      <a:pt x="58486" y="170446"/>
                      <a:pt x="55923" y="170446"/>
                      <a:pt x="53359" y="170446"/>
                    </a:cubicBezTo>
                    <a:cubicBezTo>
                      <a:pt x="52078" y="142252"/>
                      <a:pt x="50796" y="114057"/>
                      <a:pt x="49515" y="85864"/>
                    </a:cubicBezTo>
                    <a:lnTo>
                      <a:pt x="78991" y="110213"/>
                    </a:lnTo>
                    <a:cubicBezTo>
                      <a:pt x="81554" y="162756"/>
                      <a:pt x="81554" y="215300"/>
                      <a:pt x="81554" y="265280"/>
                    </a:cubicBezTo>
                    <a:cubicBezTo>
                      <a:pt x="70020" y="271688"/>
                      <a:pt x="72583" y="284503"/>
                      <a:pt x="80272" y="287066"/>
                    </a:cubicBezTo>
                    <a:cubicBezTo>
                      <a:pt x="89243" y="289629"/>
                      <a:pt x="98213" y="276814"/>
                      <a:pt x="93088" y="269125"/>
                    </a:cubicBezTo>
                    <a:cubicBezTo>
                      <a:pt x="90525" y="265280"/>
                      <a:pt x="87961" y="265280"/>
                      <a:pt x="86680" y="265280"/>
                    </a:cubicBezTo>
                    <a:cubicBezTo>
                      <a:pt x="86680" y="214018"/>
                      <a:pt x="85398" y="161475"/>
                      <a:pt x="84117" y="107650"/>
                    </a:cubicBezTo>
                    <a:lnTo>
                      <a:pt x="48233" y="79456"/>
                    </a:lnTo>
                    <a:cubicBezTo>
                      <a:pt x="46952" y="60233"/>
                      <a:pt x="45670" y="42291"/>
                      <a:pt x="44389" y="23068"/>
                    </a:cubicBezTo>
                    <a:cubicBezTo>
                      <a:pt x="55923" y="16660"/>
                      <a:pt x="53359" y="1282"/>
                      <a:pt x="44389" y="0"/>
                    </a:cubicBezTo>
                    <a:cubicBezTo>
                      <a:pt x="43107" y="0"/>
                      <a:pt x="41825" y="0"/>
                      <a:pt x="39262" y="0"/>
                    </a:cubicBezTo>
                    <a:cubicBezTo>
                      <a:pt x="26447" y="3845"/>
                      <a:pt x="26447" y="19223"/>
                      <a:pt x="35418" y="23068"/>
                    </a:cubicBezTo>
                    <a:cubicBezTo>
                      <a:pt x="36699" y="23068"/>
                      <a:pt x="37981" y="24349"/>
                      <a:pt x="39262" y="24349"/>
                    </a:cubicBezTo>
                    <a:cubicBezTo>
                      <a:pt x="40544" y="41009"/>
                      <a:pt x="41825" y="58951"/>
                      <a:pt x="43107" y="75611"/>
                    </a:cubicBezTo>
                    <a:cubicBezTo>
                      <a:pt x="35418" y="70485"/>
                      <a:pt x="26447" y="62796"/>
                      <a:pt x="20039" y="57670"/>
                    </a:cubicBezTo>
                    <a:cubicBezTo>
                      <a:pt x="25165" y="44854"/>
                      <a:pt x="14913" y="38447"/>
                      <a:pt x="7224" y="42291"/>
                    </a:cubicBezTo>
                    <a:cubicBezTo>
                      <a:pt x="2097" y="43573"/>
                      <a:pt x="-1747" y="49980"/>
                      <a:pt x="816" y="563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6" name="Freeform: Shape 379962">
                <a:extLst>
                  <a:ext uri="{FF2B5EF4-FFF2-40B4-BE49-F238E27FC236}">
                    <a16:creationId xmlns:a16="http://schemas.microsoft.com/office/drawing/2014/main" id="{AD868682-FD7A-4A40-B0EF-4D2BD9C5337C}"/>
                  </a:ext>
                </a:extLst>
              </p:cNvPr>
              <p:cNvSpPr/>
              <p:nvPr/>
            </p:nvSpPr>
            <p:spPr>
              <a:xfrm>
                <a:off x="7571064" y="4268693"/>
                <a:ext cx="112776" cy="256309"/>
              </a:xfrm>
              <a:custGeom>
                <a:avLst/>
                <a:gdLst>
                  <a:gd name="connsiteX0" fmla="*/ 3845 w 112776"/>
                  <a:gd name="connsiteY0" fmla="*/ 246057 h 256309"/>
                  <a:gd name="connsiteX1" fmla="*/ 0 w 112776"/>
                  <a:gd name="connsiteY1" fmla="*/ 256309 h 256309"/>
                  <a:gd name="connsiteX2" fmla="*/ 11534 w 112776"/>
                  <a:gd name="connsiteY2" fmla="*/ 234523 h 256309"/>
                  <a:gd name="connsiteX3" fmla="*/ 93554 w 112776"/>
                  <a:gd name="connsiteY3" fmla="*/ 44854 h 256309"/>
                  <a:gd name="connsiteX4" fmla="*/ 103806 w 112776"/>
                  <a:gd name="connsiteY4" fmla="*/ 21786 h 256309"/>
                  <a:gd name="connsiteX5" fmla="*/ 103806 w 112776"/>
                  <a:gd name="connsiteY5" fmla="*/ 24349 h 256309"/>
                  <a:gd name="connsiteX6" fmla="*/ 112777 w 112776"/>
                  <a:gd name="connsiteY6" fmla="*/ 0 h 256309"/>
                  <a:gd name="connsiteX7" fmla="*/ 106369 w 112776"/>
                  <a:gd name="connsiteY7" fmla="*/ 17942 h 256309"/>
                  <a:gd name="connsiteX8" fmla="*/ 94835 w 112776"/>
                  <a:gd name="connsiteY8" fmla="*/ 42291 h 256309"/>
                  <a:gd name="connsiteX9" fmla="*/ 11534 w 112776"/>
                  <a:gd name="connsiteY9" fmla="*/ 234523 h 256309"/>
                  <a:gd name="connsiteX10" fmla="*/ 3845 w 112776"/>
                  <a:gd name="connsiteY10" fmla="*/ 246057 h 256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776" h="256309">
                    <a:moveTo>
                      <a:pt x="3845" y="246057"/>
                    </a:moveTo>
                    <a:cubicBezTo>
                      <a:pt x="0" y="253746"/>
                      <a:pt x="0" y="255028"/>
                      <a:pt x="0" y="256309"/>
                    </a:cubicBezTo>
                    <a:cubicBezTo>
                      <a:pt x="3845" y="252464"/>
                      <a:pt x="10253" y="238368"/>
                      <a:pt x="11534" y="234523"/>
                    </a:cubicBezTo>
                    <a:cubicBezTo>
                      <a:pt x="42291" y="173009"/>
                      <a:pt x="69204" y="108931"/>
                      <a:pt x="93554" y="44854"/>
                    </a:cubicBezTo>
                    <a:cubicBezTo>
                      <a:pt x="97398" y="38446"/>
                      <a:pt x="101243" y="28194"/>
                      <a:pt x="103806" y="21786"/>
                    </a:cubicBezTo>
                    <a:cubicBezTo>
                      <a:pt x="103806" y="23068"/>
                      <a:pt x="103806" y="23068"/>
                      <a:pt x="103806" y="24349"/>
                    </a:cubicBezTo>
                    <a:cubicBezTo>
                      <a:pt x="106369" y="20505"/>
                      <a:pt x="111495" y="3845"/>
                      <a:pt x="112777" y="0"/>
                    </a:cubicBezTo>
                    <a:cubicBezTo>
                      <a:pt x="111495" y="2563"/>
                      <a:pt x="108932" y="7689"/>
                      <a:pt x="106369" y="17942"/>
                    </a:cubicBezTo>
                    <a:lnTo>
                      <a:pt x="94835" y="42291"/>
                    </a:lnTo>
                    <a:cubicBezTo>
                      <a:pt x="70486" y="107650"/>
                      <a:pt x="43573" y="171727"/>
                      <a:pt x="11534" y="234523"/>
                    </a:cubicBezTo>
                    <a:cubicBezTo>
                      <a:pt x="10253" y="234523"/>
                      <a:pt x="7689" y="239649"/>
                      <a:pt x="3845" y="24605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7" name="Freeform: Shape 379963">
                <a:extLst>
                  <a:ext uri="{FF2B5EF4-FFF2-40B4-BE49-F238E27FC236}">
                    <a16:creationId xmlns:a16="http://schemas.microsoft.com/office/drawing/2014/main" id="{452EB5F2-B4B0-4371-B6F2-361CAF38B573}"/>
                  </a:ext>
                </a:extLst>
              </p:cNvPr>
              <p:cNvSpPr/>
              <p:nvPr/>
            </p:nvSpPr>
            <p:spPr>
              <a:xfrm>
                <a:off x="5088212" y="4612982"/>
                <a:ext cx="198844" cy="181268"/>
              </a:xfrm>
              <a:custGeom>
                <a:avLst/>
                <a:gdLst>
                  <a:gd name="connsiteX0" fmla="*/ 3053 w 198844"/>
                  <a:gd name="connsiteY0" fmla="*/ 17107 h 181268"/>
                  <a:gd name="connsiteX1" fmla="*/ 19713 w 198844"/>
                  <a:gd name="connsiteY1" fmla="*/ 19670 h 181268"/>
                  <a:gd name="connsiteX2" fmla="*/ 101732 w 198844"/>
                  <a:gd name="connsiteY2" fmla="*/ 58116 h 181268"/>
                  <a:gd name="connsiteX3" fmla="*/ 115829 w 198844"/>
                  <a:gd name="connsiteY3" fmla="*/ 81184 h 181268"/>
                  <a:gd name="connsiteX4" fmla="*/ 38936 w 198844"/>
                  <a:gd name="connsiteY4" fmla="*/ 45301 h 181268"/>
                  <a:gd name="connsiteX5" fmla="*/ 18431 w 198844"/>
                  <a:gd name="connsiteY5" fmla="*/ 32485 h 181268"/>
                  <a:gd name="connsiteX6" fmla="*/ 32528 w 198844"/>
                  <a:gd name="connsiteY6" fmla="*/ 51708 h 181268"/>
                  <a:gd name="connsiteX7" fmla="*/ 37655 w 198844"/>
                  <a:gd name="connsiteY7" fmla="*/ 49145 h 181268"/>
                  <a:gd name="connsiteX8" fmla="*/ 119674 w 198844"/>
                  <a:gd name="connsiteY8" fmla="*/ 86310 h 181268"/>
                  <a:gd name="connsiteX9" fmla="*/ 168373 w 198844"/>
                  <a:gd name="connsiteY9" fmla="*/ 161921 h 181268"/>
                  <a:gd name="connsiteX10" fmla="*/ 179907 w 198844"/>
                  <a:gd name="connsiteY10" fmla="*/ 181145 h 181268"/>
                  <a:gd name="connsiteX11" fmla="*/ 185033 w 198844"/>
                  <a:gd name="connsiteY11" fmla="*/ 167047 h 181268"/>
                  <a:gd name="connsiteX12" fmla="*/ 173499 w 198844"/>
                  <a:gd name="connsiteY12" fmla="*/ 160640 h 181268"/>
                  <a:gd name="connsiteX13" fmla="*/ 127363 w 198844"/>
                  <a:gd name="connsiteY13" fmla="*/ 90155 h 181268"/>
                  <a:gd name="connsiteX14" fmla="*/ 167091 w 198844"/>
                  <a:gd name="connsiteY14" fmla="*/ 108096 h 181268"/>
                  <a:gd name="connsiteX15" fmla="*/ 178625 w 198844"/>
                  <a:gd name="connsiteY15" fmla="*/ 124756 h 181268"/>
                  <a:gd name="connsiteX16" fmla="*/ 190159 w 198844"/>
                  <a:gd name="connsiteY16" fmla="*/ 143980 h 181268"/>
                  <a:gd name="connsiteX17" fmla="*/ 195285 w 198844"/>
                  <a:gd name="connsiteY17" fmla="*/ 128601 h 181268"/>
                  <a:gd name="connsiteX18" fmla="*/ 183751 w 198844"/>
                  <a:gd name="connsiteY18" fmla="*/ 122193 h 181268"/>
                  <a:gd name="connsiteX19" fmla="*/ 172217 w 198844"/>
                  <a:gd name="connsiteY19" fmla="*/ 102970 h 181268"/>
                  <a:gd name="connsiteX20" fmla="*/ 126081 w 198844"/>
                  <a:gd name="connsiteY20" fmla="*/ 82465 h 181268"/>
                  <a:gd name="connsiteX21" fmla="*/ 108140 w 198844"/>
                  <a:gd name="connsiteY21" fmla="*/ 52990 h 181268"/>
                  <a:gd name="connsiteX22" fmla="*/ 24839 w 198844"/>
                  <a:gd name="connsiteY22" fmla="*/ 14543 h 181268"/>
                  <a:gd name="connsiteX23" fmla="*/ 6897 w 198844"/>
                  <a:gd name="connsiteY23" fmla="*/ 447 h 181268"/>
                  <a:gd name="connsiteX24" fmla="*/ 3053 w 198844"/>
                  <a:gd name="connsiteY24" fmla="*/ 17107 h 181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8844" h="181268">
                    <a:moveTo>
                      <a:pt x="3053" y="17107"/>
                    </a:moveTo>
                    <a:cubicBezTo>
                      <a:pt x="6897" y="22233"/>
                      <a:pt x="15868" y="26077"/>
                      <a:pt x="19713" y="19670"/>
                    </a:cubicBezTo>
                    <a:lnTo>
                      <a:pt x="101732" y="58116"/>
                    </a:lnTo>
                    <a:cubicBezTo>
                      <a:pt x="106858" y="65805"/>
                      <a:pt x="111984" y="73495"/>
                      <a:pt x="115829" y="81184"/>
                    </a:cubicBezTo>
                    <a:cubicBezTo>
                      <a:pt x="92761" y="70932"/>
                      <a:pt x="62004" y="56835"/>
                      <a:pt x="38936" y="45301"/>
                    </a:cubicBezTo>
                    <a:cubicBezTo>
                      <a:pt x="37655" y="32485"/>
                      <a:pt x="23557" y="27359"/>
                      <a:pt x="18431" y="32485"/>
                    </a:cubicBezTo>
                    <a:cubicBezTo>
                      <a:pt x="13305" y="38893"/>
                      <a:pt x="22276" y="52990"/>
                      <a:pt x="32528" y="51708"/>
                    </a:cubicBezTo>
                    <a:cubicBezTo>
                      <a:pt x="36373" y="51708"/>
                      <a:pt x="36373" y="50427"/>
                      <a:pt x="37655" y="49145"/>
                    </a:cubicBezTo>
                    <a:lnTo>
                      <a:pt x="119674" y="86310"/>
                    </a:lnTo>
                    <a:cubicBezTo>
                      <a:pt x="136334" y="111941"/>
                      <a:pt x="151712" y="136290"/>
                      <a:pt x="168373" y="161921"/>
                    </a:cubicBezTo>
                    <a:cubicBezTo>
                      <a:pt x="160683" y="168329"/>
                      <a:pt x="170936" y="179863"/>
                      <a:pt x="179907" y="181145"/>
                    </a:cubicBezTo>
                    <a:cubicBezTo>
                      <a:pt x="187596" y="182426"/>
                      <a:pt x="191441" y="173455"/>
                      <a:pt x="185033" y="167047"/>
                    </a:cubicBezTo>
                    <a:cubicBezTo>
                      <a:pt x="182470" y="164484"/>
                      <a:pt x="178625" y="161921"/>
                      <a:pt x="173499" y="160640"/>
                    </a:cubicBezTo>
                    <a:cubicBezTo>
                      <a:pt x="158120" y="137572"/>
                      <a:pt x="142742" y="114504"/>
                      <a:pt x="127363" y="90155"/>
                    </a:cubicBezTo>
                    <a:lnTo>
                      <a:pt x="167091" y="108096"/>
                    </a:lnTo>
                    <a:cubicBezTo>
                      <a:pt x="170936" y="113223"/>
                      <a:pt x="174780" y="119630"/>
                      <a:pt x="178625" y="124756"/>
                    </a:cubicBezTo>
                    <a:cubicBezTo>
                      <a:pt x="170936" y="131164"/>
                      <a:pt x="181188" y="142698"/>
                      <a:pt x="190159" y="143980"/>
                    </a:cubicBezTo>
                    <a:cubicBezTo>
                      <a:pt x="199130" y="145261"/>
                      <a:pt x="201693" y="136290"/>
                      <a:pt x="195285" y="128601"/>
                    </a:cubicBezTo>
                    <a:cubicBezTo>
                      <a:pt x="192722" y="126038"/>
                      <a:pt x="188877" y="123475"/>
                      <a:pt x="183751" y="122193"/>
                    </a:cubicBezTo>
                    <a:cubicBezTo>
                      <a:pt x="179907" y="115786"/>
                      <a:pt x="176062" y="109378"/>
                      <a:pt x="172217" y="102970"/>
                    </a:cubicBezTo>
                    <a:lnTo>
                      <a:pt x="126081" y="82465"/>
                    </a:lnTo>
                    <a:cubicBezTo>
                      <a:pt x="119674" y="72213"/>
                      <a:pt x="113266" y="63242"/>
                      <a:pt x="108140" y="52990"/>
                    </a:cubicBezTo>
                    <a:cubicBezTo>
                      <a:pt x="82509" y="41456"/>
                      <a:pt x="49188" y="26077"/>
                      <a:pt x="24839" y="14543"/>
                    </a:cubicBezTo>
                    <a:cubicBezTo>
                      <a:pt x="24839" y="6854"/>
                      <a:pt x="17150" y="-2117"/>
                      <a:pt x="6897" y="447"/>
                    </a:cubicBezTo>
                    <a:cubicBezTo>
                      <a:pt x="-5918" y="6854"/>
                      <a:pt x="3053" y="17107"/>
                      <a:pt x="3053" y="1710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8" name="Freeform: Shape 379964">
                <a:extLst>
                  <a:ext uri="{FF2B5EF4-FFF2-40B4-BE49-F238E27FC236}">
                    <a16:creationId xmlns:a16="http://schemas.microsoft.com/office/drawing/2014/main" id="{A78BF4BE-6AB2-411B-A5D5-D801F5E0FDFC}"/>
                  </a:ext>
                </a:extLst>
              </p:cNvPr>
              <p:cNvSpPr/>
              <p:nvPr/>
            </p:nvSpPr>
            <p:spPr>
              <a:xfrm>
                <a:off x="6405528" y="4234091"/>
                <a:ext cx="79985" cy="218980"/>
              </a:xfrm>
              <a:custGeom>
                <a:avLst/>
                <a:gdLst>
                  <a:gd name="connsiteX0" fmla="*/ 606 w 79985"/>
                  <a:gd name="connsiteY0" fmla="*/ 16660 h 218980"/>
                  <a:gd name="connsiteX1" fmla="*/ 10859 w 79985"/>
                  <a:gd name="connsiteY1" fmla="*/ 24349 h 218980"/>
                  <a:gd name="connsiteX2" fmla="*/ 30083 w 79985"/>
                  <a:gd name="connsiteY2" fmla="*/ 183261 h 218980"/>
                  <a:gd name="connsiteX3" fmla="*/ 59558 w 79985"/>
                  <a:gd name="connsiteY3" fmla="*/ 203766 h 218980"/>
                  <a:gd name="connsiteX4" fmla="*/ 72373 w 79985"/>
                  <a:gd name="connsiteY4" fmla="*/ 217863 h 218980"/>
                  <a:gd name="connsiteX5" fmla="*/ 74937 w 79985"/>
                  <a:gd name="connsiteY5" fmla="*/ 196077 h 218980"/>
                  <a:gd name="connsiteX6" fmla="*/ 62121 w 79985"/>
                  <a:gd name="connsiteY6" fmla="*/ 198640 h 218980"/>
                  <a:gd name="connsiteX7" fmla="*/ 33927 w 79985"/>
                  <a:gd name="connsiteY7" fmla="*/ 179417 h 218980"/>
                  <a:gd name="connsiteX8" fmla="*/ 14704 w 79985"/>
                  <a:gd name="connsiteY8" fmla="*/ 23068 h 218980"/>
                  <a:gd name="connsiteX9" fmla="*/ 13422 w 79985"/>
                  <a:gd name="connsiteY9" fmla="*/ 0 h 218980"/>
                  <a:gd name="connsiteX10" fmla="*/ 8296 w 79985"/>
                  <a:gd name="connsiteY10" fmla="*/ 0 h 218980"/>
                  <a:gd name="connsiteX11" fmla="*/ 606 w 79985"/>
                  <a:gd name="connsiteY11" fmla="*/ 16660 h 21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85" h="218980">
                    <a:moveTo>
                      <a:pt x="606" y="16660"/>
                    </a:moveTo>
                    <a:cubicBezTo>
                      <a:pt x="1888" y="19223"/>
                      <a:pt x="4451" y="23068"/>
                      <a:pt x="10859" y="24349"/>
                    </a:cubicBezTo>
                    <a:cubicBezTo>
                      <a:pt x="18549" y="78174"/>
                      <a:pt x="24956" y="131999"/>
                      <a:pt x="30083" y="183261"/>
                    </a:cubicBezTo>
                    <a:cubicBezTo>
                      <a:pt x="39053" y="189669"/>
                      <a:pt x="50587" y="197358"/>
                      <a:pt x="59558" y="203766"/>
                    </a:cubicBezTo>
                    <a:cubicBezTo>
                      <a:pt x="55713" y="215300"/>
                      <a:pt x="64684" y="221708"/>
                      <a:pt x="72373" y="217863"/>
                    </a:cubicBezTo>
                    <a:cubicBezTo>
                      <a:pt x="81344" y="214018"/>
                      <a:pt x="82626" y="199921"/>
                      <a:pt x="74937" y="196077"/>
                    </a:cubicBezTo>
                    <a:cubicBezTo>
                      <a:pt x="72373" y="194795"/>
                      <a:pt x="67247" y="194795"/>
                      <a:pt x="62121" y="198640"/>
                    </a:cubicBezTo>
                    <a:lnTo>
                      <a:pt x="33927" y="179417"/>
                    </a:lnTo>
                    <a:cubicBezTo>
                      <a:pt x="28801" y="128155"/>
                      <a:pt x="22393" y="75611"/>
                      <a:pt x="14704" y="23068"/>
                    </a:cubicBezTo>
                    <a:cubicBezTo>
                      <a:pt x="27519" y="16660"/>
                      <a:pt x="22393" y="1282"/>
                      <a:pt x="13422" y="0"/>
                    </a:cubicBezTo>
                    <a:cubicBezTo>
                      <a:pt x="12140" y="0"/>
                      <a:pt x="9578" y="0"/>
                      <a:pt x="8296" y="0"/>
                    </a:cubicBezTo>
                    <a:cubicBezTo>
                      <a:pt x="-675" y="3845"/>
                      <a:pt x="-675" y="14097"/>
                      <a:pt x="606"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29" name="Freeform: Shape 379965">
                <a:extLst>
                  <a:ext uri="{FF2B5EF4-FFF2-40B4-BE49-F238E27FC236}">
                    <a16:creationId xmlns:a16="http://schemas.microsoft.com/office/drawing/2014/main" id="{0B6F5BF3-B8A1-4485-8258-8D44C81C6486}"/>
                  </a:ext>
                </a:extLst>
              </p:cNvPr>
              <p:cNvSpPr/>
              <p:nvPr/>
            </p:nvSpPr>
            <p:spPr>
              <a:xfrm>
                <a:off x="6597967" y="4403255"/>
                <a:ext cx="23201" cy="246419"/>
              </a:xfrm>
              <a:custGeom>
                <a:avLst/>
                <a:gdLst>
                  <a:gd name="connsiteX0" fmla="*/ 400 w 23201"/>
                  <a:gd name="connsiteY0" fmla="*/ 15379 h 246419"/>
                  <a:gd name="connsiteX1" fmla="*/ 9372 w 23201"/>
                  <a:gd name="connsiteY1" fmla="*/ 23068 h 246419"/>
                  <a:gd name="connsiteX2" fmla="*/ 11934 w 23201"/>
                  <a:gd name="connsiteY2" fmla="*/ 225552 h 246419"/>
                  <a:gd name="connsiteX3" fmla="*/ 9372 w 23201"/>
                  <a:gd name="connsiteY3" fmla="*/ 246057 h 246419"/>
                  <a:gd name="connsiteX4" fmla="*/ 22187 w 23201"/>
                  <a:gd name="connsiteY4" fmla="*/ 228115 h 246419"/>
                  <a:gd name="connsiteX5" fmla="*/ 15779 w 23201"/>
                  <a:gd name="connsiteY5" fmla="*/ 224270 h 246419"/>
                  <a:gd name="connsiteX6" fmla="*/ 14497 w 23201"/>
                  <a:gd name="connsiteY6" fmla="*/ 21786 h 246419"/>
                  <a:gd name="connsiteX7" fmla="*/ 15779 w 23201"/>
                  <a:gd name="connsiteY7" fmla="*/ 0 h 246419"/>
                  <a:gd name="connsiteX8" fmla="*/ 11934 w 23201"/>
                  <a:gd name="connsiteY8" fmla="*/ 0 h 246419"/>
                  <a:gd name="connsiteX9" fmla="*/ 400 w 23201"/>
                  <a:gd name="connsiteY9" fmla="*/ 15379 h 24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201" h="246419">
                    <a:moveTo>
                      <a:pt x="400" y="15379"/>
                    </a:moveTo>
                    <a:cubicBezTo>
                      <a:pt x="1682" y="17942"/>
                      <a:pt x="2963" y="21786"/>
                      <a:pt x="9372" y="23068"/>
                    </a:cubicBezTo>
                    <a:cubicBezTo>
                      <a:pt x="11934" y="93553"/>
                      <a:pt x="13216" y="160193"/>
                      <a:pt x="11934" y="225552"/>
                    </a:cubicBezTo>
                    <a:cubicBezTo>
                      <a:pt x="1682" y="230678"/>
                      <a:pt x="2963" y="244775"/>
                      <a:pt x="9372" y="246057"/>
                    </a:cubicBezTo>
                    <a:cubicBezTo>
                      <a:pt x="18342" y="248620"/>
                      <a:pt x="26031" y="237086"/>
                      <a:pt x="22187" y="228115"/>
                    </a:cubicBezTo>
                    <a:cubicBezTo>
                      <a:pt x="20906" y="224270"/>
                      <a:pt x="17061" y="224270"/>
                      <a:pt x="15779" y="224270"/>
                    </a:cubicBezTo>
                    <a:cubicBezTo>
                      <a:pt x="17061" y="158912"/>
                      <a:pt x="15779" y="90990"/>
                      <a:pt x="14497" y="21786"/>
                    </a:cubicBezTo>
                    <a:cubicBezTo>
                      <a:pt x="26031" y="15379"/>
                      <a:pt x="23468" y="1282"/>
                      <a:pt x="15779" y="0"/>
                    </a:cubicBezTo>
                    <a:cubicBezTo>
                      <a:pt x="14497" y="0"/>
                      <a:pt x="13216" y="0"/>
                      <a:pt x="11934" y="0"/>
                    </a:cubicBezTo>
                    <a:cubicBezTo>
                      <a:pt x="400" y="3845"/>
                      <a:pt x="-881" y="12816"/>
                      <a:pt x="400"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0" name="Freeform: Shape 379966">
                <a:extLst>
                  <a:ext uri="{FF2B5EF4-FFF2-40B4-BE49-F238E27FC236}">
                    <a16:creationId xmlns:a16="http://schemas.microsoft.com/office/drawing/2014/main" id="{86EC5E07-448A-4E34-BBF0-777162EA9AF3}"/>
                  </a:ext>
                </a:extLst>
              </p:cNvPr>
              <p:cNvSpPr/>
              <p:nvPr/>
            </p:nvSpPr>
            <p:spPr>
              <a:xfrm>
                <a:off x="7556967" y="4300732"/>
                <a:ext cx="115339" cy="258872"/>
              </a:xfrm>
              <a:custGeom>
                <a:avLst/>
                <a:gdLst>
                  <a:gd name="connsiteX0" fmla="*/ 108932 w 115339"/>
                  <a:gd name="connsiteY0" fmla="*/ 14097 h 258872"/>
                  <a:gd name="connsiteX1" fmla="*/ 106368 w 115339"/>
                  <a:gd name="connsiteY1" fmla="*/ 24349 h 258872"/>
                  <a:gd name="connsiteX2" fmla="*/ 11534 w 115339"/>
                  <a:gd name="connsiteY2" fmla="*/ 237086 h 258872"/>
                  <a:gd name="connsiteX3" fmla="*/ 0 w 115339"/>
                  <a:gd name="connsiteY3" fmla="*/ 258872 h 258872"/>
                  <a:gd name="connsiteX4" fmla="*/ 11534 w 115339"/>
                  <a:gd name="connsiteY4" fmla="*/ 237086 h 258872"/>
                  <a:gd name="connsiteX5" fmla="*/ 106368 w 115339"/>
                  <a:gd name="connsiteY5" fmla="*/ 24349 h 258872"/>
                  <a:gd name="connsiteX6" fmla="*/ 115339 w 115339"/>
                  <a:gd name="connsiteY6" fmla="*/ 0 h 258872"/>
                  <a:gd name="connsiteX7" fmla="*/ 108932 w 115339"/>
                  <a:gd name="connsiteY7" fmla="*/ 14097 h 25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5339" h="258872">
                    <a:moveTo>
                      <a:pt x="108932" y="14097"/>
                    </a:moveTo>
                    <a:cubicBezTo>
                      <a:pt x="106368" y="20505"/>
                      <a:pt x="106368" y="23068"/>
                      <a:pt x="106368" y="24349"/>
                    </a:cubicBezTo>
                    <a:cubicBezTo>
                      <a:pt x="79456" y="97397"/>
                      <a:pt x="47417" y="167882"/>
                      <a:pt x="11534" y="237086"/>
                    </a:cubicBezTo>
                    <a:cubicBezTo>
                      <a:pt x="8971" y="240931"/>
                      <a:pt x="1281" y="255028"/>
                      <a:pt x="0" y="258872"/>
                    </a:cubicBezTo>
                    <a:cubicBezTo>
                      <a:pt x="3844" y="255028"/>
                      <a:pt x="10252" y="240931"/>
                      <a:pt x="11534" y="237086"/>
                    </a:cubicBezTo>
                    <a:cubicBezTo>
                      <a:pt x="47417" y="169164"/>
                      <a:pt x="79456" y="97397"/>
                      <a:pt x="106368" y="24349"/>
                    </a:cubicBezTo>
                    <a:cubicBezTo>
                      <a:pt x="108932" y="20505"/>
                      <a:pt x="114058" y="5126"/>
                      <a:pt x="115339" y="0"/>
                    </a:cubicBezTo>
                    <a:cubicBezTo>
                      <a:pt x="114058" y="1282"/>
                      <a:pt x="112776" y="3845"/>
                      <a:pt x="10893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1" name="Freeform: Shape 379967">
                <a:extLst>
                  <a:ext uri="{FF2B5EF4-FFF2-40B4-BE49-F238E27FC236}">
                    <a16:creationId xmlns:a16="http://schemas.microsoft.com/office/drawing/2014/main" id="{3F9822C1-BC3F-4160-9445-309778E63722}"/>
                  </a:ext>
                </a:extLst>
              </p:cNvPr>
              <p:cNvSpPr/>
              <p:nvPr/>
            </p:nvSpPr>
            <p:spPr>
              <a:xfrm>
                <a:off x="5002621" y="4678788"/>
                <a:ext cx="148397" cy="157151"/>
              </a:xfrm>
              <a:custGeom>
                <a:avLst/>
                <a:gdLst>
                  <a:gd name="connsiteX0" fmla="*/ 4061 w 148397"/>
                  <a:gd name="connsiteY0" fmla="*/ 15378 h 157151"/>
                  <a:gd name="connsiteX1" fmla="*/ 15595 w 148397"/>
                  <a:gd name="connsiteY1" fmla="*/ 21786 h 157151"/>
                  <a:gd name="connsiteX2" fmla="*/ 92488 w 148397"/>
                  <a:gd name="connsiteY2" fmla="*/ 129436 h 157151"/>
                  <a:gd name="connsiteX3" fmla="*/ 128372 w 148397"/>
                  <a:gd name="connsiteY3" fmla="*/ 146096 h 157151"/>
                  <a:gd name="connsiteX4" fmla="*/ 139906 w 148397"/>
                  <a:gd name="connsiteY4" fmla="*/ 156348 h 157151"/>
                  <a:gd name="connsiteX5" fmla="*/ 147595 w 148397"/>
                  <a:gd name="connsiteY5" fmla="*/ 148659 h 157151"/>
                  <a:gd name="connsiteX6" fmla="*/ 127090 w 148397"/>
                  <a:gd name="connsiteY6" fmla="*/ 139688 h 157151"/>
                  <a:gd name="connsiteX7" fmla="*/ 127090 w 148397"/>
                  <a:gd name="connsiteY7" fmla="*/ 140970 h 157151"/>
                  <a:gd name="connsiteX8" fmla="*/ 95051 w 148397"/>
                  <a:gd name="connsiteY8" fmla="*/ 126873 h 157151"/>
                  <a:gd name="connsiteX9" fmla="*/ 19440 w 148397"/>
                  <a:gd name="connsiteY9" fmla="*/ 20505 h 157151"/>
                  <a:gd name="connsiteX10" fmla="*/ 5343 w 148397"/>
                  <a:gd name="connsiteY10" fmla="*/ 0 h 157151"/>
                  <a:gd name="connsiteX11" fmla="*/ 4061 w 148397"/>
                  <a:gd name="connsiteY11" fmla="*/ 0 h 157151"/>
                  <a:gd name="connsiteX12" fmla="*/ 4061 w 148397"/>
                  <a:gd name="connsiteY12" fmla="*/ 15378 h 15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8397" h="157151">
                    <a:moveTo>
                      <a:pt x="4061" y="15378"/>
                    </a:moveTo>
                    <a:cubicBezTo>
                      <a:pt x="6624" y="17942"/>
                      <a:pt x="10469" y="21786"/>
                      <a:pt x="15595" y="21786"/>
                    </a:cubicBezTo>
                    <a:cubicBezTo>
                      <a:pt x="39944" y="58951"/>
                      <a:pt x="66857" y="94834"/>
                      <a:pt x="92488" y="129436"/>
                    </a:cubicBezTo>
                    <a:cubicBezTo>
                      <a:pt x="102741" y="134562"/>
                      <a:pt x="123245" y="134562"/>
                      <a:pt x="128372" y="146096"/>
                    </a:cubicBezTo>
                    <a:cubicBezTo>
                      <a:pt x="128372" y="146096"/>
                      <a:pt x="130935" y="153785"/>
                      <a:pt x="139906" y="156348"/>
                    </a:cubicBezTo>
                    <a:cubicBezTo>
                      <a:pt x="146313" y="158912"/>
                      <a:pt x="150158" y="155067"/>
                      <a:pt x="147595" y="148659"/>
                    </a:cubicBezTo>
                    <a:cubicBezTo>
                      <a:pt x="143750" y="139688"/>
                      <a:pt x="129653" y="133281"/>
                      <a:pt x="127090" y="139688"/>
                    </a:cubicBezTo>
                    <a:cubicBezTo>
                      <a:pt x="127090" y="139688"/>
                      <a:pt x="127090" y="140970"/>
                      <a:pt x="127090" y="140970"/>
                    </a:cubicBezTo>
                    <a:lnTo>
                      <a:pt x="95051" y="126873"/>
                    </a:lnTo>
                    <a:cubicBezTo>
                      <a:pt x="69420" y="92271"/>
                      <a:pt x="43789" y="56388"/>
                      <a:pt x="19440" y="20505"/>
                    </a:cubicBezTo>
                    <a:cubicBezTo>
                      <a:pt x="27129" y="12815"/>
                      <a:pt x="14314" y="0"/>
                      <a:pt x="5343" y="0"/>
                    </a:cubicBezTo>
                    <a:cubicBezTo>
                      <a:pt x="5343" y="0"/>
                      <a:pt x="4061" y="0"/>
                      <a:pt x="4061" y="0"/>
                    </a:cubicBezTo>
                    <a:cubicBezTo>
                      <a:pt x="-3628" y="5126"/>
                      <a:pt x="1498" y="12815"/>
                      <a:pt x="4061"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2" name="Freeform: Shape 379968">
                <a:extLst>
                  <a:ext uri="{FF2B5EF4-FFF2-40B4-BE49-F238E27FC236}">
                    <a16:creationId xmlns:a16="http://schemas.microsoft.com/office/drawing/2014/main" id="{0195437C-02E6-4D5C-A1D8-9714CB56773C}"/>
                  </a:ext>
                </a:extLst>
              </p:cNvPr>
              <p:cNvSpPr/>
              <p:nvPr/>
            </p:nvSpPr>
            <p:spPr>
              <a:xfrm>
                <a:off x="5027524" y="4671098"/>
                <a:ext cx="102357" cy="138406"/>
              </a:xfrm>
              <a:custGeom>
                <a:avLst/>
                <a:gdLst>
                  <a:gd name="connsiteX0" fmla="*/ 3507 w 102357"/>
                  <a:gd name="connsiteY0" fmla="*/ 15379 h 138406"/>
                  <a:gd name="connsiteX1" fmla="*/ 15041 w 102357"/>
                  <a:gd name="connsiteY1" fmla="*/ 21786 h 138406"/>
                  <a:gd name="connsiteX2" fmla="*/ 82963 w 102357"/>
                  <a:gd name="connsiteY2" fmla="*/ 119184 h 138406"/>
                  <a:gd name="connsiteX3" fmla="*/ 97060 w 102357"/>
                  <a:gd name="connsiteY3" fmla="*/ 138407 h 138406"/>
                  <a:gd name="connsiteX4" fmla="*/ 97060 w 102357"/>
                  <a:gd name="connsiteY4" fmla="*/ 123028 h 138406"/>
                  <a:gd name="connsiteX5" fmla="*/ 86808 w 102357"/>
                  <a:gd name="connsiteY5" fmla="*/ 119184 h 138406"/>
                  <a:gd name="connsiteX6" fmla="*/ 18886 w 102357"/>
                  <a:gd name="connsiteY6" fmla="*/ 20505 h 138406"/>
                  <a:gd name="connsiteX7" fmla="*/ 4788 w 102357"/>
                  <a:gd name="connsiteY7" fmla="*/ 0 h 138406"/>
                  <a:gd name="connsiteX8" fmla="*/ 3507 w 102357"/>
                  <a:gd name="connsiteY8" fmla="*/ 0 h 138406"/>
                  <a:gd name="connsiteX9" fmla="*/ 3507 w 102357"/>
                  <a:gd name="connsiteY9" fmla="*/ 15379 h 138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357" h="138406">
                    <a:moveTo>
                      <a:pt x="3507" y="15379"/>
                    </a:moveTo>
                    <a:cubicBezTo>
                      <a:pt x="6070" y="17942"/>
                      <a:pt x="9915" y="21786"/>
                      <a:pt x="15041" y="21786"/>
                    </a:cubicBezTo>
                    <a:cubicBezTo>
                      <a:pt x="36827" y="55106"/>
                      <a:pt x="59895" y="88427"/>
                      <a:pt x="82963" y="119184"/>
                    </a:cubicBezTo>
                    <a:cubicBezTo>
                      <a:pt x="76555" y="126873"/>
                      <a:pt x="89371" y="138407"/>
                      <a:pt x="97060" y="138407"/>
                    </a:cubicBezTo>
                    <a:cubicBezTo>
                      <a:pt x="104749" y="138407"/>
                      <a:pt x="103468" y="129436"/>
                      <a:pt x="97060" y="123028"/>
                    </a:cubicBezTo>
                    <a:cubicBezTo>
                      <a:pt x="91934" y="119184"/>
                      <a:pt x="88089" y="119184"/>
                      <a:pt x="86808" y="119184"/>
                    </a:cubicBezTo>
                    <a:cubicBezTo>
                      <a:pt x="63740" y="87145"/>
                      <a:pt x="40672" y="55106"/>
                      <a:pt x="18886" y="20505"/>
                    </a:cubicBezTo>
                    <a:cubicBezTo>
                      <a:pt x="26575" y="12816"/>
                      <a:pt x="13759" y="0"/>
                      <a:pt x="4788" y="0"/>
                    </a:cubicBezTo>
                    <a:cubicBezTo>
                      <a:pt x="4788" y="0"/>
                      <a:pt x="3507" y="0"/>
                      <a:pt x="3507" y="0"/>
                    </a:cubicBezTo>
                    <a:cubicBezTo>
                      <a:pt x="-2901" y="3845"/>
                      <a:pt x="943" y="12816"/>
                      <a:pt x="3507"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3" name="Freeform: Shape 379969">
                <a:extLst>
                  <a:ext uri="{FF2B5EF4-FFF2-40B4-BE49-F238E27FC236}">
                    <a16:creationId xmlns:a16="http://schemas.microsoft.com/office/drawing/2014/main" id="{6D8F811D-0342-439A-95D7-2EA45A4037A1}"/>
                  </a:ext>
                </a:extLst>
              </p:cNvPr>
              <p:cNvSpPr/>
              <p:nvPr/>
            </p:nvSpPr>
            <p:spPr>
              <a:xfrm>
                <a:off x="6557357" y="4125160"/>
                <a:ext cx="42834" cy="339929"/>
              </a:xfrm>
              <a:custGeom>
                <a:avLst/>
                <a:gdLst>
                  <a:gd name="connsiteX0" fmla="*/ 8971 w 42834"/>
                  <a:gd name="connsiteY0" fmla="*/ 333202 h 339929"/>
                  <a:gd name="connsiteX1" fmla="*/ 28194 w 42834"/>
                  <a:gd name="connsiteY1" fmla="*/ 333202 h 339929"/>
                  <a:gd name="connsiteX2" fmla="*/ 20505 w 42834"/>
                  <a:gd name="connsiteY2" fmla="*/ 316542 h 339929"/>
                  <a:gd name="connsiteX3" fmla="*/ 5126 w 42834"/>
                  <a:gd name="connsiteY3" fmla="*/ 90990 h 339929"/>
                  <a:gd name="connsiteX4" fmla="*/ 37165 w 42834"/>
                  <a:gd name="connsiteY4" fmla="*/ 48699 h 339929"/>
                  <a:gd name="connsiteX5" fmla="*/ 34602 w 42834"/>
                  <a:gd name="connsiteY5" fmla="*/ 24349 h 339929"/>
                  <a:gd name="connsiteX6" fmla="*/ 34602 w 42834"/>
                  <a:gd name="connsiteY6" fmla="*/ 0 h 339929"/>
                  <a:gd name="connsiteX7" fmla="*/ 29476 w 42834"/>
                  <a:gd name="connsiteY7" fmla="*/ 0 h 339929"/>
                  <a:gd name="connsiteX8" fmla="*/ 25631 w 42834"/>
                  <a:gd name="connsiteY8" fmla="*/ 24349 h 339929"/>
                  <a:gd name="connsiteX9" fmla="*/ 29476 w 42834"/>
                  <a:gd name="connsiteY9" fmla="*/ 25631 h 339929"/>
                  <a:gd name="connsiteX10" fmla="*/ 32039 w 42834"/>
                  <a:gd name="connsiteY10" fmla="*/ 47417 h 339929"/>
                  <a:gd name="connsiteX11" fmla="*/ 0 w 42834"/>
                  <a:gd name="connsiteY11" fmla="*/ 89708 h 339929"/>
                  <a:gd name="connsiteX12" fmla="*/ 16660 w 42834"/>
                  <a:gd name="connsiteY12" fmla="*/ 316542 h 339929"/>
                  <a:gd name="connsiteX13" fmla="*/ 8971 w 42834"/>
                  <a:gd name="connsiteY13" fmla="*/ 333202 h 33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834" h="339929">
                    <a:moveTo>
                      <a:pt x="8971" y="333202"/>
                    </a:moveTo>
                    <a:cubicBezTo>
                      <a:pt x="11534" y="342172"/>
                      <a:pt x="23068" y="342172"/>
                      <a:pt x="28194" y="333202"/>
                    </a:cubicBezTo>
                    <a:cubicBezTo>
                      <a:pt x="30757" y="328076"/>
                      <a:pt x="30757" y="317823"/>
                      <a:pt x="20505" y="316542"/>
                    </a:cubicBezTo>
                    <a:cubicBezTo>
                      <a:pt x="16660" y="243494"/>
                      <a:pt x="11534" y="167882"/>
                      <a:pt x="5126" y="90990"/>
                    </a:cubicBezTo>
                    <a:lnTo>
                      <a:pt x="37165" y="48699"/>
                    </a:lnTo>
                    <a:cubicBezTo>
                      <a:pt x="35884" y="41009"/>
                      <a:pt x="35884" y="32039"/>
                      <a:pt x="34602" y="24349"/>
                    </a:cubicBezTo>
                    <a:cubicBezTo>
                      <a:pt x="47418" y="17942"/>
                      <a:pt x="43573" y="2563"/>
                      <a:pt x="34602" y="0"/>
                    </a:cubicBezTo>
                    <a:cubicBezTo>
                      <a:pt x="33321" y="0"/>
                      <a:pt x="30757" y="0"/>
                      <a:pt x="29476" y="0"/>
                    </a:cubicBezTo>
                    <a:cubicBezTo>
                      <a:pt x="15379" y="3844"/>
                      <a:pt x="16660" y="20505"/>
                      <a:pt x="25631" y="24349"/>
                    </a:cubicBezTo>
                    <a:cubicBezTo>
                      <a:pt x="26913" y="24349"/>
                      <a:pt x="28194" y="25631"/>
                      <a:pt x="29476" y="25631"/>
                    </a:cubicBezTo>
                    <a:cubicBezTo>
                      <a:pt x="30757" y="33320"/>
                      <a:pt x="30757" y="41009"/>
                      <a:pt x="32039" y="47417"/>
                    </a:cubicBezTo>
                    <a:lnTo>
                      <a:pt x="0" y="89708"/>
                    </a:lnTo>
                    <a:cubicBezTo>
                      <a:pt x="7689" y="167882"/>
                      <a:pt x="12816" y="243494"/>
                      <a:pt x="16660" y="316542"/>
                    </a:cubicBezTo>
                    <a:cubicBezTo>
                      <a:pt x="7689" y="324231"/>
                      <a:pt x="8971" y="333202"/>
                      <a:pt x="8971" y="33320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4" name="Freeform: Shape 379970">
                <a:extLst>
                  <a:ext uri="{FF2B5EF4-FFF2-40B4-BE49-F238E27FC236}">
                    <a16:creationId xmlns:a16="http://schemas.microsoft.com/office/drawing/2014/main" id="{782635DA-CD93-42FC-AEDF-FB5D57EA2CF0}"/>
                  </a:ext>
                </a:extLst>
              </p:cNvPr>
              <p:cNvSpPr/>
              <p:nvPr/>
            </p:nvSpPr>
            <p:spPr>
              <a:xfrm>
                <a:off x="6993033" y="4032889"/>
                <a:ext cx="130931" cy="355092"/>
              </a:xfrm>
              <a:custGeom>
                <a:avLst/>
                <a:gdLst>
                  <a:gd name="connsiteX0" fmla="*/ 51 w 130931"/>
                  <a:gd name="connsiteY0" fmla="*/ 347299 h 355092"/>
                  <a:gd name="connsiteX1" fmla="*/ 12867 w 130931"/>
                  <a:gd name="connsiteY1" fmla="*/ 352425 h 355092"/>
                  <a:gd name="connsiteX2" fmla="*/ 12867 w 130931"/>
                  <a:gd name="connsiteY2" fmla="*/ 331920 h 355092"/>
                  <a:gd name="connsiteX3" fmla="*/ 29527 w 130931"/>
                  <a:gd name="connsiteY3" fmla="*/ 135844 h 355092"/>
                  <a:gd name="connsiteX4" fmla="*/ 115391 w 130931"/>
                  <a:gd name="connsiteY4" fmla="*/ 24349 h 355092"/>
                  <a:gd name="connsiteX5" fmla="*/ 130769 w 130931"/>
                  <a:gd name="connsiteY5" fmla="*/ 6408 h 355092"/>
                  <a:gd name="connsiteX6" fmla="*/ 121799 w 130931"/>
                  <a:gd name="connsiteY6" fmla="*/ 0 h 355092"/>
                  <a:gd name="connsiteX7" fmla="*/ 112828 w 130931"/>
                  <a:gd name="connsiteY7" fmla="*/ 20505 h 355092"/>
                  <a:gd name="connsiteX8" fmla="*/ 25682 w 130931"/>
                  <a:gd name="connsiteY8" fmla="*/ 133281 h 355092"/>
                  <a:gd name="connsiteX9" fmla="*/ 9022 w 130931"/>
                  <a:gd name="connsiteY9" fmla="*/ 331920 h 355092"/>
                  <a:gd name="connsiteX10" fmla="*/ 51 w 130931"/>
                  <a:gd name="connsiteY10" fmla="*/ 347299 h 35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931" h="355092">
                    <a:moveTo>
                      <a:pt x="51" y="347299"/>
                    </a:moveTo>
                    <a:cubicBezTo>
                      <a:pt x="51" y="354988"/>
                      <a:pt x="7741" y="357551"/>
                      <a:pt x="12867" y="352425"/>
                    </a:cubicBezTo>
                    <a:cubicBezTo>
                      <a:pt x="19275" y="347299"/>
                      <a:pt x="20556" y="334483"/>
                      <a:pt x="12867" y="331920"/>
                    </a:cubicBezTo>
                    <a:cubicBezTo>
                      <a:pt x="20556" y="267843"/>
                      <a:pt x="26964" y="202484"/>
                      <a:pt x="29527" y="135844"/>
                    </a:cubicBezTo>
                    <a:cubicBezTo>
                      <a:pt x="55158" y="102524"/>
                      <a:pt x="89760" y="57670"/>
                      <a:pt x="115391" y="24349"/>
                    </a:cubicBezTo>
                    <a:cubicBezTo>
                      <a:pt x="125643" y="30757"/>
                      <a:pt x="132051" y="15379"/>
                      <a:pt x="130769" y="6408"/>
                    </a:cubicBezTo>
                    <a:cubicBezTo>
                      <a:pt x="128206" y="0"/>
                      <a:pt x="124362" y="0"/>
                      <a:pt x="121799" y="0"/>
                    </a:cubicBezTo>
                    <a:cubicBezTo>
                      <a:pt x="114109" y="2563"/>
                      <a:pt x="110265" y="11534"/>
                      <a:pt x="112828" y="20505"/>
                    </a:cubicBezTo>
                    <a:cubicBezTo>
                      <a:pt x="87197" y="55106"/>
                      <a:pt x="52595" y="99961"/>
                      <a:pt x="25682" y="133281"/>
                    </a:cubicBezTo>
                    <a:cubicBezTo>
                      <a:pt x="21837" y="201203"/>
                      <a:pt x="16712" y="266561"/>
                      <a:pt x="9022" y="331920"/>
                    </a:cubicBezTo>
                    <a:cubicBezTo>
                      <a:pt x="-1230" y="338328"/>
                      <a:pt x="51" y="347299"/>
                      <a:pt x="51" y="34729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5" name="Freeform: Shape 379971">
                <a:extLst>
                  <a:ext uri="{FF2B5EF4-FFF2-40B4-BE49-F238E27FC236}">
                    <a16:creationId xmlns:a16="http://schemas.microsoft.com/office/drawing/2014/main" id="{FDFE7E6B-B050-4DCA-84A1-CC8F38852A83}"/>
                  </a:ext>
                </a:extLst>
              </p:cNvPr>
              <p:cNvSpPr/>
              <p:nvPr/>
            </p:nvSpPr>
            <p:spPr>
              <a:xfrm>
                <a:off x="4981681" y="4905523"/>
                <a:ext cx="196728" cy="188625"/>
              </a:xfrm>
              <a:custGeom>
                <a:avLst/>
                <a:gdLst>
                  <a:gd name="connsiteX0" fmla="*/ 5777 w 196728"/>
                  <a:gd name="connsiteY0" fmla="*/ 12914 h 188625"/>
                  <a:gd name="connsiteX1" fmla="*/ 17311 w 196728"/>
                  <a:gd name="connsiteY1" fmla="*/ 18040 h 188625"/>
                  <a:gd name="connsiteX2" fmla="*/ 176223 w 196728"/>
                  <a:gd name="connsiteY2" fmla="*/ 173107 h 188625"/>
                  <a:gd name="connsiteX3" fmla="*/ 195447 w 196728"/>
                  <a:gd name="connsiteY3" fmla="*/ 188486 h 188625"/>
                  <a:gd name="connsiteX4" fmla="*/ 196728 w 196728"/>
                  <a:gd name="connsiteY4" fmla="*/ 187204 h 188625"/>
                  <a:gd name="connsiteX5" fmla="*/ 178787 w 196728"/>
                  <a:gd name="connsiteY5" fmla="*/ 173107 h 188625"/>
                  <a:gd name="connsiteX6" fmla="*/ 19874 w 196728"/>
                  <a:gd name="connsiteY6" fmla="*/ 18040 h 188625"/>
                  <a:gd name="connsiteX7" fmla="*/ 1932 w 196728"/>
                  <a:gd name="connsiteY7" fmla="*/ 98 h 188625"/>
                  <a:gd name="connsiteX8" fmla="*/ 5777 w 196728"/>
                  <a:gd name="connsiteY8" fmla="*/ 12914 h 18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728" h="188625">
                    <a:moveTo>
                      <a:pt x="5777" y="12914"/>
                    </a:moveTo>
                    <a:cubicBezTo>
                      <a:pt x="8340" y="15477"/>
                      <a:pt x="12185" y="18040"/>
                      <a:pt x="17311" y="18040"/>
                    </a:cubicBezTo>
                    <a:cubicBezTo>
                      <a:pt x="68573" y="73147"/>
                      <a:pt x="121117" y="125690"/>
                      <a:pt x="176223" y="173107"/>
                    </a:cubicBezTo>
                    <a:cubicBezTo>
                      <a:pt x="173660" y="182078"/>
                      <a:pt x="194165" y="189767"/>
                      <a:pt x="195447" y="188486"/>
                    </a:cubicBezTo>
                    <a:cubicBezTo>
                      <a:pt x="195447" y="188486"/>
                      <a:pt x="196728" y="187204"/>
                      <a:pt x="196728" y="187204"/>
                    </a:cubicBezTo>
                    <a:cubicBezTo>
                      <a:pt x="195447" y="179515"/>
                      <a:pt x="183913" y="173107"/>
                      <a:pt x="178787" y="173107"/>
                    </a:cubicBezTo>
                    <a:cubicBezTo>
                      <a:pt x="123680" y="124408"/>
                      <a:pt x="69855" y="73147"/>
                      <a:pt x="19874" y="18040"/>
                    </a:cubicBezTo>
                    <a:cubicBezTo>
                      <a:pt x="23719" y="10351"/>
                      <a:pt x="8340" y="-1183"/>
                      <a:pt x="1932" y="98"/>
                    </a:cubicBezTo>
                    <a:cubicBezTo>
                      <a:pt x="-3194" y="2661"/>
                      <a:pt x="3214" y="10351"/>
                      <a:pt x="5777" y="1291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6" name="Freeform: Shape 379972">
                <a:extLst>
                  <a:ext uri="{FF2B5EF4-FFF2-40B4-BE49-F238E27FC236}">
                    <a16:creationId xmlns:a16="http://schemas.microsoft.com/office/drawing/2014/main" id="{E4F3C47E-F143-4AC8-B349-1C94E2597D05}"/>
                  </a:ext>
                </a:extLst>
              </p:cNvPr>
              <p:cNvSpPr/>
              <p:nvPr/>
            </p:nvSpPr>
            <p:spPr>
              <a:xfrm>
                <a:off x="5128287" y="4850425"/>
                <a:ext cx="158141" cy="173097"/>
              </a:xfrm>
              <a:custGeom>
                <a:avLst/>
                <a:gdLst>
                  <a:gd name="connsiteX0" fmla="*/ 3987 w 158141"/>
                  <a:gd name="connsiteY0" fmla="*/ 15468 h 173097"/>
                  <a:gd name="connsiteX1" fmla="*/ 15521 w 158141"/>
                  <a:gd name="connsiteY1" fmla="*/ 20594 h 173097"/>
                  <a:gd name="connsiteX2" fmla="*/ 137268 w 158141"/>
                  <a:gd name="connsiteY2" fmla="*/ 156438 h 173097"/>
                  <a:gd name="connsiteX3" fmla="*/ 153929 w 158141"/>
                  <a:gd name="connsiteY3" fmla="*/ 173098 h 173097"/>
                  <a:gd name="connsiteX4" fmla="*/ 152647 w 158141"/>
                  <a:gd name="connsiteY4" fmla="*/ 160283 h 173097"/>
                  <a:gd name="connsiteX5" fmla="*/ 141113 w 158141"/>
                  <a:gd name="connsiteY5" fmla="*/ 155156 h 173097"/>
                  <a:gd name="connsiteX6" fmla="*/ 20647 w 158141"/>
                  <a:gd name="connsiteY6" fmla="*/ 18031 h 173097"/>
                  <a:gd name="connsiteX7" fmla="*/ 5269 w 158141"/>
                  <a:gd name="connsiteY7" fmla="*/ 89 h 173097"/>
                  <a:gd name="connsiteX8" fmla="*/ 3987 w 158141"/>
                  <a:gd name="connsiteY8" fmla="*/ 89 h 173097"/>
                  <a:gd name="connsiteX9" fmla="*/ 3987 w 158141"/>
                  <a:gd name="connsiteY9" fmla="*/ 15468 h 17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141" h="173097">
                    <a:moveTo>
                      <a:pt x="3987" y="15468"/>
                    </a:moveTo>
                    <a:cubicBezTo>
                      <a:pt x="6550" y="18031"/>
                      <a:pt x="10395" y="20594"/>
                      <a:pt x="15521" y="20594"/>
                    </a:cubicBezTo>
                    <a:cubicBezTo>
                      <a:pt x="53967" y="68011"/>
                      <a:pt x="94977" y="114147"/>
                      <a:pt x="137268" y="156438"/>
                    </a:cubicBezTo>
                    <a:cubicBezTo>
                      <a:pt x="132142" y="162846"/>
                      <a:pt x="146239" y="173098"/>
                      <a:pt x="153929" y="173098"/>
                    </a:cubicBezTo>
                    <a:cubicBezTo>
                      <a:pt x="160336" y="173098"/>
                      <a:pt x="159054" y="166690"/>
                      <a:pt x="152647" y="160283"/>
                    </a:cubicBezTo>
                    <a:cubicBezTo>
                      <a:pt x="150084" y="157719"/>
                      <a:pt x="146239" y="155156"/>
                      <a:pt x="141113" y="155156"/>
                    </a:cubicBezTo>
                    <a:cubicBezTo>
                      <a:pt x="100103" y="111584"/>
                      <a:pt x="59094" y="66730"/>
                      <a:pt x="20647" y="18031"/>
                    </a:cubicBezTo>
                    <a:cubicBezTo>
                      <a:pt x="27055" y="11623"/>
                      <a:pt x="12958" y="-1192"/>
                      <a:pt x="5269" y="89"/>
                    </a:cubicBezTo>
                    <a:cubicBezTo>
                      <a:pt x="5269" y="89"/>
                      <a:pt x="3987" y="89"/>
                      <a:pt x="3987" y="89"/>
                    </a:cubicBezTo>
                    <a:cubicBezTo>
                      <a:pt x="-4984" y="5215"/>
                      <a:pt x="3987" y="15468"/>
                      <a:pt x="3987" y="1546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37" name="Freeform: Shape 379973">
                <a:extLst>
                  <a:ext uri="{FF2B5EF4-FFF2-40B4-BE49-F238E27FC236}">
                    <a16:creationId xmlns:a16="http://schemas.microsoft.com/office/drawing/2014/main" id="{5CCC5C05-BC89-46DC-9B2C-293ADBEAD594}"/>
                  </a:ext>
                </a:extLst>
              </p:cNvPr>
              <p:cNvSpPr/>
              <p:nvPr/>
            </p:nvSpPr>
            <p:spPr>
              <a:xfrm>
                <a:off x="6568350" y="4476303"/>
                <a:ext cx="24624" cy="181061"/>
              </a:xfrm>
              <a:custGeom>
                <a:avLst/>
                <a:gdLst>
                  <a:gd name="connsiteX0" fmla="*/ 542 w 24624"/>
                  <a:gd name="connsiteY0" fmla="*/ 15378 h 181061"/>
                  <a:gd name="connsiteX1" fmla="*/ 9513 w 24624"/>
                  <a:gd name="connsiteY1" fmla="*/ 23068 h 181061"/>
                  <a:gd name="connsiteX2" fmla="*/ 12076 w 24624"/>
                  <a:gd name="connsiteY2" fmla="*/ 160193 h 181061"/>
                  <a:gd name="connsiteX3" fmla="*/ 10794 w 24624"/>
                  <a:gd name="connsiteY3" fmla="*/ 180698 h 181061"/>
                  <a:gd name="connsiteX4" fmla="*/ 23610 w 24624"/>
                  <a:gd name="connsiteY4" fmla="*/ 162756 h 181061"/>
                  <a:gd name="connsiteX5" fmla="*/ 17202 w 24624"/>
                  <a:gd name="connsiteY5" fmla="*/ 158912 h 181061"/>
                  <a:gd name="connsiteX6" fmla="*/ 14639 w 24624"/>
                  <a:gd name="connsiteY6" fmla="*/ 21786 h 181061"/>
                  <a:gd name="connsiteX7" fmla="*/ 15921 w 24624"/>
                  <a:gd name="connsiteY7" fmla="*/ 0 h 181061"/>
                  <a:gd name="connsiteX8" fmla="*/ 12076 w 24624"/>
                  <a:gd name="connsiteY8" fmla="*/ 0 h 181061"/>
                  <a:gd name="connsiteX9" fmla="*/ 542 w 24624"/>
                  <a:gd name="connsiteY9" fmla="*/ 15378 h 18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24" h="181061">
                    <a:moveTo>
                      <a:pt x="542" y="15378"/>
                    </a:moveTo>
                    <a:cubicBezTo>
                      <a:pt x="542" y="17942"/>
                      <a:pt x="3105" y="21786"/>
                      <a:pt x="9513" y="23068"/>
                    </a:cubicBezTo>
                    <a:cubicBezTo>
                      <a:pt x="10794" y="69203"/>
                      <a:pt x="12076" y="115339"/>
                      <a:pt x="12076" y="160193"/>
                    </a:cubicBezTo>
                    <a:cubicBezTo>
                      <a:pt x="1824" y="166601"/>
                      <a:pt x="3105" y="179416"/>
                      <a:pt x="10794" y="180698"/>
                    </a:cubicBezTo>
                    <a:cubicBezTo>
                      <a:pt x="19765" y="183261"/>
                      <a:pt x="27455" y="171727"/>
                      <a:pt x="23610" y="162756"/>
                    </a:cubicBezTo>
                    <a:cubicBezTo>
                      <a:pt x="22328" y="158912"/>
                      <a:pt x="18484" y="158912"/>
                      <a:pt x="17202" y="158912"/>
                    </a:cubicBezTo>
                    <a:cubicBezTo>
                      <a:pt x="17202" y="114057"/>
                      <a:pt x="15921" y="69203"/>
                      <a:pt x="14639" y="21786"/>
                    </a:cubicBezTo>
                    <a:cubicBezTo>
                      <a:pt x="26173" y="15378"/>
                      <a:pt x="23610" y="2563"/>
                      <a:pt x="15921" y="0"/>
                    </a:cubicBezTo>
                    <a:cubicBezTo>
                      <a:pt x="14639" y="0"/>
                      <a:pt x="13357" y="0"/>
                      <a:pt x="12076" y="0"/>
                    </a:cubicBezTo>
                    <a:cubicBezTo>
                      <a:pt x="-740" y="2563"/>
                      <a:pt x="-740" y="11534"/>
                      <a:pt x="542"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838" name="Graphic 379285">
                <a:extLst>
                  <a:ext uri="{FF2B5EF4-FFF2-40B4-BE49-F238E27FC236}">
                    <a16:creationId xmlns:a16="http://schemas.microsoft.com/office/drawing/2014/main" id="{D973D960-FBCD-4D6F-9AA8-88935B4C1FE3}"/>
                  </a:ext>
                </a:extLst>
              </p:cNvPr>
              <p:cNvGrpSpPr/>
              <p:nvPr/>
            </p:nvGrpSpPr>
            <p:grpSpPr>
              <a:xfrm>
                <a:off x="6724791" y="3935491"/>
                <a:ext cx="111944" cy="557779"/>
                <a:chOff x="6724791" y="3935491"/>
                <a:chExt cx="111944" cy="557779"/>
              </a:xfrm>
              <a:grpFill/>
            </p:grpSpPr>
            <p:sp>
              <p:nvSpPr>
                <p:cNvPr id="979" name="Freeform: Shape 379975">
                  <a:extLst>
                    <a:ext uri="{FF2B5EF4-FFF2-40B4-BE49-F238E27FC236}">
                      <a16:creationId xmlns:a16="http://schemas.microsoft.com/office/drawing/2014/main" id="{260850AF-D9A1-4FC4-947C-1CCB0131E01D}"/>
                    </a:ext>
                  </a:extLst>
                </p:cNvPr>
                <p:cNvSpPr/>
                <p:nvPr/>
              </p:nvSpPr>
              <p:spPr>
                <a:xfrm>
                  <a:off x="6771377" y="4213587"/>
                  <a:ext cx="28194" cy="61514"/>
                </a:xfrm>
                <a:custGeom>
                  <a:avLst/>
                  <a:gdLst>
                    <a:gd name="connsiteX0" fmla="*/ 0 w 28194"/>
                    <a:gd name="connsiteY0" fmla="*/ 61514 h 61514"/>
                    <a:gd name="connsiteX1" fmla="*/ 0 w 28194"/>
                    <a:gd name="connsiteY1" fmla="*/ 34602 h 61514"/>
                    <a:gd name="connsiteX2" fmla="*/ 28194 w 28194"/>
                    <a:gd name="connsiteY2" fmla="*/ 0 h 61514"/>
                    <a:gd name="connsiteX3" fmla="*/ 28194 w 28194"/>
                    <a:gd name="connsiteY3" fmla="*/ 28194 h 61514"/>
                    <a:gd name="connsiteX4" fmla="*/ 0 w 28194"/>
                    <a:gd name="connsiteY4" fmla="*/ 61514 h 615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94" h="61514">
                      <a:moveTo>
                        <a:pt x="0" y="61514"/>
                      </a:moveTo>
                      <a:cubicBezTo>
                        <a:pt x="0" y="52543"/>
                        <a:pt x="0" y="43573"/>
                        <a:pt x="0" y="34602"/>
                      </a:cubicBezTo>
                      <a:lnTo>
                        <a:pt x="28194" y="0"/>
                      </a:lnTo>
                      <a:cubicBezTo>
                        <a:pt x="28194" y="8971"/>
                        <a:pt x="28194" y="17942"/>
                        <a:pt x="28194" y="28194"/>
                      </a:cubicBezTo>
                      <a:lnTo>
                        <a:pt x="0" y="61514"/>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80" name="Freeform: Shape 379976">
                  <a:extLst>
                    <a:ext uri="{FF2B5EF4-FFF2-40B4-BE49-F238E27FC236}">
                      <a16:creationId xmlns:a16="http://schemas.microsoft.com/office/drawing/2014/main" id="{C6673BFD-844E-4936-9B6B-0E041A462D07}"/>
                    </a:ext>
                  </a:extLst>
                </p:cNvPr>
                <p:cNvSpPr/>
                <p:nvPr/>
              </p:nvSpPr>
              <p:spPr>
                <a:xfrm>
                  <a:off x="6724791" y="3935491"/>
                  <a:ext cx="111944" cy="557779"/>
                </a:xfrm>
                <a:custGeom>
                  <a:avLst/>
                  <a:gdLst>
                    <a:gd name="connsiteX0" fmla="*/ 1731 w 111944"/>
                    <a:gd name="connsiteY0" fmla="*/ 356270 h 557779"/>
                    <a:gd name="connsiteX1" fmla="*/ 20954 w 111944"/>
                    <a:gd name="connsiteY1" fmla="*/ 356270 h 557779"/>
                    <a:gd name="connsiteX2" fmla="*/ 20954 w 111944"/>
                    <a:gd name="connsiteY2" fmla="*/ 343454 h 557779"/>
                    <a:gd name="connsiteX3" fmla="*/ 41459 w 111944"/>
                    <a:gd name="connsiteY3" fmla="*/ 316542 h 557779"/>
                    <a:gd name="connsiteX4" fmla="*/ 41459 w 111944"/>
                    <a:gd name="connsiteY4" fmla="*/ 343454 h 557779"/>
                    <a:gd name="connsiteX5" fmla="*/ 9420 w 111944"/>
                    <a:gd name="connsiteY5" fmla="*/ 384464 h 557779"/>
                    <a:gd name="connsiteX6" fmla="*/ 8139 w 111944"/>
                    <a:gd name="connsiteY6" fmla="*/ 508774 h 557779"/>
                    <a:gd name="connsiteX7" fmla="*/ 5576 w 111944"/>
                    <a:gd name="connsiteY7" fmla="*/ 530560 h 557779"/>
                    <a:gd name="connsiteX8" fmla="*/ 18391 w 111944"/>
                    <a:gd name="connsiteY8" fmla="*/ 510055 h 557779"/>
                    <a:gd name="connsiteX9" fmla="*/ 13265 w 111944"/>
                    <a:gd name="connsiteY9" fmla="*/ 507492 h 557779"/>
                    <a:gd name="connsiteX10" fmla="*/ 14547 w 111944"/>
                    <a:gd name="connsiteY10" fmla="*/ 385745 h 557779"/>
                    <a:gd name="connsiteX11" fmla="*/ 41459 w 111944"/>
                    <a:gd name="connsiteY11" fmla="*/ 351143 h 557779"/>
                    <a:gd name="connsiteX12" fmla="*/ 37615 w 111944"/>
                    <a:gd name="connsiteY12" fmla="*/ 535686 h 557779"/>
                    <a:gd name="connsiteX13" fmla="*/ 35051 w 111944"/>
                    <a:gd name="connsiteY13" fmla="*/ 557472 h 557779"/>
                    <a:gd name="connsiteX14" fmla="*/ 47867 w 111944"/>
                    <a:gd name="connsiteY14" fmla="*/ 538249 h 557779"/>
                    <a:gd name="connsiteX15" fmla="*/ 42741 w 111944"/>
                    <a:gd name="connsiteY15" fmla="*/ 535686 h 557779"/>
                    <a:gd name="connsiteX16" fmla="*/ 47867 w 111944"/>
                    <a:gd name="connsiteY16" fmla="*/ 346017 h 557779"/>
                    <a:gd name="connsiteX17" fmla="*/ 79906 w 111944"/>
                    <a:gd name="connsiteY17" fmla="*/ 305008 h 557779"/>
                    <a:gd name="connsiteX18" fmla="*/ 79906 w 111944"/>
                    <a:gd name="connsiteY18" fmla="*/ 270406 h 557779"/>
                    <a:gd name="connsiteX19" fmla="*/ 111944 w 111944"/>
                    <a:gd name="connsiteY19" fmla="*/ 229397 h 557779"/>
                    <a:gd name="connsiteX20" fmla="*/ 102973 w 111944"/>
                    <a:gd name="connsiteY20" fmla="*/ 24349 h 557779"/>
                    <a:gd name="connsiteX21" fmla="*/ 102973 w 111944"/>
                    <a:gd name="connsiteY21" fmla="*/ 0 h 557779"/>
                    <a:gd name="connsiteX22" fmla="*/ 99129 w 111944"/>
                    <a:gd name="connsiteY22" fmla="*/ 0 h 557779"/>
                    <a:gd name="connsiteX23" fmla="*/ 95284 w 111944"/>
                    <a:gd name="connsiteY23" fmla="*/ 24349 h 557779"/>
                    <a:gd name="connsiteX24" fmla="*/ 99129 w 111944"/>
                    <a:gd name="connsiteY24" fmla="*/ 25631 h 557779"/>
                    <a:gd name="connsiteX25" fmla="*/ 108100 w 111944"/>
                    <a:gd name="connsiteY25" fmla="*/ 228115 h 557779"/>
                    <a:gd name="connsiteX26" fmla="*/ 81187 w 111944"/>
                    <a:gd name="connsiteY26" fmla="*/ 262717 h 557779"/>
                    <a:gd name="connsiteX27" fmla="*/ 77342 w 111944"/>
                    <a:gd name="connsiteY27" fmla="*/ 138407 h 557779"/>
                    <a:gd name="connsiteX28" fmla="*/ 77342 w 111944"/>
                    <a:gd name="connsiteY28" fmla="*/ 114058 h 557779"/>
                    <a:gd name="connsiteX29" fmla="*/ 63246 w 111944"/>
                    <a:gd name="connsiteY29" fmla="*/ 131999 h 557779"/>
                    <a:gd name="connsiteX30" fmla="*/ 72217 w 111944"/>
                    <a:gd name="connsiteY30" fmla="*/ 138407 h 557779"/>
                    <a:gd name="connsiteX31" fmla="*/ 76061 w 111944"/>
                    <a:gd name="connsiteY31" fmla="*/ 267843 h 557779"/>
                    <a:gd name="connsiteX32" fmla="*/ 47867 w 111944"/>
                    <a:gd name="connsiteY32" fmla="*/ 302445 h 557779"/>
                    <a:gd name="connsiteX33" fmla="*/ 45304 w 111944"/>
                    <a:gd name="connsiteY33" fmla="*/ 215300 h 557779"/>
                    <a:gd name="connsiteX34" fmla="*/ 46585 w 111944"/>
                    <a:gd name="connsiteY34" fmla="*/ 190950 h 557779"/>
                    <a:gd name="connsiteX35" fmla="*/ 32488 w 111944"/>
                    <a:gd name="connsiteY35" fmla="*/ 208892 h 557779"/>
                    <a:gd name="connsiteX36" fmla="*/ 40178 w 111944"/>
                    <a:gd name="connsiteY36" fmla="*/ 215300 h 557779"/>
                    <a:gd name="connsiteX37" fmla="*/ 42741 w 111944"/>
                    <a:gd name="connsiteY37" fmla="*/ 307571 h 557779"/>
                    <a:gd name="connsiteX38" fmla="*/ 18391 w 111944"/>
                    <a:gd name="connsiteY38" fmla="*/ 338328 h 557779"/>
                    <a:gd name="connsiteX39" fmla="*/ 1731 w 111944"/>
                    <a:gd name="connsiteY39" fmla="*/ 356270 h 557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1944" h="557779">
                      <a:moveTo>
                        <a:pt x="1731" y="356270"/>
                      </a:moveTo>
                      <a:cubicBezTo>
                        <a:pt x="4294" y="366522"/>
                        <a:pt x="15828" y="366522"/>
                        <a:pt x="20954" y="356270"/>
                      </a:cubicBezTo>
                      <a:cubicBezTo>
                        <a:pt x="24799" y="349862"/>
                        <a:pt x="22236" y="344736"/>
                        <a:pt x="20954" y="343454"/>
                      </a:cubicBezTo>
                      <a:lnTo>
                        <a:pt x="41459" y="316542"/>
                      </a:lnTo>
                      <a:cubicBezTo>
                        <a:pt x="41459" y="325513"/>
                        <a:pt x="41459" y="334483"/>
                        <a:pt x="41459" y="343454"/>
                      </a:cubicBezTo>
                      <a:lnTo>
                        <a:pt x="9420" y="384464"/>
                      </a:lnTo>
                      <a:cubicBezTo>
                        <a:pt x="9420" y="426755"/>
                        <a:pt x="9420" y="467764"/>
                        <a:pt x="8139" y="508774"/>
                      </a:cubicBezTo>
                      <a:cubicBezTo>
                        <a:pt x="-5958" y="517744"/>
                        <a:pt x="1731" y="529278"/>
                        <a:pt x="5576" y="530560"/>
                      </a:cubicBezTo>
                      <a:cubicBezTo>
                        <a:pt x="14547" y="533123"/>
                        <a:pt x="23517" y="519026"/>
                        <a:pt x="18391" y="510055"/>
                      </a:cubicBezTo>
                      <a:cubicBezTo>
                        <a:pt x="17110" y="508774"/>
                        <a:pt x="14547" y="507492"/>
                        <a:pt x="13265" y="507492"/>
                      </a:cubicBezTo>
                      <a:cubicBezTo>
                        <a:pt x="14547" y="467764"/>
                        <a:pt x="14547" y="426755"/>
                        <a:pt x="14547" y="385745"/>
                      </a:cubicBezTo>
                      <a:lnTo>
                        <a:pt x="41459" y="351143"/>
                      </a:lnTo>
                      <a:cubicBezTo>
                        <a:pt x="41459" y="413939"/>
                        <a:pt x="40178" y="475454"/>
                        <a:pt x="37615" y="535686"/>
                      </a:cubicBezTo>
                      <a:cubicBezTo>
                        <a:pt x="24799" y="544657"/>
                        <a:pt x="29925" y="556191"/>
                        <a:pt x="35051" y="557472"/>
                      </a:cubicBezTo>
                      <a:cubicBezTo>
                        <a:pt x="44022" y="560036"/>
                        <a:pt x="52993" y="545938"/>
                        <a:pt x="47867" y="538249"/>
                      </a:cubicBezTo>
                      <a:cubicBezTo>
                        <a:pt x="46585" y="536968"/>
                        <a:pt x="44022" y="535686"/>
                        <a:pt x="42741" y="535686"/>
                      </a:cubicBezTo>
                      <a:cubicBezTo>
                        <a:pt x="46585" y="474172"/>
                        <a:pt x="47867" y="411376"/>
                        <a:pt x="47867" y="346017"/>
                      </a:cubicBezTo>
                      <a:lnTo>
                        <a:pt x="79906" y="305008"/>
                      </a:lnTo>
                      <a:cubicBezTo>
                        <a:pt x="79906" y="293474"/>
                        <a:pt x="79906" y="281940"/>
                        <a:pt x="79906" y="270406"/>
                      </a:cubicBezTo>
                      <a:lnTo>
                        <a:pt x="111944" y="229397"/>
                      </a:lnTo>
                      <a:cubicBezTo>
                        <a:pt x="110663" y="162756"/>
                        <a:pt x="108100" y="93553"/>
                        <a:pt x="102973" y="24349"/>
                      </a:cubicBezTo>
                      <a:cubicBezTo>
                        <a:pt x="117071" y="14097"/>
                        <a:pt x="108100" y="1282"/>
                        <a:pt x="102973" y="0"/>
                      </a:cubicBezTo>
                      <a:cubicBezTo>
                        <a:pt x="101692" y="0"/>
                        <a:pt x="100410" y="0"/>
                        <a:pt x="99129" y="0"/>
                      </a:cubicBezTo>
                      <a:cubicBezTo>
                        <a:pt x="83751" y="6408"/>
                        <a:pt x="88876" y="21786"/>
                        <a:pt x="95284" y="24349"/>
                      </a:cubicBezTo>
                      <a:cubicBezTo>
                        <a:pt x="96566" y="24349"/>
                        <a:pt x="97847" y="25631"/>
                        <a:pt x="99129" y="25631"/>
                      </a:cubicBezTo>
                      <a:cubicBezTo>
                        <a:pt x="104255" y="94834"/>
                        <a:pt x="106818" y="162756"/>
                        <a:pt x="108100" y="228115"/>
                      </a:cubicBezTo>
                      <a:lnTo>
                        <a:pt x="81187" y="262717"/>
                      </a:lnTo>
                      <a:cubicBezTo>
                        <a:pt x="81187" y="221708"/>
                        <a:pt x="78624" y="180698"/>
                        <a:pt x="77342" y="138407"/>
                      </a:cubicBezTo>
                      <a:cubicBezTo>
                        <a:pt x="91439" y="129436"/>
                        <a:pt x="82469" y="115339"/>
                        <a:pt x="77342" y="114058"/>
                      </a:cubicBezTo>
                      <a:cubicBezTo>
                        <a:pt x="67090" y="111495"/>
                        <a:pt x="59401" y="123028"/>
                        <a:pt x="63246" y="131999"/>
                      </a:cubicBezTo>
                      <a:cubicBezTo>
                        <a:pt x="64527" y="137125"/>
                        <a:pt x="69653" y="138407"/>
                        <a:pt x="72217" y="138407"/>
                      </a:cubicBezTo>
                      <a:cubicBezTo>
                        <a:pt x="74780" y="181979"/>
                        <a:pt x="76061" y="225552"/>
                        <a:pt x="76061" y="267843"/>
                      </a:cubicBezTo>
                      <a:lnTo>
                        <a:pt x="47867" y="302445"/>
                      </a:lnTo>
                      <a:cubicBezTo>
                        <a:pt x="47867" y="272969"/>
                        <a:pt x="46585" y="244775"/>
                        <a:pt x="45304" y="215300"/>
                      </a:cubicBezTo>
                      <a:cubicBezTo>
                        <a:pt x="59401" y="206329"/>
                        <a:pt x="51712" y="193513"/>
                        <a:pt x="46585" y="190950"/>
                      </a:cubicBezTo>
                      <a:cubicBezTo>
                        <a:pt x="36333" y="188387"/>
                        <a:pt x="28644" y="199921"/>
                        <a:pt x="32488" y="208892"/>
                      </a:cubicBezTo>
                      <a:cubicBezTo>
                        <a:pt x="33770" y="214018"/>
                        <a:pt x="38896" y="214018"/>
                        <a:pt x="40178" y="215300"/>
                      </a:cubicBezTo>
                      <a:cubicBezTo>
                        <a:pt x="41459" y="246057"/>
                        <a:pt x="42741" y="276814"/>
                        <a:pt x="42741" y="307571"/>
                      </a:cubicBezTo>
                      <a:cubicBezTo>
                        <a:pt x="35051" y="316542"/>
                        <a:pt x="26081" y="329357"/>
                        <a:pt x="18391" y="338328"/>
                      </a:cubicBezTo>
                      <a:cubicBezTo>
                        <a:pt x="5576" y="337047"/>
                        <a:pt x="450" y="349862"/>
                        <a:pt x="1731" y="35627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grpSp>
            <p:nvGrpSpPr>
              <p:cNvPr id="839" name="Graphic 379285">
                <a:extLst>
                  <a:ext uri="{FF2B5EF4-FFF2-40B4-BE49-F238E27FC236}">
                    <a16:creationId xmlns:a16="http://schemas.microsoft.com/office/drawing/2014/main" id="{D973D960-FBCD-4D6F-9AA8-88935B4C1FE3}"/>
                  </a:ext>
                </a:extLst>
              </p:cNvPr>
              <p:cNvGrpSpPr/>
              <p:nvPr/>
            </p:nvGrpSpPr>
            <p:grpSpPr>
              <a:xfrm>
                <a:off x="7664617" y="4207179"/>
                <a:ext cx="42291" cy="128154"/>
                <a:chOff x="7664617" y="4207179"/>
                <a:chExt cx="42291" cy="128154"/>
              </a:xfrm>
              <a:grpFill/>
            </p:grpSpPr>
            <p:sp>
              <p:nvSpPr>
                <p:cNvPr id="977" name="Freeform: Shape 379978">
                  <a:extLst>
                    <a:ext uri="{FF2B5EF4-FFF2-40B4-BE49-F238E27FC236}">
                      <a16:creationId xmlns:a16="http://schemas.microsoft.com/office/drawing/2014/main" id="{8B182FFD-B520-4FF0-A5D3-17AD620B90B9}"/>
                    </a:ext>
                  </a:extLst>
                </p:cNvPr>
                <p:cNvSpPr/>
                <p:nvPr/>
              </p:nvSpPr>
              <p:spPr>
                <a:xfrm>
                  <a:off x="7664617" y="4319955"/>
                  <a:ext cx="6407" cy="15378"/>
                </a:xfrm>
                <a:custGeom>
                  <a:avLst/>
                  <a:gdLst>
                    <a:gd name="connsiteX0" fmla="*/ 2563 w 6407"/>
                    <a:gd name="connsiteY0" fmla="*/ 8971 h 15378"/>
                    <a:gd name="connsiteX1" fmla="*/ 0 w 6407"/>
                    <a:gd name="connsiteY1" fmla="*/ 15379 h 15378"/>
                    <a:gd name="connsiteX2" fmla="*/ 6408 w 6407"/>
                    <a:gd name="connsiteY2" fmla="*/ 0 h 15378"/>
                    <a:gd name="connsiteX3" fmla="*/ 2563 w 6407"/>
                    <a:gd name="connsiteY3" fmla="*/ 8971 h 15378"/>
                  </a:gdLst>
                  <a:ahLst/>
                  <a:cxnLst>
                    <a:cxn ang="0">
                      <a:pos x="connsiteX0" y="connsiteY0"/>
                    </a:cxn>
                    <a:cxn ang="0">
                      <a:pos x="connsiteX1" y="connsiteY1"/>
                    </a:cxn>
                    <a:cxn ang="0">
                      <a:pos x="connsiteX2" y="connsiteY2"/>
                    </a:cxn>
                    <a:cxn ang="0">
                      <a:pos x="connsiteX3" y="connsiteY3"/>
                    </a:cxn>
                  </a:cxnLst>
                  <a:rect l="l" t="t" r="r" b="b"/>
                  <a:pathLst>
                    <a:path w="6407" h="15378">
                      <a:moveTo>
                        <a:pt x="2563" y="8971"/>
                      </a:moveTo>
                      <a:cubicBezTo>
                        <a:pt x="1281" y="11534"/>
                        <a:pt x="1281" y="14097"/>
                        <a:pt x="0" y="15379"/>
                      </a:cubicBezTo>
                      <a:lnTo>
                        <a:pt x="6408" y="0"/>
                      </a:lnTo>
                      <a:cubicBezTo>
                        <a:pt x="3844" y="3845"/>
                        <a:pt x="3844" y="6408"/>
                        <a:pt x="2563" y="89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78" name="Freeform: Shape 379979">
                  <a:extLst>
                    <a:ext uri="{FF2B5EF4-FFF2-40B4-BE49-F238E27FC236}">
                      <a16:creationId xmlns:a16="http://schemas.microsoft.com/office/drawing/2014/main" id="{07D0525C-DE89-4F0C-89D8-C6F398482670}"/>
                    </a:ext>
                  </a:extLst>
                </p:cNvPr>
                <p:cNvSpPr/>
                <p:nvPr/>
              </p:nvSpPr>
              <p:spPr>
                <a:xfrm>
                  <a:off x="7696656" y="4207179"/>
                  <a:ext cx="10252" cy="34601"/>
                </a:xfrm>
                <a:custGeom>
                  <a:avLst/>
                  <a:gdLst>
                    <a:gd name="connsiteX0" fmla="*/ 6408 w 10252"/>
                    <a:gd name="connsiteY0" fmla="*/ 14097 h 34601"/>
                    <a:gd name="connsiteX1" fmla="*/ 2563 w 10252"/>
                    <a:gd name="connsiteY1" fmla="*/ 25631 h 34601"/>
                    <a:gd name="connsiteX2" fmla="*/ 2563 w 10252"/>
                    <a:gd name="connsiteY2" fmla="*/ 24349 h 34601"/>
                    <a:gd name="connsiteX3" fmla="*/ 0 w 10252"/>
                    <a:gd name="connsiteY3" fmla="*/ 34602 h 34601"/>
                    <a:gd name="connsiteX4" fmla="*/ 2563 w 10252"/>
                    <a:gd name="connsiteY4" fmla="*/ 25631 h 34601"/>
                    <a:gd name="connsiteX5" fmla="*/ 10252 w 10252"/>
                    <a:gd name="connsiteY5" fmla="*/ 0 h 34601"/>
                    <a:gd name="connsiteX6" fmla="*/ 6408 w 10252"/>
                    <a:gd name="connsiteY6" fmla="*/ 14097 h 34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52" h="34601">
                      <a:moveTo>
                        <a:pt x="6408" y="14097"/>
                      </a:moveTo>
                      <a:cubicBezTo>
                        <a:pt x="6408" y="16660"/>
                        <a:pt x="3844" y="23068"/>
                        <a:pt x="2563" y="25631"/>
                      </a:cubicBezTo>
                      <a:cubicBezTo>
                        <a:pt x="2563" y="25631"/>
                        <a:pt x="2563" y="24349"/>
                        <a:pt x="2563" y="24349"/>
                      </a:cubicBezTo>
                      <a:lnTo>
                        <a:pt x="0" y="34602"/>
                      </a:lnTo>
                      <a:lnTo>
                        <a:pt x="2563" y="25631"/>
                      </a:lnTo>
                      <a:cubicBezTo>
                        <a:pt x="6408" y="11534"/>
                        <a:pt x="8971" y="3844"/>
                        <a:pt x="10252" y="0"/>
                      </a:cubicBezTo>
                      <a:cubicBezTo>
                        <a:pt x="10252" y="1282"/>
                        <a:pt x="7689" y="7689"/>
                        <a:pt x="6408"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840" name="Freeform: Shape 379980">
                <a:extLst>
                  <a:ext uri="{FF2B5EF4-FFF2-40B4-BE49-F238E27FC236}">
                    <a16:creationId xmlns:a16="http://schemas.microsoft.com/office/drawing/2014/main" id="{B9F5E5BD-4CB4-4CA8-B964-F4BBF9BB9BF2}"/>
                  </a:ext>
                </a:extLst>
              </p:cNvPr>
              <p:cNvSpPr/>
              <p:nvPr/>
            </p:nvSpPr>
            <p:spPr>
              <a:xfrm>
                <a:off x="5265412" y="4873493"/>
                <a:ext cx="85686" cy="96303"/>
              </a:xfrm>
              <a:custGeom>
                <a:avLst/>
                <a:gdLst>
                  <a:gd name="connsiteX0" fmla="*/ 3987 w 85686"/>
                  <a:gd name="connsiteY0" fmla="*/ 14186 h 96303"/>
                  <a:gd name="connsiteX1" fmla="*/ 15521 w 85686"/>
                  <a:gd name="connsiteY1" fmla="*/ 19313 h 96303"/>
                  <a:gd name="connsiteX2" fmla="*/ 65501 w 85686"/>
                  <a:gd name="connsiteY2" fmla="*/ 79545 h 96303"/>
                  <a:gd name="connsiteX3" fmla="*/ 80880 w 85686"/>
                  <a:gd name="connsiteY3" fmla="*/ 96205 h 96303"/>
                  <a:gd name="connsiteX4" fmla="*/ 80880 w 85686"/>
                  <a:gd name="connsiteY4" fmla="*/ 83390 h 96303"/>
                  <a:gd name="connsiteX5" fmla="*/ 69346 w 85686"/>
                  <a:gd name="connsiteY5" fmla="*/ 78264 h 96303"/>
                  <a:gd name="connsiteX6" fmla="*/ 19365 w 85686"/>
                  <a:gd name="connsiteY6" fmla="*/ 18031 h 96303"/>
                  <a:gd name="connsiteX7" fmla="*/ 5269 w 85686"/>
                  <a:gd name="connsiteY7" fmla="*/ 89 h 96303"/>
                  <a:gd name="connsiteX8" fmla="*/ 3987 w 85686"/>
                  <a:gd name="connsiteY8" fmla="*/ 89 h 96303"/>
                  <a:gd name="connsiteX9" fmla="*/ 3987 w 85686"/>
                  <a:gd name="connsiteY9" fmla="*/ 14186 h 96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686" h="96303">
                    <a:moveTo>
                      <a:pt x="3987" y="14186"/>
                    </a:moveTo>
                    <a:cubicBezTo>
                      <a:pt x="6550" y="16750"/>
                      <a:pt x="10395" y="19313"/>
                      <a:pt x="15521" y="19313"/>
                    </a:cubicBezTo>
                    <a:cubicBezTo>
                      <a:pt x="32181" y="39817"/>
                      <a:pt x="48842" y="60322"/>
                      <a:pt x="65501" y="79545"/>
                    </a:cubicBezTo>
                    <a:cubicBezTo>
                      <a:pt x="59094" y="85953"/>
                      <a:pt x="73191" y="97487"/>
                      <a:pt x="80880" y="96205"/>
                    </a:cubicBezTo>
                    <a:cubicBezTo>
                      <a:pt x="87288" y="96205"/>
                      <a:pt x="87288" y="88516"/>
                      <a:pt x="80880" y="83390"/>
                    </a:cubicBezTo>
                    <a:cubicBezTo>
                      <a:pt x="78317" y="80827"/>
                      <a:pt x="74472" y="78264"/>
                      <a:pt x="69346" y="78264"/>
                    </a:cubicBezTo>
                    <a:cubicBezTo>
                      <a:pt x="52686" y="59041"/>
                      <a:pt x="36026" y="38536"/>
                      <a:pt x="19365" y="18031"/>
                    </a:cubicBezTo>
                    <a:cubicBezTo>
                      <a:pt x="25774" y="11623"/>
                      <a:pt x="12958" y="-1192"/>
                      <a:pt x="5269" y="89"/>
                    </a:cubicBezTo>
                    <a:cubicBezTo>
                      <a:pt x="5269" y="89"/>
                      <a:pt x="3987" y="89"/>
                      <a:pt x="3987" y="89"/>
                    </a:cubicBezTo>
                    <a:cubicBezTo>
                      <a:pt x="-4984" y="5216"/>
                      <a:pt x="3987" y="14186"/>
                      <a:pt x="3987" y="1418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41" name="Freeform: Shape 379981">
                <a:extLst>
                  <a:ext uri="{FF2B5EF4-FFF2-40B4-BE49-F238E27FC236}">
                    <a16:creationId xmlns:a16="http://schemas.microsoft.com/office/drawing/2014/main" id="{E0FCACE5-3457-4DDD-86E5-D15E53BB3D64}"/>
                  </a:ext>
                </a:extLst>
              </p:cNvPr>
              <p:cNvSpPr/>
              <p:nvPr/>
            </p:nvSpPr>
            <p:spPr>
              <a:xfrm>
                <a:off x="5224103" y="4818476"/>
                <a:ext cx="87921" cy="65928"/>
              </a:xfrm>
              <a:custGeom>
                <a:avLst/>
                <a:gdLst>
                  <a:gd name="connsiteX0" fmla="*/ 4287 w 87921"/>
                  <a:gd name="connsiteY0" fmla="*/ 15378 h 65928"/>
                  <a:gd name="connsiteX1" fmla="*/ 15821 w 87921"/>
                  <a:gd name="connsiteY1" fmla="*/ 20505 h 65928"/>
                  <a:gd name="connsiteX2" fmla="*/ 31200 w 87921"/>
                  <a:gd name="connsiteY2" fmla="*/ 41009 h 65928"/>
                  <a:gd name="connsiteX3" fmla="*/ 67084 w 87921"/>
                  <a:gd name="connsiteY3" fmla="*/ 55106 h 65928"/>
                  <a:gd name="connsiteX4" fmla="*/ 87588 w 87921"/>
                  <a:gd name="connsiteY4" fmla="*/ 62796 h 65928"/>
                  <a:gd name="connsiteX5" fmla="*/ 69647 w 87921"/>
                  <a:gd name="connsiteY5" fmla="*/ 47417 h 65928"/>
                  <a:gd name="connsiteX6" fmla="*/ 67084 w 87921"/>
                  <a:gd name="connsiteY6" fmla="*/ 51262 h 65928"/>
                  <a:gd name="connsiteX7" fmla="*/ 33763 w 87921"/>
                  <a:gd name="connsiteY7" fmla="*/ 37165 h 65928"/>
                  <a:gd name="connsiteX8" fmla="*/ 19666 w 87921"/>
                  <a:gd name="connsiteY8" fmla="*/ 19223 h 65928"/>
                  <a:gd name="connsiteX9" fmla="*/ 5569 w 87921"/>
                  <a:gd name="connsiteY9" fmla="*/ 0 h 65928"/>
                  <a:gd name="connsiteX10" fmla="*/ 4287 w 87921"/>
                  <a:gd name="connsiteY10" fmla="*/ 0 h 65928"/>
                  <a:gd name="connsiteX11" fmla="*/ 4287 w 87921"/>
                  <a:gd name="connsiteY11" fmla="*/ 15378 h 6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921" h="65928">
                    <a:moveTo>
                      <a:pt x="4287" y="15378"/>
                    </a:moveTo>
                    <a:cubicBezTo>
                      <a:pt x="6851" y="17942"/>
                      <a:pt x="10695" y="20505"/>
                      <a:pt x="15821" y="20505"/>
                    </a:cubicBezTo>
                    <a:cubicBezTo>
                      <a:pt x="20948" y="26912"/>
                      <a:pt x="26074" y="34602"/>
                      <a:pt x="31200" y="41009"/>
                    </a:cubicBezTo>
                    <a:cubicBezTo>
                      <a:pt x="41452" y="44854"/>
                      <a:pt x="55550" y="51262"/>
                      <a:pt x="67084" y="55106"/>
                    </a:cubicBezTo>
                    <a:cubicBezTo>
                      <a:pt x="70928" y="65359"/>
                      <a:pt x="85025" y="69203"/>
                      <a:pt x="87588" y="62796"/>
                    </a:cubicBezTo>
                    <a:cubicBezTo>
                      <a:pt x="90151" y="55106"/>
                      <a:pt x="77336" y="43573"/>
                      <a:pt x="69647" y="47417"/>
                    </a:cubicBezTo>
                    <a:cubicBezTo>
                      <a:pt x="67084" y="48699"/>
                      <a:pt x="67084" y="49980"/>
                      <a:pt x="67084" y="51262"/>
                    </a:cubicBezTo>
                    <a:lnTo>
                      <a:pt x="33763" y="37165"/>
                    </a:lnTo>
                    <a:cubicBezTo>
                      <a:pt x="28637" y="30757"/>
                      <a:pt x="24792" y="24349"/>
                      <a:pt x="19666" y="19223"/>
                    </a:cubicBezTo>
                    <a:cubicBezTo>
                      <a:pt x="27355" y="11534"/>
                      <a:pt x="13258" y="0"/>
                      <a:pt x="5569" y="0"/>
                    </a:cubicBezTo>
                    <a:cubicBezTo>
                      <a:pt x="5569" y="0"/>
                      <a:pt x="4287" y="0"/>
                      <a:pt x="4287" y="0"/>
                    </a:cubicBezTo>
                    <a:cubicBezTo>
                      <a:pt x="-4683" y="5126"/>
                      <a:pt x="3006" y="15378"/>
                      <a:pt x="4287" y="153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42" name="Freeform: Shape 379982">
                <a:extLst>
                  <a:ext uri="{FF2B5EF4-FFF2-40B4-BE49-F238E27FC236}">
                    <a16:creationId xmlns:a16="http://schemas.microsoft.com/office/drawing/2014/main" id="{32117B74-E434-4D06-A703-0F6EB26E16B1}"/>
                  </a:ext>
                </a:extLst>
              </p:cNvPr>
              <p:cNvSpPr/>
              <p:nvPr/>
            </p:nvSpPr>
            <p:spPr>
              <a:xfrm>
                <a:off x="6660032" y="4521157"/>
                <a:ext cx="21955" cy="116983"/>
              </a:xfrm>
              <a:custGeom>
                <a:avLst/>
                <a:gdLst>
                  <a:gd name="connsiteX0" fmla="*/ 2412 w 21955"/>
                  <a:gd name="connsiteY0" fmla="*/ 15379 h 116983"/>
                  <a:gd name="connsiteX1" fmla="*/ 10101 w 21955"/>
                  <a:gd name="connsiteY1" fmla="*/ 23068 h 116983"/>
                  <a:gd name="connsiteX2" fmla="*/ 7538 w 21955"/>
                  <a:gd name="connsiteY2" fmla="*/ 96116 h 116983"/>
                  <a:gd name="connsiteX3" fmla="*/ 4975 w 21955"/>
                  <a:gd name="connsiteY3" fmla="*/ 116621 h 116983"/>
                  <a:gd name="connsiteX4" fmla="*/ 17791 w 21955"/>
                  <a:gd name="connsiteY4" fmla="*/ 98679 h 116983"/>
                  <a:gd name="connsiteX5" fmla="*/ 11383 w 21955"/>
                  <a:gd name="connsiteY5" fmla="*/ 94835 h 116983"/>
                  <a:gd name="connsiteX6" fmla="*/ 13946 w 21955"/>
                  <a:gd name="connsiteY6" fmla="*/ 21786 h 116983"/>
                  <a:gd name="connsiteX7" fmla="*/ 16509 w 21955"/>
                  <a:gd name="connsiteY7" fmla="*/ 0 h 116983"/>
                  <a:gd name="connsiteX8" fmla="*/ 12665 w 21955"/>
                  <a:gd name="connsiteY8" fmla="*/ 0 h 116983"/>
                  <a:gd name="connsiteX9" fmla="*/ 2412 w 21955"/>
                  <a:gd name="connsiteY9" fmla="*/ 15379 h 116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55" h="116983">
                    <a:moveTo>
                      <a:pt x="2412" y="15379"/>
                    </a:moveTo>
                    <a:cubicBezTo>
                      <a:pt x="2412" y="17942"/>
                      <a:pt x="4975" y="21786"/>
                      <a:pt x="10101" y="23068"/>
                    </a:cubicBezTo>
                    <a:cubicBezTo>
                      <a:pt x="10101" y="47417"/>
                      <a:pt x="8820" y="71767"/>
                      <a:pt x="7538" y="96116"/>
                    </a:cubicBezTo>
                    <a:cubicBezTo>
                      <a:pt x="-2714" y="101242"/>
                      <a:pt x="-1433" y="115339"/>
                      <a:pt x="4975" y="116621"/>
                    </a:cubicBezTo>
                    <a:cubicBezTo>
                      <a:pt x="12665" y="119184"/>
                      <a:pt x="21635" y="107650"/>
                      <a:pt x="17791" y="98679"/>
                    </a:cubicBezTo>
                    <a:cubicBezTo>
                      <a:pt x="16509" y="94835"/>
                      <a:pt x="13946" y="94835"/>
                      <a:pt x="11383" y="94835"/>
                    </a:cubicBezTo>
                    <a:cubicBezTo>
                      <a:pt x="12665" y="70485"/>
                      <a:pt x="13946" y="46136"/>
                      <a:pt x="13946" y="21786"/>
                    </a:cubicBezTo>
                    <a:cubicBezTo>
                      <a:pt x="25480" y="15379"/>
                      <a:pt x="22917" y="2563"/>
                      <a:pt x="16509" y="0"/>
                    </a:cubicBezTo>
                    <a:cubicBezTo>
                      <a:pt x="15228" y="0"/>
                      <a:pt x="13946" y="0"/>
                      <a:pt x="12665" y="0"/>
                    </a:cubicBezTo>
                    <a:cubicBezTo>
                      <a:pt x="1131" y="3845"/>
                      <a:pt x="2412" y="15379"/>
                      <a:pt x="2412"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43" name="Freeform: Shape 379983">
                <a:extLst>
                  <a:ext uri="{FF2B5EF4-FFF2-40B4-BE49-F238E27FC236}">
                    <a16:creationId xmlns:a16="http://schemas.microsoft.com/office/drawing/2014/main" id="{E378C4B1-008D-4D52-BB95-10E30DCF9332}"/>
                  </a:ext>
                </a:extLst>
              </p:cNvPr>
              <p:cNvSpPr/>
              <p:nvPr/>
            </p:nvSpPr>
            <p:spPr>
              <a:xfrm>
                <a:off x="6694448" y="4385314"/>
                <a:ext cx="77637" cy="144029"/>
              </a:xfrm>
              <a:custGeom>
                <a:avLst/>
                <a:gdLst>
                  <a:gd name="connsiteX0" fmla="*/ 36 w 77637"/>
                  <a:gd name="connsiteY0" fmla="*/ 15379 h 144029"/>
                  <a:gd name="connsiteX1" fmla="*/ 7725 w 77637"/>
                  <a:gd name="connsiteY1" fmla="*/ 23068 h 144029"/>
                  <a:gd name="connsiteX2" fmla="*/ 7725 w 77637"/>
                  <a:gd name="connsiteY2" fmla="*/ 79456 h 144029"/>
                  <a:gd name="connsiteX3" fmla="*/ 60269 w 77637"/>
                  <a:gd name="connsiteY3" fmla="*/ 128155 h 144029"/>
                  <a:gd name="connsiteX4" fmla="*/ 69239 w 77637"/>
                  <a:gd name="connsiteY4" fmla="*/ 143533 h 144029"/>
                  <a:gd name="connsiteX5" fmla="*/ 73084 w 77637"/>
                  <a:gd name="connsiteY5" fmla="*/ 121747 h 144029"/>
                  <a:gd name="connsiteX6" fmla="*/ 64113 w 77637"/>
                  <a:gd name="connsiteY6" fmla="*/ 124310 h 144029"/>
                  <a:gd name="connsiteX7" fmla="*/ 14133 w 77637"/>
                  <a:gd name="connsiteY7" fmla="*/ 76893 h 144029"/>
                  <a:gd name="connsiteX8" fmla="*/ 14133 w 77637"/>
                  <a:gd name="connsiteY8" fmla="*/ 23068 h 144029"/>
                  <a:gd name="connsiteX9" fmla="*/ 15415 w 77637"/>
                  <a:gd name="connsiteY9" fmla="*/ 0 h 144029"/>
                  <a:gd name="connsiteX10" fmla="*/ 11570 w 77637"/>
                  <a:gd name="connsiteY10" fmla="*/ 0 h 144029"/>
                  <a:gd name="connsiteX11" fmla="*/ 36 w 77637"/>
                  <a:gd name="connsiteY11" fmla="*/ 15379 h 14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637" h="144029">
                    <a:moveTo>
                      <a:pt x="36" y="15379"/>
                    </a:moveTo>
                    <a:cubicBezTo>
                      <a:pt x="36" y="17942"/>
                      <a:pt x="2599" y="21786"/>
                      <a:pt x="7725" y="23068"/>
                    </a:cubicBezTo>
                    <a:cubicBezTo>
                      <a:pt x="7725" y="42291"/>
                      <a:pt x="7725" y="60233"/>
                      <a:pt x="7725" y="79456"/>
                    </a:cubicBezTo>
                    <a:cubicBezTo>
                      <a:pt x="23104" y="93553"/>
                      <a:pt x="43608" y="112776"/>
                      <a:pt x="60269" y="128155"/>
                    </a:cubicBezTo>
                    <a:cubicBezTo>
                      <a:pt x="55142" y="138407"/>
                      <a:pt x="61550" y="146096"/>
                      <a:pt x="69239" y="143533"/>
                    </a:cubicBezTo>
                    <a:cubicBezTo>
                      <a:pt x="78210" y="139688"/>
                      <a:pt x="80773" y="124310"/>
                      <a:pt x="73084" y="121747"/>
                    </a:cubicBezTo>
                    <a:cubicBezTo>
                      <a:pt x="71803" y="121747"/>
                      <a:pt x="67958" y="120465"/>
                      <a:pt x="64113" y="124310"/>
                    </a:cubicBezTo>
                    <a:lnTo>
                      <a:pt x="14133" y="76893"/>
                    </a:lnTo>
                    <a:cubicBezTo>
                      <a:pt x="14133" y="58951"/>
                      <a:pt x="14133" y="41009"/>
                      <a:pt x="14133" y="23068"/>
                    </a:cubicBezTo>
                    <a:cubicBezTo>
                      <a:pt x="25667" y="16660"/>
                      <a:pt x="23104" y="2563"/>
                      <a:pt x="15415" y="0"/>
                    </a:cubicBezTo>
                    <a:cubicBezTo>
                      <a:pt x="14133" y="0"/>
                      <a:pt x="12851" y="0"/>
                      <a:pt x="11570" y="0"/>
                    </a:cubicBezTo>
                    <a:cubicBezTo>
                      <a:pt x="-1246" y="2563"/>
                      <a:pt x="36" y="14097"/>
                      <a:pt x="36" y="1537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44" name="Freeform: Shape 379984">
                <a:extLst>
                  <a:ext uri="{FF2B5EF4-FFF2-40B4-BE49-F238E27FC236}">
                    <a16:creationId xmlns:a16="http://schemas.microsoft.com/office/drawing/2014/main" id="{EDFF96F6-90CA-404D-BA25-AE13338570A3}"/>
                  </a:ext>
                </a:extLst>
              </p:cNvPr>
              <p:cNvSpPr/>
              <p:nvPr/>
            </p:nvSpPr>
            <p:spPr>
              <a:xfrm>
                <a:off x="7556967" y="4440420"/>
                <a:ext cx="60232" cy="121746"/>
              </a:xfrm>
              <a:custGeom>
                <a:avLst/>
                <a:gdLst>
                  <a:gd name="connsiteX0" fmla="*/ 53825 w 60232"/>
                  <a:gd name="connsiteY0" fmla="*/ 12816 h 121746"/>
                  <a:gd name="connsiteX1" fmla="*/ 49980 w 60232"/>
                  <a:gd name="connsiteY1" fmla="*/ 23068 h 121746"/>
                  <a:gd name="connsiteX2" fmla="*/ 11534 w 60232"/>
                  <a:gd name="connsiteY2" fmla="*/ 99961 h 121746"/>
                  <a:gd name="connsiteX3" fmla="*/ 0 w 60232"/>
                  <a:gd name="connsiteY3" fmla="*/ 121747 h 121746"/>
                  <a:gd name="connsiteX4" fmla="*/ 11534 w 60232"/>
                  <a:gd name="connsiteY4" fmla="*/ 99961 h 121746"/>
                  <a:gd name="connsiteX5" fmla="*/ 49980 w 60232"/>
                  <a:gd name="connsiteY5" fmla="*/ 23068 h 121746"/>
                  <a:gd name="connsiteX6" fmla="*/ 60233 w 60232"/>
                  <a:gd name="connsiteY6" fmla="*/ 0 h 121746"/>
                  <a:gd name="connsiteX7" fmla="*/ 53825 w 60232"/>
                  <a:gd name="connsiteY7" fmla="*/ 12816 h 121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32" h="121746">
                    <a:moveTo>
                      <a:pt x="53825" y="12816"/>
                    </a:moveTo>
                    <a:cubicBezTo>
                      <a:pt x="52544" y="15379"/>
                      <a:pt x="49980" y="20505"/>
                      <a:pt x="49980" y="23068"/>
                    </a:cubicBezTo>
                    <a:cubicBezTo>
                      <a:pt x="38446" y="48699"/>
                      <a:pt x="25631" y="74330"/>
                      <a:pt x="11534" y="99961"/>
                    </a:cubicBezTo>
                    <a:cubicBezTo>
                      <a:pt x="7689" y="103805"/>
                      <a:pt x="1281" y="117902"/>
                      <a:pt x="0" y="121747"/>
                    </a:cubicBezTo>
                    <a:cubicBezTo>
                      <a:pt x="2563" y="119184"/>
                      <a:pt x="11534" y="101242"/>
                      <a:pt x="11534" y="99961"/>
                    </a:cubicBezTo>
                    <a:cubicBezTo>
                      <a:pt x="24349" y="74330"/>
                      <a:pt x="37165" y="49980"/>
                      <a:pt x="49980" y="23068"/>
                    </a:cubicBezTo>
                    <a:cubicBezTo>
                      <a:pt x="53825" y="17942"/>
                      <a:pt x="60233" y="2563"/>
                      <a:pt x="60233" y="0"/>
                    </a:cubicBezTo>
                    <a:cubicBezTo>
                      <a:pt x="58951" y="2563"/>
                      <a:pt x="56388" y="8971"/>
                      <a:pt x="53825" y="128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845" name="Graphic 379285">
                <a:extLst>
                  <a:ext uri="{FF2B5EF4-FFF2-40B4-BE49-F238E27FC236}">
                    <a16:creationId xmlns:a16="http://schemas.microsoft.com/office/drawing/2014/main" id="{D973D960-FBCD-4D6F-9AA8-88935B4C1FE3}"/>
                  </a:ext>
                </a:extLst>
              </p:cNvPr>
              <p:cNvGrpSpPr/>
              <p:nvPr/>
            </p:nvGrpSpPr>
            <p:grpSpPr>
              <a:xfrm>
                <a:off x="7573627" y="4246907"/>
                <a:ext cx="123029" cy="296036"/>
                <a:chOff x="7573627" y="4246907"/>
                <a:chExt cx="123029" cy="296036"/>
              </a:xfrm>
              <a:grpFill/>
            </p:grpSpPr>
            <p:sp>
              <p:nvSpPr>
                <p:cNvPr id="975" name="Freeform: Shape 379986">
                  <a:extLst>
                    <a:ext uri="{FF2B5EF4-FFF2-40B4-BE49-F238E27FC236}">
                      <a16:creationId xmlns:a16="http://schemas.microsoft.com/office/drawing/2014/main" id="{48FC311F-3917-4D30-87DB-A8BE52BB5507}"/>
                    </a:ext>
                  </a:extLst>
                </p:cNvPr>
                <p:cNvSpPr/>
                <p:nvPr/>
              </p:nvSpPr>
              <p:spPr>
                <a:xfrm>
                  <a:off x="7650520" y="4351993"/>
                  <a:ext cx="8970" cy="21786"/>
                </a:xfrm>
                <a:custGeom>
                  <a:avLst/>
                  <a:gdLst>
                    <a:gd name="connsiteX0" fmla="*/ 3844 w 8970"/>
                    <a:gd name="connsiteY0" fmla="*/ 11534 h 21786"/>
                    <a:gd name="connsiteX1" fmla="*/ 0 w 8970"/>
                    <a:gd name="connsiteY1" fmla="*/ 21786 h 21786"/>
                    <a:gd name="connsiteX2" fmla="*/ 8971 w 8970"/>
                    <a:gd name="connsiteY2" fmla="*/ 0 h 21786"/>
                    <a:gd name="connsiteX3" fmla="*/ 3844 w 8970"/>
                    <a:gd name="connsiteY3" fmla="*/ 11534 h 21786"/>
                  </a:gdLst>
                  <a:ahLst/>
                  <a:cxnLst>
                    <a:cxn ang="0">
                      <a:pos x="connsiteX0" y="connsiteY0"/>
                    </a:cxn>
                    <a:cxn ang="0">
                      <a:pos x="connsiteX1" y="connsiteY1"/>
                    </a:cxn>
                    <a:cxn ang="0">
                      <a:pos x="connsiteX2" y="connsiteY2"/>
                    </a:cxn>
                    <a:cxn ang="0">
                      <a:pos x="connsiteX3" y="connsiteY3"/>
                    </a:cxn>
                  </a:cxnLst>
                  <a:rect l="l" t="t" r="r" b="b"/>
                  <a:pathLst>
                    <a:path w="8970" h="21786">
                      <a:moveTo>
                        <a:pt x="3844" y="11534"/>
                      </a:moveTo>
                      <a:cubicBezTo>
                        <a:pt x="2563" y="15379"/>
                        <a:pt x="1281" y="17942"/>
                        <a:pt x="0" y="21786"/>
                      </a:cubicBezTo>
                      <a:lnTo>
                        <a:pt x="8971" y="0"/>
                      </a:lnTo>
                      <a:cubicBezTo>
                        <a:pt x="6408" y="3845"/>
                        <a:pt x="5126" y="7689"/>
                        <a:pt x="3844" y="1153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76" name="Freeform: Shape 379987">
                  <a:extLst>
                    <a:ext uri="{FF2B5EF4-FFF2-40B4-BE49-F238E27FC236}">
                      <a16:creationId xmlns:a16="http://schemas.microsoft.com/office/drawing/2014/main" id="{CD010765-C37C-40A8-93CD-0830BABA86F4}"/>
                    </a:ext>
                  </a:extLst>
                </p:cNvPr>
                <p:cNvSpPr/>
                <p:nvPr/>
              </p:nvSpPr>
              <p:spPr>
                <a:xfrm>
                  <a:off x="7573627" y="4246907"/>
                  <a:ext cx="123029" cy="296036"/>
                </a:xfrm>
                <a:custGeom>
                  <a:avLst/>
                  <a:gdLst>
                    <a:gd name="connsiteX0" fmla="*/ 106369 w 123029"/>
                    <a:gd name="connsiteY0" fmla="*/ 39728 h 296036"/>
                    <a:gd name="connsiteX1" fmla="*/ 102524 w 123029"/>
                    <a:gd name="connsiteY1" fmla="*/ 49980 h 296036"/>
                    <a:gd name="connsiteX2" fmla="*/ 52544 w 123029"/>
                    <a:gd name="connsiteY2" fmla="*/ 176853 h 296036"/>
                    <a:gd name="connsiteX3" fmla="*/ 37165 w 123029"/>
                    <a:gd name="connsiteY3" fmla="*/ 214018 h 296036"/>
                    <a:gd name="connsiteX4" fmla="*/ 11534 w 123029"/>
                    <a:gd name="connsiteY4" fmla="*/ 267843 h 296036"/>
                    <a:gd name="connsiteX5" fmla="*/ 0 w 123029"/>
                    <a:gd name="connsiteY5" fmla="*/ 290911 h 296036"/>
                    <a:gd name="connsiteX6" fmla="*/ 11534 w 123029"/>
                    <a:gd name="connsiteY6" fmla="*/ 269125 h 296036"/>
                    <a:gd name="connsiteX7" fmla="*/ 35884 w 123029"/>
                    <a:gd name="connsiteY7" fmla="*/ 220426 h 296036"/>
                    <a:gd name="connsiteX8" fmla="*/ 21787 w 123029"/>
                    <a:gd name="connsiteY8" fmla="*/ 252464 h 296036"/>
                    <a:gd name="connsiteX9" fmla="*/ 11534 w 123029"/>
                    <a:gd name="connsiteY9" fmla="*/ 272969 h 296036"/>
                    <a:gd name="connsiteX10" fmla="*/ 0 w 123029"/>
                    <a:gd name="connsiteY10" fmla="*/ 296037 h 296036"/>
                    <a:gd name="connsiteX11" fmla="*/ 11534 w 123029"/>
                    <a:gd name="connsiteY11" fmla="*/ 274251 h 296036"/>
                    <a:gd name="connsiteX12" fmla="*/ 19223 w 123029"/>
                    <a:gd name="connsiteY12" fmla="*/ 258872 h 296036"/>
                    <a:gd name="connsiteX13" fmla="*/ 11534 w 123029"/>
                    <a:gd name="connsiteY13" fmla="*/ 272969 h 296036"/>
                    <a:gd name="connsiteX14" fmla="*/ 15379 w 123029"/>
                    <a:gd name="connsiteY14" fmla="*/ 265280 h 296036"/>
                    <a:gd name="connsiteX15" fmla="*/ 21787 w 123029"/>
                    <a:gd name="connsiteY15" fmla="*/ 251183 h 296036"/>
                    <a:gd name="connsiteX16" fmla="*/ 49980 w 123029"/>
                    <a:gd name="connsiteY16" fmla="*/ 192232 h 296036"/>
                    <a:gd name="connsiteX17" fmla="*/ 48699 w 123029"/>
                    <a:gd name="connsiteY17" fmla="*/ 196077 h 296036"/>
                    <a:gd name="connsiteX18" fmla="*/ 52544 w 123029"/>
                    <a:gd name="connsiteY18" fmla="*/ 188387 h 296036"/>
                    <a:gd name="connsiteX19" fmla="*/ 53825 w 123029"/>
                    <a:gd name="connsiteY19" fmla="*/ 185824 h 296036"/>
                    <a:gd name="connsiteX20" fmla="*/ 61514 w 123029"/>
                    <a:gd name="connsiteY20" fmla="*/ 169164 h 296036"/>
                    <a:gd name="connsiteX21" fmla="*/ 76893 w 123029"/>
                    <a:gd name="connsiteY21" fmla="*/ 130718 h 296036"/>
                    <a:gd name="connsiteX22" fmla="*/ 56389 w 123029"/>
                    <a:gd name="connsiteY22" fmla="*/ 180698 h 296036"/>
                    <a:gd name="connsiteX23" fmla="*/ 69204 w 123029"/>
                    <a:gd name="connsiteY23" fmla="*/ 148659 h 296036"/>
                    <a:gd name="connsiteX24" fmla="*/ 115340 w 123029"/>
                    <a:gd name="connsiteY24" fmla="*/ 24349 h 296036"/>
                    <a:gd name="connsiteX25" fmla="*/ 123029 w 123029"/>
                    <a:gd name="connsiteY25" fmla="*/ 0 h 296036"/>
                    <a:gd name="connsiteX26" fmla="*/ 115340 w 123029"/>
                    <a:gd name="connsiteY26" fmla="*/ 24349 h 296036"/>
                    <a:gd name="connsiteX27" fmla="*/ 67922 w 123029"/>
                    <a:gd name="connsiteY27" fmla="*/ 151222 h 296036"/>
                    <a:gd name="connsiteX28" fmla="*/ 52544 w 123029"/>
                    <a:gd name="connsiteY28" fmla="*/ 188387 h 296036"/>
                    <a:gd name="connsiteX29" fmla="*/ 25631 w 123029"/>
                    <a:gd name="connsiteY29" fmla="*/ 247338 h 296036"/>
                    <a:gd name="connsiteX30" fmla="*/ 39728 w 123029"/>
                    <a:gd name="connsiteY30" fmla="*/ 215300 h 296036"/>
                    <a:gd name="connsiteX31" fmla="*/ 48699 w 123029"/>
                    <a:gd name="connsiteY31" fmla="*/ 194795 h 296036"/>
                    <a:gd name="connsiteX32" fmla="*/ 58952 w 123029"/>
                    <a:gd name="connsiteY32" fmla="*/ 171727 h 296036"/>
                    <a:gd name="connsiteX33" fmla="*/ 48699 w 123029"/>
                    <a:gd name="connsiteY33" fmla="*/ 194795 h 296036"/>
                    <a:gd name="connsiteX34" fmla="*/ 41010 w 123029"/>
                    <a:gd name="connsiteY34" fmla="*/ 211455 h 296036"/>
                    <a:gd name="connsiteX35" fmla="*/ 53825 w 123029"/>
                    <a:gd name="connsiteY35" fmla="*/ 179416 h 296036"/>
                    <a:gd name="connsiteX36" fmla="*/ 102524 w 123029"/>
                    <a:gd name="connsiteY36" fmla="*/ 55106 h 296036"/>
                    <a:gd name="connsiteX37" fmla="*/ 110213 w 123029"/>
                    <a:gd name="connsiteY37" fmla="*/ 30757 h 296036"/>
                    <a:gd name="connsiteX38" fmla="*/ 106369 w 123029"/>
                    <a:gd name="connsiteY38" fmla="*/ 39728 h 29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3029" h="296036">
                      <a:moveTo>
                        <a:pt x="106369" y="39728"/>
                      </a:moveTo>
                      <a:cubicBezTo>
                        <a:pt x="103806" y="46136"/>
                        <a:pt x="103806" y="48699"/>
                        <a:pt x="102524" y="49980"/>
                      </a:cubicBezTo>
                      <a:cubicBezTo>
                        <a:pt x="87145" y="92271"/>
                        <a:pt x="70486" y="134562"/>
                        <a:pt x="52544" y="176853"/>
                      </a:cubicBezTo>
                      <a:lnTo>
                        <a:pt x="37165" y="214018"/>
                      </a:lnTo>
                      <a:cubicBezTo>
                        <a:pt x="28194" y="231960"/>
                        <a:pt x="20505" y="249901"/>
                        <a:pt x="11534" y="267843"/>
                      </a:cubicBezTo>
                      <a:cubicBezTo>
                        <a:pt x="7689" y="274251"/>
                        <a:pt x="1282" y="287066"/>
                        <a:pt x="0" y="290911"/>
                      </a:cubicBezTo>
                      <a:cubicBezTo>
                        <a:pt x="2563" y="287066"/>
                        <a:pt x="8971" y="272969"/>
                        <a:pt x="11534" y="269125"/>
                      </a:cubicBezTo>
                      <a:cubicBezTo>
                        <a:pt x="19223" y="252464"/>
                        <a:pt x="28194" y="237086"/>
                        <a:pt x="35884" y="220426"/>
                      </a:cubicBezTo>
                      <a:lnTo>
                        <a:pt x="21787" y="252464"/>
                      </a:lnTo>
                      <a:cubicBezTo>
                        <a:pt x="17942" y="258872"/>
                        <a:pt x="15379" y="266561"/>
                        <a:pt x="11534" y="272969"/>
                      </a:cubicBezTo>
                      <a:cubicBezTo>
                        <a:pt x="8971" y="278095"/>
                        <a:pt x="1282" y="292192"/>
                        <a:pt x="0" y="296037"/>
                      </a:cubicBezTo>
                      <a:cubicBezTo>
                        <a:pt x="2563" y="292192"/>
                        <a:pt x="8971" y="278095"/>
                        <a:pt x="11534" y="274251"/>
                      </a:cubicBezTo>
                      <a:cubicBezTo>
                        <a:pt x="14097" y="269125"/>
                        <a:pt x="16660" y="263998"/>
                        <a:pt x="19223" y="258872"/>
                      </a:cubicBezTo>
                      <a:lnTo>
                        <a:pt x="11534" y="272969"/>
                      </a:lnTo>
                      <a:lnTo>
                        <a:pt x="15379" y="265280"/>
                      </a:lnTo>
                      <a:lnTo>
                        <a:pt x="21787" y="251183"/>
                      </a:lnTo>
                      <a:cubicBezTo>
                        <a:pt x="30757" y="231960"/>
                        <a:pt x="41010" y="211455"/>
                        <a:pt x="49980" y="192232"/>
                      </a:cubicBezTo>
                      <a:lnTo>
                        <a:pt x="48699" y="196077"/>
                      </a:lnTo>
                      <a:lnTo>
                        <a:pt x="52544" y="188387"/>
                      </a:lnTo>
                      <a:lnTo>
                        <a:pt x="53825" y="185824"/>
                      </a:lnTo>
                      <a:cubicBezTo>
                        <a:pt x="56389" y="180698"/>
                        <a:pt x="58952" y="175572"/>
                        <a:pt x="61514" y="169164"/>
                      </a:cubicBezTo>
                      <a:lnTo>
                        <a:pt x="76893" y="130718"/>
                      </a:lnTo>
                      <a:cubicBezTo>
                        <a:pt x="70486" y="147378"/>
                        <a:pt x="62796" y="164038"/>
                        <a:pt x="56389" y="180698"/>
                      </a:cubicBezTo>
                      <a:lnTo>
                        <a:pt x="69204" y="148659"/>
                      </a:lnTo>
                      <a:cubicBezTo>
                        <a:pt x="85864" y="107650"/>
                        <a:pt x="101243" y="66640"/>
                        <a:pt x="115340" y="24349"/>
                      </a:cubicBezTo>
                      <a:cubicBezTo>
                        <a:pt x="117903" y="17942"/>
                        <a:pt x="121747" y="3845"/>
                        <a:pt x="123029" y="0"/>
                      </a:cubicBezTo>
                      <a:cubicBezTo>
                        <a:pt x="121747" y="3845"/>
                        <a:pt x="116621" y="19223"/>
                        <a:pt x="115340" y="24349"/>
                      </a:cubicBezTo>
                      <a:cubicBezTo>
                        <a:pt x="101243" y="67922"/>
                        <a:pt x="85864" y="110213"/>
                        <a:pt x="67922" y="151222"/>
                      </a:cubicBezTo>
                      <a:lnTo>
                        <a:pt x="52544" y="188387"/>
                      </a:lnTo>
                      <a:cubicBezTo>
                        <a:pt x="43573" y="208892"/>
                        <a:pt x="34602" y="228115"/>
                        <a:pt x="25631" y="247338"/>
                      </a:cubicBezTo>
                      <a:lnTo>
                        <a:pt x="39728" y="215300"/>
                      </a:lnTo>
                      <a:cubicBezTo>
                        <a:pt x="43573" y="208892"/>
                        <a:pt x="46136" y="201203"/>
                        <a:pt x="48699" y="194795"/>
                      </a:cubicBezTo>
                      <a:cubicBezTo>
                        <a:pt x="51262" y="188387"/>
                        <a:pt x="57670" y="175572"/>
                        <a:pt x="58952" y="171727"/>
                      </a:cubicBezTo>
                      <a:cubicBezTo>
                        <a:pt x="56389" y="175572"/>
                        <a:pt x="51262" y="189669"/>
                        <a:pt x="48699" y="194795"/>
                      </a:cubicBezTo>
                      <a:cubicBezTo>
                        <a:pt x="46136" y="199921"/>
                        <a:pt x="43573" y="205047"/>
                        <a:pt x="41010" y="211455"/>
                      </a:cubicBezTo>
                      <a:lnTo>
                        <a:pt x="53825" y="179416"/>
                      </a:lnTo>
                      <a:cubicBezTo>
                        <a:pt x="71767" y="138407"/>
                        <a:pt x="88427" y="97397"/>
                        <a:pt x="102524" y="55106"/>
                      </a:cubicBezTo>
                      <a:cubicBezTo>
                        <a:pt x="105087" y="48699"/>
                        <a:pt x="110213" y="34602"/>
                        <a:pt x="110213" y="30757"/>
                      </a:cubicBezTo>
                      <a:cubicBezTo>
                        <a:pt x="111495" y="28194"/>
                        <a:pt x="110213" y="29475"/>
                        <a:pt x="106369" y="3972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846" name="Freeform: Shape 379988">
                <a:extLst>
                  <a:ext uri="{FF2B5EF4-FFF2-40B4-BE49-F238E27FC236}">
                    <a16:creationId xmlns:a16="http://schemas.microsoft.com/office/drawing/2014/main" id="{BD3FED61-399E-400B-BEBC-6B4105E2C531}"/>
                  </a:ext>
                </a:extLst>
              </p:cNvPr>
              <p:cNvSpPr/>
              <p:nvPr/>
            </p:nvSpPr>
            <p:spPr>
              <a:xfrm>
                <a:off x="6694274" y="4483883"/>
                <a:ext cx="47264" cy="81210"/>
              </a:xfrm>
              <a:custGeom>
                <a:avLst/>
                <a:gdLst>
                  <a:gd name="connsiteX0" fmla="*/ 209 w 47264"/>
                  <a:gd name="connsiteY0" fmla="*/ 15488 h 81210"/>
                  <a:gd name="connsiteX1" fmla="*/ 15588 w 47264"/>
                  <a:gd name="connsiteY1" fmla="*/ 19333 h 81210"/>
                  <a:gd name="connsiteX2" fmla="*/ 37374 w 47264"/>
                  <a:gd name="connsiteY2" fmla="*/ 38556 h 81210"/>
                  <a:gd name="connsiteX3" fmla="*/ 36093 w 47264"/>
                  <a:gd name="connsiteY3" fmla="*/ 59061 h 81210"/>
                  <a:gd name="connsiteX4" fmla="*/ 33530 w 47264"/>
                  <a:gd name="connsiteY4" fmla="*/ 80847 h 81210"/>
                  <a:gd name="connsiteX5" fmla="*/ 46345 w 47264"/>
                  <a:gd name="connsiteY5" fmla="*/ 62905 h 81210"/>
                  <a:gd name="connsiteX6" fmla="*/ 39937 w 47264"/>
                  <a:gd name="connsiteY6" fmla="*/ 59061 h 81210"/>
                  <a:gd name="connsiteX7" fmla="*/ 41219 w 47264"/>
                  <a:gd name="connsiteY7" fmla="*/ 37274 h 81210"/>
                  <a:gd name="connsiteX8" fmla="*/ 18151 w 47264"/>
                  <a:gd name="connsiteY8" fmla="*/ 15488 h 81210"/>
                  <a:gd name="connsiteX9" fmla="*/ 10462 w 47264"/>
                  <a:gd name="connsiteY9" fmla="*/ 110 h 81210"/>
                  <a:gd name="connsiteX10" fmla="*/ 209 w 47264"/>
                  <a:gd name="connsiteY10" fmla="*/ 15488 h 81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264" h="81210">
                    <a:moveTo>
                      <a:pt x="209" y="15488"/>
                    </a:moveTo>
                    <a:cubicBezTo>
                      <a:pt x="1491" y="21896"/>
                      <a:pt x="7899" y="25741"/>
                      <a:pt x="15588" y="19333"/>
                    </a:cubicBezTo>
                    <a:lnTo>
                      <a:pt x="37374" y="38556"/>
                    </a:lnTo>
                    <a:cubicBezTo>
                      <a:pt x="37374" y="44964"/>
                      <a:pt x="36093" y="52653"/>
                      <a:pt x="36093" y="59061"/>
                    </a:cubicBezTo>
                    <a:cubicBezTo>
                      <a:pt x="25840" y="64187"/>
                      <a:pt x="25840" y="78284"/>
                      <a:pt x="33530" y="80847"/>
                    </a:cubicBezTo>
                    <a:cubicBezTo>
                      <a:pt x="41219" y="83410"/>
                      <a:pt x="50190" y="71876"/>
                      <a:pt x="46345" y="62905"/>
                    </a:cubicBezTo>
                    <a:cubicBezTo>
                      <a:pt x="45064" y="59061"/>
                      <a:pt x="41219" y="59061"/>
                      <a:pt x="39937" y="59061"/>
                    </a:cubicBezTo>
                    <a:cubicBezTo>
                      <a:pt x="39937" y="51371"/>
                      <a:pt x="41219" y="43682"/>
                      <a:pt x="41219" y="37274"/>
                    </a:cubicBezTo>
                    <a:cubicBezTo>
                      <a:pt x="34811" y="30867"/>
                      <a:pt x="25840" y="21896"/>
                      <a:pt x="18151" y="15488"/>
                    </a:cubicBezTo>
                    <a:cubicBezTo>
                      <a:pt x="20714" y="9080"/>
                      <a:pt x="19433" y="-1172"/>
                      <a:pt x="10462" y="110"/>
                    </a:cubicBezTo>
                    <a:cubicBezTo>
                      <a:pt x="-2354" y="3954"/>
                      <a:pt x="209" y="15488"/>
                      <a:pt x="209" y="154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47" name="Freeform: Shape 379989">
                <a:extLst>
                  <a:ext uri="{FF2B5EF4-FFF2-40B4-BE49-F238E27FC236}">
                    <a16:creationId xmlns:a16="http://schemas.microsoft.com/office/drawing/2014/main" id="{1BB922F8-D011-4881-9763-135877F9328A}"/>
                  </a:ext>
                </a:extLst>
              </p:cNvPr>
              <p:cNvSpPr/>
              <p:nvPr/>
            </p:nvSpPr>
            <p:spPr>
              <a:xfrm>
                <a:off x="5098302" y="5000366"/>
                <a:ext cx="97308" cy="87344"/>
              </a:xfrm>
              <a:custGeom>
                <a:avLst/>
                <a:gdLst>
                  <a:gd name="connsiteX0" fmla="*/ 5777 w 97308"/>
                  <a:gd name="connsiteY0" fmla="*/ 11623 h 87344"/>
                  <a:gd name="connsiteX1" fmla="*/ 17311 w 97308"/>
                  <a:gd name="connsiteY1" fmla="*/ 16750 h 87344"/>
                  <a:gd name="connsiteX2" fmla="*/ 76263 w 97308"/>
                  <a:gd name="connsiteY2" fmla="*/ 71856 h 87344"/>
                  <a:gd name="connsiteX3" fmla="*/ 95486 w 97308"/>
                  <a:gd name="connsiteY3" fmla="*/ 87234 h 87344"/>
                  <a:gd name="connsiteX4" fmla="*/ 85233 w 97308"/>
                  <a:gd name="connsiteY4" fmla="*/ 73138 h 87344"/>
                  <a:gd name="connsiteX5" fmla="*/ 78826 w 97308"/>
                  <a:gd name="connsiteY5" fmla="*/ 71856 h 87344"/>
                  <a:gd name="connsiteX6" fmla="*/ 19874 w 97308"/>
                  <a:gd name="connsiteY6" fmla="*/ 16750 h 87344"/>
                  <a:gd name="connsiteX7" fmla="*/ 1932 w 97308"/>
                  <a:gd name="connsiteY7" fmla="*/ 90 h 87344"/>
                  <a:gd name="connsiteX8" fmla="*/ 5777 w 97308"/>
                  <a:gd name="connsiteY8" fmla="*/ 11623 h 87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308" h="87344">
                    <a:moveTo>
                      <a:pt x="5777" y="11623"/>
                    </a:moveTo>
                    <a:cubicBezTo>
                      <a:pt x="8340" y="14186"/>
                      <a:pt x="12185" y="16750"/>
                      <a:pt x="17311" y="16750"/>
                    </a:cubicBezTo>
                    <a:cubicBezTo>
                      <a:pt x="36534" y="35973"/>
                      <a:pt x="57039" y="53914"/>
                      <a:pt x="76263" y="71856"/>
                    </a:cubicBezTo>
                    <a:cubicBezTo>
                      <a:pt x="72418" y="78264"/>
                      <a:pt x="91641" y="88516"/>
                      <a:pt x="95486" y="87234"/>
                    </a:cubicBezTo>
                    <a:cubicBezTo>
                      <a:pt x="100612" y="85953"/>
                      <a:pt x="94204" y="76982"/>
                      <a:pt x="85233" y="73138"/>
                    </a:cubicBezTo>
                    <a:cubicBezTo>
                      <a:pt x="82670" y="71856"/>
                      <a:pt x="80107" y="71856"/>
                      <a:pt x="78826" y="71856"/>
                    </a:cubicBezTo>
                    <a:cubicBezTo>
                      <a:pt x="58321" y="53914"/>
                      <a:pt x="39098" y="35973"/>
                      <a:pt x="19874" y="16750"/>
                    </a:cubicBezTo>
                    <a:cubicBezTo>
                      <a:pt x="23719" y="11623"/>
                      <a:pt x="9622" y="-1192"/>
                      <a:pt x="1932" y="90"/>
                    </a:cubicBezTo>
                    <a:cubicBezTo>
                      <a:pt x="-3194" y="2652"/>
                      <a:pt x="3214" y="10342"/>
                      <a:pt x="5777" y="116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48" name="Freeform: Shape 379990">
                <a:extLst>
                  <a:ext uri="{FF2B5EF4-FFF2-40B4-BE49-F238E27FC236}">
                    <a16:creationId xmlns:a16="http://schemas.microsoft.com/office/drawing/2014/main" id="{350A031F-F3D0-4FC4-9887-07C06E5F70FE}"/>
                  </a:ext>
                </a:extLst>
              </p:cNvPr>
              <p:cNvSpPr/>
              <p:nvPr/>
            </p:nvSpPr>
            <p:spPr>
              <a:xfrm>
                <a:off x="4996269" y="4829677"/>
                <a:ext cx="247033" cy="222180"/>
              </a:xfrm>
              <a:custGeom>
                <a:avLst/>
                <a:gdLst>
                  <a:gd name="connsiteX0" fmla="*/ 6568 w 247033"/>
                  <a:gd name="connsiteY0" fmla="*/ 47750 h 222180"/>
                  <a:gd name="connsiteX1" fmla="*/ 18102 w 247033"/>
                  <a:gd name="connsiteY1" fmla="*/ 52877 h 222180"/>
                  <a:gd name="connsiteX2" fmla="*/ 107810 w 247033"/>
                  <a:gd name="connsiteY2" fmla="*/ 150274 h 222180"/>
                  <a:gd name="connsiteX3" fmla="*/ 151383 w 247033"/>
                  <a:gd name="connsiteY3" fmla="*/ 168216 h 222180"/>
                  <a:gd name="connsiteX4" fmla="*/ 191111 w 247033"/>
                  <a:gd name="connsiteY4" fmla="*/ 206662 h 222180"/>
                  <a:gd name="connsiteX5" fmla="*/ 209053 w 247033"/>
                  <a:gd name="connsiteY5" fmla="*/ 222041 h 222180"/>
                  <a:gd name="connsiteX6" fmla="*/ 210335 w 247033"/>
                  <a:gd name="connsiteY6" fmla="*/ 220759 h 222180"/>
                  <a:gd name="connsiteX7" fmla="*/ 192393 w 247033"/>
                  <a:gd name="connsiteY7" fmla="*/ 205380 h 222180"/>
                  <a:gd name="connsiteX8" fmla="*/ 156509 w 247033"/>
                  <a:gd name="connsiteY8" fmla="*/ 170779 h 222180"/>
                  <a:gd name="connsiteX9" fmla="*/ 193674 w 247033"/>
                  <a:gd name="connsiteY9" fmla="*/ 186157 h 222180"/>
                  <a:gd name="connsiteX10" fmla="*/ 207771 w 247033"/>
                  <a:gd name="connsiteY10" fmla="*/ 200254 h 222180"/>
                  <a:gd name="connsiteX11" fmla="*/ 225713 w 247033"/>
                  <a:gd name="connsiteY11" fmla="*/ 215633 h 222180"/>
                  <a:gd name="connsiteX12" fmla="*/ 226994 w 247033"/>
                  <a:gd name="connsiteY12" fmla="*/ 214351 h 222180"/>
                  <a:gd name="connsiteX13" fmla="*/ 210335 w 247033"/>
                  <a:gd name="connsiteY13" fmla="*/ 198973 h 222180"/>
                  <a:gd name="connsiteX14" fmla="*/ 200082 w 247033"/>
                  <a:gd name="connsiteY14" fmla="*/ 188720 h 222180"/>
                  <a:gd name="connsiteX15" fmla="*/ 228276 w 247033"/>
                  <a:gd name="connsiteY15" fmla="*/ 200254 h 222180"/>
                  <a:gd name="connsiteX16" fmla="*/ 239810 w 247033"/>
                  <a:gd name="connsiteY16" fmla="*/ 207944 h 222180"/>
                  <a:gd name="connsiteX17" fmla="*/ 246218 w 247033"/>
                  <a:gd name="connsiteY17" fmla="*/ 202818 h 222180"/>
                  <a:gd name="connsiteX18" fmla="*/ 225713 w 247033"/>
                  <a:gd name="connsiteY18" fmla="*/ 193847 h 222180"/>
                  <a:gd name="connsiteX19" fmla="*/ 225713 w 247033"/>
                  <a:gd name="connsiteY19" fmla="*/ 195128 h 222180"/>
                  <a:gd name="connsiteX20" fmla="*/ 193674 w 247033"/>
                  <a:gd name="connsiteY20" fmla="*/ 182313 h 222180"/>
                  <a:gd name="connsiteX21" fmla="*/ 150102 w 247033"/>
                  <a:gd name="connsiteY21" fmla="*/ 137459 h 222180"/>
                  <a:gd name="connsiteX22" fmla="*/ 178296 w 247033"/>
                  <a:gd name="connsiteY22" fmla="*/ 150274 h 222180"/>
                  <a:gd name="connsiteX23" fmla="*/ 189830 w 247033"/>
                  <a:gd name="connsiteY23" fmla="*/ 159245 h 222180"/>
                  <a:gd name="connsiteX24" fmla="*/ 197519 w 247033"/>
                  <a:gd name="connsiteY24" fmla="*/ 154119 h 222180"/>
                  <a:gd name="connsiteX25" fmla="*/ 177014 w 247033"/>
                  <a:gd name="connsiteY25" fmla="*/ 145148 h 222180"/>
                  <a:gd name="connsiteX26" fmla="*/ 177014 w 247033"/>
                  <a:gd name="connsiteY26" fmla="*/ 146429 h 222180"/>
                  <a:gd name="connsiteX27" fmla="*/ 144975 w 247033"/>
                  <a:gd name="connsiteY27" fmla="*/ 133614 h 222180"/>
                  <a:gd name="connsiteX28" fmla="*/ 105248 w 247033"/>
                  <a:gd name="connsiteY28" fmla="*/ 90041 h 222180"/>
                  <a:gd name="connsiteX29" fmla="*/ 87305 w 247033"/>
                  <a:gd name="connsiteY29" fmla="*/ 72100 h 222180"/>
                  <a:gd name="connsiteX30" fmla="*/ 96276 w 247033"/>
                  <a:gd name="connsiteY30" fmla="*/ 90041 h 222180"/>
                  <a:gd name="connsiteX31" fmla="*/ 105248 w 247033"/>
                  <a:gd name="connsiteY31" fmla="*/ 91323 h 222180"/>
                  <a:gd name="connsiteX32" fmla="*/ 141131 w 247033"/>
                  <a:gd name="connsiteY32" fmla="*/ 131051 h 222180"/>
                  <a:gd name="connsiteX33" fmla="*/ 103966 w 247033"/>
                  <a:gd name="connsiteY33" fmla="*/ 115672 h 222180"/>
                  <a:gd name="connsiteX34" fmla="*/ 19383 w 247033"/>
                  <a:gd name="connsiteY34" fmla="*/ 18275 h 222180"/>
                  <a:gd name="connsiteX35" fmla="*/ 2723 w 247033"/>
                  <a:gd name="connsiteY35" fmla="*/ 333 h 222180"/>
                  <a:gd name="connsiteX36" fmla="*/ 12976 w 247033"/>
                  <a:gd name="connsiteY36" fmla="*/ 19557 h 222180"/>
                  <a:gd name="connsiteX37" fmla="*/ 15539 w 247033"/>
                  <a:gd name="connsiteY37" fmla="*/ 19557 h 222180"/>
                  <a:gd name="connsiteX38" fmla="*/ 102684 w 247033"/>
                  <a:gd name="connsiteY38" fmla="*/ 119517 h 222180"/>
                  <a:gd name="connsiteX39" fmla="*/ 146257 w 247033"/>
                  <a:gd name="connsiteY39" fmla="*/ 137459 h 222180"/>
                  <a:gd name="connsiteX40" fmla="*/ 189830 w 247033"/>
                  <a:gd name="connsiteY40" fmla="*/ 182313 h 222180"/>
                  <a:gd name="connsiteX41" fmla="*/ 152665 w 247033"/>
                  <a:gd name="connsiteY41" fmla="*/ 166934 h 222180"/>
                  <a:gd name="connsiteX42" fmla="*/ 136004 w 247033"/>
                  <a:gd name="connsiteY42" fmla="*/ 150274 h 222180"/>
                  <a:gd name="connsiteX43" fmla="*/ 118063 w 247033"/>
                  <a:gd name="connsiteY43" fmla="*/ 133614 h 222180"/>
                  <a:gd name="connsiteX44" fmla="*/ 127034 w 247033"/>
                  <a:gd name="connsiteY44" fmla="*/ 150274 h 222180"/>
                  <a:gd name="connsiteX45" fmla="*/ 133441 w 247033"/>
                  <a:gd name="connsiteY45" fmla="*/ 151556 h 222180"/>
                  <a:gd name="connsiteX46" fmla="*/ 146257 w 247033"/>
                  <a:gd name="connsiteY46" fmla="*/ 164371 h 222180"/>
                  <a:gd name="connsiteX47" fmla="*/ 109092 w 247033"/>
                  <a:gd name="connsiteY47" fmla="*/ 148993 h 222180"/>
                  <a:gd name="connsiteX48" fmla="*/ 21947 w 247033"/>
                  <a:gd name="connsiteY48" fmla="*/ 52877 h 222180"/>
                  <a:gd name="connsiteX49" fmla="*/ 5286 w 247033"/>
                  <a:gd name="connsiteY49" fmla="*/ 34935 h 222180"/>
                  <a:gd name="connsiteX50" fmla="*/ 6568 w 247033"/>
                  <a:gd name="connsiteY50" fmla="*/ 47750 h 222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47033" h="222180">
                    <a:moveTo>
                      <a:pt x="6568" y="47750"/>
                    </a:moveTo>
                    <a:cubicBezTo>
                      <a:pt x="9131" y="50314"/>
                      <a:pt x="12976" y="52877"/>
                      <a:pt x="18102" y="52877"/>
                    </a:cubicBezTo>
                    <a:cubicBezTo>
                      <a:pt x="47578" y="86197"/>
                      <a:pt x="77053" y="118235"/>
                      <a:pt x="107810" y="150274"/>
                    </a:cubicBezTo>
                    <a:lnTo>
                      <a:pt x="151383" y="168216"/>
                    </a:lnTo>
                    <a:cubicBezTo>
                      <a:pt x="164199" y="181031"/>
                      <a:pt x="177014" y="193847"/>
                      <a:pt x="191111" y="206662"/>
                    </a:cubicBezTo>
                    <a:cubicBezTo>
                      <a:pt x="187267" y="215633"/>
                      <a:pt x="207771" y="223322"/>
                      <a:pt x="209053" y="222041"/>
                    </a:cubicBezTo>
                    <a:cubicBezTo>
                      <a:pt x="209053" y="222041"/>
                      <a:pt x="210335" y="220759"/>
                      <a:pt x="210335" y="220759"/>
                    </a:cubicBezTo>
                    <a:cubicBezTo>
                      <a:pt x="210335" y="211788"/>
                      <a:pt x="198801" y="205380"/>
                      <a:pt x="192393" y="205380"/>
                    </a:cubicBezTo>
                    <a:cubicBezTo>
                      <a:pt x="180859" y="193847"/>
                      <a:pt x="168043" y="182313"/>
                      <a:pt x="156509" y="170779"/>
                    </a:cubicBezTo>
                    <a:lnTo>
                      <a:pt x="193674" y="186157"/>
                    </a:lnTo>
                    <a:cubicBezTo>
                      <a:pt x="198801" y="191284"/>
                      <a:pt x="202645" y="195128"/>
                      <a:pt x="207771" y="200254"/>
                    </a:cubicBezTo>
                    <a:cubicBezTo>
                      <a:pt x="202645" y="209225"/>
                      <a:pt x="224431" y="216914"/>
                      <a:pt x="225713" y="215633"/>
                    </a:cubicBezTo>
                    <a:cubicBezTo>
                      <a:pt x="225713" y="215633"/>
                      <a:pt x="226994" y="214351"/>
                      <a:pt x="226994" y="214351"/>
                    </a:cubicBezTo>
                    <a:cubicBezTo>
                      <a:pt x="226994" y="205380"/>
                      <a:pt x="215460" y="198973"/>
                      <a:pt x="210335" y="198973"/>
                    </a:cubicBezTo>
                    <a:cubicBezTo>
                      <a:pt x="206490" y="195128"/>
                      <a:pt x="202645" y="192565"/>
                      <a:pt x="200082" y="188720"/>
                    </a:cubicBezTo>
                    <a:cubicBezTo>
                      <a:pt x="209053" y="192565"/>
                      <a:pt x="223150" y="192565"/>
                      <a:pt x="228276" y="200254"/>
                    </a:cubicBezTo>
                    <a:cubicBezTo>
                      <a:pt x="228276" y="200254"/>
                      <a:pt x="232121" y="205380"/>
                      <a:pt x="239810" y="207944"/>
                    </a:cubicBezTo>
                    <a:cubicBezTo>
                      <a:pt x="244937" y="209225"/>
                      <a:pt x="248781" y="206662"/>
                      <a:pt x="246218" y="202818"/>
                    </a:cubicBezTo>
                    <a:cubicBezTo>
                      <a:pt x="242373" y="193847"/>
                      <a:pt x="226994" y="187439"/>
                      <a:pt x="225713" y="193847"/>
                    </a:cubicBezTo>
                    <a:cubicBezTo>
                      <a:pt x="225713" y="193847"/>
                      <a:pt x="225713" y="195128"/>
                      <a:pt x="225713" y="195128"/>
                    </a:cubicBezTo>
                    <a:lnTo>
                      <a:pt x="193674" y="182313"/>
                    </a:lnTo>
                    <a:cubicBezTo>
                      <a:pt x="179577" y="168216"/>
                      <a:pt x="164199" y="152837"/>
                      <a:pt x="150102" y="137459"/>
                    </a:cubicBezTo>
                    <a:cubicBezTo>
                      <a:pt x="159072" y="141303"/>
                      <a:pt x="174451" y="142585"/>
                      <a:pt x="178296" y="150274"/>
                    </a:cubicBezTo>
                    <a:cubicBezTo>
                      <a:pt x="178296" y="150274"/>
                      <a:pt x="182140" y="156682"/>
                      <a:pt x="189830" y="159245"/>
                    </a:cubicBezTo>
                    <a:cubicBezTo>
                      <a:pt x="193674" y="160527"/>
                      <a:pt x="198801" y="159245"/>
                      <a:pt x="197519" y="154119"/>
                    </a:cubicBezTo>
                    <a:cubicBezTo>
                      <a:pt x="194956" y="145148"/>
                      <a:pt x="179577" y="138740"/>
                      <a:pt x="177014" y="145148"/>
                    </a:cubicBezTo>
                    <a:cubicBezTo>
                      <a:pt x="177014" y="145148"/>
                      <a:pt x="177014" y="146429"/>
                      <a:pt x="177014" y="146429"/>
                    </a:cubicBezTo>
                    <a:lnTo>
                      <a:pt x="144975" y="133614"/>
                    </a:lnTo>
                    <a:cubicBezTo>
                      <a:pt x="132160" y="119517"/>
                      <a:pt x="118063" y="105420"/>
                      <a:pt x="105248" y="90041"/>
                    </a:cubicBezTo>
                    <a:cubicBezTo>
                      <a:pt x="110373" y="81071"/>
                      <a:pt x="93714" y="70818"/>
                      <a:pt x="87305" y="72100"/>
                    </a:cubicBezTo>
                    <a:cubicBezTo>
                      <a:pt x="80898" y="74663"/>
                      <a:pt x="87305" y="86197"/>
                      <a:pt x="96276" y="90041"/>
                    </a:cubicBezTo>
                    <a:cubicBezTo>
                      <a:pt x="102684" y="91323"/>
                      <a:pt x="103966" y="91323"/>
                      <a:pt x="105248" y="91323"/>
                    </a:cubicBezTo>
                    <a:cubicBezTo>
                      <a:pt x="116782" y="104138"/>
                      <a:pt x="129597" y="118235"/>
                      <a:pt x="141131" y="131051"/>
                    </a:cubicBezTo>
                    <a:lnTo>
                      <a:pt x="103966" y="115672"/>
                    </a:lnTo>
                    <a:cubicBezTo>
                      <a:pt x="74490" y="83634"/>
                      <a:pt x="46296" y="51595"/>
                      <a:pt x="19383" y="18275"/>
                    </a:cubicBezTo>
                    <a:cubicBezTo>
                      <a:pt x="24510" y="10586"/>
                      <a:pt x="10413" y="-2230"/>
                      <a:pt x="2723" y="333"/>
                    </a:cubicBezTo>
                    <a:cubicBezTo>
                      <a:pt x="-4966" y="4178"/>
                      <a:pt x="5286" y="16993"/>
                      <a:pt x="12976" y="19557"/>
                    </a:cubicBezTo>
                    <a:cubicBezTo>
                      <a:pt x="14257" y="19557"/>
                      <a:pt x="15539" y="19557"/>
                      <a:pt x="15539" y="19557"/>
                    </a:cubicBezTo>
                    <a:cubicBezTo>
                      <a:pt x="43733" y="54158"/>
                      <a:pt x="71927" y="87478"/>
                      <a:pt x="102684" y="119517"/>
                    </a:cubicBezTo>
                    <a:lnTo>
                      <a:pt x="146257" y="137459"/>
                    </a:lnTo>
                    <a:cubicBezTo>
                      <a:pt x="160354" y="152837"/>
                      <a:pt x="174451" y="166934"/>
                      <a:pt x="189830" y="182313"/>
                    </a:cubicBezTo>
                    <a:lnTo>
                      <a:pt x="152665" y="166934"/>
                    </a:lnTo>
                    <a:cubicBezTo>
                      <a:pt x="147538" y="161808"/>
                      <a:pt x="141131" y="155400"/>
                      <a:pt x="136004" y="150274"/>
                    </a:cubicBezTo>
                    <a:cubicBezTo>
                      <a:pt x="139849" y="141303"/>
                      <a:pt x="123189" y="131051"/>
                      <a:pt x="118063" y="133614"/>
                    </a:cubicBezTo>
                    <a:cubicBezTo>
                      <a:pt x="112937" y="136177"/>
                      <a:pt x="118063" y="145148"/>
                      <a:pt x="127034" y="150274"/>
                    </a:cubicBezTo>
                    <a:cubicBezTo>
                      <a:pt x="129597" y="151556"/>
                      <a:pt x="132160" y="151556"/>
                      <a:pt x="133441" y="151556"/>
                    </a:cubicBezTo>
                    <a:cubicBezTo>
                      <a:pt x="137286" y="155400"/>
                      <a:pt x="142412" y="160527"/>
                      <a:pt x="146257" y="164371"/>
                    </a:cubicBezTo>
                    <a:lnTo>
                      <a:pt x="109092" y="148993"/>
                    </a:lnTo>
                    <a:cubicBezTo>
                      <a:pt x="79616" y="118235"/>
                      <a:pt x="50141" y="86197"/>
                      <a:pt x="21947" y="52877"/>
                    </a:cubicBezTo>
                    <a:cubicBezTo>
                      <a:pt x="27073" y="43906"/>
                      <a:pt x="10413" y="32372"/>
                      <a:pt x="5286" y="34935"/>
                    </a:cubicBezTo>
                    <a:cubicBezTo>
                      <a:pt x="-1121" y="34935"/>
                      <a:pt x="1442" y="41343"/>
                      <a:pt x="6568" y="4775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49" name="Freeform: Shape 379991">
                <a:extLst>
                  <a:ext uri="{FF2B5EF4-FFF2-40B4-BE49-F238E27FC236}">
                    <a16:creationId xmlns:a16="http://schemas.microsoft.com/office/drawing/2014/main" id="{1D013D25-EB3D-4FA1-8BDA-D34A49EEE9DB}"/>
                  </a:ext>
                </a:extLst>
              </p:cNvPr>
              <p:cNvSpPr/>
              <p:nvPr/>
            </p:nvSpPr>
            <p:spPr>
              <a:xfrm>
                <a:off x="5039451" y="4810284"/>
                <a:ext cx="179054" cy="171046"/>
              </a:xfrm>
              <a:custGeom>
                <a:avLst/>
                <a:gdLst>
                  <a:gd name="connsiteX0" fmla="*/ 4396 w 179054"/>
                  <a:gd name="connsiteY0" fmla="*/ 15881 h 171046"/>
                  <a:gd name="connsiteX1" fmla="*/ 19774 w 179054"/>
                  <a:gd name="connsiteY1" fmla="*/ 18444 h 171046"/>
                  <a:gd name="connsiteX2" fmla="*/ 54376 w 179054"/>
                  <a:gd name="connsiteY2" fmla="*/ 33823 h 171046"/>
                  <a:gd name="connsiteX3" fmla="*/ 158182 w 179054"/>
                  <a:gd name="connsiteY3" fmla="*/ 154288 h 171046"/>
                  <a:gd name="connsiteX4" fmla="*/ 174842 w 179054"/>
                  <a:gd name="connsiteY4" fmla="*/ 170948 h 171046"/>
                  <a:gd name="connsiteX5" fmla="*/ 173560 w 179054"/>
                  <a:gd name="connsiteY5" fmla="*/ 158133 h 171046"/>
                  <a:gd name="connsiteX6" fmla="*/ 162026 w 179054"/>
                  <a:gd name="connsiteY6" fmla="*/ 153007 h 171046"/>
                  <a:gd name="connsiteX7" fmla="*/ 56939 w 179054"/>
                  <a:gd name="connsiteY7" fmla="*/ 29978 h 171046"/>
                  <a:gd name="connsiteX8" fmla="*/ 21056 w 179054"/>
                  <a:gd name="connsiteY8" fmla="*/ 13318 h 171046"/>
                  <a:gd name="connsiteX9" fmla="*/ 3114 w 179054"/>
                  <a:gd name="connsiteY9" fmla="*/ 503 h 171046"/>
                  <a:gd name="connsiteX10" fmla="*/ 4396 w 179054"/>
                  <a:gd name="connsiteY10" fmla="*/ 15881 h 171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054" h="171046">
                    <a:moveTo>
                      <a:pt x="4396" y="15881"/>
                    </a:moveTo>
                    <a:cubicBezTo>
                      <a:pt x="9522" y="21007"/>
                      <a:pt x="17211" y="23571"/>
                      <a:pt x="19774" y="18444"/>
                    </a:cubicBezTo>
                    <a:lnTo>
                      <a:pt x="54376" y="33823"/>
                    </a:lnTo>
                    <a:cubicBezTo>
                      <a:pt x="87696" y="76114"/>
                      <a:pt x="122298" y="115842"/>
                      <a:pt x="158182" y="154288"/>
                    </a:cubicBezTo>
                    <a:cubicBezTo>
                      <a:pt x="153056" y="160696"/>
                      <a:pt x="167153" y="172230"/>
                      <a:pt x="174842" y="170948"/>
                    </a:cubicBezTo>
                    <a:cubicBezTo>
                      <a:pt x="181249" y="170948"/>
                      <a:pt x="179968" y="163259"/>
                      <a:pt x="173560" y="158133"/>
                    </a:cubicBezTo>
                    <a:cubicBezTo>
                      <a:pt x="170997" y="155570"/>
                      <a:pt x="167153" y="153007"/>
                      <a:pt x="162026" y="153007"/>
                    </a:cubicBezTo>
                    <a:cubicBezTo>
                      <a:pt x="126143" y="114560"/>
                      <a:pt x="91541" y="73551"/>
                      <a:pt x="56939" y="29978"/>
                    </a:cubicBezTo>
                    <a:cubicBezTo>
                      <a:pt x="46687" y="24852"/>
                      <a:pt x="31308" y="18444"/>
                      <a:pt x="21056" y="13318"/>
                    </a:cubicBezTo>
                    <a:cubicBezTo>
                      <a:pt x="18493" y="5629"/>
                      <a:pt x="10803" y="-2060"/>
                      <a:pt x="3114" y="503"/>
                    </a:cubicBezTo>
                    <a:cubicBezTo>
                      <a:pt x="-4575" y="6911"/>
                      <a:pt x="4396" y="15881"/>
                      <a:pt x="4396" y="1588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0" name="Freeform: Shape 379992">
                <a:extLst>
                  <a:ext uri="{FF2B5EF4-FFF2-40B4-BE49-F238E27FC236}">
                    <a16:creationId xmlns:a16="http://schemas.microsoft.com/office/drawing/2014/main" id="{1F064D36-E2F3-4F1D-B1F7-5BACDA8B11B4}"/>
                  </a:ext>
                </a:extLst>
              </p:cNvPr>
              <p:cNvSpPr/>
              <p:nvPr/>
            </p:nvSpPr>
            <p:spPr>
              <a:xfrm>
                <a:off x="5017665" y="4785015"/>
                <a:ext cx="243725" cy="183500"/>
              </a:xfrm>
              <a:custGeom>
                <a:avLst/>
                <a:gdLst>
                  <a:gd name="connsiteX0" fmla="*/ 4396 w 243725"/>
                  <a:gd name="connsiteY0" fmla="*/ 14238 h 183500"/>
                  <a:gd name="connsiteX1" fmla="*/ 19775 w 243725"/>
                  <a:gd name="connsiteY1" fmla="*/ 16801 h 183500"/>
                  <a:gd name="connsiteX2" fmla="*/ 144085 w 243725"/>
                  <a:gd name="connsiteY2" fmla="*/ 71907 h 183500"/>
                  <a:gd name="connsiteX3" fmla="*/ 223541 w 243725"/>
                  <a:gd name="connsiteY3" fmla="*/ 166742 h 183500"/>
                  <a:gd name="connsiteX4" fmla="*/ 238920 w 243725"/>
                  <a:gd name="connsiteY4" fmla="*/ 183402 h 183500"/>
                  <a:gd name="connsiteX5" fmla="*/ 238920 w 243725"/>
                  <a:gd name="connsiteY5" fmla="*/ 170586 h 183500"/>
                  <a:gd name="connsiteX6" fmla="*/ 227386 w 243725"/>
                  <a:gd name="connsiteY6" fmla="*/ 165460 h 183500"/>
                  <a:gd name="connsiteX7" fmla="*/ 146648 w 243725"/>
                  <a:gd name="connsiteY7" fmla="*/ 69344 h 183500"/>
                  <a:gd name="connsiteX8" fmla="*/ 21056 w 243725"/>
                  <a:gd name="connsiteY8" fmla="*/ 14238 h 183500"/>
                  <a:gd name="connsiteX9" fmla="*/ 3114 w 243725"/>
                  <a:gd name="connsiteY9" fmla="*/ 141 h 183500"/>
                  <a:gd name="connsiteX10" fmla="*/ 4396 w 243725"/>
                  <a:gd name="connsiteY10" fmla="*/ 14238 h 18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725" h="183500">
                    <a:moveTo>
                      <a:pt x="4396" y="14238"/>
                    </a:moveTo>
                    <a:cubicBezTo>
                      <a:pt x="9522" y="19364"/>
                      <a:pt x="17211" y="21927"/>
                      <a:pt x="19775" y="16801"/>
                    </a:cubicBezTo>
                    <a:cubicBezTo>
                      <a:pt x="56939" y="33461"/>
                      <a:pt x="105638" y="55247"/>
                      <a:pt x="144085" y="71907"/>
                    </a:cubicBezTo>
                    <a:cubicBezTo>
                      <a:pt x="169716" y="103946"/>
                      <a:pt x="196628" y="135985"/>
                      <a:pt x="223541" y="166742"/>
                    </a:cubicBezTo>
                    <a:cubicBezTo>
                      <a:pt x="217133" y="173149"/>
                      <a:pt x="231230" y="184683"/>
                      <a:pt x="238920" y="183402"/>
                    </a:cubicBezTo>
                    <a:cubicBezTo>
                      <a:pt x="245327" y="183402"/>
                      <a:pt x="245327" y="175712"/>
                      <a:pt x="238920" y="170586"/>
                    </a:cubicBezTo>
                    <a:cubicBezTo>
                      <a:pt x="236356" y="168023"/>
                      <a:pt x="232512" y="165460"/>
                      <a:pt x="227386" y="165460"/>
                    </a:cubicBezTo>
                    <a:cubicBezTo>
                      <a:pt x="200473" y="134703"/>
                      <a:pt x="173560" y="102664"/>
                      <a:pt x="146648" y="69344"/>
                    </a:cubicBezTo>
                    <a:cubicBezTo>
                      <a:pt x="109483" y="52684"/>
                      <a:pt x="58221" y="30898"/>
                      <a:pt x="21056" y="14238"/>
                    </a:cubicBezTo>
                    <a:cubicBezTo>
                      <a:pt x="19775" y="6548"/>
                      <a:pt x="10803" y="-1141"/>
                      <a:pt x="3114" y="141"/>
                    </a:cubicBezTo>
                    <a:cubicBezTo>
                      <a:pt x="-4575" y="3985"/>
                      <a:pt x="4396" y="12956"/>
                      <a:pt x="4396" y="1423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1" name="Freeform: Shape 379993">
                <a:extLst>
                  <a:ext uri="{FF2B5EF4-FFF2-40B4-BE49-F238E27FC236}">
                    <a16:creationId xmlns:a16="http://schemas.microsoft.com/office/drawing/2014/main" id="{0F7ACC72-DB0C-43C0-BEAC-AB1BDCF166CC}"/>
                  </a:ext>
                </a:extLst>
              </p:cNvPr>
              <p:cNvSpPr/>
              <p:nvPr/>
            </p:nvSpPr>
            <p:spPr>
              <a:xfrm>
                <a:off x="5034178" y="4632554"/>
                <a:ext cx="247374" cy="328573"/>
              </a:xfrm>
              <a:custGeom>
                <a:avLst/>
                <a:gdLst>
                  <a:gd name="connsiteX0" fmla="*/ 3261 w 247374"/>
                  <a:gd name="connsiteY0" fmla="*/ 15477 h 328573"/>
                  <a:gd name="connsiteX1" fmla="*/ 14795 w 247374"/>
                  <a:gd name="connsiteY1" fmla="*/ 21884 h 328573"/>
                  <a:gd name="connsiteX2" fmla="*/ 48115 w 247374"/>
                  <a:gd name="connsiteY2" fmla="*/ 74428 h 328573"/>
                  <a:gd name="connsiteX3" fmla="*/ 92969 w 247374"/>
                  <a:gd name="connsiteY3" fmla="*/ 94932 h 328573"/>
                  <a:gd name="connsiteX4" fmla="*/ 151921 w 247374"/>
                  <a:gd name="connsiteY4" fmla="*/ 179514 h 328573"/>
                  <a:gd name="connsiteX5" fmla="*/ 148076 w 247374"/>
                  <a:gd name="connsiteY5" fmla="*/ 215398 h 328573"/>
                  <a:gd name="connsiteX6" fmla="*/ 227533 w 247374"/>
                  <a:gd name="connsiteY6" fmla="*/ 311514 h 328573"/>
                  <a:gd name="connsiteX7" fmla="*/ 244192 w 247374"/>
                  <a:gd name="connsiteY7" fmla="*/ 328174 h 328573"/>
                  <a:gd name="connsiteX8" fmla="*/ 237785 w 247374"/>
                  <a:gd name="connsiteY8" fmla="*/ 311514 h 328573"/>
                  <a:gd name="connsiteX9" fmla="*/ 231377 w 247374"/>
                  <a:gd name="connsiteY9" fmla="*/ 310232 h 328573"/>
                  <a:gd name="connsiteX10" fmla="*/ 153203 w 247374"/>
                  <a:gd name="connsiteY10" fmla="*/ 215398 h 328573"/>
                  <a:gd name="connsiteX11" fmla="*/ 157047 w 247374"/>
                  <a:gd name="connsiteY11" fmla="*/ 179514 h 328573"/>
                  <a:gd name="connsiteX12" fmla="*/ 95533 w 247374"/>
                  <a:gd name="connsiteY12" fmla="*/ 91088 h 328573"/>
                  <a:gd name="connsiteX13" fmla="*/ 50679 w 247374"/>
                  <a:gd name="connsiteY13" fmla="*/ 70583 h 328573"/>
                  <a:gd name="connsiteX14" fmla="*/ 18640 w 247374"/>
                  <a:gd name="connsiteY14" fmla="*/ 20603 h 328573"/>
                  <a:gd name="connsiteX15" fmla="*/ 5824 w 247374"/>
                  <a:gd name="connsiteY15" fmla="*/ 98 h 328573"/>
                  <a:gd name="connsiteX16" fmla="*/ 4543 w 247374"/>
                  <a:gd name="connsiteY16" fmla="*/ 98 h 328573"/>
                  <a:gd name="connsiteX17" fmla="*/ 3261 w 247374"/>
                  <a:gd name="connsiteY17" fmla="*/ 15477 h 32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7374" h="328573">
                    <a:moveTo>
                      <a:pt x="3261" y="15477"/>
                    </a:moveTo>
                    <a:cubicBezTo>
                      <a:pt x="7106" y="20603"/>
                      <a:pt x="12232" y="21884"/>
                      <a:pt x="14795" y="21884"/>
                    </a:cubicBezTo>
                    <a:cubicBezTo>
                      <a:pt x="26329" y="39826"/>
                      <a:pt x="36581" y="56486"/>
                      <a:pt x="48115" y="74428"/>
                    </a:cubicBezTo>
                    <a:lnTo>
                      <a:pt x="92969" y="94932"/>
                    </a:lnTo>
                    <a:cubicBezTo>
                      <a:pt x="112193" y="123126"/>
                      <a:pt x="131416" y="151320"/>
                      <a:pt x="151921" y="179514"/>
                    </a:cubicBezTo>
                    <a:lnTo>
                      <a:pt x="148076" y="215398"/>
                    </a:lnTo>
                    <a:cubicBezTo>
                      <a:pt x="173707" y="248718"/>
                      <a:pt x="200620" y="280756"/>
                      <a:pt x="227533" y="311514"/>
                    </a:cubicBezTo>
                    <a:cubicBezTo>
                      <a:pt x="221125" y="320484"/>
                      <a:pt x="239067" y="330737"/>
                      <a:pt x="244192" y="328174"/>
                    </a:cubicBezTo>
                    <a:cubicBezTo>
                      <a:pt x="250600" y="325611"/>
                      <a:pt x="246756" y="316640"/>
                      <a:pt x="237785" y="311514"/>
                    </a:cubicBezTo>
                    <a:cubicBezTo>
                      <a:pt x="237785" y="311514"/>
                      <a:pt x="233940" y="310232"/>
                      <a:pt x="231377" y="310232"/>
                    </a:cubicBezTo>
                    <a:cubicBezTo>
                      <a:pt x="204465" y="279475"/>
                      <a:pt x="178834" y="247436"/>
                      <a:pt x="153203" y="215398"/>
                    </a:cubicBezTo>
                    <a:lnTo>
                      <a:pt x="157047" y="179514"/>
                    </a:lnTo>
                    <a:cubicBezTo>
                      <a:pt x="136542" y="151320"/>
                      <a:pt x="116037" y="121845"/>
                      <a:pt x="95533" y="91088"/>
                    </a:cubicBezTo>
                    <a:lnTo>
                      <a:pt x="50679" y="70583"/>
                    </a:lnTo>
                    <a:cubicBezTo>
                      <a:pt x="39145" y="53923"/>
                      <a:pt x="28892" y="37263"/>
                      <a:pt x="18640" y="20603"/>
                    </a:cubicBezTo>
                    <a:cubicBezTo>
                      <a:pt x="26329" y="10350"/>
                      <a:pt x="12232" y="-1184"/>
                      <a:pt x="5824" y="98"/>
                    </a:cubicBezTo>
                    <a:cubicBezTo>
                      <a:pt x="5824" y="98"/>
                      <a:pt x="4543" y="98"/>
                      <a:pt x="4543" y="98"/>
                    </a:cubicBezTo>
                    <a:cubicBezTo>
                      <a:pt x="-3147" y="5224"/>
                      <a:pt x="698" y="11632"/>
                      <a:pt x="3261" y="1547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2" name="Freeform: Shape 379994">
                <a:extLst>
                  <a:ext uri="{FF2B5EF4-FFF2-40B4-BE49-F238E27FC236}">
                    <a16:creationId xmlns:a16="http://schemas.microsoft.com/office/drawing/2014/main" id="{2C1B4AA9-8A9F-48D3-B7E7-7D69002E86A3}"/>
                  </a:ext>
                </a:extLst>
              </p:cNvPr>
              <p:cNvSpPr/>
              <p:nvPr/>
            </p:nvSpPr>
            <p:spPr>
              <a:xfrm>
                <a:off x="5220404" y="4988922"/>
                <a:ext cx="45003" cy="42290"/>
              </a:xfrm>
              <a:custGeom>
                <a:avLst/>
                <a:gdLst>
                  <a:gd name="connsiteX0" fmla="*/ 5423 w 45003"/>
                  <a:gd name="connsiteY0" fmla="*/ 12815 h 42290"/>
                  <a:gd name="connsiteX1" fmla="*/ 16957 w 45003"/>
                  <a:gd name="connsiteY1" fmla="*/ 17942 h 42290"/>
                  <a:gd name="connsiteX2" fmla="*/ 24646 w 45003"/>
                  <a:gd name="connsiteY2" fmla="*/ 25631 h 42290"/>
                  <a:gd name="connsiteX3" fmla="*/ 41306 w 45003"/>
                  <a:gd name="connsiteY3" fmla="*/ 42291 h 42290"/>
                  <a:gd name="connsiteX4" fmla="*/ 40025 w 45003"/>
                  <a:gd name="connsiteY4" fmla="*/ 29475 h 42290"/>
                  <a:gd name="connsiteX5" fmla="*/ 28491 w 45003"/>
                  <a:gd name="connsiteY5" fmla="*/ 24349 h 42290"/>
                  <a:gd name="connsiteX6" fmla="*/ 20802 w 45003"/>
                  <a:gd name="connsiteY6" fmla="*/ 16660 h 42290"/>
                  <a:gd name="connsiteX7" fmla="*/ 4141 w 45003"/>
                  <a:gd name="connsiteY7" fmla="*/ 0 h 42290"/>
                  <a:gd name="connsiteX8" fmla="*/ 2860 w 45003"/>
                  <a:gd name="connsiteY8" fmla="*/ 0 h 42290"/>
                  <a:gd name="connsiteX9" fmla="*/ 5423 w 45003"/>
                  <a:gd name="connsiteY9" fmla="*/ 12815 h 4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03" h="42290">
                    <a:moveTo>
                      <a:pt x="5423" y="12815"/>
                    </a:moveTo>
                    <a:cubicBezTo>
                      <a:pt x="7986" y="15378"/>
                      <a:pt x="11830" y="17942"/>
                      <a:pt x="16957" y="17942"/>
                    </a:cubicBezTo>
                    <a:cubicBezTo>
                      <a:pt x="19520" y="20505"/>
                      <a:pt x="22083" y="23068"/>
                      <a:pt x="24646" y="25631"/>
                    </a:cubicBezTo>
                    <a:cubicBezTo>
                      <a:pt x="19520" y="32039"/>
                      <a:pt x="33617" y="42291"/>
                      <a:pt x="41306" y="42291"/>
                    </a:cubicBezTo>
                    <a:cubicBezTo>
                      <a:pt x="46432" y="42291"/>
                      <a:pt x="46432" y="35883"/>
                      <a:pt x="40025" y="29475"/>
                    </a:cubicBezTo>
                    <a:cubicBezTo>
                      <a:pt x="37461" y="26912"/>
                      <a:pt x="33617" y="24349"/>
                      <a:pt x="28491" y="24349"/>
                    </a:cubicBezTo>
                    <a:cubicBezTo>
                      <a:pt x="25927" y="21786"/>
                      <a:pt x="23364" y="19223"/>
                      <a:pt x="20802" y="16660"/>
                    </a:cubicBezTo>
                    <a:cubicBezTo>
                      <a:pt x="25927" y="10252"/>
                      <a:pt x="11830" y="0"/>
                      <a:pt x="4141" y="0"/>
                    </a:cubicBezTo>
                    <a:cubicBezTo>
                      <a:pt x="4141" y="0"/>
                      <a:pt x="2860" y="0"/>
                      <a:pt x="2860" y="0"/>
                    </a:cubicBezTo>
                    <a:cubicBezTo>
                      <a:pt x="-4829" y="3844"/>
                      <a:pt x="5423" y="12815"/>
                      <a:pt x="5423"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3" name="Freeform: Shape 379995">
                <a:extLst>
                  <a:ext uri="{FF2B5EF4-FFF2-40B4-BE49-F238E27FC236}">
                    <a16:creationId xmlns:a16="http://schemas.microsoft.com/office/drawing/2014/main" id="{5E69B307-F981-4CE9-91BA-372D60C46A0A}"/>
                  </a:ext>
                </a:extLst>
              </p:cNvPr>
              <p:cNvSpPr/>
              <p:nvPr/>
            </p:nvSpPr>
            <p:spPr>
              <a:xfrm>
                <a:off x="5262441" y="4974726"/>
                <a:ext cx="67559" cy="66738"/>
              </a:xfrm>
              <a:custGeom>
                <a:avLst/>
                <a:gdLst>
                  <a:gd name="connsiteX0" fmla="*/ 4396 w 67559"/>
                  <a:gd name="connsiteY0" fmla="*/ 12914 h 66738"/>
                  <a:gd name="connsiteX1" fmla="*/ 15930 w 67559"/>
                  <a:gd name="connsiteY1" fmla="*/ 18040 h 66738"/>
                  <a:gd name="connsiteX2" fmla="*/ 46687 w 67559"/>
                  <a:gd name="connsiteY2" fmla="*/ 50079 h 66738"/>
                  <a:gd name="connsiteX3" fmla="*/ 63347 w 67559"/>
                  <a:gd name="connsiteY3" fmla="*/ 66739 h 66738"/>
                  <a:gd name="connsiteX4" fmla="*/ 62065 w 67559"/>
                  <a:gd name="connsiteY4" fmla="*/ 53923 h 66738"/>
                  <a:gd name="connsiteX5" fmla="*/ 50532 w 67559"/>
                  <a:gd name="connsiteY5" fmla="*/ 48797 h 66738"/>
                  <a:gd name="connsiteX6" fmla="*/ 19775 w 67559"/>
                  <a:gd name="connsiteY6" fmla="*/ 16758 h 66738"/>
                  <a:gd name="connsiteX7" fmla="*/ 4396 w 67559"/>
                  <a:gd name="connsiteY7" fmla="*/ 98 h 66738"/>
                  <a:gd name="connsiteX8" fmla="*/ 3114 w 67559"/>
                  <a:gd name="connsiteY8" fmla="*/ 98 h 66738"/>
                  <a:gd name="connsiteX9" fmla="*/ 4396 w 67559"/>
                  <a:gd name="connsiteY9" fmla="*/ 12914 h 6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559" h="66738">
                    <a:moveTo>
                      <a:pt x="4396" y="12914"/>
                    </a:moveTo>
                    <a:cubicBezTo>
                      <a:pt x="6959" y="15477"/>
                      <a:pt x="10804" y="18040"/>
                      <a:pt x="15930" y="18040"/>
                    </a:cubicBezTo>
                    <a:cubicBezTo>
                      <a:pt x="26182" y="28292"/>
                      <a:pt x="36434" y="39826"/>
                      <a:pt x="46687" y="50079"/>
                    </a:cubicBezTo>
                    <a:cubicBezTo>
                      <a:pt x="41561" y="56487"/>
                      <a:pt x="55658" y="66739"/>
                      <a:pt x="63347" y="66739"/>
                    </a:cubicBezTo>
                    <a:cubicBezTo>
                      <a:pt x="69755" y="66739"/>
                      <a:pt x="68473" y="60331"/>
                      <a:pt x="62065" y="53923"/>
                    </a:cubicBezTo>
                    <a:cubicBezTo>
                      <a:pt x="59502" y="51360"/>
                      <a:pt x="55658" y="48797"/>
                      <a:pt x="50532" y="48797"/>
                    </a:cubicBezTo>
                    <a:cubicBezTo>
                      <a:pt x="40279" y="38545"/>
                      <a:pt x="30027" y="27011"/>
                      <a:pt x="19775" y="16758"/>
                    </a:cubicBezTo>
                    <a:cubicBezTo>
                      <a:pt x="24900" y="10351"/>
                      <a:pt x="10804" y="-1183"/>
                      <a:pt x="4396" y="98"/>
                    </a:cubicBezTo>
                    <a:cubicBezTo>
                      <a:pt x="4396" y="98"/>
                      <a:pt x="3114" y="98"/>
                      <a:pt x="3114" y="98"/>
                    </a:cubicBezTo>
                    <a:cubicBezTo>
                      <a:pt x="-4575" y="3943"/>
                      <a:pt x="4396" y="12914"/>
                      <a:pt x="4396" y="1291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4" name="Freeform: Shape 379996">
                <a:extLst>
                  <a:ext uri="{FF2B5EF4-FFF2-40B4-BE49-F238E27FC236}">
                    <a16:creationId xmlns:a16="http://schemas.microsoft.com/office/drawing/2014/main" id="{9D7A64B3-79DD-4ACE-AD99-498970A5EA09}"/>
                  </a:ext>
                </a:extLst>
              </p:cNvPr>
              <p:cNvSpPr/>
              <p:nvPr/>
            </p:nvSpPr>
            <p:spPr>
              <a:xfrm>
                <a:off x="5283752" y="4967037"/>
                <a:ext cx="66753" cy="66738"/>
              </a:xfrm>
              <a:custGeom>
                <a:avLst/>
                <a:gdLst>
                  <a:gd name="connsiteX0" fmla="*/ 4871 w 66753"/>
                  <a:gd name="connsiteY0" fmla="*/ 12914 h 66738"/>
                  <a:gd name="connsiteX1" fmla="*/ 16405 w 66753"/>
                  <a:gd name="connsiteY1" fmla="*/ 18040 h 66738"/>
                  <a:gd name="connsiteX2" fmla="*/ 47162 w 66753"/>
                  <a:gd name="connsiteY2" fmla="*/ 50079 h 66738"/>
                  <a:gd name="connsiteX3" fmla="*/ 62540 w 66753"/>
                  <a:gd name="connsiteY3" fmla="*/ 66739 h 66738"/>
                  <a:gd name="connsiteX4" fmla="*/ 61259 w 66753"/>
                  <a:gd name="connsiteY4" fmla="*/ 53923 h 66738"/>
                  <a:gd name="connsiteX5" fmla="*/ 49725 w 66753"/>
                  <a:gd name="connsiteY5" fmla="*/ 48797 h 66738"/>
                  <a:gd name="connsiteX6" fmla="*/ 18968 w 66753"/>
                  <a:gd name="connsiteY6" fmla="*/ 16758 h 66738"/>
                  <a:gd name="connsiteX7" fmla="*/ 3589 w 66753"/>
                  <a:gd name="connsiteY7" fmla="*/ 98 h 66738"/>
                  <a:gd name="connsiteX8" fmla="*/ 2307 w 66753"/>
                  <a:gd name="connsiteY8" fmla="*/ 98 h 66738"/>
                  <a:gd name="connsiteX9" fmla="*/ 4871 w 66753"/>
                  <a:gd name="connsiteY9" fmla="*/ 12914 h 6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53" h="66738">
                    <a:moveTo>
                      <a:pt x="4871" y="12914"/>
                    </a:moveTo>
                    <a:cubicBezTo>
                      <a:pt x="7434" y="15477"/>
                      <a:pt x="11278" y="18040"/>
                      <a:pt x="16405" y="18040"/>
                    </a:cubicBezTo>
                    <a:cubicBezTo>
                      <a:pt x="26657" y="28292"/>
                      <a:pt x="36909" y="39826"/>
                      <a:pt x="47162" y="50079"/>
                    </a:cubicBezTo>
                    <a:cubicBezTo>
                      <a:pt x="42036" y="56486"/>
                      <a:pt x="56132" y="66739"/>
                      <a:pt x="62540" y="66739"/>
                    </a:cubicBezTo>
                    <a:cubicBezTo>
                      <a:pt x="68948" y="66739"/>
                      <a:pt x="67666" y="60331"/>
                      <a:pt x="61259" y="53923"/>
                    </a:cubicBezTo>
                    <a:cubicBezTo>
                      <a:pt x="58695" y="51360"/>
                      <a:pt x="54851" y="48797"/>
                      <a:pt x="49725" y="48797"/>
                    </a:cubicBezTo>
                    <a:cubicBezTo>
                      <a:pt x="39473" y="38545"/>
                      <a:pt x="29220" y="27011"/>
                      <a:pt x="18968" y="16758"/>
                    </a:cubicBezTo>
                    <a:cubicBezTo>
                      <a:pt x="25375" y="10351"/>
                      <a:pt x="11278" y="-1183"/>
                      <a:pt x="3589" y="98"/>
                    </a:cubicBezTo>
                    <a:cubicBezTo>
                      <a:pt x="3589" y="98"/>
                      <a:pt x="2307" y="98"/>
                      <a:pt x="2307" y="98"/>
                    </a:cubicBezTo>
                    <a:cubicBezTo>
                      <a:pt x="-4100" y="3943"/>
                      <a:pt x="4871" y="12914"/>
                      <a:pt x="4871" y="1291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5" name="Freeform: Shape 379997">
                <a:extLst>
                  <a:ext uri="{FF2B5EF4-FFF2-40B4-BE49-F238E27FC236}">
                    <a16:creationId xmlns:a16="http://schemas.microsoft.com/office/drawing/2014/main" id="{1206BAD4-9EB4-4148-915C-D76223E7AACB}"/>
                  </a:ext>
                </a:extLst>
              </p:cNvPr>
              <p:cNvSpPr/>
              <p:nvPr/>
            </p:nvSpPr>
            <p:spPr>
              <a:xfrm>
                <a:off x="5146217" y="4705700"/>
                <a:ext cx="182134" cy="272648"/>
              </a:xfrm>
              <a:custGeom>
                <a:avLst/>
                <a:gdLst>
                  <a:gd name="connsiteX0" fmla="*/ 165474 w 182134"/>
                  <a:gd name="connsiteY0" fmla="*/ 267843 h 272648"/>
                  <a:gd name="connsiteX1" fmla="*/ 182134 w 182134"/>
                  <a:gd name="connsiteY1" fmla="*/ 267843 h 272648"/>
                  <a:gd name="connsiteX2" fmla="*/ 165474 w 182134"/>
                  <a:gd name="connsiteY2" fmla="*/ 255028 h 272648"/>
                  <a:gd name="connsiteX3" fmla="*/ 66795 w 182134"/>
                  <a:gd name="connsiteY3" fmla="*/ 134562 h 272648"/>
                  <a:gd name="connsiteX4" fmla="*/ 71921 w 182134"/>
                  <a:gd name="connsiteY4" fmla="*/ 98679 h 272648"/>
                  <a:gd name="connsiteX5" fmla="*/ 18096 w 182134"/>
                  <a:gd name="connsiteY5" fmla="*/ 20505 h 272648"/>
                  <a:gd name="connsiteX6" fmla="*/ 5281 w 182134"/>
                  <a:gd name="connsiteY6" fmla="*/ 0 h 272648"/>
                  <a:gd name="connsiteX7" fmla="*/ 3999 w 182134"/>
                  <a:gd name="connsiteY7" fmla="*/ 0 h 272648"/>
                  <a:gd name="connsiteX8" fmla="*/ 11688 w 182134"/>
                  <a:gd name="connsiteY8" fmla="*/ 20505 h 272648"/>
                  <a:gd name="connsiteX9" fmla="*/ 15533 w 182134"/>
                  <a:gd name="connsiteY9" fmla="*/ 20505 h 272648"/>
                  <a:gd name="connsiteX10" fmla="*/ 68076 w 182134"/>
                  <a:gd name="connsiteY10" fmla="*/ 97397 h 272648"/>
                  <a:gd name="connsiteX11" fmla="*/ 64232 w 182134"/>
                  <a:gd name="connsiteY11" fmla="*/ 133281 h 272648"/>
                  <a:gd name="connsiteX12" fmla="*/ 164193 w 182134"/>
                  <a:gd name="connsiteY12" fmla="*/ 256309 h 272648"/>
                  <a:gd name="connsiteX13" fmla="*/ 165474 w 182134"/>
                  <a:gd name="connsiteY13" fmla="*/ 267843 h 27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134" h="272648">
                    <a:moveTo>
                      <a:pt x="165474" y="267843"/>
                    </a:moveTo>
                    <a:cubicBezTo>
                      <a:pt x="173163" y="274251"/>
                      <a:pt x="180853" y="274251"/>
                      <a:pt x="182134" y="267843"/>
                    </a:cubicBezTo>
                    <a:cubicBezTo>
                      <a:pt x="182134" y="263998"/>
                      <a:pt x="175727" y="255028"/>
                      <a:pt x="165474" y="255028"/>
                    </a:cubicBezTo>
                    <a:cubicBezTo>
                      <a:pt x="132154" y="216581"/>
                      <a:pt x="98834" y="176853"/>
                      <a:pt x="66795" y="134562"/>
                    </a:cubicBezTo>
                    <a:lnTo>
                      <a:pt x="71921" y="98679"/>
                    </a:lnTo>
                    <a:cubicBezTo>
                      <a:pt x="53979" y="73048"/>
                      <a:pt x="36038" y="47417"/>
                      <a:pt x="18096" y="20505"/>
                    </a:cubicBezTo>
                    <a:cubicBezTo>
                      <a:pt x="25785" y="11534"/>
                      <a:pt x="11688" y="0"/>
                      <a:pt x="5281" y="0"/>
                    </a:cubicBezTo>
                    <a:cubicBezTo>
                      <a:pt x="5281" y="0"/>
                      <a:pt x="3999" y="0"/>
                      <a:pt x="3999" y="0"/>
                    </a:cubicBezTo>
                    <a:cubicBezTo>
                      <a:pt x="-4972" y="5126"/>
                      <a:pt x="2717" y="17942"/>
                      <a:pt x="11688" y="20505"/>
                    </a:cubicBezTo>
                    <a:cubicBezTo>
                      <a:pt x="12970" y="20505"/>
                      <a:pt x="14251" y="20505"/>
                      <a:pt x="15533" y="20505"/>
                    </a:cubicBezTo>
                    <a:cubicBezTo>
                      <a:pt x="33474" y="46136"/>
                      <a:pt x="50135" y="71766"/>
                      <a:pt x="68076" y="97397"/>
                    </a:cubicBezTo>
                    <a:lnTo>
                      <a:pt x="64232" y="133281"/>
                    </a:lnTo>
                    <a:cubicBezTo>
                      <a:pt x="96271" y="175572"/>
                      <a:pt x="129591" y="216581"/>
                      <a:pt x="164193" y="256309"/>
                    </a:cubicBezTo>
                    <a:cubicBezTo>
                      <a:pt x="159067" y="258872"/>
                      <a:pt x="160348" y="262717"/>
                      <a:pt x="165474" y="26784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6" name="Freeform: Shape 379998">
                <a:extLst>
                  <a:ext uri="{FF2B5EF4-FFF2-40B4-BE49-F238E27FC236}">
                    <a16:creationId xmlns:a16="http://schemas.microsoft.com/office/drawing/2014/main" id="{F6AE38ED-427A-40E9-8D9E-B43B04FB851B}"/>
                  </a:ext>
                </a:extLst>
              </p:cNvPr>
              <p:cNvSpPr/>
              <p:nvPr/>
            </p:nvSpPr>
            <p:spPr>
              <a:xfrm>
                <a:off x="6590117" y="4267411"/>
                <a:ext cx="59118" cy="377081"/>
              </a:xfrm>
              <a:custGeom>
                <a:avLst/>
                <a:gdLst>
                  <a:gd name="connsiteX0" fmla="*/ 561 w 59118"/>
                  <a:gd name="connsiteY0" fmla="*/ 16660 h 377081"/>
                  <a:gd name="connsiteX1" fmla="*/ 9532 w 59118"/>
                  <a:gd name="connsiteY1" fmla="*/ 24349 h 377081"/>
                  <a:gd name="connsiteX2" fmla="*/ 14658 w 59118"/>
                  <a:gd name="connsiteY2" fmla="*/ 115339 h 377081"/>
                  <a:gd name="connsiteX3" fmla="*/ 47978 w 59118"/>
                  <a:gd name="connsiteY3" fmla="*/ 142252 h 377081"/>
                  <a:gd name="connsiteX4" fmla="*/ 47978 w 59118"/>
                  <a:gd name="connsiteY4" fmla="*/ 356270 h 377081"/>
                  <a:gd name="connsiteX5" fmla="*/ 45415 w 59118"/>
                  <a:gd name="connsiteY5" fmla="*/ 376774 h 377081"/>
                  <a:gd name="connsiteX6" fmla="*/ 56949 w 59118"/>
                  <a:gd name="connsiteY6" fmla="*/ 357551 h 377081"/>
                  <a:gd name="connsiteX7" fmla="*/ 51823 w 59118"/>
                  <a:gd name="connsiteY7" fmla="*/ 354988 h 377081"/>
                  <a:gd name="connsiteX8" fmla="*/ 53104 w 59118"/>
                  <a:gd name="connsiteY8" fmla="*/ 139688 h 377081"/>
                  <a:gd name="connsiteX9" fmla="*/ 19784 w 59118"/>
                  <a:gd name="connsiteY9" fmla="*/ 112776 h 377081"/>
                  <a:gd name="connsiteX10" fmla="*/ 14658 w 59118"/>
                  <a:gd name="connsiteY10" fmla="*/ 23068 h 377081"/>
                  <a:gd name="connsiteX11" fmla="*/ 14658 w 59118"/>
                  <a:gd name="connsiteY11" fmla="*/ 0 h 377081"/>
                  <a:gd name="connsiteX12" fmla="*/ 10813 w 59118"/>
                  <a:gd name="connsiteY12" fmla="*/ 0 h 377081"/>
                  <a:gd name="connsiteX13" fmla="*/ 561 w 59118"/>
                  <a:gd name="connsiteY13" fmla="*/ 16660 h 377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118" h="377081">
                    <a:moveTo>
                      <a:pt x="561" y="16660"/>
                    </a:moveTo>
                    <a:cubicBezTo>
                      <a:pt x="1842" y="19223"/>
                      <a:pt x="3124" y="23068"/>
                      <a:pt x="9532" y="24349"/>
                    </a:cubicBezTo>
                    <a:cubicBezTo>
                      <a:pt x="12095" y="55106"/>
                      <a:pt x="13376" y="85864"/>
                      <a:pt x="14658" y="115339"/>
                    </a:cubicBezTo>
                    <a:lnTo>
                      <a:pt x="47978" y="142252"/>
                    </a:lnTo>
                    <a:cubicBezTo>
                      <a:pt x="49260" y="215300"/>
                      <a:pt x="49260" y="287066"/>
                      <a:pt x="47978" y="356270"/>
                    </a:cubicBezTo>
                    <a:cubicBezTo>
                      <a:pt x="35163" y="365241"/>
                      <a:pt x="41570" y="375493"/>
                      <a:pt x="45415" y="376774"/>
                    </a:cubicBezTo>
                    <a:cubicBezTo>
                      <a:pt x="54386" y="379338"/>
                      <a:pt x="63357" y="365241"/>
                      <a:pt x="56949" y="357551"/>
                    </a:cubicBezTo>
                    <a:cubicBezTo>
                      <a:pt x="55668" y="356270"/>
                      <a:pt x="53104" y="354988"/>
                      <a:pt x="51823" y="354988"/>
                    </a:cubicBezTo>
                    <a:cubicBezTo>
                      <a:pt x="54386" y="285785"/>
                      <a:pt x="54386" y="214018"/>
                      <a:pt x="53104" y="139688"/>
                    </a:cubicBezTo>
                    <a:lnTo>
                      <a:pt x="19784" y="112776"/>
                    </a:lnTo>
                    <a:cubicBezTo>
                      <a:pt x="18502" y="83300"/>
                      <a:pt x="17221" y="53825"/>
                      <a:pt x="14658" y="23068"/>
                    </a:cubicBezTo>
                    <a:cubicBezTo>
                      <a:pt x="26192" y="16660"/>
                      <a:pt x="23629" y="2563"/>
                      <a:pt x="14658" y="0"/>
                    </a:cubicBezTo>
                    <a:cubicBezTo>
                      <a:pt x="13376" y="0"/>
                      <a:pt x="12095" y="0"/>
                      <a:pt x="10813" y="0"/>
                    </a:cubicBezTo>
                    <a:cubicBezTo>
                      <a:pt x="-721" y="3845"/>
                      <a:pt x="-721" y="12816"/>
                      <a:pt x="561" y="166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7" name="Freeform: Shape 379999">
                <a:extLst>
                  <a:ext uri="{FF2B5EF4-FFF2-40B4-BE49-F238E27FC236}">
                    <a16:creationId xmlns:a16="http://schemas.microsoft.com/office/drawing/2014/main" id="{A1A6720D-C20E-49D3-83FB-D69781A35875}"/>
                  </a:ext>
                </a:extLst>
              </p:cNvPr>
              <p:cNvSpPr/>
              <p:nvPr/>
            </p:nvSpPr>
            <p:spPr>
              <a:xfrm>
                <a:off x="6663517" y="4489009"/>
                <a:ext cx="44701" cy="144005"/>
              </a:xfrm>
              <a:custGeom>
                <a:avLst/>
                <a:gdLst>
                  <a:gd name="connsiteX0" fmla="*/ 209 w 44701"/>
                  <a:gd name="connsiteY0" fmla="*/ 16770 h 144005"/>
                  <a:gd name="connsiteX1" fmla="*/ 15588 w 44701"/>
                  <a:gd name="connsiteY1" fmla="*/ 20615 h 144005"/>
                  <a:gd name="connsiteX2" fmla="*/ 37374 w 44701"/>
                  <a:gd name="connsiteY2" fmla="*/ 39838 h 144005"/>
                  <a:gd name="connsiteX3" fmla="*/ 33529 w 44701"/>
                  <a:gd name="connsiteY3" fmla="*/ 123138 h 144005"/>
                  <a:gd name="connsiteX4" fmla="*/ 30966 w 44701"/>
                  <a:gd name="connsiteY4" fmla="*/ 143643 h 144005"/>
                  <a:gd name="connsiteX5" fmla="*/ 43782 w 44701"/>
                  <a:gd name="connsiteY5" fmla="*/ 125701 h 144005"/>
                  <a:gd name="connsiteX6" fmla="*/ 38656 w 44701"/>
                  <a:gd name="connsiteY6" fmla="*/ 121856 h 144005"/>
                  <a:gd name="connsiteX7" fmla="*/ 42500 w 44701"/>
                  <a:gd name="connsiteY7" fmla="*/ 35993 h 144005"/>
                  <a:gd name="connsiteX8" fmla="*/ 19433 w 44701"/>
                  <a:gd name="connsiteY8" fmla="*/ 15488 h 144005"/>
                  <a:gd name="connsiteX9" fmla="*/ 10461 w 44701"/>
                  <a:gd name="connsiteY9" fmla="*/ 110 h 144005"/>
                  <a:gd name="connsiteX10" fmla="*/ 209 w 44701"/>
                  <a:gd name="connsiteY10" fmla="*/ 16770 h 14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701" h="144005">
                    <a:moveTo>
                      <a:pt x="209" y="16770"/>
                    </a:moveTo>
                    <a:cubicBezTo>
                      <a:pt x="1491" y="23177"/>
                      <a:pt x="9180" y="27022"/>
                      <a:pt x="15588" y="20615"/>
                    </a:cubicBezTo>
                    <a:lnTo>
                      <a:pt x="37374" y="39838"/>
                    </a:lnTo>
                    <a:cubicBezTo>
                      <a:pt x="36093" y="68032"/>
                      <a:pt x="34811" y="96225"/>
                      <a:pt x="33529" y="123138"/>
                    </a:cubicBezTo>
                    <a:cubicBezTo>
                      <a:pt x="23277" y="128264"/>
                      <a:pt x="23277" y="142361"/>
                      <a:pt x="30966" y="143643"/>
                    </a:cubicBezTo>
                    <a:cubicBezTo>
                      <a:pt x="38656" y="146206"/>
                      <a:pt x="47626" y="134672"/>
                      <a:pt x="43782" y="125701"/>
                    </a:cubicBezTo>
                    <a:cubicBezTo>
                      <a:pt x="42500" y="121856"/>
                      <a:pt x="39937" y="121856"/>
                      <a:pt x="38656" y="121856"/>
                    </a:cubicBezTo>
                    <a:cubicBezTo>
                      <a:pt x="39937" y="93663"/>
                      <a:pt x="42500" y="65468"/>
                      <a:pt x="42500" y="35993"/>
                    </a:cubicBezTo>
                    <a:cubicBezTo>
                      <a:pt x="36093" y="29585"/>
                      <a:pt x="25840" y="21896"/>
                      <a:pt x="19433" y="15488"/>
                    </a:cubicBezTo>
                    <a:cubicBezTo>
                      <a:pt x="21995" y="9081"/>
                      <a:pt x="20714" y="-1172"/>
                      <a:pt x="10461" y="110"/>
                    </a:cubicBezTo>
                    <a:cubicBezTo>
                      <a:pt x="-2354" y="3954"/>
                      <a:pt x="209" y="15488"/>
                      <a:pt x="209" y="1677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8" name="Freeform: Shape 380000">
                <a:extLst>
                  <a:ext uri="{FF2B5EF4-FFF2-40B4-BE49-F238E27FC236}">
                    <a16:creationId xmlns:a16="http://schemas.microsoft.com/office/drawing/2014/main" id="{C6258D39-194B-41D5-ABAE-DDFD893C7667}"/>
                  </a:ext>
                </a:extLst>
              </p:cNvPr>
              <p:cNvSpPr/>
              <p:nvPr/>
            </p:nvSpPr>
            <p:spPr>
              <a:xfrm>
                <a:off x="7555685" y="4328926"/>
                <a:ext cx="98679" cy="228115"/>
              </a:xfrm>
              <a:custGeom>
                <a:avLst/>
                <a:gdLst>
                  <a:gd name="connsiteX0" fmla="*/ 92272 w 98679"/>
                  <a:gd name="connsiteY0" fmla="*/ 14097 h 228115"/>
                  <a:gd name="connsiteX1" fmla="*/ 89709 w 98679"/>
                  <a:gd name="connsiteY1" fmla="*/ 24349 h 228115"/>
                  <a:gd name="connsiteX2" fmla="*/ 19223 w 98679"/>
                  <a:gd name="connsiteY2" fmla="*/ 181979 h 228115"/>
                  <a:gd name="connsiteX3" fmla="*/ 7689 w 98679"/>
                  <a:gd name="connsiteY3" fmla="*/ 211455 h 228115"/>
                  <a:gd name="connsiteX4" fmla="*/ 0 w 98679"/>
                  <a:gd name="connsiteY4" fmla="*/ 228115 h 228115"/>
                  <a:gd name="connsiteX5" fmla="*/ 11534 w 98679"/>
                  <a:gd name="connsiteY5" fmla="*/ 205047 h 228115"/>
                  <a:gd name="connsiteX6" fmla="*/ 10253 w 98679"/>
                  <a:gd name="connsiteY6" fmla="*/ 206329 h 228115"/>
                  <a:gd name="connsiteX7" fmla="*/ 20505 w 98679"/>
                  <a:gd name="connsiteY7" fmla="*/ 179417 h 228115"/>
                  <a:gd name="connsiteX8" fmla="*/ 89709 w 98679"/>
                  <a:gd name="connsiteY8" fmla="*/ 24349 h 228115"/>
                  <a:gd name="connsiteX9" fmla="*/ 98679 w 98679"/>
                  <a:gd name="connsiteY9" fmla="*/ 0 h 228115"/>
                  <a:gd name="connsiteX10" fmla="*/ 92272 w 98679"/>
                  <a:gd name="connsiteY10" fmla="*/ 14097 h 22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679" h="228115">
                    <a:moveTo>
                      <a:pt x="92272" y="14097"/>
                    </a:moveTo>
                    <a:cubicBezTo>
                      <a:pt x="90990" y="17942"/>
                      <a:pt x="89709" y="21786"/>
                      <a:pt x="89709" y="24349"/>
                    </a:cubicBezTo>
                    <a:cubicBezTo>
                      <a:pt x="67922" y="78174"/>
                      <a:pt x="44855" y="130718"/>
                      <a:pt x="19223" y="181979"/>
                    </a:cubicBezTo>
                    <a:cubicBezTo>
                      <a:pt x="15378" y="190950"/>
                      <a:pt x="11534" y="202484"/>
                      <a:pt x="7689" y="211455"/>
                    </a:cubicBezTo>
                    <a:cubicBezTo>
                      <a:pt x="7689" y="211455"/>
                      <a:pt x="1282" y="222989"/>
                      <a:pt x="0" y="228115"/>
                    </a:cubicBezTo>
                    <a:cubicBezTo>
                      <a:pt x="3844" y="224270"/>
                      <a:pt x="11534" y="208892"/>
                      <a:pt x="11534" y="205047"/>
                    </a:cubicBezTo>
                    <a:cubicBezTo>
                      <a:pt x="11534" y="205047"/>
                      <a:pt x="10253" y="206329"/>
                      <a:pt x="10253" y="206329"/>
                    </a:cubicBezTo>
                    <a:lnTo>
                      <a:pt x="20505" y="179417"/>
                    </a:lnTo>
                    <a:cubicBezTo>
                      <a:pt x="46136" y="128155"/>
                      <a:pt x="69204" y="76893"/>
                      <a:pt x="89709" y="24349"/>
                    </a:cubicBezTo>
                    <a:cubicBezTo>
                      <a:pt x="92272" y="20505"/>
                      <a:pt x="98679" y="5126"/>
                      <a:pt x="98679" y="0"/>
                    </a:cubicBezTo>
                    <a:cubicBezTo>
                      <a:pt x="97398" y="2563"/>
                      <a:pt x="96116" y="3845"/>
                      <a:pt x="9227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59" name="Freeform: Shape 380001">
                <a:extLst>
                  <a:ext uri="{FF2B5EF4-FFF2-40B4-BE49-F238E27FC236}">
                    <a16:creationId xmlns:a16="http://schemas.microsoft.com/office/drawing/2014/main" id="{D3EFE6A8-4D56-4A71-8118-B556E2EF2CE4}"/>
                  </a:ext>
                </a:extLst>
              </p:cNvPr>
              <p:cNvSpPr/>
              <p:nvPr/>
            </p:nvSpPr>
            <p:spPr>
              <a:xfrm>
                <a:off x="7559530" y="4237936"/>
                <a:ext cx="139688" cy="326793"/>
              </a:xfrm>
              <a:custGeom>
                <a:avLst/>
                <a:gdLst>
                  <a:gd name="connsiteX0" fmla="*/ 120466 w 139688"/>
                  <a:gd name="connsiteY0" fmla="*/ 44854 h 326793"/>
                  <a:gd name="connsiteX1" fmla="*/ 117903 w 139688"/>
                  <a:gd name="connsiteY1" fmla="*/ 55106 h 326793"/>
                  <a:gd name="connsiteX2" fmla="*/ 67922 w 139688"/>
                  <a:gd name="connsiteY2" fmla="*/ 181979 h 326793"/>
                  <a:gd name="connsiteX3" fmla="*/ 53825 w 139688"/>
                  <a:gd name="connsiteY3" fmla="*/ 219144 h 326793"/>
                  <a:gd name="connsiteX4" fmla="*/ 11534 w 139688"/>
                  <a:gd name="connsiteY4" fmla="*/ 305008 h 326793"/>
                  <a:gd name="connsiteX5" fmla="*/ 0 w 139688"/>
                  <a:gd name="connsiteY5" fmla="*/ 326794 h 326793"/>
                  <a:gd name="connsiteX6" fmla="*/ 11534 w 139688"/>
                  <a:gd name="connsiteY6" fmla="*/ 305008 h 326793"/>
                  <a:gd name="connsiteX7" fmla="*/ 55107 w 139688"/>
                  <a:gd name="connsiteY7" fmla="*/ 216581 h 326793"/>
                  <a:gd name="connsiteX8" fmla="*/ 70486 w 139688"/>
                  <a:gd name="connsiteY8" fmla="*/ 179416 h 326793"/>
                  <a:gd name="connsiteX9" fmla="*/ 119184 w 139688"/>
                  <a:gd name="connsiteY9" fmla="*/ 55106 h 326793"/>
                  <a:gd name="connsiteX10" fmla="*/ 125592 w 139688"/>
                  <a:gd name="connsiteY10" fmla="*/ 38446 h 326793"/>
                  <a:gd name="connsiteX11" fmla="*/ 132000 w 139688"/>
                  <a:gd name="connsiteY11" fmla="*/ 21786 h 326793"/>
                  <a:gd name="connsiteX12" fmla="*/ 132000 w 139688"/>
                  <a:gd name="connsiteY12" fmla="*/ 23068 h 326793"/>
                  <a:gd name="connsiteX13" fmla="*/ 139689 w 139688"/>
                  <a:gd name="connsiteY13" fmla="*/ 0 h 326793"/>
                  <a:gd name="connsiteX14" fmla="*/ 133281 w 139688"/>
                  <a:gd name="connsiteY14" fmla="*/ 16660 h 326793"/>
                  <a:gd name="connsiteX15" fmla="*/ 126874 w 139688"/>
                  <a:gd name="connsiteY15" fmla="*/ 33320 h 326793"/>
                  <a:gd name="connsiteX16" fmla="*/ 126874 w 139688"/>
                  <a:gd name="connsiteY16" fmla="*/ 32039 h 326793"/>
                  <a:gd name="connsiteX17" fmla="*/ 120466 w 139688"/>
                  <a:gd name="connsiteY17" fmla="*/ 44854 h 32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688" h="326793">
                    <a:moveTo>
                      <a:pt x="120466" y="44854"/>
                    </a:moveTo>
                    <a:cubicBezTo>
                      <a:pt x="119184" y="48699"/>
                      <a:pt x="117903" y="52543"/>
                      <a:pt x="117903" y="55106"/>
                    </a:cubicBezTo>
                    <a:cubicBezTo>
                      <a:pt x="102524" y="97397"/>
                      <a:pt x="85864" y="139688"/>
                      <a:pt x="67922" y="181979"/>
                    </a:cubicBezTo>
                    <a:lnTo>
                      <a:pt x="53825" y="219144"/>
                    </a:lnTo>
                    <a:cubicBezTo>
                      <a:pt x="39728" y="248620"/>
                      <a:pt x="25631" y="276814"/>
                      <a:pt x="11534" y="305008"/>
                    </a:cubicBezTo>
                    <a:cubicBezTo>
                      <a:pt x="7689" y="310134"/>
                      <a:pt x="2563" y="321668"/>
                      <a:pt x="0" y="326794"/>
                    </a:cubicBezTo>
                    <a:cubicBezTo>
                      <a:pt x="3845" y="321668"/>
                      <a:pt x="11534" y="305008"/>
                      <a:pt x="11534" y="305008"/>
                    </a:cubicBezTo>
                    <a:cubicBezTo>
                      <a:pt x="26913" y="275532"/>
                      <a:pt x="41010" y="246057"/>
                      <a:pt x="55107" y="216581"/>
                    </a:cubicBezTo>
                    <a:lnTo>
                      <a:pt x="70486" y="179416"/>
                    </a:lnTo>
                    <a:cubicBezTo>
                      <a:pt x="88427" y="138407"/>
                      <a:pt x="105088" y="97397"/>
                      <a:pt x="119184" y="55106"/>
                    </a:cubicBezTo>
                    <a:cubicBezTo>
                      <a:pt x="120466" y="53825"/>
                      <a:pt x="121747" y="49980"/>
                      <a:pt x="125592" y="38446"/>
                    </a:cubicBezTo>
                    <a:cubicBezTo>
                      <a:pt x="128155" y="33320"/>
                      <a:pt x="130718" y="26912"/>
                      <a:pt x="132000" y="21786"/>
                    </a:cubicBezTo>
                    <a:cubicBezTo>
                      <a:pt x="132000" y="21786"/>
                      <a:pt x="132000" y="23068"/>
                      <a:pt x="132000" y="23068"/>
                    </a:cubicBezTo>
                    <a:cubicBezTo>
                      <a:pt x="134563" y="19223"/>
                      <a:pt x="139689" y="0"/>
                      <a:pt x="139689" y="0"/>
                    </a:cubicBezTo>
                    <a:cubicBezTo>
                      <a:pt x="138408" y="2563"/>
                      <a:pt x="137126" y="7689"/>
                      <a:pt x="133281" y="16660"/>
                    </a:cubicBezTo>
                    <a:cubicBezTo>
                      <a:pt x="130718" y="21786"/>
                      <a:pt x="128155" y="28194"/>
                      <a:pt x="126874" y="33320"/>
                    </a:cubicBezTo>
                    <a:cubicBezTo>
                      <a:pt x="126874" y="33320"/>
                      <a:pt x="126874" y="32039"/>
                      <a:pt x="126874" y="32039"/>
                    </a:cubicBezTo>
                    <a:cubicBezTo>
                      <a:pt x="124311" y="35883"/>
                      <a:pt x="124311" y="35883"/>
                      <a:pt x="120466" y="4485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0" name="Freeform: Shape 380002">
                <a:extLst>
                  <a:ext uri="{FF2B5EF4-FFF2-40B4-BE49-F238E27FC236}">
                    <a16:creationId xmlns:a16="http://schemas.microsoft.com/office/drawing/2014/main" id="{3690351B-C372-4809-982C-40E2F1A562B2}"/>
                  </a:ext>
                </a:extLst>
              </p:cNvPr>
              <p:cNvSpPr/>
              <p:nvPr/>
            </p:nvSpPr>
            <p:spPr>
              <a:xfrm>
                <a:off x="4974983" y="4835025"/>
                <a:ext cx="239643" cy="245653"/>
              </a:xfrm>
              <a:custGeom>
                <a:avLst/>
                <a:gdLst>
                  <a:gd name="connsiteX0" fmla="*/ 109873 w 239643"/>
                  <a:gd name="connsiteY0" fmla="*/ 151333 h 245653"/>
                  <a:gd name="connsiteX1" fmla="*/ 153446 w 239643"/>
                  <a:gd name="connsiteY1" fmla="*/ 169275 h 245653"/>
                  <a:gd name="connsiteX2" fmla="*/ 218805 w 239643"/>
                  <a:gd name="connsiteY2" fmla="*/ 230789 h 245653"/>
                  <a:gd name="connsiteX3" fmla="*/ 239310 w 239643"/>
                  <a:gd name="connsiteY3" fmla="*/ 244886 h 245653"/>
                  <a:gd name="connsiteX4" fmla="*/ 222650 w 239643"/>
                  <a:gd name="connsiteY4" fmla="*/ 229508 h 245653"/>
                  <a:gd name="connsiteX5" fmla="*/ 156009 w 239643"/>
                  <a:gd name="connsiteY5" fmla="*/ 166712 h 245653"/>
                  <a:gd name="connsiteX6" fmla="*/ 112436 w 239643"/>
                  <a:gd name="connsiteY6" fmla="*/ 148770 h 245653"/>
                  <a:gd name="connsiteX7" fmla="*/ 17602 w 239643"/>
                  <a:gd name="connsiteY7" fmla="*/ 46247 h 245653"/>
                  <a:gd name="connsiteX8" fmla="*/ 15038 w 239643"/>
                  <a:gd name="connsiteY8" fmla="*/ 19334 h 245653"/>
                  <a:gd name="connsiteX9" fmla="*/ 18883 w 239643"/>
                  <a:gd name="connsiteY9" fmla="*/ 9082 h 245653"/>
                  <a:gd name="connsiteX10" fmla="*/ 2223 w 239643"/>
                  <a:gd name="connsiteY10" fmla="*/ 111 h 245653"/>
                  <a:gd name="connsiteX11" fmla="*/ 9913 w 239643"/>
                  <a:gd name="connsiteY11" fmla="*/ 16771 h 245653"/>
                  <a:gd name="connsiteX12" fmla="*/ 12475 w 239643"/>
                  <a:gd name="connsiteY12" fmla="*/ 44965 h 245653"/>
                  <a:gd name="connsiteX13" fmla="*/ 109873 w 239643"/>
                  <a:gd name="connsiteY13" fmla="*/ 151333 h 24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9643" h="245653">
                    <a:moveTo>
                      <a:pt x="109873" y="151333"/>
                    </a:moveTo>
                    <a:lnTo>
                      <a:pt x="153446" y="169275"/>
                    </a:lnTo>
                    <a:cubicBezTo>
                      <a:pt x="175232" y="189780"/>
                      <a:pt x="197019" y="210284"/>
                      <a:pt x="218805" y="230789"/>
                    </a:cubicBezTo>
                    <a:cubicBezTo>
                      <a:pt x="216242" y="237197"/>
                      <a:pt x="230339" y="248731"/>
                      <a:pt x="239310" y="244886"/>
                    </a:cubicBezTo>
                    <a:cubicBezTo>
                      <a:pt x="241873" y="238478"/>
                      <a:pt x="229058" y="229508"/>
                      <a:pt x="222650" y="229508"/>
                    </a:cubicBezTo>
                    <a:cubicBezTo>
                      <a:pt x="199582" y="209003"/>
                      <a:pt x="177795" y="188498"/>
                      <a:pt x="156009" y="166712"/>
                    </a:cubicBezTo>
                    <a:lnTo>
                      <a:pt x="112436" y="148770"/>
                    </a:lnTo>
                    <a:cubicBezTo>
                      <a:pt x="80398" y="115450"/>
                      <a:pt x="48359" y="82130"/>
                      <a:pt x="17602" y="46247"/>
                    </a:cubicBezTo>
                    <a:cubicBezTo>
                      <a:pt x="16320" y="38557"/>
                      <a:pt x="16320" y="27023"/>
                      <a:pt x="15038" y="19334"/>
                    </a:cubicBezTo>
                    <a:cubicBezTo>
                      <a:pt x="22728" y="20616"/>
                      <a:pt x="22728" y="15490"/>
                      <a:pt x="18883" y="9082"/>
                    </a:cubicBezTo>
                    <a:cubicBezTo>
                      <a:pt x="18883" y="9082"/>
                      <a:pt x="11194" y="-1171"/>
                      <a:pt x="2223" y="111"/>
                    </a:cubicBezTo>
                    <a:cubicBezTo>
                      <a:pt x="-4185" y="6518"/>
                      <a:pt x="4786" y="14208"/>
                      <a:pt x="9913" y="16771"/>
                    </a:cubicBezTo>
                    <a:lnTo>
                      <a:pt x="12475" y="44965"/>
                    </a:lnTo>
                    <a:cubicBezTo>
                      <a:pt x="43233" y="82130"/>
                      <a:pt x="76553" y="118013"/>
                      <a:pt x="109873" y="15133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1" name="Freeform: Shape 380003">
                <a:extLst>
                  <a:ext uri="{FF2B5EF4-FFF2-40B4-BE49-F238E27FC236}">
                    <a16:creationId xmlns:a16="http://schemas.microsoft.com/office/drawing/2014/main" id="{7E4AEB5F-C00D-4062-BED9-6C10ACB968C7}"/>
                  </a:ext>
                </a:extLst>
              </p:cNvPr>
              <p:cNvSpPr/>
              <p:nvPr/>
            </p:nvSpPr>
            <p:spPr>
              <a:xfrm>
                <a:off x="5228846" y="5051608"/>
                <a:ext cx="97482" cy="83813"/>
              </a:xfrm>
              <a:custGeom>
                <a:avLst/>
                <a:gdLst>
                  <a:gd name="connsiteX0" fmla="*/ 5951 w 97482"/>
                  <a:gd name="connsiteY0" fmla="*/ 11644 h 83813"/>
                  <a:gd name="connsiteX1" fmla="*/ 17485 w 97482"/>
                  <a:gd name="connsiteY1" fmla="*/ 16770 h 83813"/>
                  <a:gd name="connsiteX2" fmla="*/ 76437 w 97482"/>
                  <a:gd name="connsiteY2" fmla="*/ 69313 h 83813"/>
                  <a:gd name="connsiteX3" fmla="*/ 95660 w 97482"/>
                  <a:gd name="connsiteY3" fmla="*/ 83410 h 83813"/>
                  <a:gd name="connsiteX4" fmla="*/ 85408 w 97482"/>
                  <a:gd name="connsiteY4" fmla="*/ 69313 h 83813"/>
                  <a:gd name="connsiteX5" fmla="*/ 79000 w 97482"/>
                  <a:gd name="connsiteY5" fmla="*/ 68031 h 83813"/>
                  <a:gd name="connsiteX6" fmla="*/ 20048 w 97482"/>
                  <a:gd name="connsiteY6" fmla="*/ 15488 h 83813"/>
                  <a:gd name="connsiteX7" fmla="*/ 3388 w 97482"/>
                  <a:gd name="connsiteY7" fmla="*/ 110 h 83813"/>
                  <a:gd name="connsiteX8" fmla="*/ 2107 w 97482"/>
                  <a:gd name="connsiteY8" fmla="*/ 110 h 83813"/>
                  <a:gd name="connsiteX9" fmla="*/ 5951 w 97482"/>
                  <a:gd name="connsiteY9" fmla="*/ 11644 h 8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482" h="83813">
                    <a:moveTo>
                      <a:pt x="5951" y="11644"/>
                    </a:moveTo>
                    <a:cubicBezTo>
                      <a:pt x="8514" y="14206"/>
                      <a:pt x="12359" y="16770"/>
                      <a:pt x="17485" y="16770"/>
                    </a:cubicBezTo>
                    <a:cubicBezTo>
                      <a:pt x="36709" y="34711"/>
                      <a:pt x="57214" y="51371"/>
                      <a:pt x="76437" y="69313"/>
                    </a:cubicBezTo>
                    <a:cubicBezTo>
                      <a:pt x="72592" y="75721"/>
                      <a:pt x="90534" y="85973"/>
                      <a:pt x="95660" y="83410"/>
                    </a:cubicBezTo>
                    <a:cubicBezTo>
                      <a:pt x="100786" y="82128"/>
                      <a:pt x="94379" y="73158"/>
                      <a:pt x="85408" y="69313"/>
                    </a:cubicBezTo>
                    <a:cubicBezTo>
                      <a:pt x="82845" y="68031"/>
                      <a:pt x="80281" y="68031"/>
                      <a:pt x="79000" y="68031"/>
                    </a:cubicBezTo>
                    <a:cubicBezTo>
                      <a:pt x="58495" y="51371"/>
                      <a:pt x="39272" y="33430"/>
                      <a:pt x="20048" y="15488"/>
                    </a:cubicBezTo>
                    <a:cubicBezTo>
                      <a:pt x="23893" y="9080"/>
                      <a:pt x="9796" y="-1172"/>
                      <a:pt x="3388" y="110"/>
                    </a:cubicBezTo>
                    <a:cubicBezTo>
                      <a:pt x="3388" y="110"/>
                      <a:pt x="2107" y="110"/>
                      <a:pt x="2107" y="110"/>
                    </a:cubicBezTo>
                    <a:cubicBezTo>
                      <a:pt x="-4301" y="3954"/>
                      <a:pt x="5951" y="11644"/>
                      <a:pt x="5951" y="1164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2" name="Freeform: Shape 380004">
                <a:extLst>
                  <a:ext uri="{FF2B5EF4-FFF2-40B4-BE49-F238E27FC236}">
                    <a16:creationId xmlns:a16="http://schemas.microsoft.com/office/drawing/2014/main" id="{841EA29B-F9DA-4537-AE00-B0F9EB76314E}"/>
                  </a:ext>
                </a:extLst>
              </p:cNvPr>
              <p:cNvSpPr/>
              <p:nvPr/>
            </p:nvSpPr>
            <p:spPr>
              <a:xfrm>
                <a:off x="5267293" y="5038792"/>
                <a:ext cx="69447" cy="62905"/>
              </a:xfrm>
              <a:custGeom>
                <a:avLst/>
                <a:gdLst>
                  <a:gd name="connsiteX0" fmla="*/ 5952 w 69447"/>
                  <a:gd name="connsiteY0" fmla="*/ 11644 h 62905"/>
                  <a:gd name="connsiteX1" fmla="*/ 17485 w 69447"/>
                  <a:gd name="connsiteY1" fmla="*/ 16770 h 62905"/>
                  <a:gd name="connsiteX2" fmla="*/ 49524 w 69447"/>
                  <a:gd name="connsiteY2" fmla="*/ 47527 h 62905"/>
                  <a:gd name="connsiteX3" fmla="*/ 66184 w 69447"/>
                  <a:gd name="connsiteY3" fmla="*/ 62905 h 62905"/>
                  <a:gd name="connsiteX4" fmla="*/ 64903 w 69447"/>
                  <a:gd name="connsiteY4" fmla="*/ 52653 h 62905"/>
                  <a:gd name="connsiteX5" fmla="*/ 52087 w 69447"/>
                  <a:gd name="connsiteY5" fmla="*/ 46245 h 62905"/>
                  <a:gd name="connsiteX6" fmla="*/ 20048 w 69447"/>
                  <a:gd name="connsiteY6" fmla="*/ 15488 h 62905"/>
                  <a:gd name="connsiteX7" fmla="*/ 3389 w 69447"/>
                  <a:gd name="connsiteY7" fmla="*/ 110 h 62905"/>
                  <a:gd name="connsiteX8" fmla="*/ 2107 w 69447"/>
                  <a:gd name="connsiteY8" fmla="*/ 110 h 62905"/>
                  <a:gd name="connsiteX9" fmla="*/ 5952 w 69447"/>
                  <a:gd name="connsiteY9" fmla="*/ 11644 h 62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447" h="62905">
                    <a:moveTo>
                      <a:pt x="5952" y="11644"/>
                    </a:moveTo>
                    <a:cubicBezTo>
                      <a:pt x="8514" y="14207"/>
                      <a:pt x="12359" y="16770"/>
                      <a:pt x="17485" y="16770"/>
                    </a:cubicBezTo>
                    <a:cubicBezTo>
                      <a:pt x="27738" y="27022"/>
                      <a:pt x="39272" y="37274"/>
                      <a:pt x="49524" y="47527"/>
                    </a:cubicBezTo>
                    <a:cubicBezTo>
                      <a:pt x="45679" y="53935"/>
                      <a:pt x="59777" y="62905"/>
                      <a:pt x="66184" y="62905"/>
                    </a:cubicBezTo>
                    <a:cubicBezTo>
                      <a:pt x="71311" y="62905"/>
                      <a:pt x="70029" y="57779"/>
                      <a:pt x="64903" y="52653"/>
                    </a:cubicBezTo>
                    <a:cubicBezTo>
                      <a:pt x="63621" y="51371"/>
                      <a:pt x="58495" y="47527"/>
                      <a:pt x="52087" y="46245"/>
                    </a:cubicBezTo>
                    <a:cubicBezTo>
                      <a:pt x="41835" y="35993"/>
                      <a:pt x="30301" y="25741"/>
                      <a:pt x="20048" y="15488"/>
                    </a:cubicBezTo>
                    <a:cubicBezTo>
                      <a:pt x="25175" y="9080"/>
                      <a:pt x="9796" y="-1172"/>
                      <a:pt x="3389" y="110"/>
                    </a:cubicBezTo>
                    <a:cubicBezTo>
                      <a:pt x="3389" y="110"/>
                      <a:pt x="2107" y="110"/>
                      <a:pt x="2107" y="110"/>
                    </a:cubicBezTo>
                    <a:cubicBezTo>
                      <a:pt x="-4301" y="2673"/>
                      <a:pt x="5952" y="10362"/>
                      <a:pt x="5952" y="1164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3" name="Freeform: Shape 380005">
                <a:extLst>
                  <a:ext uri="{FF2B5EF4-FFF2-40B4-BE49-F238E27FC236}">
                    <a16:creationId xmlns:a16="http://schemas.microsoft.com/office/drawing/2014/main" id="{45B436AD-0323-4ACB-853A-691D629DB5AC}"/>
                  </a:ext>
                </a:extLst>
              </p:cNvPr>
              <p:cNvSpPr/>
              <p:nvPr/>
            </p:nvSpPr>
            <p:spPr>
              <a:xfrm>
                <a:off x="5288326" y="5031103"/>
                <a:ext cx="45004" cy="39947"/>
              </a:xfrm>
              <a:custGeom>
                <a:avLst/>
                <a:gdLst>
                  <a:gd name="connsiteX0" fmla="*/ 5423 w 45004"/>
                  <a:gd name="connsiteY0" fmla="*/ 11644 h 39947"/>
                  <a:gd name="connsiteX1" fmla="*/ 16957 w 45004"/>
                  <a:gd name="connsiteY1" fmla="*/ 16770 h 39947"/>
                  <a:gd name="connsiteX2" fmla="*/ 24646 w 45004"/>
                  <a:gd name="connsiteY2" fmla="*/ 24459 h 39947"/>
                  <a:gd name="connsiteX3" fmla="*/ 41306 w 45004"/>
                  <a:gd name="connsiteY3" fmla="*/ 39837 h 39947"/>
                  <a:gd name="connsiteX4" fmla="*/ 40024 w 45004"/>
                  <a:gd name="connsiteY4" fmla="*/ 28304 h 39947"/>
                  <a:gd name="connsiteX5" fmla="*/ 28490 w 45004"/>
                  <a:gd name="connsiteY5" fmla="*/ 23177 h 39947"/>
                  <a:gd name="connsiteX6" fmla="*/ 20801 w 45004"/>
                  <a:gd name="connsiteY6" fmla="*/ 15488 h 39947"/>
                  <a:gd name="connsiteX7" fmla="*/ 4141 w 45004"/>
                  <a:gd name="connsiteY7" fmla="*/ 110 h 39947"/>
                  <a:gd name="connsiteX8" fmla="*/ 2860 w 45004"/>
                  <a:gd name="connsiteY8" fmla="*/ 110 h 39947"/>
                  <a:gd name="connsiteX9" fmla="*/ 5423 w 45004"/>
                  <a:gd name="connsiteY9" fmla="*/ 11644 h 39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004" h="39947">
                    <a:moveTo>
                      <a:pt x="5423" y="11644"/>
                    </a:moveTo>
                    <a:cubicBezTo>
                      <a:pt x="7986" y="14206"/>
                      <a:pt x="11831" y="16770"/>
                      <a:pt x="16957" y="16770"/>
                    </a:cubicBezTo>
                    <a:cubicBezTo>
                      <a:pt x="19520" y="19333"/>
                      <a:pt x="22083" y="21896"/>
                      <a:pt x="24646" y="24459"/>
                    </a:cubicBezTo>
                    <a:cubicBezTo>
                      <a:pt x="19520" y="30867"/>
                      <a:pt x="33617" y="41119"/>
                      <a:pt x="41306" y="39837"/>
                    </a:cubicBezTo>
                    <a:cubicBezTo>
                      <a:pt x="46432" y="39837"/>
                      <a:pt x="46432" y="33430"/>
                      <a:pt x="40024" y="28304"/>
                    </a:cubicBezTo>
                    <a:cubicBezTo>
                      <a:pt x="37462" y="25740"/>
                      <a:pt x="33617" y="23177"/>
                      <a:pt x="28490" y="23177"/>
                    </a:cubicBezTo>
                    <a:cubicBezTo>
                      <a:pt x="25928" y="20614"/>
                      <a:pt x="23365" y="18051"/>
                      <a:pt x="20801" y="15488"/>
                    </a:cubicBezTo>
                    <a:cubicBezTo>
                      <a:pt x="25928" y="9080"/>
                      <a:pt x="11831" y="-1172"/>
                      <a:pt x="4141" y="110"/>
                    </a:cubicBezTo>
                    <a:cubicBezTo>
                      <a:pt x="4141" y="110"/>
                      <a:pt x="2860" y="110"/>
                      <a:pt x="2860" y="110"/>
                    </a:cubicBezTo>
                    <a:cubicBezTo>
                      <a:pt x="-4830" y="3954"/>
                      <a:pt x="5423" y="11644"/>
                      <a:pt x="5423" y="1164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4" name="Freeform: Shape 380006">
                <a:extLst>
                  <a:ext uri="{FF2B5EF4-FFF2-40B4-BE49-F238E27FC236}">
                    <a16:creationId xmlns:a16="http://schemas.microsoft.com/office/drawing/2014/main" id="{BAA3DA6C-A5B2-4FC7-8E5B-588EAFA00635}"/>
                  </a:ext>
                </a:extLst>
              </p:cNvPr>
              <p:cNvSpPr/>
              <p:nvPr/>
            </p:nvSpPr>
            <p:spPr>
              <a:xfrm>
                <a:off x="5352609" y="5041298"/>
                <a:ext cx="24563" cy="45514"/>
              </a:xfrm>
              <a:custGeom>
                <a:avLst/>
                <a:gdLst>
                  <a:gd name="connsiteX0" fmla="*/ 9062 w 24563"/>
                  <a:gd name="connsiteY0" fmla="*/ 41176 h 45514"/>
                  <a:gd name="connsiteX1" fmla="*/ 24440 w 24563"/>
                  <a:gd name="connsiteY1" fmla="*/ 41176 h 45514"/>
                  <a:gd name="connsiteX2" fmla="*/ 15470 w 24563"/>
                  <a:gd name="connsiteY2" fmla="*/ 30924 h 45514"/>
                  <a:gd name="connsiteX3" fmla="*/ 14188 w 24563"/>
                  <a:gd name="connsiteY3" fmla="*/ 15545 h 45514"/>
                  <a:gd name="connsiteX4" fmla="*/ 20596 w 24563"/>
                  <a:gd name="connsiteY4" fmla="*/ 9137 h 45514"/>
                  <a:gd name="connsiteX5" fmla="*/ 2654 w 24563"/>
                  <a:gd name="connsiteY5" fmla="*/ 167 h 45514"/>
                  <a:gd name="connsiteX6" fmla="*/ 9062 w 24563"/>
                  <a:gd name="connsiteY6" fmla="*/ 14264 h 45514"/>
                  <a:gd name="connsiteX7" fmla="*/ 10343 w 24563"/>
                  <a:gd name="connsiteY7" fmla="*/ 29642 h 45514"/>
                  <a:gd name="connsiteX8" fmla="*/ 3936 w 24563"/>
                  <a:gd name="connsiteY8" fmla="*/ 36050 h 45514"/>
                  <a:gd name="connsiteX9" fmla="*/ 9062 w 24563"/>
                  <a:gd name="connsiteY9" fmla="*/ 41176 h 4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563" h="45514">
                    <a:moveTo>
                      <a:pt x="9062" y="41176"/>
                    </a:moveTo>
                    <a:cubicBezTo>
                      <a:pt x="16751" y="46302"/>
                      <a:pt x="25722" y="47584"/>
                      <a:pt x="24440" y="41176"/>
                    </a:cubicBezTo>
                    <a:cubicBezTo>
                      <a:pt x="24440" y="38613"/>
                      <a:pt x="21877" y="34768"/>
                      <a:pt x="15470" y="30924"/>
                    </a:cubicBezTo>
                    <a:cubicBezTo>
                      <a:pt x="15470" y="25797"/>
                      <a:pt x="14188" y="19390"/>
                      <a:pt x="14188" y="15545"/>
                    </a:cubicBezTo>
                    <a:cubicBezTo>
                      <a:pt x="21877" y="16827"/>
                      <a:pt x="23159" y="12982"/>
                      <a:pt x="20596" y="9137"/>
                    </a:cubicBezTo>
                    <a:cubicBezTo>
                      <a:pt x="18033" y="5293"/>
                      <a:pt x="10343" y="-1115"/>
                      <a:pt x="2654" y="167"/>
                    </a:cubicBezTo>
                    <a:cubicBezTo>
                      <a:pt x="-3754" y="2730"/>
                      <a:pt x="2654" y="10419"/>
                      <a:pt x="9062" y="14264"/>
                    </a:cubicBezTo>
                    <a:cubicBezTo>
                      <a:pt x="9062" y="19390"/>
                      <a:pt x="10343" y="25797"/>
                      <a:pt x="10343" y="29642"/>
                    </a:cubicBezTo>
                    <a:cubicBezTo>
                      <a:pt x="2654" y="28361"/>
                      <a:pt x="1373" y="32205"/>
                      <a:pt x="3936" y="36050"/>
                    </a:cubicBezTo>
                    <a:cubicBezTo>
                      <a:pt x="5218" y="37331"/>
                      <a:pt x="7780" y="39895"/>
                      <a:pt x="9062" y="4117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5" name="Freeform: Shape 380007">
                <a:extLst>
                  <a:ext uri="{FF2B5EF4-FFF2-40B4-BE49-F238E27FC236}">
                    <a16:creationId xmlns:a16="http://schemas.microsoft.com/office/drawing/2014/main" id="{1104559C-97A7-4D4D-B448-61BDF525C449}"/>
                  </a:ext>
                </a:extLst>
              </p:cNvPr>
              <p:cNvSpPr/>
              <p:nvPr/>
            </p:nvSpPr>
            <p:spPr>
              <a:xfrm>
                <a:off x="5183955" y="5099011"/>
                <a:ext cx="200866" cy="131766"/>
              </a:xfrm>
              <a:custGeom>
                <a:avLst/>
                <a:gdLst>
                  <a:gd name="connsiteX0" fmla="*/ 7270 w 200866"/>
                  <a:gd name="connsiteY0" fmla="*/ 12939 h 131766"/>
                  <a:gd name="connsiteX1" fmla="*/ 18804 w 200866"/>
                  <a:gd name="connsiteY1" fmla="*/ 18065 h 131766"/>
                  <a:gd name="connsiteX2" fmla="*/ 64940 w 200866"/>
                  <a:gd name="connsiteY2" fmla="*/ 53948 h 131766"/>
                  <a:gd name="connsiteX3" fmla="*/ 108513 w 200866"/>
                  <a:gd name="connsiteY3" fmla="*/ 68045 h 131766"/>
                  <a:gd name="connsiteX4" fmla="*/ 180280 w 200866"/>
                  <a:gd name="connsiteY4" fmla="*/ 119307 h 131766"/>
                  <a:gd name="connsiteX5" fmla="*/ 200785 w 200866"/>
                  <a:gd name="connsiteY5" fmla="*/ 130841 h 131766"/>
                  <a:gd name="connsiteX6" fmla="*/ 181561 w 200866"/>
                  <a:gd name="connsiteY6" fmla="*/ 118026 h 131766"/>
                  <a:gd name="connsiteX7" fmla="*/ 107232 w 200866"/>
                  <a:gd name="connsiteY7" fmla="*/ 64201 h 131766"/>
                  <a:gd name="connsiteX8" fmla="*/ 63659 w 200866"/>
                  <a:gd name="connsiteY8" fmla="*/ 48822 h 131766"/>
                  <a:gd name="connsiteX9" fmla="*/ 20086 w 200866"/>
                  <a:gd name="connsiteY9" fmla="*/ 14221 h 131766"/>
                  <a:gd name="connsiteX10" fmla="*/ 863 w 200866"/>
                  <a:gd name="connsiteY10" fmla="*/ 123 h 131766"/>
                  <a:gd name="connsiteX11" fmla="*/ 7270 w 200866"/>
                  <a:gd name="connsiteY11" fmla="*/ 12939 h 131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0866" h="131766">
                    <a:moveTo>
                      <a:pt x="7270" y="12939"/>
                    </a:moveTo>
                    <a:cubicBezTo>
                      <a:pt x="9833" y="15502"/>
                      <a:pt x="13678" y="16784"/>
                      <a:pt x="18804" y="18065"/>
                    </a:cubicBezTo>
                    <a:cubicBezTo>
                      <a:pt x="34183" y="30881"/>
                      <a:pt x="49562" y="42414"/>
                      <a:pt x="64940" y="53948"/>
                    </a:cubicBezTo>
                    <a:lnTo>
                      <a:pt x="108513" y="68045"/>
                    </a:lnTo>
                    <a:cubicBezTo>
                      <a:pt x="130299" y="83424"/>
                      <a:pt x="159775" y="103929"/>
                      <a:pt x="180280" y="119307"/>
                    </a:cubicBezTo>
                    <a:cubicBezTo>
                      <a:pt x="178998" y="125715"/>
                      <a:pt x="196940" y="134686"/>
                      <a:pt x="200785" y="130841"/>
                    </a:cubicBezTo>
                    <a:cubicBezTo>
                      <a:pt x="202066" y="124434"/>
                      <a:pt x="187969" y="118026"/>
                      <a:pt x="181561" y="118026"/>
                    </a:cubicBezTo>
                    <a:cubicBezTo>
                      <a:pt x="157212" y="101366"/>
                      <a:pt x="131581" y="83424"/>
                      <a:pt x="107232" y="64201"/>
                    </a:cubicBezTo>
                    <a:lnTo>
                      <a:pt x="63659" y="48822"/>
                    </a:lnTo>
                    <a:cubicBezTo>
                      <a:pt x="48280" y="37288"/>
                      <a:pt x="34183" y="25754"/>
                      <a:pt x="20086" y="14221"/>
                    </a:cubicBezTo>
                    <a:cubicBezTo>
                      <a:pt x="22649" y="7813"/>
                      <a:pt x="7270" y="-1158"/>
                      <a:pt x="863" y="123"/>
                    </a:cubicBezTo>
                    <a:cubicBezTo>
                      <a:pt x="-2982" y="5250"/>
                      <a:pt x="7270" y="12939"/>
                      <a:pt x="7270" y="1293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6" name="Freeform: Shape 380008">
                <a:extLst>
                  <a:ext uri="{FF2B5EF4-FFF2-40B4-BE49-F238E27FC236}">
                    <a16:creationId xmlns:a16="http://schemas.microsoft.com/office/drawing/2014/main" id="{68BC741C-28F7-49BE-9C34-4F1D4F533EB6}"/>
                  </a:ext>
                </a:extLst>
              </p:cNvPr>
              <p:cNvSpPr/>
              <p:nvPr/>
            </p:nvSpPr>
            <p:spPr>
              <a:xfrm>
                <a:off x="5200953" y="5091322"/>
                <a:ext cx="228640" cy="155386"/>
              </a:xfrm>
              <a:custGeom>
                <a:avLst/>
                <a:gdLst>
                  <a:gd name="connsiteX0" fmla="*/ 6933 w 228640"/>
                  <a:gd name="connsiteY0" fmla="*/ 14220 h 155386"/>
                  <a:gd name="connsiteX1" fmla="*/ 18467 w 228640"/>
                  <a:gd name="connsiteY1" fmla="*/ 19346 h 155386"/>
                  <a:gd name="connsiteX2" fmla="*/ 63321 w 228640"/>
                  <a:gd name="connsiteY2" fmla="*/ 56511 h 155386"/>
                  <a:gd name="connsiteX3" fmla="*/ 106893 w 228640"/>
                  <a:gd name="connsiteY3" fmla="*/ 71890 h 155386"/>
                  <a:gd name="connsiteX4" fmla="*/ 178660 w 228640"/>
                  <a:gd name="connsiteY4" fmla="*/ 124433 h 155386"/>
                  <a:gd name="connsiteX5" fmla="*/ 197884 w 228640"/>
                  <a:gd name="connsiteY5" fmla="*/ 137248 h 155386"/>
                  <a:gd name="connsiteX6" fmla="*/ 206855 w 228640"/>
                  <a:gd name="connsiteY6" fmla="*/ 143656 h 155386"/>
                  <a:gd name="connsiteX7" fmla="*/ 227359 w 228640"/>
                  <a:gd name="connsiteY7" fmla="*/ 155190 h 155386"/>
                  <a:gd name="connsiteX8" fmla="*/ 228641 w 228640"/>
                  <a:gd name="connsiteY8" fmla="*/ 153909 h 155386"/>
                  <a:gd name="connsiteX9" fmla="*/ 209418 w 228640"/>
                  <a:gd name="connsiteY9" fmla="*/ 142375 h 155386"/>
                  <a:gd name="connsiteX10" fmla="*/ 200447 w 228640"/>
                  <a:gd name="connsiteY10" fmla="*/ 135967 h 155386"/>
                  <a:gd name="connsiteX11" fmla="*/ 181224 w 228640"/>
                  <a:gd name="connsiteY11" fmla="*/ 123152 h 155386"/>
                  <a:gd name="connsiteX12" fmla="*/ 113302 w 228640"/>
                  <a:gd name="connsiteY12" fmla="*/ 74453 h 155386"/>
                  <a:gd name="connsiteX13" fmla="*/ 141495 w 228640"/>
                  <a:gd name="connsiteY13" fmla="*/ 84705 h 155386"/>
                  <a:gd name="connsiteX14" fmla="*/ 153029 w 228640"/>
                  <a:gd name="connsiteY14" fmla="*/ 92394 h 155386"/>
                  <a:gd name="connsiteX15" fmla="*/ 160719 w 228640"/>
                  <a:gd name="connsiteY15" fmla="*/ 89831 h 155386"/>
                  <a:gd name="connsiteX16" fmla="*/ 140214 w 228640"/>
                  <a:gd name="connsiteY16" fmla="*/ 80860 h 155386"/>
                  <a:gd name="connsiteX17" fmla="*/ 140214 w 228640"/>
                  <a:gd name="connsiteY17" fmla="*/ 82142 h 155386"/>
                  <a:gd name="connsiteX18" fmla="*/ 108175 w 228640"/>
                  <a:gd name="connsiteY18" fmla="*/ 71890 h 155386"/>
                  <a:gd name="connsiteX19" fmla="*/ 38971 w 228640"/>
                  <a:gd name="connsiteY19" fmla="*/ 15502 h 155386"/>
                  <a:gd name="connsiteX20" fmla="*/ 19748 w 228640"/>
                  <a:gd name="connsiteY20" fmla="*/ 123 h 155386"/>
                  <a:gd name="connsiteX21" fmla="*/ 33845 w 228640"/>
                  <a:gd name="connsiteY21" fmla="*/ 15502 h 155386"/>
                  <a:gd name="connsiteX22" fmla="*/ 36408 w 228640"/>
                  <a:gd name="connsiteY22" fmla="*/ 15502 h 155386"/>
                  <a:gd name="connsiteX23" fmla="*/ 101768 w 228640"/>
                  <a:gd name="connsiteY23" fmla="*/ 69327 h 155386"/>
                  <a:gd name="connsiteX24" fmla="*/ 64602 w 228640"/>
                  <a:gd name="connsiteY24" fmla="*/ 56511 h 155386"/>
                  <a:gd name="connsiteX25" fmla="*/ 21030 w 228640"/>
                  <a:gd name="connsiteY25" fmla="*/ 21909 h 155386"/>
                  <a:gd name="connsiteX26" fmla="*/ 1806 w 228640"/>
                  <a:gd name="connsiteY26" fmla="*/ 6531 h 155386"/>
                  <a:gd name="connsiteX27" fmla="*/ 6933 w 228640"/>
                  <a:gd name="connsiteY27" fmla="*/ 14220 h 15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8640" h="155386">
                    <a:moveTo>
                      <a:pt x="6933" y="14220"/>
                    </a:moveTo>
                    <a:cubicBezTo>
                      <a:pt x="9496" y="16783"/>
                      <a:pt x="13340" y="18065"/>
                      <a:pt x="18467" y="19346"/>
                    </a:cubicBezTo>
                    <a:cubicBezTo>
                      <a:pt x="33845" y="32162"/>
                      <a:pt x="47942" y="43696"/>
                      <a:pt x="63321" y="56511"/>
                    </a:cubicBezTo>
                    <a:lnTo>
                      <a:pt x="106893" y="71890"/>
                    </a:lnTo>
                    <a:cubicBezTo>
                      <a:pt x="129961" y="89831"/>
                      <a:pt x="154311" y="107773"/>
                      <a:pt x="178660" y="124433"/>
                    </a:cubicBezTo>
                    <a:cubicBezTo>
                      <a:pt x="177379" y="130841"/>
                      <a:pt x="191476" y="137248"/>
                      <a:pt x="197884" y="137248"/>
                    </a:cubicBezTo>
                    <a:cubicBezTo>
                      <a:pt x="200447" y="139812"/>
                      <a:pt x="204291" y="141093"/>
                      <a:pt x="206855" y="143656"/>
                    </a:cubicBezTo>
                    <a:cubicBezTo>
                      <a:pt x="205573" y="151346"/>
                      <a:pt x="224796" y="156472"/>
                      <a:pt x="227359" y="155190"/>
                    </a:cubicBezTo>
                    <a:cubicBezTo>
                      <a:pt x="227359" y="155190"/>
                      <a:pt x="228641" y="153909"/>
                      <a:pt x="228641" y="153909"/>
                    </a:cubicBezTo>
                    <a:cubicBezTo>
                      <a:pt x="227359" y="147501"/>
                      <a:pt x="214544" y="142375"/>
                      <a:pt x="209418" y="142375"/>
                    </a:cubicBezTo>
                    <a:cubicBezTo>
                      <a:pt x="206855" y="139812"/>
                      <a:pt x="203010" y="138530"/>
                      <a:pt x="200447" y="135967"/>
                    </a:cubicBezTo>
                    <a:cubicBezTo>
                      <a:pt x="201728" y="130841"/>
                      <a:pt x="188913" y="123152"/>
                      <a:pt x="181224" y="123152"/>
                    </a:cubicBezTo>
                    <a:cubicBezTo>
                      <a:pt x="158156" y="107773"/>
                      <a:pt x="136369" y="91113"/>
                      <a:pt x="113302" y="74453"/>
                    </a:cubicBezTo>
                    <a:cubicBezTo>
                      <a:pt x="122272" y="77016"/>
                      <a:pt x="136369" y="77016"/>
                      <a:pt x="141495" y="84705"/>
                    </a:cubicBezTo>
                    <a:cubicBezTo>
                      <a:pt x="144058" y="87268"/>
                      <a:pt x="149185" y="91113"/>
                      <a:pt x="153029" y="92394"/>
                    </a:cubicBezTo>
                    <a:cubicBezTo>
                      <a:pt x="160719" y="94957"/>
                      <a:pt x="162000" y="92394"/>
                      <a:pt x="160719" y="89831"/>
                    </a:cubicBezTo>
                    <a:cubicBezTo>
                      <a:pt x="158156" y="82142"/>
                      <a:pt x="141495" y="75734"/>
                      <a:pt x="140214" y="80860"/>
                    </a:cubicBezTo>
                    <a:cubicBezTo>
                      <a:pt x="140214" y="80860"/>
                      <a:pt x="140214" y="80860"/>
                      <a:pt x="140214" y="82142"/>
                    </a:cubicBezTo>
                    <a:lnTo>
                      <a:pt x="108175" y="71890"/>
                    </a:lnTo>
                    <a:cubicBezTo>
                      <a:pt x="85107" y="53948"/>
                      <a:pt x="62039" y="34725"/>
                      <a:pt x="38971" y="15502"/>
                    </a:cubicBezTo>
                    <a:cubicBezTo>
                      <a:pt x="41535" y="7812"/>
                      <a:pt x="26156" y="-1158"/>
                      <a:pt x="19748" y="123"/>
                    </a:cubicBezTo>
                    <a:cubicBezTo>
                      <a:pt x="13340" y="3968"/>
                      <a:pt x="24874" y="14220"/>
                      <a:pt x="33845" y="15502"/>
                    </a:cubicBezTo>
                    <a:cubicBezTo>
                      <a:pt x="35127" y="15502"/>
                      <a:pt x="36408" y="15502"/>
                      <a:pt x="36408" y="15502"/>
                    </a:cubicBezTo>
                    <a:cubicBezTo>
                      <a:pt x="58195" y="33443"/>
                      <a:pt x="79981" y="51385"/>
                      <a:pt x="101768" y="69327"/>
                    </a:cubicBezTo>
                    <a:lnTo>
                      <a:pt x="64602" y="56511"/>
                    </a:lnTo>
                    <a:cubicBezTo>
                      <a:pt x="50505" y="44977"/>
                      <a:pt x="35127" y="33443"/>
                      <a:pt x="21030" y="21909"/>
                    </a:cubicBezTo>
                    <a:cubicBezTo>
                      <a:pt x="23593" y="14220"/>
                      <a:pt x="5651" y="5249"/>
                      <a:pt x="1806" y="6531"/>
                    </a:cubicBezTo>
                    <a:cubicBezTo>
                      <a:pt x="-2038" y="3968"/>
                      <a:pt x="525" y="10375"/>
                      <a:pt x="6933" y="1422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7" name="Freeform: Shape 380009">
                <a:extLst>
                  <a:ext uri="{FF2B5EF4-FFF2-40B4-BE49-F238E27FC236}">
                    <a16:creationId xmlns:a16="http://schemas.microsoft.com/office/drawing/2014/main" id="{C3172E2C-3D17-4DDB-9DCA-C47C729446B9}"/>
                  </a:ext>
                </a:extLst>
              </p:cNvPr>
              <p:cNvSpPr/>
              <p:nvPr/>
            </p:nvSpPr>
            <p:spPr>
              <a:xfrm>
                <a:off x="5210905" y="5058002"/>
                <a:ext cx="221277" cy="156613"/>
              </a:xfrm>
              <a:custGeom>
                <a:avLst/>
                <a:gdLst>
                  <a:gd name="connsiteX0" fmla="*/ 5951 w 221277"/>
                  <a:gd name="connsiteY0" fmla="*/ 11657 h 156613"/>
                  <a:gd name="connsiteX1" fmla="*/ 17485 w 221277"/>
                  <a:gd name="connsiteY1" fmla="*/ 16783 h 156613"/>
                  <a:gd name="connsiteX2" fmla="*/ 113602 w 221277"/>
                  <a:gd name="connsiteY2" fmla="*/ 97521 h 156613"/>
                  <a:gd name="connsiteX3" fmla="*/ 157174 w 221277"/>
                  <a:gd name="connsiteY3" fmla="*/ 111618 h 156613"/>
                  <a:gd name="connsiteX4" fmla="*/ 200747 w 221277"/>
                  <a:gd name="connsiteY4" fmla="*/ 143656 h 156613"/>
                  <a:gd name="connsiteX5" fmla="*/ 219970 w 221277"/>
                  <a:gd name="connsiteY5" fmla="*/ 156472 h 156613"/>
                  <a:gd name="connsiteX6" fmla="*/ 211000 w 221277"/>
                  <a:gd name="connsiteY6" fmla="*/ 144938 h 156613"/>
                  <a:gd name="connsiteX7" fmla="*/ 203310 w 221277"/>
                  <a:gd name="connsiteY7" fmla="*/ 142375 h 156613"/>
                  <a:gd name="connsiteX8" fmla="*/ 158456 w 221277"/>
                  <a:gd name="connsiteY8" fmla="*/ 109055 h 156613"/>
                  <a:gd name="connsiteX9" fmla="*/ 114883 w 221277"/>
                  <a:gd name="connsiteY9" fmla="*/ 94957 h 156613"/>
                  <a:gd name="connsiteX10" fmla="*/ 21330 w 221277"/>
                  <a:gd name="connsiteY10" fmla="*/ 15502 h 156613"/>
                  <a:gd name="connsiteX11" fmla="*/ 2107 w 221277"/>
                  <a:gd name="connsiteY11" fmla="*/ 123 h 156613"/>
                  <a:gd name="connsiteX12" fmla="*/ 5951 w 221277"/>
                  <a:gd name="connsiteY12" fmla="*/ 11657 h 156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1277" h="156613">
                    <a:moveTo>
                      <a:pt x="5951" y="11657"/>
                    </a:moveTo>
                    <a:cubicBezTo>
                      <a:pt x="8514" y="14220"/>
                      <a:pt x="12359" y="16783"/>
                      <a:pt x="17485" y="16783"/>
                    </a:cubicBezTo>
                    <a:cubicBezTo>
                      <a:pt x="48243" y="44977"/>
                      <a:pt x="80281" y="71890"/>
                      <a:pt x="113602" y="97521"/>
                    </a:cubicBezTo>
                    <a:lnTo>
                      <a:pt x="157174" y="111618"/>
                    </a:lnTo>
                    <a:cubicBezTo>
                      <a:pt x="171271" y="123152"/>
                      <a:pt x="185369" y="133404"/>
                      <a:pt x="200747" y="143656"/>
                    </a:cubicBezTo>
                    <a:cubicBezTo>
                      <a:pt x="198184" y="150064"/>
                      <a:pt x="216126" y="157753"/>
                      <a:pt x="219970" y="156472"/>
                    </a:cubicBezTo>
                    <a:cubicBezTo>
                      <a:pt x="223815" y="155190"/>
                      <a:pt x="218689" y="148782"/>
                      <a:pt x="211000" y="144938"/>
                    </a:cubicBezTo>
                    <a:cubicBezTo>
                      <a:pt x="207155" y="143656"/>
                      <a:pt x="204592" y="142375"/>
                      <a:pt x="203310" y="142375"/>
                    </a:cubicBezTo>
                    <a:cubicBezTo>
                      <a:pt x="187932" y="130841"/>
                      <a:pt x="173835" y="120588"/>
                      <a:pt x="158456" y="109055"/>
                    </a:cubicBezTo>
                    <a:lnTo>
                      <a:pt x="114883" y="94957"/>
                    </a:lnTo>
                    <a:cubicBezTo>
                      <a:pt x="86689" y="70608"/>
                      <a:pt x="49524" y="39851"/>
                      <a:pt x="21330" y="15502"/>
                    </a:cubicBezTo>
                    <a:cubicBezTo>
                      <a:pt x="25175" y="7812"/>
                      <a:pt x="9796" y="-1158"/>
                      <a:pt x="2107" y="123"/>
                    </a:cubicBezTo>
                    <a:cubicBezTo>
                      <a:pt x="-4301" y="3968"/>
                      <a:pt x="5951" y="11657"/>
                      <a:pt x="5951" y="1165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8" name="Freeform: Shape 380010">
                <a:extLst>
                  <a:ext uri="{FF2B5EF4-FFF2-40B4-BE49-F238E27FC236}">
                    <a16:creationId xmlns:a16="http://schemas.microsoft.com/office/drawing/2014/main" id="{547970FA-94A0-4B1C-A1DC-0E8BCADF6406}"/>
                  </a:ext>
                </a:extLst>
              </p:cNvPr>
              <p:cNvSpPr/>
              <p:nvPr/>
            </p:nvSpPr>
            <p:spPr>
              <a:xfrm>
                <a:off x="5437365" y="5220758"/>
                <a:ext cx="75538" cy="48964"/>
              </a:xfrm>
              <a:custGeom>
                <a:avLst/>
                <a:gdLst>
                  <a:gd name="connsiteX0" fmla="*/ 6325 w 75538"/>
                  <a:gd name="connsiteY0" fmla="*/ 9095 h 48964"/>
                  <a:gd name="connsiteX1" fmla="*/ 17859 w 75538"/>
                  <a:gd name="connsiteY1" fmla="*/ 12939 h 48964"/>
                  <a:gd name="connsiteX2" fmla="*/ 53742 w 75538"/>
                  <a:gd name="connsiteY2" fmla="*/ 37289 h 48964"/>
                  <a:gd name="connsiteX3" fmla="*/ 74247 w 75538"/>
                  <a:gd name="connsiteY3" fmla="*/ 48822 h 48964"/>
                  <a:gd name="connsiteX4" fmla="*/ 63995 w 75538"/>
                  <a:gd name="connsiteY4" fmla="*/ 38570 h 48964"/>
                  <a:gd name="connsiteX5" fmla="*/ 56306 w 75538"/>
                  <a:gd name="connsiteY5" fmla="*/ 37289 h 48964"/>
                  <a:gd name="connsiteX6" fmla="*/ 20422 w 75538"/>
                  <a:gd name="connsiteY6" fmla="*/ 12939 h 48964"/>
                  <a:gd name="connsiteX7" fmla="*/ 1199 w 75538"/>
                  <a:gd name="connsiteY7" fmla="*/ 124 h 48964"/>
                  <a:gd name="connsiteX8" fmla="*/ 6325 w 75538"/>
                  <a:gd name="connsiteY8" fmla="*/ 9095 h 48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538" h="48964">
                    <a:moveTo>
                      <a:pt x="6325" y="9095"/>
                    </a:moveTo>
                    <a:cubicBezTo>
                      <a:pt x="8888" y="10376"/>
                      <a:pt x="12733" y="12939"/>
                      <a:pt x="17859" y="12939"/>
                    </a:cubicBezTo>
                    <a:cubicBezTo>
                      <a:pt x="29393" y="20629"/>
                      <a:pt x="42208" y="29599"/>
                      <a:pt x="53742" y="37289"/>
                    </a:cubicBezTo>
                    <a:cubicBezTo>
                      <a:pt x="51179" y="42415"/>
                      <a:pt x="69121" y="50104"/>
                      <a:pt x="74247" y="48822"/>
                    </a:cubicBezTo>
                    <a:cubicBezTo>
                      <a:pt x="78092" y="47541"/>
                      <a:pt x="72966" y="41133"/>
                      <a:pt x="63995" y="38570"/>
                    </a:cubicBezTo>
                    <a:cubicBezTo>
                      <a:pt x="60151" y="37289"/>
                      <a:pt x="57587" y="37289"/>
                      <a:pt x="56306" y="37289"/>
                    </a:cubicBezTo>
                    <a:cubicBezTo>
                      <a:pt x="44772" y="29599"/>
                      <a:pt x="31956" y="21910"/>
                      <a:pt x="20422" y="12939"/>
                    </a:cubicBezTo>
                    <a:cubicBezTo>
                      <a:pt x="22985" y="7813"/>
                      <a:pt x="8888" y="-1158"/>
                      <a:pt x="1199" y="124"/>
                    </a:cubicBezTo>
                    <a:cubicBezTo>
                      <a:pt x="-2646" y="2687"/>
                      <a:pt x="3762" y="7813"/>
                      <a:pt x="6325" y="90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69" name="Freeform: Shape 380011">
                <a:extLst>
                  <a:ext uri="{FF2B5EF4-FFF2-40B4-BE49-F238E27FC236}">
                    <a16:creationId xmlns:a16="http://schemas.microsoft.com/office/drawing/2014/main" id="{9B7CEC49-E6FA-4A04-A72F-CCABA312E887}"/>
                  </a:ext>
                </a:extLst>
              </p:cNvPr>
              <p:cNvSpPr/>
              <p:nvPr/>
            </p:nvSpPr>
            <p:spPr>
              <a:xfrm>
                <a:off x="5348702" y="5133626"/>
                <a:ext cx="168469" cy="107539"/>
              </a:xfrm>
              <a:custGeom>
                <a:avLst/>
                <a:gdLst>
                  <a:gd name="connsiteX0" fmla="*/ 6562 w 168469"/>
                  <a:gd name="connsiteY0" fmla="*/ 11644 h 107539"/>
                  <a:gd name="connsiteX1" fmla="*/ 18096 w 168469"/>
                  <a:gd name="connsiteY1" fmla="*/ 15488 h 107539"/>
                  <a:gd name="connsiteX2" fmla="*/ 114212 w 168469"/>
                  <a:gd name="connsiteY2" fmla="*/ 88537 h 107539"/>
                  <a:gd name="connsiteX3" fmla="*/ 148814 w 168469"/>
                  <a:gd name="connsiteY3" fmla="*/ 100070 h 107539"/>
                  <a:gd name="connsiteX4" fmla="*/ 160347 w 168469"/>
                  <a:gd name="connsiteY4" fmla="*/ 106478 h 107539"/>
                  <a:gd name="connsiteX5" fmla="*/ 168037 w 168469"/>
                  <a:gd name="connsiteY5" fmla="*/ 103915 h 107539"/>
                  <a:gd name="connsiteX6" fmla="*/ 147532 w 168469"/>
                  <a:gd name="connsiteY6" fmla="*/ 94944 h 107539"/>
                  <a:gd name="connsiteX7" fmla="*/ 147532 w 168469"/>
                  <a:gd name="connsiteY7" fmla="*/ 96226 h 107539"/>
                  <a:gd name="connsiteX8" fmla="*/ 115493 w 168469"/>
                  <a:gd name="connsiteY8" fmla="*/ 85973 h 107539"/>
                  <a:gd name="connsiteX9" fmla="*/ 20659 w 168469"/>
                  <a:gd name="connsiteY9" fmla="*/ 14207 h 107539"/>
                  <a:gd name="connsiteX10" fmla="*/ 2717 w 168469"/>
                  <a:gd name="connsiteY10" fmla="*/ 110 h 107539"/>
                  <a:gd name="connsiteX11" fmla="*/ 1435 w 168469"/>
                  <a:gd name="connsiteY11" fmla="*/ 110 h 107539"/>
                  <a:gd name="connsiteX12" fmla="*/ 6562 w 168469"/>
                  <a:gd name="connsiteY12" fmla="*/ 11644 h 10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469" h="107539">
                    <a:moveTo>
                      <a:pt x="6562" y="11644"/>
                    </a:moveTo>
                    <a:cubicBezTo>
                      <a:pt x="9125" y="12925"/>
                      <a:pt x="12969" y="15488"/>
                      <a:pt x="18096" y="15488"/>
                    </a:cubicBezTo>
                    <a:cubicBezTo>
                      <a:pt x="50134" y="41119"/>
                      <a:pt x="82173" y="65469"/>
                      <a:pt x="114212" y="88537"/>
                    </a:cubicBezTo>
                    <a:cubicBezTo>
                      <a:pt x="124464" y="91100"/>
                      <a:pt x="141124" y="91100"/>
                      <a:pt x="148814" y="100070"/>
                    </a:cubicBezTo>
                    <a:cubicBezTo>
                      <a:pt x="151377" y="102633"/>
                      <a:pt x="156503" y="105197"/>
                      <a:pt x="160347" y="106478"/>
                    </a:cubicBezTo>
                    <a:cubicBezTo>
                      <a:pt x="168037" y="109041"/>
                      <a:pt x="169319" y="106478"/>
                      <a:pt x="168037" y="103915"/>
                    </a:cubicBezTo>
                    <a:cubicBezTo>
                      <a:pt x="165474" y="97507"/>
                      <a:pt x="148814" y="91100"/>
                      <a:pt x="147532" y="94944"/>
                    </a:cubicBezTo>
                    <a:cubicBezTo>
                      <a:pt x="147532" y="94944"/>
                      <a:pt x="147532" y="96226"/>
                      <a:pt x="147532" y="96226"/>
                    </a:cubicBezTo>
                    <a:lnTo>
                      <a:pt x="115493" y="85973"/>
                    </a:lnTo>
                    <a:cubicBezTo>
                      <a:pt x="83455" y="62906"/>
                      <a:pt x="51416" y="39838"/>
                      <a:pt x="20659" y="14207"/>
                    </a:cubicBezTo>
                    <a:cubicBezTo>
                      <a:pt x="24503" y="9081"/>
                      <a:pt x="9125" y="-1172"/>
                      <a:pt x="2717" y="110"/>
                    </a:cubicBezTo>
                    <a:cubicBezTo>
                      <a:pt x="2717" y="110"/>
                      <a:pt x="1435" y="110"/>
                      <a:pt x="1435" y="110"/>
                    </a:cubicBezTo>
                    <a:cubicBezTo>
                      <a:pt x="-3691" y="3955"/>
                      <a:pt x="6562" y="11644"/>
                      <a:pt x="6562" y="1164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0" name="Freeform: Shape 380012">
                <a:extLst>
                  <a:ext uri="{FF2B5EF4-FFF2-40B4-BE49-F238E27FC236}">
                    <a16:creationId xmlns:a16="http://schemas.microsoft.com/office/drawing/2014/main" id="{E7AC997A-5C21-4850-84B9-8F71E65D87A7}"/>
                  </a:ext>
                </a:extLst>
              </p:cNvPr>
              <p:cNvSpPr/>
              <p:nvPr/>
            </p:nvSpPr>
            <p:spPr>
              <a:xfrm>
                <a:off x="5507325" y="5251514"/>
                <a:ext cx="74294" cy="45487"/>
              </a:xfrm>
              <a:custGeom>
                <a:avLst/>
                <a:gdLst>
                  <a:gd name="connsiteX0" fmla="*/ 6851 w 74294"/>
                  <a:gd name="connsiteY0" fmla="*/ 9095 h 45487"/>
                  <a:gd name="connsiteX1" fmla="*/ 18385 w 74294"/>
                  <a:gd name="connsiteY1" fmla="*/ 12940 h 45487"/>
                  <a:gd name="connsiteX2" fmla="*/ 54268 w 74294"/>
                  <a:gd name="connsiteY2" fmla="*/ 34726 h 45487"/>
                  <a:gd name="connsiteX3" fmla="*/ 73491 w 74294"/>
                  <a:gd name="connsiteY3" fmla="*/ 44978 h 45487"/>
                  <a:gd name="connsiteX4" fmla="*/ 65802 w 74294"/>
                  <a:gd name="connsiteY4" fmla="*/ 36008 h 45487"/>
                  <a:gd name="connsiteX5" fmla="*/ 56831 w 74294"/>
                  <a:gd name="connsiteY5" fmla="*/ 33444 h 45487"/>
                  <a:gd name="connsiteX6" fmla="*/ 20948 w 74294"/>
                  <a:gd name="connsiteY6" fmla="*/ 11658 h 45487"/>
                  <a:gd name="connsiteX7" fmla="*/ 1724 w 74294"/>
                  <a:gd name="connsiteY7" fmla="*/ 124 h 45487"/>
                  <a:gd name="connsiteX8" fmla="*/ 6851 w 74294"/>
                  <a:gd name="connsiteY8" fmla="*/ 9095 h 4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4294" h="45487">
                    <a:moveTo>
                      <a:pt x="6851" y="9095"/>
                    </a:moveTo>
                    <a:cubicBezTo>
                      <a:pt x="9414" y="10377"/>
                      <a:pt x="13258" y="12940"/>
                      <a:pt x="18385" y="12940"/>
                    </a:cubicBezTo>
                    <a:cubicBezTo>
                      <a:pt x="29918" y="20629"/>
                      <a:pt x="42734" y="28318"/>
                      <a:pt x="54268" y="34726"/>
                    </a:cubicBezTo>
                    <a:cubicBezTo>
                      <a:pt x="51705" y="39852"/>
                      <a:pt x="69647" y="47541"/>
                      <a:pt x="73491" y="44978"/>
                    </a:cubicBezTo>
                    <a:cubicBezTo>
                      <a:pt x="76054" y="43697"/>
                      <a:pt x="72210" y="38570"/>
                      <a:pt x="65802" y="36008"/>
                    </a:cubicBezTo>
                    <a:cubicBezTo>
                      <a:pt x="60676" y="33444"/>
                      <a:pt x="58113" y="33444"/>
                      <a:pt x="56831" y="33444"/>
                    </a:cubicBezTo>
                    <a:cubicBezTo>
                      <a:pt x="45297" y="25755"/>
                      <a:pt x="32482" y="19347"/>
                      <a:pt x="20948" y="11658"/>
                    </a:cubicBezTo>
                    <a:cubicBezTo>
                      <a:pt x="23511" y="7813"/>
                      <a:pt x="8132" y="-1157"/>
                      <a:pt x="1724" y="124"/>
                    </a:cubicBezTo>
                    <a:cubicBezTo>
                      <a:pt x="-3402" y="2687"/>
                      <a:pt x="4287" y="7813"/>
                      <a:pt x="6851" y="90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1" name="Freeform: Shape 380013">
                <a:extLst>
                  <a:ext uri="{FF2B5EF4-FFF2-40B4-BE49-F238E27FC236}">
                    <a16:creationId xmlns:a16="http://schemas.microsoft.com/office/drawing/2014/main" id="{CB7AA41D-9568-43F2-A5D6-4BDDE0E4945E}"/>
                  </a:ext>
                </a:extLst>
              </p:cNvPr>
              <p:cNvSpPr/>
              <p:nvPr/>
            </p:nvSpPr>
            <p:spPr>
              <a:xfrm>
                <a:off x="5367422" y="5188701"/>
                <a:ext cx="172438" cy="98132"/>
              </a:xfrm>
              <a:custGeom>
                <a:avLst/>
                <a:gdLst>
                  <a:gd name="connsiteX0" fmla="*/ 7064 w 172438"/>
                  <a:gd name="connsiteY0" fmla="*/ 9112 h 98132"/>
                  <a:gd name="connsiteX1" fmla="*/ 18598 w 172438"/>
                  <a:gd name="connsiteY1" fmla="*/ 12957 h 98132"/>
                  <a:gd name="connsiteX2" fmla="*/ 119841 w 172438"/>
                  <a:gd name="connsiteY2" fmla="*/ 80879 h 98132"/>
                  <a:gd name="connsiteX3" fmla="*/ 154443 w 172438"/>
                  <a:gd name="connsiteY3" fmla="*/ 91131 h 98132"/>
                  <a:gd name="connsiteX4" fmla="*/ 172384 w 172438"/>
                  <a:gd name="connsiteY4" fmla="*/ 97539 h 98132"/>
                  <a:gd name="connsiteX5" fmla="*/ 151879 w 172438"/>
                  <a:gd name="connsiteY5" fmla="*/ 87286 h 98132"/>
                  <a:gd name="connsiteX6" fmla="*/ 151879 w 172438"/>
                  <a:gd name="connsiteY6" fmla="*/ 88568 h 98132"/>
                  <a:gd name="connsiteX7" fmla="*/ 119841 w 172438"/>
                  <a:gd name="connsiteY7" fmla="*/ 79597 h 98132"/>
                  <a:gd name="connsiteX8" fmla="*/ 21161 w 172438"/>
                  <a:gd name="connsiteY8" fmla="*/ 12957 h 98132"/>
                  <a:gd name="connsiteX9" fmla="*/ 1938 w 172438"/>
                  <a:gd name="connsiteY9" fmla="*/ 141 h 98132"/>
                  <a:gd name="connsiteX10" fmla="*/ 7064 w 172438"/>
                  <a:gd name="connsiteY10" fmla="*/ 9112 h 9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8" h="98132">
                    <a:moveTo>
                      <a:pt x="7064" y="9112"/>
                    </a:moveTo>
                    <a:cubicBezTo>
                      <a:pt x="9627" y="10394"/>
                      <a:pt x="13472" y="12957"/>
                      <a:pt x="18598" y="12957"/>
                    </a:cubicBezTo>
                    <a:cubicBezTo>
                      <a:pt x="51919" y="37306"/>
                      <a:pt x="85239" y="59092"/>
                      <a:pt x="119841" y="80879"/>
                    </a:cubicBezTo>
                    <a:cubicBezTo>
                      <a:pt x="130093" y="83442"/>
                      <a:pt x="146753" y="83442"/>
                      <a:pt x="154443" y="91131"/>
                    </a:cubicBezTo>
                    <a:cubicBezTo>
                      <a:pt x="157006" y="93694"/>
                      <a:pt x="168540" y="100102"/>
                      <a:pt x="172384" y="97539"/>
                    </a:cubicBezTo>
                    <a:cubicBezTo>
                      <a:pt x="173666" y="88568"/>
                      <a:pt x="151879" y="86005"/>
                      <a:pt x="151879" y="87286"/>
                    </a:cubicBezTo>
                    <a:cubicBezTo>
                      <a:pt x="151879" y="87286"/>
                      <a:pt x="151879" y="88568"/>
                      <a:pt x="151879" y="88568"/>
                    </a:cubicBezTo>
                    <a:lnTo>
                      <a:pt x="119841" y="79597"/>
                    </a:lnTo>
                    <a:cubicBezTo>
                      <a:pt x="86521" y="59092"/>
                      <a:pt x="53200" y="36025"/>
                      <a:pt x="21161" y="12957"/>
                    </a:cubicBezTo>
                    <a:cubicBezTo>
                      <a:pt x="22443" y="6549"/>
                      <a:pt x="7064" y="-1140"/>
                      <a:pt x="1938" y="141"/>
                    </a:cubicBezTo>
                    <a:cubicBezTo>
                      <a:pt x="-4470" y="2704"/>
                      <a:pt x="7064" y="9112"/>
                      <a:pt x="7064" y="911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2" name="Freeform: Shape 380014">
                <a:extLst>
                  <a:ext uri="{FF2B5EF4-FFF2-40B4-BE49-F238E27FC236}">
                    <a16:creationId xmlns:a16="http://schemas.microsoft.com/office/drawing/2014/main" id="{245E94CE-4FB3-4D87-9DFE-DA03575116E2}"/>
                  </a:ext>
                </a:extLst>
              </p:cNvPr>
              <p:cNvSpPr/>
              <p:nvPr/>
            </p:nvSpPr>
            <p:spPr>
              <a:xfrm>
                <a:off x="5591151" y="5274582"/>
                <a:ext cx="47377" cy="28827"/>
              </a:xfrm>
              <a:custGeom>
                <a:avLst/>
                <a:gdLst>
                  <a:gd name="connsiteX0" fmla="*/ 6325 w 47377"/>
                  <a:gd name="connsiteY0" fmla="*/ 9095 h 28827"/>
                  <a:gd name="connsiteX1" fmla="*/ 17859 w 47377"/>
                  <a:gd name="connsiteY1" fmla="*/ 12940 h 28827"/>
                  <a:gd name="connsiteX2" fmla="*/ 26830 w 47377"/>
                  <a:gd name="connsiteY2" fmla="*/ 18066 h 28827"/>
                  <a:gd name="connsiteX3" fmla="*/ 46053 w 47377"/>
                  <a:gd name="connsiteY3" fmla="*/ 28318 h 28827"/>
                  <a:gd name="connsiteX4" fmla="*/ 38364 w 47377"/>
                  <a:gd name="connsiteY4" fmla="*/ 19347 h 28827"/>
                  <a:gd name="connsiteX5" fmla="*/ 29393 w 47377"/>
                  <a:gd name="connsiteY5" fmla="*/ 16784 h 28827"/>
                  <a:gd name="connsiteX6" fmla="*/ 20422 w 47377"/>
                  <a:gd name="connsiteY6" fmla="*/ 11658 h 28827"/>
                  <a:gd name="connsiteX7" fmla="*/ 1199 w 47377"/>
                  <a:gd name="connsiteY7" fmla="*/ 124 h 28827"/>
                  <a:gd name="connsiteX8" fmla="*/ 6325 w 47377"/>
                  <a:gd name="connsiteY8" fmla="*/ 9095 h 2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377" h="28827">
                    <a:moveTo>
                      <a:pt x="6325" y="9095"/>
                    </a:moveTo>
                    <a:cubicBezTo>
                      <a:pt x="8888" y="10377"/>
                      <a:pt x="12733" y="12940"/>
                      <a:pt x="17859" y="12940"/>
                    </a:cubicBezTo>
                    <a:cubicBezTo>
                      <a:pt x="20422" y="14221"/>
                      <a:pt x="22985" y="16784"/>
                      <a:pt x="26830" y="18066"/>
                    </a:cubicBezTo>
                    <a:cubicBezTo>
                      <a:pt x="24267" y="23192"/>
                      <a:pt x="40927" y="30881"/>
                      <a:pt x="46053" y="28318"/>
                    </a:cubicBezTo>
                    <a:cubicBezTo>
                      <a:pt x="49898" y="27037"/>
                      <a:pt x="44772" y="23192"/>
                      <a:pt x="38364" y="19347"/>
                    </a:cubicBezTo>
                    <a:cubicBezTo>
                      <a:pt x="33238" y="16784"/>
                      <a:pt x="30674" y="16784"/>
                      <a:pt x="29393" y="16784"/>
                    </a:cubicBezTo>
                    <a:cubicBezTo>
                      <a:pt x="26830" y="15503"/>
                      <a:pt x="24267" y="12940"/>
                      <a:pt x="20422" y="11658"/>
                    </a:cubicBezTo>
                    <a:cubicBezTo>
                      <a:pt x="22985" y="7813"/>
                      <a:pt x="8888" y="-1157"/>
                      <a:pt x="1199" y="124"/>
                    </a:cubicBezTo>
                    <a:cubicBezTo>
                      <a:pt x="-2646" y="2687"/>
                      <a:pt x="3762" y="7813"/>
                      <a:pt x="6325" y="90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3" name="Freeform: Shape 380015">
                <a:extLst>
                  <a:ext uri="{FF2B5EF4-FFF2-40B4-BE49-F238E27FC236}">
                    <a16:creationId xmlns:a16="http://schemas.microsoft.com/office/drawing/2014/main" id="{598FE040-60D3-441F-890C-0AD1DAFC509C}"/>
                  </a:ext>
                </a:extLst>
              </p:cNvPr>
              <p:cNvSpPr/>
              <p:nvPr/>
            </p:nvSpPr>
            <p:spPr>
              <a:xfrm>
                <a:off x="5606530" y="5269456"/>
                <a:ext cx="47561" cy="28827"/>
              </a:xfrm>
              <a:custGeom>
                <a:avLst/>
                <a:gdLst>
                  <a:gd name="connsiteX0" fmla="*/ 6325 w 47561"/>
                  <a:gd name="connsiteY0" fmla="*/ 9095 h 28827"/>
                  <a:gd name="connsiteX1" fmla="*/ 17859 w 47561"/>
                  <a:gd name="connsiteY1" fmla="*/ 12940 h 28827"/>
                  <a:gd name="connsiteX2" fmla="*/ 26830 w 47561"/>
                  <a:gd name="connsiteY2" fmla="*/ 18066 h 28827"/>
                  <a:gd name="connsiteX3" fmla="*/ 46053 w 47561"/>
                  <a:gd name="connsiteY3" fmla="*/ 28318 h 28827"/>
                  <a:gd name="connsiteX4" fmla="*/ 38364 w 47561"/>
                  <a:gd name="connsiteY4" fmla="*/ 19348 h 28827"/>
                  <a:gd name="connsiteX5" fmla="*/ 29393 w 47561"/>
                  <a:gd name="connsiteY5" fmla="*/ 16784 h 28827"/>
                  <a:gd name="connsiteX6" fmla="*/ 20422 w 47561"/>
                  <a:gd name="connsiteY6" fmla="*/ 11658 h 28827"/>
                  <a:gd name="connsiteX7" fmla="*/ 1199 w 47561"/>
                  <a:gd name="connsiteY7" fmla="*/ 124 h 28827"/>
                  <a:gd name="connsiteX8" fmla="*/ 6325 w 47561"/>
                  <a:gd name="connsiteY8" fmla="*/ 9095 h 28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61" h="28827">
                    <a:moveTo>
                      <a:pt x="6325" y="9095"/>
                    </a:moveTo>
                    <a:cubicBezTo>
                      <a:pt x="8888" y="10377"/>
                      <a:pt x="12733" y="12940"/>
                      <a:pt x="17859" y="12940"/>
                    </a:cubicBezTo>
                    <a:cubicBezTo>
                      <a:pt x="20422" y="14221"/>
                      <a:pt x="22985" y="16784"/>
                      <a:pt x="26830" y="18066"/>
                    </a:cubicBezTo>
                    <a:cubicBezTo>
                      <a:pt x="24267" y="23192"/>
                      <a:pt x="40927" y="30881"/>
                      <a:pt x="46053" y="28318"/>
                    </a:cubicBezTo>
                    <a:cubicBezTo>
                      <a:pt x="49898" y="27037"/>
                      <a:pt x="46053" y="23192"/>
                      <a:pt x="38364" y="19348"/>
                    </a:cubicBezTo>
                    <a:cubicBezTo>
                      <a:pt x="33238" y="16784"/>
                      <a:pt x="30674" y="16784"/>
                      <a:pt x="29393" y="16784"/>
                    </a:cubicBezTo>
                    <a:cubicBezTo>
                      <a:pt x="26830" y="15503"/>
                      <a:pt x="24267" y="12940"/>
                      <a:pt x="20422" y="11658"/>
                    </a:cubicBezTo>
                    <a:cubicBezTo>
                      <a:pt x="22985" y="7814"/>
                      <a:pt x="8888" y="-1157"/>
                      <a:pt x="1199" y="124"/>
                    </a:cubicBezTo>
                    <a:cubicBezTo>
                      <a:pt x="-2646" y="2687"/>
                      <a:pt x="3762" y="7814"/>
                      <a:pt x="6325" y="90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4" name="Freeform: Shape 380016">
                <a:extLst>
                  <a:ext uri="{FF2B5EF4-FFF2-40B4-BE49-F238E27FC236}">
                    <a16:creationId xmlns:a16="http://schemas.microsoft.com/office/drawing/2014/main" id="{00735B91-6757-466F-B36F-2ACA9374B7A6}"/>
                  </a:ext>
                </a:extLst>
              </p:cNvPr>
              <p:cNvSpPr/>
              <p:nvPr/>
            </p:nvSpPr>
            <p:spPr>
              <a:xfrm>
                <a:off x="5480412" y="5234835"/>
                <a:ext cx="144339" cy="73191"/>
              </a:xfrm>
              <a:custGeom>
                <a:avLst/>
                <a:gdLst>
                  <a:gd name="connsiteX0" fmla="*/ 6851 w 144339"/>
                  <a:gd name="connsiteY0" fmla="*/ 7833 h 73191"/>
                  <a:gd name="connsiteX1" fmla="*/ 20948 w 144339"/>
                  <a:gd name="connsiteY1" fmla="*/ 9114 h 73191"/>
                  <a:gd name="connsiteX2" fmla="*/ 52987 w 144339"/>
                  <a:gd name="connsiteY2" fmla="*/ 18085 h 73191"/>
                  <a:gd name="connsiteX3" fmla="*/ 123472 w 144339"/>
                  <a:gd name="connsiteY3" fmla="*/ 62939 h 73191"/>
                  <a:gd name="connsiteX4" fmla="*/ 143977 w 144339"/>
                  <a:gd name="connsiteY4" fmla="*/ 73192 h 73191"/>
                  <a:gd name="connsiteX5" fmla="*/ 126035 w 144339"/>
                  <a:gd name="connsiteY5" fmla="*/ 62939 h 73191"/>
                  <a:gd name="connsiteX6" fmla="*/ 54268 w 144339"/>
                  <a:gd name="connsiteY6" fmla="*/ 18085 h 73191"/>
                  <a:gd name="connsiteX7" fmla="*/ 19666 w 144339"/>
                  <a:gd name="connsiteY7" fmla="*/ 7833 h 73191"/>
                  <a:gd name="connsiteX8" fmla="*/ 1724 w 144339"/>
                  <a:gd name="connsiteY8" fmla="*/ 144 h 73191"/>
                  <a:gd name="connsiteX9" fmla="*/ 6851 w 144339"/>
                  <a:gd name="connsiteY9" fmla="*/ 7833 h 7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339" h="73191">
                    <a:moveTo>
                      <a:pt x="6851" y="7833"/>
                    </a:moveTo>
                    <a:cubicBezTo>
                      <a:pt x="13258" y="11677"/>
                      <a:pt x="20948" y="12959"/>
                      <a:pt x="20948" y="9114"/>
                    </a:cubicBezTo>
                    <a:lnTo>
                      <a:pt x="52987" y="18085"/>
                    </a:lnTo>
                    <a:cubicBezTo>
                      <a:pt x="76055" y="33463"/>
                      <a:pt x="99123" y="48842"/>
                      <a:pt x="123472" y="62939"/>
                    </a:cubicBezTo>
                    <a:cubicBezTo>
                      <a:pt x="122190" y="70628"/>
                      <a:pt x="143977" y="73192"/>
                      <a:pt x="143977" y="73192"/>
                    </a:cubicBezTo>
                    <a:cubicBezTo>
                      <a:pt x="146540" y="70628"/>
                      <a:pt x="135006" y="62939"/>
                      <a:pt x="126035" y="62939"/>
                    </a:cubicBezTo>
                    <a:cubicBezTo>
                      <a:pt x="101686" y="48842"/>
                      <a:pt x="77336" y="33463"/>
                      <a:pt x="54268" y="18085"/>
                    </a:cubicBezTo>
                    <a:cubicBezTo>
                      <a:pt x="44016" y="15522"/>
                      <a:pt x="27356" y="15522"/>
                      <a:pt x="19666" y="7833"/>
                    </a:cubicBezTo>
                    <a:cubicBezTo>
                      <a:pt x="18385" y="6551"/>
                      <a:pt x="9414" y="-1138"/>
                      <a:pt x="1724" y="144"/>
                    </a:cubicBezTo>
                    <a:cubicBezTo>
                      <a:pt x="-3402" y="1425"/>
                      <a:pt x="4288" y="6551"/>
                      <a:pt x="6851" y="783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5" name="Freeform: Shape 380017">
                <a:extLst>
                  <a:ext uri="{FF2B5EF4-FFF2-40B4-BE49-F238E27FC236}">
                    <a16:creationId xmlns:a16="http://schemas.microsoft.com/office/drawing/2014/main" id="{6DE60FDE-DAF1-48FD-B07C-FFFA2F56BDF5}"/>
                  </a:ext>
                </a:extLst>
              </p:cNvPr>
              <p:cNvSpPr/>
              <p:nvPr/>
            </p:nvSpPr>
            <p:spPr>
              <a:xfrm>
                <a:off x="6502251" y="3881666"/>
                <a:ext cx="37165" cy="320386"/>
              </a:xfrm>
              <a:custGeom>
                <a:avLst/>
                <a:gdLst>
                  <a:gd name="connsiteX0" fmla="*/ 7689 w 37165"/>
                  <a:gd name="connsiteY0" fmla="*/ 312697 h 320386"/>
                  <a:gd name="connsiteX1" fmla="*/ 29476 w 37165"/>
                  <a:gd name="connsiteY1" fmla="*/ 312697 h 320386"/>
                  <a:gd name="connsiteX2" fmla="*/ 20505 w 37165"/>
                  <a:gd name="connsiteY2" fmla="*/ 296037 h 320386"/>
                  <a:gd name="connsiteX3" fmla="*/ 5126 w 37165"/>
                  <a:gd name="connsiteY3" fmla="*/ 166601 h 320386"/>
                  <a:gd name="connsiteX4" fmla="*/ 37165 w 37165"/>
                  <a:gd name="connsiteY4" fmla="*/ 123028 h 320386"/>
                  <a:gd name="connsiteX5" fmla="*/ 23068 w 37165"/>
                  <a:gd name="connsiteY5" fmla="*/ 24349 h 320386"/>
                  <a:gd name="connsiteX6" fmla="*/ 21787 w 37165"/>
                  <a:gd name="connsiteY6" fmla="*/ 0 h 320386"/>
                  <a:gd name="connsiteX7" fmla="*/ 16660 w 37165"/>
                  <a:gd name="connsiteY7" fmla="*/ 0 h 320386"/>
                  <a:gd name="connsiteX8" fmla="*/ 11534 w 37165"/>
                  <a:gd name="connsiteY8" fmla="*/ 24349 h 320386"/>
                  <a:gd name="connsiteX9" fmla="*/ 17942 w 37165"/>
                  <a:gd name="connsiteY9" fmla="*/ 25631 h 320386"/>
                  <a:gd name="connsiteX10" fmla="*/ 32039 w 37165"/>
                  <a:gd name="connsiteY10" fmla="*/ 121747 h 320386"/>
                  <a:gd name="connsiteX11" fmla="*/ 0 w 37165"/>
                  <a:gd name="connsiteY11" fmla="*/ 165319 h 320386"/>
                  <a:gd name="connsiteX12" fmla="*/ 16660 w 37165"/>
                  <a:gd name="connsiteY12" fmla="*/ 297319 h 320386"/>
                  <a:gd name="connsiteX13" fmla="*/ 7689 w 37165"/>
                  <a:gd name="connsiteY13" fmla="*/ 312697 h 32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65" h="320386">
                    <a:moveTo>
                      <a:pt x="7689" y="312697"/>
                    </a:moveTo>
                    <a:cubicBezTo>
                      <a:pt x="11534" y="322950"/>
                      <a:pt x="24350" y="322950"/>
                      <a:pt x="29476" y="312697"/>
                    </a:cubicBezTo>
                    <a:cubicBezTo>
                      <a:pt x="32039" y="307571"/>
                      <a:pt x="32039" y="297319"/>
                      <a:pt x="20505" y="296037"/>
                    </a:cubicBezTo>
                    <a:cubicBezTo>
                      <a:pt x="15379" y="253746"/>
                      <a:pt x="10253" y="210174"/>
                      <a:pt x="5126" y="166601"/>
                    </a:cubicBezTo>
                    <a:lnTo>
                      <a:pt x="37165" y="123028"/>
                    </a:lnTo>
                    <a:cubicBezTo>
                      <a:pt x="33321" y="90990"/>
                      <a:pt x="28194" y="57670"/>
                      <a:pt x="23068" y="24349"/>
                    </a:cubicBezTo>
                    <a:cubicBezTo>
                      <a:pt x="35884" y="16660"/>
                      <a:pt x="30757" y="1282"/>
                      <a:pt x="21787" y="0"/>
                    </a:cubicBezTo>
                    <a:cubicBezTo>
                      <a:pt x="20505" y="0"/>
                      <a:pt x="17942" y="0"/>
                      <a:pt x="16660" y="0"/>
                    </a:cubicBezTo>
                    <a:cubicBezTo>
                      <a:pt x="2563" y="3845"/>
                      <a:pt x="3845" y="19223"/>
                      <a:pt x="11534" y="24349"/>
                    </a:cubicBezTo>
                    <a:cubicBezTo>
                      <a:pt x="14097" y="25631"/>
                      <a:pt x="15379" y="25631"/>
                      <a:pt x="17942" y="25631"/>
                    </a:cubicBezTo>
                    <a:cubicBezTo>
                      <a:pt x="23068" y="57670"/>
                      <a:pt x="26913" y="89708"/>
                      <a:pt x="32039" y="121747"/>
                    </a:cubicBezTo>
                    <a:lnTo>
                      <a:pt x="0" y="165319"/>
                    </a:lnTo>
                    <a:cubicBezTo>
                      <a:pt x="6408" y="210174"/>
                      <a:pt x="11534" y="253746"/>
                      <a:pt x="16660" y="297319"/>
                    </a:cubicBezTo>
                    <a:cubicBezTo>
                      <a:pt x="5126" y="302445"/>
                      <a:pt x="7689" y="311416"/>
                      <a:pt x="7689" y="3126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6" name="Freeform: Shape 380018">
                <a:extLst>
                  <a:ext uri="{FF2B5EF4-FFF2-40B4-BE49-F238E27FC236}">
                    <a16:creationId xmlns:a16="http://schemas.microsoft.com/office/drawing/2014/main" id="{82877B46-03CA-49E3-B49E-382B230A8ABB}"/>
                  </a:ext>
                </a:extLst>
              </p:cNvPr>
              <p:cNvSpPr/>
              <p:nvPr/>
            </p:nvSpPr>
            <p:spPr>
              <a:xfrm>
                <a:off x="6466367" y="3889356"/>
                <a:ext cx="37165" cy="354987"/>
              </a:xfrm>
              <a:custGeom>
                <a:avLst/>
                <a:gdLst>
                  <a:gd name="connsiteX0" fmla="*/ 12816 w 37165"/>
                  <a:gd name="connsiteY0" fmla="*/ 347299 h 354987"/>
                  <a:gd name="connsiteX1" fmla="*/ 34602 w 37165"/>
                  <a:gd name="connsiteY1" fmla="*/ 347299 h 354987"/>
                  <a:gd name="connsiteX2" fmla="*/ 25631 w 37165"/>
                  <a:gd name="connsiteY2" fmla="*/ 330639 h 354987"/>
                  <a:gd name="connsiteX3" fmla="*/ 5126 w 37165"/>
                  <a:gd name="connsiteY3" fmla="*/ 166601 h 354987"/>
                  <a:gd name="connsiteX4" fmla="*/ 37165 w 37165"/>
                  <a:gd name="connsiteY4" fmla="*/ 123028 h 354987"/>
                  <a:gd name="connsiteX5" fmla="*/ 23068 w 37165"/>
                  <a:gd name="connsiteY5" fmla="*/ 24349 h 354987"/>
                  <a:gd name="connsiteX6" fmla="*/ 21787 w 37165"/>
                  <a:gd name="connsiteY6" fmla="*/ 0 h 354987"/>
                  <a:gd name="connsiteX7" fmla="*/ 16660 w 37165"/>
                  <a:gd name="connsiteY7" fmla="*/ 0 h 354987"/>
                  <a:gd name="connsiteX8" fmla="*/ 11534 w 37165"/>
                  <a:gd name="connsiteY8" fmla="*/ 24349 h 354987"/>
                  <a:gd name="connsiteX9" fmla="*/ 17942 w 37165"/>
                  <a:gd name="connsiteY9" fmla="*/ 25631 h 354987"/>
                  <a:gd name="connsiteX10" fmla="*/ 32039 w 37165"/>
                  <a:gd name="connsiteY10" fmla="*/ 121747 h 354987"/>
                  <a:gd name="connsiteX11" fmla="*/ 0 w 37165"/>
                  <a:gd name="connsiteY11" fmla="*/ 165319 h 354987"/>
                  <a:gd name="connsiteX12" fmla="*/ 21787 w 37165"/>
                  <a:gd name="connsiteY12" fmla="*/ 331920 h 354987"/>
                  <a:gd name="connsiteX13" fmla="*/ 12816 w 37165"/>
                  <a:gd name="connsiteY13" fmla="*/ 347299 h 354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65" h="354987">
                    <a:moveTo>
                      <a:pt x="12816" y="347299"/>
                    </a:moveTo>
                    <a:cubicBezTo>
                      <a:pt x="16660" y="357551"/>
                      <a:pt x="29476" y="357551"/>
                      <a:pt x="34602" y="347299"/>
                    </a:cubicBezTo>
                    <a:cubicBezTo>
                      <a:pt x="37165" y="342173"/>
                      <a:pt x="35883" y="331920"/>
                      <a:pt x="25631" y="330639"/>
                    </a:cubicBezTo>
                    <a:cubicBezTo>
                      <a:pt x="19223" y="276814"/>
                      <a:pt x="12816" y="221707"/>
                      <a:pt x="5126" y="166601"/>
                    </a:cubicBezTo>
                    <a:lnTo>
                      <a:pt x="37165" y="123028"/>
                    </a:lnTo>
                    <a:cubicBezTo>
                      <a:pt x="32039" y="90990"/>
                      <a:pt x="28194" y="57669"/>
                      <a:pt x="23068" y="24349"/>
                    </a:cubicBezTo>
                    <a:cubicBezTo>
                      <a:pt x="35883" y="16660"/>
                      <a:pt x="30757" y="1281"/>
                      <a:pt x="21787" y="0"/>
                    </a:cubicBezTo>
                    <a:cubicBezTo>
                      <a:pt x="20505" y="0"/>
                      <a:pt x="17942" y="0"/>
                      <a:pt x="16660" y="0"/>
                    </a:cubicBezTo>
                    <a:cubicBezTo>
                      <a:pt x="2563" y="3844"/>
                      <a:pt x="3844" y="19223"/>
                      <a:pt x="11534" y="24349"/>
                    </a:cubicBezTo>
                    <a:cubicBezTo>
                      <a:pt x="14097" y="25631"/>
                      <a:pt x="15378" y="25631"/>
                      <a:pt x="17942" y="25631"/>
                    </a:cubicBezTo>
                    <a:cubicBezTo>
                      <a:pt x="23068" y="57669"/>
                      <a:pt x="28194" y="89708"/>
                      <a:pt x="32039" y="121747"/>
                    </a:cubicBezTo>
                    <a:lnTo>
                      <a:pt x="0" y="165319"/>
                    </a:lnTo>
                    <a:cubicBezTo>
                      <a:pt x="7689" y="221707"/>
                      <a:pt x="15378" y="276814"/>
                      <a:pt x="21787" y="331920"/>
                    </a:cubicBezTo>
                    <a:cubicBezTo>
                      <a:pt x="8971" y="337046"/>
                      <a:pt x="11534" y="346017"/>
                      <a:pt x="12816" y="34729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7" name="Freeform: Shape 380019">
                <a:extLst>
                  <a:ext uri="{FF2B5EF4-FFF2-40B4-BE49-F238E27FC236}">
                    <a16:creationId xmlns:a16="http://schemas.microsoft.com/office/drawing/2014/main" id="{FEE9DA83-D2A9-45CC-89AF-9AB97F0BD1E7}"/>
                  </a:ext>
                </a:extLst>
              </p:cNvPr>
              <p:cNvSpPr/>
              <p:nvPr/>
            </p:nvSpPr>
            <p:spPr>
              <a:xfrm>
                <a:off x="6718641" y="3756075"/>
                <a:ext cx="77085" cy="510418"/>
              </a:xfrm>
              <a:custGeom>
                <a:avLst/>
                <a:gdLst>
                  <a:gd name="connsiteX0" fmla="*/ 192 w 77085"/>
                  <a:gd name="connsiteY0" fmla="*/ 361396 h 510418"/>
                  <a:gd name="connsiteX1" fmla="*/ 20697 w 77085"/>
                  <a:gd name="connsiteY1" fmla="*/ 361396 h 510418"/>
                  <a:gd name="connsiteX2" fmla="*/ 20697 w 77085"/>
                  <a:gd name="connsiteY2" fmla="*/ 348580 h 510418"/>
                  <a:gd name="connsiteX3" fmla="*/ 41202 w 77085"/>
                  <a:gd name="connsiteY3" fmla="*/ 321668 h 510418"/>
                  <a:gd name="connsiteX4" fmla="*/ 42483 w 77085"/>
                  <a:gd name="connsiteY4" fmla="*/ 349862 h 510418"/>
                  <a:gd name="connsiteX5" fmla="*/ 10444 w 77085"/>
                  <a:gd name="connsiteY5" fmla="*/ 392153 h 510418"/>
                  <a:gd name="connsiteX6" fmla="*/ 14289 w 77085"/>
                  <a:gd name="connsiteY6" fmla="*/ 486987 h 510418"/>
                  <a:gd name="connsiteX7" fmla="*/ 13008 w 77085"/>
                  <a:gd name="connsiteY7" fmla="*/ 510055 h 510418"/>
                  <a:gd name="connsiteX8" fmla="*/ 27105 w 77085"/>
                  <a:gd name="connsiteY8" fmla="*/ 492113 h 510418"/>
                  <a:gd name="connsiteX9" fmla="*/ 19415 w 77085"/>
                  <a:gd name="connsiteY9" fmla="*/ 485706 h 510418"/>
                  <a:gd name="connsiteX10" fmla="*/ 15571 w 77085"/>
                  <a:gd name="connsiteY10" fmla="*/ 393434 h 510418"/>
                  <a:gd name="connsiteX11" fmla="*/ 47610 w 77085"/>
                  <a:gd name="connsiteY11" fmla="*/ 351143 h 510418"/>
                  <a:gd name="connsiteX12" fmla="*/ 45046 w 77085"/>
                  <a:gd name="connsiteY12" fmla="*/ 315260 h 510418"/>
                  <a:gd name="connsiteX13" fmla="*/ 77085 w 77085"/>
                  <a:gd name="connsiteY13" fmla="*/ 272969 h 510418"/>
                  <a:gd name="connsiteX14" fmla="*/ 54017 w 77085"/>
                  <a:gd name="connsiteY14" fmla="*/ 25631 h 510418"/>
                  <a:gd name="connsiteX15" fmla="*/ 52736 w 77085"/>
                  <a:gd name="connsiteY15" fmla="*/ 0 h 510418"/>
                  <a:gd name="connsiteX16" fmla="*/ 47610 w 77085"/>
                  <a:gd name="connsiteY16" fmla="*/ 0 h 510418"/>
                  <a:gd name="connsiteX17" fmla="*/ 45046 w 77085"/>
                  <a:gd name="connsiteY17" fmla="*/ 25631 h 510418"/>
                  <a:gd name="connsiteX18" fmla="*/ 48891 w 77085"/>
                  <a:gd name="connsiteY18" fmla="*/ 26913 h 510418"/>
                  <a:gd name="connsiteX19" fmla="*/ 71959 w 77085"/>
                  <a:gd name="connsiteY19" fmla="*/ 271688 h 510418"/>
                  <a:gd name="connsiteX20" fmla="*/ 45046 w 77085"/>
                  <a:gd name="connsiteY20" fmla="*/ 307571 h 510418"/>
                  <a:gd name="connsiteX21" fmla="*/ 30949 w 77085"/>
                  <a:gd name="connsiteY21" fmla="*/ 143533 h 510418"/>
                  <a:gd name="connsiteX22" fmla="*/ 28387 w 77085"/>
                  <a:gd name="connsiteY22" fmla="*/ 117902 h 510418"/>
                  <a:gd name="connsiteX23" fmla="*/ 19415 w 77085"/>
                  <a:gd name="connsiteY23" fmla="*/ 140970 h 510418"/>
                  <a:gd name="connsiteX24" fmla="*/ 25823 w 77085"/>
                  <a:gd name="connsiteY24" fmla="*/ 143533 h 510418"/>
                  <a:gd name="connsiteX25" fmla="*/ 39920 w 77085"/>
                  <a:gd name="connsiteY25" fmla="*/ 312697 h 510418"/>
                  <a:gd name="connsiteX26" fmla="*/ 15571 w 77085"/>
                  <a:gd name="connsiteY26" fmla="*/ 344736 h 510418"/>
                  <a:gd name="connsiteX27" fmla="*/ 192 w 77085"/>
                  <a:gd name="connsiteY27" fmla="*/ 361396 h 51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7085" h="510418">
                    <a:moveTo>
                      <a:pt x="192" y="361396"/>
                    </a:moveTo>
                    <a:cubicBezTo>
                      <a:pt x="4037" y="371648"/>
                      <a:pt x="15571" y="371648"/>
                      <a:pt x="20697" y="361396"/>
                    </a:cubicBezTo>
                    <a:cubicBezTo>
                      <a:pt x="20697" y="361396"/>
                      <a:pt x="24542" y="354988"/>
                      <a:pt x="20697" y="348580"/>
                    </a:cubicBezTo>
                    <a:lnTo>
                      <a:pt x="41202" y="321668"/>
                    </a:lnTo>
                    <a:cubicBezTo>
                      <a:pt x="41202" y="330639"/>
                      <a:pt x="42483" y="340891"/>
                      <a:pt x="42483" y="349862"/>
                    </a:cubicBezTo>
                    <a:lnTo>
                      <a:pt x="10444" y="392153"/>
                    </a:lnTo>
                    <a:cubicBezTo>
                      <a:pt x="11726" y="424191"/>
                      <a:pt x="13008" y="456230"/>
                      <a:pt x="14289" y="486987"/>
                    </a:cubicBezTo>
                    <a:cubicBezTo>
                      <a:pt x="192" y="495958"/>
                      <a:pt x="7881" y="508773"/>
                      <a:pt x="13008" y="510055"/>
                    </a:cubicBezTo>
                    <a:cubicBezTo>
                      <a:pt x="21978" y="512618"/>
                      <a:pt x="29668" y="501084"/>
                      <a:pt x="27105" y="492113"/>
                    </a:cubicBezTo>
                    <a:cubicBezTo>
                      <a:pt x="25823" y="486987"/>
                      <a:pt x="21978" y="486987"/>
                      <a:pt x="19415" y="485706"/>
                    </a:cubicBezTo>
                    <a:cubicBezTo>
                      <a:pt x="18134" y="454949"/>
                      <a:pt x="16853" y="424191"/>
                      <a:pt x="15571" y="393434"/>
                    </a:cubicBezTo>
                    <a:lnTo>
                      <a:pt x="47610" y="351143"/>
                    </a:lnTo>
                    <a:cubicBezTo>
                      <a:pt x="47610" y="339610"/>
                      <a:pt x="46328" y="326794"/>
                      <a:pt x="45046" y="315260"/>
                    </a:cubicBezTo>
                    <a:lnTo>
                      <a:pt x="77085" y="272969"/>
                    </a:lnTo>
                    <a:cubicBezTo>
                      <a:pt x="71959" y="192232"/>
                      <a:pt x="64270" y="110213"/>
                      <a:pt x="54017" y="25631"/>
                    </a:cubicBezTo>
                    <a:cubicBezTo>
                      <a:pt x="69396" y="15379"/>
                      <a:pt x="57862" y="2563"/>
                      <a:pt x="52736" y="0"/>
                    </a:cubicBezTo>
                    <a:cubicBezTo>
                      <a:pt x="51454" y="0"/>
                      <a:pt x="48891" y="0"/>
                      <a:pt x="47610" y="0"/>
                    </a:cubicBezTo>
                    <a:cubicBezTo>
                      <a:pt x="30949" y="6408"/>
                      <a:pt x="38639" y="21786"/>
                      <a:pt x="45046" y="25631"/>
                    </a:cubicBezTo>
                    <a:cubicBezTo>
                      <a:pt x="46328" y="25631"/>
                      <a:pt x="47610" y="26913"/>
                      <a:pt x="48891" y="26913"/>
                    </a:cubicBezTo>
                    <a:cubicBezTo>
                      <a:pt x="59143" y="110213"/>
                      <a:pt x="66833" y="190950"/>
                      <a:pt x="71959" y="271688"/>
                    </a:cubicBezTo>
                    <a:lnTo>
                      <a:pt x="45046" y="307571"/>
                    </a:lnTo>
                    <a:cubicBezTo>
                      <a:pt x="41202" y="253746"/>
                      <a:pt x="37357" y="198639"/>
                      <a:pt x="30949" y="143533"/>
                    </a:cubicBezTo>
                    <a:cubicBezTo>
                      <a:pt x="46328" y="133281"/>
                      <a:pt x="36076" y="119184"/>
                      <a:pt x="28387" y="117902"/>
                    </a:cubicBezTo>
                    <a:cubicBezTo>
                      <a:pt x="16853" y="117902"/>
                      <a:pt x="11726" y="133281"/>
                      <a:pt x="19415" y="140970"/>
                    </a:cubicBezTo>
                    <a:cubicBezTo>
                      <a:pt x="20697" y="142252"/>
                      <a:pt x="24542" y="143533"/>
                      <a:pt x="25823" y="143533"/>
                    </a:cubicBezTo>
                    <a:cubicBezTo>
                      <a:pt x="32231" y="199921"/>
                      <a:pt x="36076" y="256309"/>
                      <a:pt x="39920" y="312697"/>
                    </a:cubicBezTo>
                    <a:cubicBezTo>
                      <a:pt x="32231" y="321668"/>
                      <a:pt x="23260" y="334483"/>
                      <a:pt x="15571" y="344736"/>
                    </a:cubicBezTo>
                    <a:cubicBezTo>
                      <a:pt x="4037" y="340891"/>
                      <a:pt x="-1090" y="353707"/>
                      <a:pt x="192" y="36139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8" name="Freeform: Shape 380020">
                <a:extLst>
                  <a:ext uri="{FF2B5EF4-FFF2-40B4-BE49-F238E27FC236}">
                    <a16:creationId xmlns:a16="http://schemas.microsoft.com/office/drawing/2014/main" id="{6C0E8D43-9678-48E5-A5CB-A7BC1AD1403E}"/>
                  </a:ext>
                </a:extLst>
              </p:cNvPr>
              <p:cNvSpPr/>
              <p:nvPr/>
            </p:nvSpPr>
            <p:spPr>
              <a:xfrm>
                <a:off x="6470114" y="3370330"/>
                <a:ext cx="284770" cy="726968"/>
              </a:xfrm>
              <a:custGeom>
                <a:avLst/>
                <a:gdLst>
                  <a:gd name="connsiteX0" fmla="*/ 1380 w 284770"/>
                  <a:gd name="connsiteY0" fmla="*/ 106368 h 726968"/>
                  <a:gd name="connsiteX1" fmla="*/ 12914 w 284770"/>
                  <a:gd name="connsiteY1" fmla="*/ 115339 h 726968"/>
                  <a:gd name="connsiteX2" fmla="*/ 69302 w 284770"/>
                  <a:gd name="connsiteY2" fmla="*/ 406250 h 726968"/>
                  <a:gd name="connsiteX3" fmla="*/ 156447 w 284770"/>
                  <a:gd name="connsiteY3" fmla="*/ 466483 h 726968"/>
                  <a:gd name="connsiteX4" fmla="*/ 166700 w 284770"/>
                  <a:gd name="connsiteY4" fmla="*/ 540812 h 726968"/>
                  <a:gd name="connsiteX5" fmla="*/ 207710 w 284770"/>
                  <a:gd name="connsiteY5" fmla="*/ 570288 h 726968"/>
                  <a:gd name="connsiteX6" fmla="*/ 220525 w 284770"/>
                  <a:gd name="connsiteY6" fmla="*/ 702287 h 726968"/>
                  <a:gd name="connsiteX7" fmla="*/ 220525 w 284770"/>
                  <a:gd name="connsiteY7" fmla="*/ 726636 h 726968"/>
                  <a:gd name="connsiteX8" fmla="*/ 234622 w 284770"/>
                  <a:gd name="connsiteY8" fmla="*/ 707413 h 726968"/>
                  <a:gd name="connsiteX9" fmla="*/ 225651 w 284770"/>
                  <a:gd name="connsiteY9" fmla="*/ 701006 h 726968"/>
                  <a:gd name="connsiteX10" fmla="*/ 212836 w 284770"/>
                  <a:gd name="connsiteY10" fmla="*/ 566443 h 726968"/>
                  <a:gd name="connsiteX11" fmla="*/ 171826 w 284770"/>
                  <a:gd name="connsiteY11" fmla="*/ 536968 h 726968"/>
                  <a:gd name="connsiteX12" fmla="*/ 162855 w 284770"/>
                  <a:gd name="connsiteY12" fmla="*/ 470327 h 726968"/>
                  <a:gd name="connsiteX13" fmla="*/ 198739 w 284770"/>
                  <a:gd name="connsiteY13" fmla="*/ 495958 h 726968"/>
                  <a:gd name="connsiteX14" fmla="*/ 201302 w 284770"/>
                  <a:gd name="connsiteY14" fmla="*/ 519026 h 726968"/>
                  <a:gd name="connsiteX15" fmla="*/ 202583 w 284770"/>
                  <a:gd name="connsiteY15" fmla="*/ 543375 h 726968"/>
                  <a:gd name="connsiteX16" fmla="*/ 216680 w 284770"/>
                  <a:gd name="connsiteY16" fmla="*/ 524152 h 726968"/>
                  <a:gd name="connsiteX17" fmla="*/ 207710 w 284770"/>
                  <a:gd name="connsiteY17" fmla="*/ 517744 h 726968"/>
                  <a:gd name="connsiteX18" fmla="*/ 205146 w 284770"/>
                  <a:gd name="connsiteY18" fmla="*/ 492113 h 726968"/>
                  <a:gd name="connsiteX19" fmla="*/ 162855 w 284770"/>
                  <a:gd name="connsiteY19" fmla="*/ 462638 h 726968"/>
                  <a:gd name="connsiteX20" fmla="*/ 152603 w 284770"/>
                  <a:gd name="connsiteY20" fmla="*/ 395998 h 726968"/>
                  <a:gd name="connsiteX21" fmla="*/ 230777 w 284770"/>
                  <a:gd name="connsiteY21" fmla="*/ 452386 h 726968"/>
                  <a:gd name="connsiteX22" fmla="*/ 255127 w 284770"/>
                  <a:gd name="connsiteY22" fmla="*/ 695879 h 726968"/>
                  <a:gd name="connsiteX23" fmla="*/ 255127 w 284770"/>
                  <a:gd name="connsiteY23" fmla="*/ 720229 h 726968"/>
                  <a:gd name="connsiteX24" fmla="*/ 269224 w 284770"/>
                  <a:gd name="connsiteY24" fmla="*/ 701006 h 726968"/>
                  <a:gd name="connsiteX25" fmla="*/ 260253 w 284770"/>
                  <a:gd name="connsiteY25" fmla="*/ 694598 h 726968"/>
                  <a:gd name="connsiteX26" fmla="*/ 235903 w 284770"/>
                  <a:gd name="connsiteY26" fmla="*/ 457512 h 726968"/>
                  <a:gd name="connsiteX27" fmla="*/ 262816 w 284770"/>
                  <a:gd name="connsiteY27" fmla="*/ 476735 h 726968"/>
                  <a:gd name="connsiteX28" fmla="*/ 276913 w 284770"/>
                  <a:gd name="connsiteY28" fmla="*/ 493395 h 726968"/>
                  <a:gd name="connsiteX29" fmla="*/ 278195 w 284770"/>
                  <a:gd name="connsiteY29" fmla="*/ 469046 h 726968"/>
                  <a:gd name="connsiteX30" fmla="*/ 265379 w 284770"/>
                  <a:gd name="connsiteY30" fmla="*/ 471609 h 726968"/>
                  <a:gd name="connsiteX31" fmla="*/ 234622 w 284770"/>
                  <a:gd name="connsiteY31" fmla="*/ 448541 h 726968"/>
                  <a:gd name="connsiteX32" fmla="*/ 230777 w 284770"/>
                  <a:gd name="connsiteY32" fmla="*/ 419065 h 726968"/>
                  <a:gd name="connsiteX33" fmla="*/ 257690 w 284770"/>
                  <a:gd name="connsiteY33" fmla="*/ 438289 h 726968"/>
                  <a:gd name="connsiteX34" fmla="*/ 273068 w 284770"/>
                  <a:gd name="connsiteY34" fmla="*/ 454949 h 726968"/>
                  <a:gd name="connsiteX35" fmla="*/ 274350 w 284770"/>
                  <a:gd name="connsiteY35" fmla="*/ 430599 h 726968"/>
                  <a:gd name="connsiteX36" fmla="*/ 261534 w 284770"/>
                  <a:gd name="connsiteY36" fmla="*/ 433163 h 726968"/>
                  <a:gd name="connsiteX37" fmla="*/ 230777 w 284770"/>
                  <a:gd name="connsiteY37" fmla="*/ 410095 h 726968"/>
                  <a:gd name="connsiteX38" fmla="*/ 202583 w 284770"/>
                  <a:gd name="connsiteY38" fmla="*/ 235804 h 726968"/>
                  <a:gd name="connsiteX39" fmla="*/ 200020 w 284770"/>
                  <a:gd name="connsiteY39" fmla="*/ 210174 h 726968"/>
                  <a:gd name="connsiteX40" fmla="*/ 187205 w 284770"/>
                  <a:gd name="connsiteY40" fmla="*/ 229397 h 726968"/>
                  <a:gd name="connsiteX41" fmla="*/ 197457 w 284770"/>
                  <a:gd name="connsiteY41" fmla="*/ 235804 h 726968"/>
                  <a:gd name="connsiteX42" fmla="*/ 224369 w 284770"/>
                  <a:gd name="connsiteY42" fmla="*/ 404968 h 726968"/>
                  <a:gd name="connsiteX43" fmla="*/ 188486 w 284770"/>
                  <a:gd name="connsiteY43" fmla="*/ 379338 h 726968"/>
                  <a:gd name="connsiteX44" fmla="*/ 171826 w 284770"/>
                  <a:gd name="connsiteY44" fmla="*/ 280659 h 726968"/>
                  <a:gd name="connsiteX45" fmla="*/ 169263 w 284770"/>
                  <a:gd name="connsiteY45" fmla="*/ 255028 h 726968"/>
                  <a:gd name="connsiteX46" fmla="*/ 156447 w 284770"/>
                  <a:gd name="connsiteY46" fmla="*/ 274251 h 726968"/>
                  <a:gd name="connsiteX47" fmla="*/ 166700 w 284770"/>
                  <a:gd name="connsiteY47" fmla="*/ 280659 h 726968"/>
                  <a:gd name="connsiteX48" fmla="*/ 183360 w 284770"/>
                  <a:gd name="connsiteY48" fmla="*/ 381901 h 726968"/>
                  <a:gd name="connsiteX49" fmla="*/ 225651 w 284770"/>
                  <a:gd name="connsiteY49" fmla="*/ 412658 h 726968"/>
                  <a:gd name="connsiteX50" fmla="*/ 229496 w 284770"/>
                  <a:gd name="connsiteY50" fmla="*/ 442133 h 726968"/>
                  <a:gd name="connsiteX51" fmla="*/ 151321 w 284770"/>
                  <a:gd name="connsiteY51" fmla="*/ 385745 h 726968"/>
                  <a:gd name="connsiteX52" fmla="*/ 141069 w 284770"/>
                  <a:gd name="connsiteY52" fmla="*/ 324231 h 726968"/>
                  <a:gd name="connsiteX53" fmla="*/ 138506 w 284770"/>
                  <a:gd name="connsiteY53" fmla="*/ 298600 h 726968"/>
                  <a:gd name="connsiteX54" fmla="*/ 124409 w 284770"/>
                  <a:gd name="connsiteY54" fmla="*/ 317823 h 726968"/>
                  <a:gd name="connsiteX55" fmla="*/ 134661 w 284770"/>
                  <a:gd name="connsiteY55" fmla="*/ 324231 h 726968"/>
                  <a:gd name="connsiteX56" fmla="*/ 143632 w 284770"/>
                  <a:gd name="connsiteY56" fmla="*/ 379338 h 726968"/>
                  <a:gd name="connsiteX57" fmla="*/ 106467 w 284770"/>
                  <a:gd name="connsiteY57" fmla="*/ 353707 h 726968"/>
                  <a:gd name="connsiteX58" fmla="*/ 41108 w 284770"/>
                  <a:gd name="connsiteY58" fmla="*/ 25631 h 726968"/>
                  <a:gd name="connsiteX59" fmla="*/ 37263 w 284770"/>
                  <a:gd name="connsiteY59" fmla="*/ 0 h 726968"/>
                  <a:gd name="connsiteX60" fmla="*/ 32137 w 284770"/>
                  <a:gd name="connsiteY60" fmla="*/ 0 h 726968"/>
                  <a:gd name="connsiteX61" fmla="*/ 30855 w 284770"/>
                  <a:gd name="connsiteY61" fmla="*/ 25631 h 726968"/>
                  <a:gd name="connsiteX62" fmla="*/ 34700 w 284770"/>
                  <a:gd name="connsiteY62" fmla="*/ 26912 h 726968"/>
                  <a:gd name="connsiteX63" fmla="*/ 100059 w 284770"/>
                  <a:gd name="connsiteY63" fmla="*/ 357551 h 726968"/>
                  <a:gd name="connsiteX64" fmla="*/ 143632 w 284770"/>
                  <a:gd name="connsiteY64" fmla="*/ 388308 h 726968"/>
                  <a:gd name="connsiteX65" fmla="*/ 153884 w 284770"/>
                  <a:gd name="connsiteY65" fmla="*/ 454949 h 726968"/>
                  <a:gd name="connsiteX66" fmla="*/ 73147 w 284770"/>
                  <a:gd name="connsiteY66" fmla="*/ 399842 h 726968"/>
                  <a:gd name="connsiteX67" fmla="*/ 18040 w 284770"/>
                  <a:gd name="connsiteY67" fmla="*/ 111495 h 726968"/>
                  <a:gd name="connsiteX68" fmla="*/ 14195 w 284770"/>
                  <a:gd name="connsiteY68" fmla="*/ 85864 h 726968"/>
                  <a:gd name="connsiteX69" fmla="*/ 1380 w 284770"/>
                  <a:gd name="connsiteY69" fmla="*/ 106368 h 72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84770" h="726968">
                    <a:moveTo>
                      <a:pt x="1380" y="106368"/>
                    </a:moveTo>
                    <a:cubicBezTo>
                      <a:pt x="3943" y="112776"/>
                      <a:pt x="10351" y="114058"/>
                      <a:pt x="12914" y="115339"/>
                    </a:cubicBezTo>
                    <a:cubicBezTo>
                      <a:pt x="34700" y="214018"/>
                      <a:pt x="52642" y="310134"/>
                      <a:pt x="69302" y="406250"/>
                    </a:cubicBezTo>
                    <a:lnTo>
                      <a:pt x="156447" y="466483"/>
                    </a:lnTo>
                    <a:cubicBezTo>
                      <a:pt x="160292" y="490832"/>
                      <a:pt x="162855" y="516463"/>
                      <a:pt x="166700" y="540812"/>
                    </a:cubicBezTo>
                    <a:lnTo>
                      <a:pt x="207710" y="570288"/>
                    </a:lnTo>
                    <a:cubicBezTo>
                      <a:pt x="212836" y="615142"/>
                      <a:pt x="216680" y="658715"/>
                      <a:pt x="220525" y="702287"/>
                    </a:cubicBezTo>
                    <a:cubicBezTo>
                      <a:pt x="205146" y="712539"/>
                      <a:pt x="215398" y="725355"/>
                      <a:pt x="220525" y="726636"/>
                    </a:cubicBezTo>
                    <a:cubicBezTo>
                      <a:pt x="230777" y="729199"/>
                      <a:pt x="238466" y="716384"/>
                      <a:pt x="234622" y="707413"/>
                    </a:cubicBezTo>
                    <a:cubicBezTo>
                      <a:pt x="232059" y="702287"/>
                      <a:pt x="228214" y="702287"/>
                      <a:pt x="225651" y="701006"/>
                    </a:cubicBezTo>
                    <a:cubicBezTo>
                      <a:pt x="221807" y="656151"/>
                      <a:pt x="217962" y="611297"/>
                      <a:pt x="212836" y="566443"/>
                    </a:cubicBezTo>
                    <a:lnTo>
                      <a:pt x="171826" y="536968"/>
                    </a:lnTo>
                    <a:cubicBezTo>
                      <a:pt x="169263" y="515181"/>
                      <a:pt x="166700" y="493395"/>
                      <a:pt x="162855" y="470327"/>
                    </a:cubicBezTo>
                    <a:lnTo>
                      <a:pt x="198739" y="495958"/>
                    </a:lnTo>
                    <a:cubicBezTo>
                      <a:pt x="200020" y="503647"/>
                      <a:pt x="201302" y="511337"/>
                      <a:pt x="201302" y="519026"/>
                    </a:cubicBezTo>
                    <a:cubicBezTo>
                      <a:pt x="185923" y="529278"/>
                      <a:pt x="196176" y="542094"/>
                      <a:pt x="202583" y="543375"/>
                    </a:cubicBezTo>
                    <a:cubicBezTo>
                      <a:pt x="212836" y="545938"/>
                      <a:pt x="220525" y="533123"/>
                      <a:pt x="216680" y="524152"/>
                    </a:cubicBezTo>
                    <a:cubicBezTo>
                      <a:pt x="214117" y="519026"/>
                      <a:pt x="210273" y="517744"/>
                      <a:pt x="207710" y="517744"/>
                    </a:cubicBezTo>
                    <a:cubicBezTo>
                      <a:pt x="206428" y="508774"/>
                      <a:pt x="205146" y="501084"/>
                      <a:pt x="205146" y="492113"/>
                    </a:cubicBezTo>
                    <a:lnTo>
                      <a:pt x="162855" y="462638"/>
                    </a:lnTo>
                    <a:cubicBezTo>
                      <a:pt x="160292" y="440852"/>
                      <a:pt x="156447" y="417784"/>
                      <a:pt x="152603" y="395998"/>
                    </a:cubicBezTo>
                    <a:lnTo>
                      <a:pt x="230777" y="452386"/>
                    </a:lnTo>
                    <a:cubicBezTo>
                      <a:pt x="241030" y="534404"/>
                      <a:pt x="250000" y="616423"/>
                      <a:pt x="255127" y="695879"/>
                    </a:cubicBezTo>
                    <a:cubicBezTo>
                      <a:pt x="239748" y="706132"/>
                      <a:pt x="250000" y="718947"/>
                      <a:pt x="255127" y="720229"/>
                    </a:cubicBezTo>
                    <a:cubicBezTo>
                      <a:pt x="265379" y="722792"/>
                      <a:pt x="273068" y="709976"/>
                      <a:pt x="269224" y="701006"/>
                    </a:cubicBezTo>
                    <a:cubicBezTo>
                      <a:pt x="266661" y="695879"/>
                      <a:pt x="261534" y="694598"/>
                      <a:pt x="260253" y="694598"/>
                    </a:cubicBezTo>
                    <a:cubicBezTo>
                      <a:pt x="255127" y="616423"/>
                      <a:pt x="246156" y="536968"/>
                      <a:pt x="235903" y="457512"/>
                    </a:cubicBezTo>
                    <a:cubicBezTo>
                      <a:pt x="243593" y="463920"/>
                      <a:pt x="253845" y="471609"/>
                      <a:pt x="262816" y="476735"/>
                    </a:cubicBezTo>
                    <a:cubicBezTo>
                      <a:pt x="258971" y="494677"/>
                      <a:pt x="273068" y="494677"/>
                      <a:pt x="276913" y="493395"/>
                    </a:cubicBezTo>
                    <a:cubicBezTo>
                      <a:pt x="287165" y="489550"/>
                      <a:pt x="287165" y="474172"/>
                      <a:pt x="278195" y="469046"/>
                    </a:cubicBezTo>
                    <a:cubicBezTo>
                      <a:pt x="274350" y="467764"/>
                      <a:pt x="269224" y="467764"/>
                      <a:pt x="265379" y="471609"/>
                    </a:cubicBezTo>
                    <a:lnTo>
                      <a:pt x="234622" y="448541"/>
                    </a:lnTo>
                    <a:cubicBezTo>
                      <a:pt x="233341" y="438289"/>
                      <a:pt x="232059" y="429318"/>
                      <a:pt x="230777" y="419065"/>
                    </a:cubicBezTo>
                    <a:cubicBezTo>
                      <a:pt x="238466" y="425473"/>
                      <a:pt x="250000" y="433163"/>
                      <a:pt x="257690" y="438289"/>
                    </a:cubicBezTo>
                    <a:cubicBezTo>
                      <a:pt x="253845" y="456230"/>
                      <a:pt x="267942" y="457512"/>
                      <a:pt x="273068" y="454949"/>
                    </a:cubicBezTo>
                    <a:cubicBezTo>
                      <a:pt x="283321" y="451104"/>
                      <a:pt x="283321" y="435725"/>
                      <a:pt x="274350" y="430599"/>
                    </a:cubicBezTo>
                    <a:cubicBezTo>
                      <a:pt x="270505" y="429318"/>
                      <a:pt x="265379" y="429318"/>
                      <a:pt x="261534" y="433163"/>
                    </a:cubicBezTo>
                    <a:lnTo>
                      <a:pt x="230777" y="410095"/>
                    </a:lnTo>
                    <a:cubicBezTo>
                      <a:pt x="223088" y="352425"/>
                      <a:pt x="214117" y="294756"/>
                      <a:pt x="202583" y="235804"/>
                    </a:cubicBezTo>
                    <a:cubicBezTo>
                      <a:pt x="217962" y="225552"/>
                      <a:pt x="206428" y="211455"/>
                      <a:pt x="200020" y="210174"/>
                    </a:cubicBezTo>
                    <a:cubicBezTo>
                      <a:pt x="188486" y="207610"/>
                      <a:pt x="182078" y="220426"/>
                      <a:pt x="187205" y="229397"/>
                    </a:cubicBezTo>
                    <a:cubicBezTo>
                      <a:pt x="189768" y="234523"/>
                      <a:pt x="194894" y="235804"/>
                      <a:pt x="197457" y="235804"/>
                    </a:cubicBezTo>
                    <a:cubicBezTo>
                      <a:pt x="207710" y="292192"/>
                      <a:pt x="216680" y="348581"/>
                      <a:pt x="224369" y="404968"/>
                    </a:cubicBezTo>
                    <a:lnTo>
                      <a:pt x="188486" y="379338"/>
                    </a:lnTo>
                    <a:cubicBezTo>
                      <a:pt x="183360" y="346017"/>
                      <a:pt x="178234" y="313979"/>
                      <a:pt x="171826" y="280659"/>
                    </a:cubicBezTo>
                    <a:cubicBezTo>
                      <a:pt x="187205" y="270406"/>
                      <a:pt x="175671" y="256309"/>
                      <a:pt x="169263" y="255028"/>
                    </a:cubicBezTo>
                    <a:cubicBezTo>
                      <a:pt x="157729" y="252464"/>
                      <a:pt x="151321" y="265280"/>
                      <a:pt x="156447" y="274251"/>
                    </a:cubicBezTo>
                    <a:cubicBezTo>
                      <a:pt x="159010" y="279377"/>
                      <a:pt x="164137" y="280659"/>
                      <a:pt x="166700" y="280659"/>
                    </a:cubicBezTo>
                    <a:cubicBezTo>
                      <a:pt x="173108" y="315260"/>
                      <a:pt x="178234" y="348581"/>
                      <a:pt x="183360" y="381901"/>
                    </a:cubicBezTo>
                    <a:lnTo>
                      <a:pt x="225651" y="412658"/>
                    </a:lnTo>
                    <a:cubicBezTo>
                      <a:pt x="226932" y="422910"/>
                      <a:pt x="228214" y="431881"/>
                      <a:pt x="229496" y="442133"/>
                    </a:cubicBezTo>
                    <a:lnTo>
                      <a:pt x="151321" y="385745"/>
                    </a:lnTo>
                    <a:cubicBezTo>
                      <a:pt x="148758" y="365241"/>
                      <a:pt x="144913" y="344736"/>
                      <a:pt x="141069" y="324231"/>
                    </a:cubicBezTo>
                    <a:cubicBezTo>
                      <a:pt x="156447" y="313979"/>
                      <a:pt x="144913" y="299882"/>
                      <a:pt x="138506" y="298600"/>
                    </a:cubicBezTo>
                    <a:cubicBezTo>
                      <a:pt x="126972" y="296037"/>
                      <a:pt x="119282" y="308852"/>
                      <a:pt x="124409" y="317823"/>
                    </a:cubicBezTo>
                    <a:cubicBezTo>
                      <a:pt x="126972" y="322950"/>
                      <a:pt x="132098" y="324231"/>
                      <a:pt x="134661" y="324231"/>
                    </a:cubicBezTo>
                    <a:cubicBezTo>
                      <a:pt x="137224" y="343454"/>
                      <a:pt x="141069" y="361396"/>
                      <a:pt x="143632" y="379338"/>
                    </a:cubicBezTo>
                    <a:lnTo>
                      <a:pt x="106467" y="353707"/>
                    </a:lnTo>
                    <a:cubicBezTo>
                      <a:pt x="88525" y="246057"/>
                      <a:pt x="66739" y="135844"/>
                      <a:pt x="41108" y="25631"/>
                    </a:cubicBezTo>
                    <a:cubicBezTo>
                      <a:pt x="56487" y="15379"/>
                      <a:pt x="43671" y="1282"/>
                      <a:pt x="37263" y="0"/>
                    </a:cubicBezTo>
                    <a:cubicBezTo>
                      <a:pt x="35982" y="0"/>
                      <a:pt x="33419" y="0"/>
                      <a:pt x="32137" y="0"/>
                    </a:cubicBezTo>
                    <a:cubicBezTo>
                      <a:pt x="15477" y="7689"/>
                      <a:pt x="24448" y="23068"/>
                      <a:pt x="30855" y="25631"/>
                    </a:cubicBezTo>
                    <a:cubicBezTo>
                      <a:pt x="32137" y="25631"/>
                      <a:pt x="33419" y="26912"/>
                      <a:pt x="34700" y="26912"/>
                    </a:cubicBezTo>
                    <a:cubicBezTo>
                      <a:pt x="60331" y="138407"/>
                      <a:pt x="82118" y="248620"/>
                      <a:pt x="100059" y="357551"/>
                    </a:cubicBezTo>
                    <a:lnTo>
                      <a:pt x="143632" y="388308"/>
                    </a:lnTo>
                    <a:cubicBezTo>
                      <a:pt x="147476" y="410095"/>
                      <a:pt x="150040" y="433163"/>
                      <a:pt x="153884" y="454949"/>
                    </a:cubicBezTo>
                    <a:lnTo>
                      <a:pt x="73147" y="399842"/>
                    </a:lnTo>
                    <a:cubicBezTo>
                      <a:pt x="57768" y="305008"/>
                      <a:pt x="38545" y="207610"/>
                      <a:pt x="18040" y="111495"/>
                    </a:cubicBezTo>
                    <a:cubicBezTo>
                      <a:pt x="33419" y="101242"/>
                      <a:pt x="20603" y="87145"/>
                      <a:pt x="14195" y="85864"/>
                    </a:cubicBezTo>
                    <a:cubicBezTo>
                      <a:pt x="6506" y="85864"/>
                      <a:pt x="-3746" y="94834"/>
                      <a:pt x="1380" y="10636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79" name="Freeform: Shape 380021">
                <a:extLst>
                  <a:ext uri="{FF2B5EF4-FFF2-40B4-BE49-F238E27FC236}">
                    <a16:creationId xmlns:a16="http://schemas.microsoft.com/office/drawing/2014/main" id="{9BA9F2C3-447C-4891-925E-9410FD5F9D89}"/>
                  </a:ext>
                </a:extLst>
              </p:cNvPr>
              <p:cNvSpPr/>
              <p:nvPr/>
            </p:nvSpPr>
            <p:spPr>
              <a:xfrm>
                <a:off x="6351330" y="3164001"/>
                <a:ext cx="138834" cy="420834"/>
              </a:xfrm>
              <a:custGeom>
                <a:avLst/>
                <a:gdLst>
                  <a:gd name="connsiteX0" fmla="*/ 980 w 138834"/>
                  <a:gd name="connsiteY0" fmla="*/ 337046 h 420834"/>
                  <a:gd name="connsiteX1" fmla="*/ 25329 w 138834"/>
                  <a:gd name="connsiteY1" fmla="*/ 337046 h 420834"/>
                  <a:gd name="connsiteX2" fmla="*/ 22766 w 138834"/>
                  <a:gd name="connsiteY2" fmla="*/ 322950 h 420834"/>
                  <a:gd name="connsiteX3" fmla="*/ 74028 w 138834"/>
                  <a:gd name="connsiteY3" fmla="*/ 246057 h 420834"/>
                  <a:gd name="connsiteX4" fmla="*/ 80436 w 138834"/>
                  <a:gd name="connsiteY4" fmla="*/ 276814 h 420834"/>
                  <a:gd name="connsiteX5" fmla="*/ 26611 w 138834"/>
                  <a:gd name="connsiteY5" fmla="*/ 357551 h 420834"/>
                  <a:gd name="connsiteX6" fmla="*/ 9951 w 138834"/>
                  <a:gd name="connsiteY6" fmla="*/ 375493 h 420834"/>
                  <a:gd name="connsiteX7" fmla="*/ 34300 w 138834"/>
                  <a:gd name="connsiteY7" fmla="*/ 375493 h 420834"/>
                  <a:gd name="connsiteX8" fmla="*/ 31737 w 138834"/>
                  <a:gd name="connsiteY8" fmla="*/ 361396 h 420834"/>
                  <a:gd name="connsiteX9" fmla="*/ 86843 w 138834"/>
                  <a:gd name="connsiteY9" fmla="*/ 278095 h 420834"/>
                  <a:gd name="connsiteX10" fmla="*/ 77873 w 138834"/>
                  <a:gd name="connsiteY10" fmla="*/ 239649 h 420834"/>
                  <a:gd name="connsiteX11" fmla="*/ 103504 w 138834"/>
                  <a:gd name="connsiteY11" fmla="*/ 199921 h 420834"/>
                  <a:gd name="connsiteX12" fmla="*/ 111193 w 138834"/>
                  <a:gd name="connsiteY12" fmla="*/ 231960 h 420834"/>
                  <a:gd name="connsiteX13" fmla="*/ 120164 w 138834"/>
                  <a:gd name="connsiteY13" fmla="*/ 267843 h 420834"/>
                  <a:gd name="connsiteX14" fmla="*/ 35582 w 138834"/>
                  <a:gd name="connsiteY14" fmla="*/ 394716 h 420834"/>
                  <a:gd name="connsiteX15" fmla="*/ 18921 w 138834"/>
                  <a:gd name="connsiteY15" fmla="*/ 412658 h 420834"/>
                  <a:gd name="connsiteX16" fmla="*/ 43271 w 138834"/>
                  <a:gd name="connsiteY16" fmla="*/ 412658 h 420834"/>
                  <a:gd name="connsiteX17" fmla="*/ 40708 w 138834"/>
                  <a:gd name="connsiteY17" fmla="*/ 398561 h 420834"/>
                  <a:gd name="connsiteX18" fmla="*/ 126572 w 138834"/>
                  <a:gd name="connsiteY18" fmla="*/ 269125 h 420834"/>
                  <a:gd name="connsiteX19" fmla="*/ 117601 w 138834"/>
                  <a:gd name="connsiteY19" fmla="*/ 230678 h 420834"/>
                  <a:gd name="connsiteX20" fmla="*/ 108630 w 138834"/>
                  <a:gd name="connsiteY20" fmla="*/ 193513 h 420834"/>
                  <a:gd name="connsiteX21" fmla="*/ 138106 w 138834"/>
                  <a:gd name="connsiteY21" fmla="*/ 147378 h 420834"/>
                  <a:gd name="connsiteX22" fmla="*/ 131698 w 138834"/>
                  <a:gd name="connsiteY22" fmla="*/ 121747 h 420834"/>
                  <a:gd name="connsiteX23" fmla="*/ 127853 w 138834"/>
                  <a:gd name="connsiteY23" fmla="*/ 96116 h 420834"/>
                  <a:gd name="connsiteX24" fmla="*/ 115038 w 138834"/>
                  <a:gd name="connsiteY24" fmla="*/ 115339 h 420834"/>
                  <a:gd name="connsiteX25" fmla="*/ 126572 w 138834"/>
                  <a:gd name="connsiteY25" fmla="*/ 121747 h 420834"/>
                  <a:gd name="connsiteX26" fmla="*/ 132979 w 138834"/>
                  <a:gd name="connsiteY26" fmla="*/ 144815 h 420834"/>
                  <a:gd name="connsiteX27" fmla="*/ 107349 w 138834"/>
                  <a:gd name="connsiteY27" fmla="*/ 183261 h 420834"/>
                  <a:gd name="connsiteX28" fmla="*/ 84281 w 138834"/>
                  <a:gd name="connsiteY28" fmla="*/ 89708 h 420834"/>
                  <a:gd name="connsiteX29" fmla="*/ 80436 w 138834"/>
                  <a:gd name="connsiteY29" fmla="*/ 65359 h 420834"/>
                  <a:gd name="connsiteX30" fmla="*/ 67620 w 138834"/>
                  <a:gd name="connsiteY30" fmla="*/ 84582 h 420834"/>
                  <a:gd name="connsiteX31" fmla="*/ 79154 w 138834"/>
                  <a:gd name="connsiteY31" fmla="*/ 90990 h 420834"/>
                  <a:gd name="connsiteX32" fmla="*/ 103504 w 138834"/>
                  <a:gd name="connsiteY32" fmla="*/ 189669 h 420834"/>
                  <a:gd name="connsiteX33" fmla="*/ 77873 w 138834"/>
                  <a:gd name="connsiteY33" fmla="*/ 229397 h 420834"/>
                  <a:gd name="connsiteX34" fmla="*/ 25329 w 138834"/>
                  <a:gd name="connsiteY34" fmla="*/ 24349 h 420834"/>
                  <a:gd name="connsiteX35" fmla="*/ 21484 w 138834"/>
                  <a:gd name="connsiteY35" fmla="*/ 0 h 420834"/>
                  <a:gd name="connsiteX36" fmla="*/ 16358 w 138834"/>
                  <a:gd name="connsiteY36" fmla="*/ 0 h 420834"/>
                  <a:gd name="connsiteX37" fmla="*/ 13795 w 138834"/>
                  <a:gd name="connsiteY37" fmla="*/ 24349 h 420834"/>
                  <a:gd name="connsiteX38" fmla="*/ 20203 w 138834"/>
                  <a:gd name="connsiteY38" fmla="*/ 25631 h 420834"/>
                  <a:gd name="connsiteX39" fmla="*/ 74028 w 138834"/>
                  <a:gd name="connsiteY39" fmla="*/ 235804 h 420834"/>
                  <a:gd name="connsiteX40" fmla="*/ 20203 w 138834"/>
                  <a:gd name="connsiteY40" fmla="*/ 316542 h 420834"/>
                  <a:gd name="connsiteX41" fmla="*/ 980 w 138834"/>
                  <a:gd name="connsiteY41" fmla="*/ 337046 h 420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8834" h="420834">
                    <a:moveTo>
                      <a:pt x="980" y="337046"/>
                    </a:moveTo>
                    <a:cubicBezTo>
                      <a:pt x="6106" y="348580"/>
                      <a:pt x="21484" y="348580"/>
                      <a:pt x="25329" y="337046"/>
                    </a:cubicBezTo>
                    <a:cubicBezTo>
                      <a:pt x="27892" y="329357"/>
                      <a:pt x="24048" y="324231"/>
                      <a:pt x="22766" y="322950"/>
                    </a:cubicBezTo>
                    <a:lnTo>
                      <a:pt x="74028" y="246057"/>
                    </a:lnTo>
                    <a:cubicBezTo>
                      <a:pt x="76591" y="256309"/>
                      <a:pt x="79154" y="266561"/>
                      <a:pt x="80436" y="276814"/>
                    </a:cubicBezTo>
                    <a:cubicBezTo>
                      <a:pt x="63776" y="301163"/>
                      <a:pt x="41989" y="333202"/>
                      <a:pt x="26611" y="357551"/>
                    </a:cubicBezTo>
                    <a:cubicBezTo>
                      <a:pt x="12514" y="353707"/>
                      <a:pt x="4824" y="366522"/>
                      <a:pt x="9951" y="375493"/>
                    </a:cubicBezTo>
                    <a:cubicBezTo>
                      <a:pt x="15077" y="387027"/>
                      <a:pt x="30455" y="387027"/>
                      <a:pt x="34300" y="375493"/>
                    </a:cubicBezTo>
                    <a:cubicBezTo>
                      <a:pt x="36863" y="367804"/>
                      <a:pt x="33018" y="362677"/>
                      <a:pt x="31737" y="361396"/>
                    </a:cubicBezTo>
                    <a:lnTo>
                      <a:pt x="86843" y="278095"/>
                    </a:lnTo>
                    <a:cubicBezTo>
                      <a:pt x="84281" y="265280"/>
                      <a:pt x="80436" y="252464"/>
                      <a:pt x="77873" y="239649"/>
                    </a:cubicBezTo>
                    <a:lnTo>
                      <a:pt x="103504" y="199921"/>
                    </a:lnTo>
                    <a:cubicBezTo>
                      <a:pt x="106067" y="210174"/>
                      <a:pt x="108630" y="221707"/>
                      <a:pt x="111193" y="231960"/>
                    </a:cubicBezTo>
                    <a:cubicBezTo>
                      <a:pt x="113756" y="243494"/>
                      <a:pt x="116319" y="256309"/>
                      <a:pt x="120164" y="267843"/>
                    </a:cubicBezTo>
                    <a:cubicBezTo>
                      <a:pt x="94533" y="306289"/>
                      <a:pt x="61213" y="356270"/>
                      <a:pt x="35582" y="394716"/>
                    </a:cubicBezTo>
                    <a:cubicBezTo>
                      <a:pt x="21484" y="390871"/>
                      <a:pt x="15077" y="403687"/>
                      <a:pt x="18921" y="412658"/>
                    </a:cubicBezTo>
                    <a:cubicBezTo>
                      <a:pt x="24048" y="424192"/>
                      <a:pt x="39426" y="422910"/>
                      <a:pt x="43271" y="412658"/>
                    </a:cubicBezTo>
                    <a:cubicBezTo>
                      <a:pt x="45834" y="404968"/>
                      <a:pt x="41989" y="399842"/>
                      <a:pt x="40708" y="398561"/>
                    </a:cubicBezTo>
                    <a:cubicBezTo>
                      <a:pt x="66339" y="360114"/>
                      <a:pt x="100940" y="308852"/>
                      <a:pt x="126572" y="269125"/>
                    </a:cubicBezTo>
                    <a:cubicBezTo>
                      <a:pt x="124008" y="256309"/>
                      <a:pt x="120164" y="243494"/>
                      <a:pt x="117601" y="230678"/>
                    </a:cubicBezTo>
                    <a:cubicBezTo>
                      <a:pt x="115038" y="217863"/>
                      <a:pt x="111193" y="205047"/>
                      <a:pt x="108630" y="193513"/>
                    </a:cubicBezTo>
                    <a:lnTo>
                      <a:pt x="138106" y="147378"/>
                    </a:lnTo>
                    <a:cubicBezTo>
                      <a:pt x="135542" y="138407"/>
                      <a:pt x="134261" y="129436"/>
                      <a:pt x="131698" y="121747"/>
                    </a:cubicBezTo>
                    <a:cubicBezTo>
                      <a:pt x="144513" y="114058"/>
                      <a:pt x="138106" y="98679"/>
                      <a:pt x="127853" y="96116"/>
                    </a:cubicBezTo>
                    <a:cubicBezTo>
                      <a:pt x="116319" y="93553"/>
                      <a:pt x="108630" y="106368"/>
                      <a:pt x="115038" y="115339"/>
                    </a:cubicBezTo>
                    <a:cubicBezTo>
                      <a:pt x="118882" y="120465"/>
                      <a:pt x="124008" y="121747"/>
                      <a:pt x="126572" y="121747"/>
                    </a:cubicBezTo>
                    <a:cubicBezTo>
                      <a:pt x="129135" y="129436"/>
                      <a:pt x="130416" y="137125"/>
                      <a:pt x="132979" y="144815"/>
                    </a:cubicBezTo>
                    <a:lnTo>
                      <a:pt x="107349" y="183261"/>
                    </a:lnTo>
                    <a:cubicBezTo>
                      <a:pt x="99659" y="151222"/>
                      <a:pt x="91970" y="120465"/>
                      <a:pt x="84281" y="89708"/>
                    </a:cubicBezTo>
                    <a:cubicBezTo>
                      <a:pt x="97096" y="82019"/>
                      <a:pt x="90688" y="66640"/>
                      <a:pt x="80436" y="65359"/>
                    </a:cubicBezTo>
                    <a:cubicBezTo>
                      <a:pt x="68902" y="62796"/>
                      <a:pt x="61213" y="75611"/>
                      <a:pt x="67620" y="84582"/>
                    </a:cubicBezTo>
                    <a:cubicBezTo>
                      <a:pt x="71465" y="89708"/>
                      <a:pt x="76591" y="90990"/>
                      <a:pt x="79154" y="90990"/>
                    </a:cubicBezTo>
                    <a:cubicBezTo>
                      <a:pt x="88125" y="123028"/>
                      <a:pt x="95815" y="156349"/>
                      <a:pt x="103504" y="189669"/>
                    </a:cubicBezTo>
                    <a:lnTo>
                      <a:pt x="77873" y="229397"/>
                    </a:lnTo>
                    <a:cubicBezTo>
                      <a:pt x="61213" y="158912"/>
                      <a:pt x="44552" y="90990"/>
                      <a:pt x="25329" y="24349"/>
                    </a:cubicBezTo>
                    <a:cubicBezTo>
                      <a:pt x="38145" y="16660"/>
                      <a:pt x="31737" y="2563"/>
                      <a:pt x="21484" y="0"/>
                    </a:cubicBezTo>
                    <a:cubicBezTo>
                      <a:pt x="20203" y="0"/>
                      <a:pt x="17640" y="0"/>
                      <a:pt x="16358" y="0"/>
                    </a:cubicBezTo>
                    <a:cubicBezTo>
                      <a:pt x="2261" y="3845"/>
                      <a:pt x="6106" y="19223"/>
                      <a:pt x="13795" y="24349"/>
                    </a:cubicBezTo>
                    <a:cubicBezTo>
                      <a:pt x="16358" y="25631"/>
                      <a:pt x="18921" y="25631"/>
                      <a:pt x="20203" y="25631"/>
                    </a:cubicBezTo>
                    <a:cubicBezTo>
                      <a:pt x="39426" y="93553"/>
                      <a:pt x="56086" y="164038"/>
                      <a:pt x="74028" y="235804"/>
                    </a:cubicBezTo>
                    <a:cubicBezTo>
                      <a:pt x="57368" y="260154"/>
                      <a:pt x="36863" y="292192"/>
                      <a:pt x="20203" y="316542"/>
                    </a:cubicBezTo>
                    <a:cubicBezTo>
                      <a:pt x="4824" y="315260"/>
                      <a:pt x="-2865" y="328076"/>
                      <a:pt x="980" y="33704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0" name="Freeform: Shape 380022">
                <a:extLst>
                  <a:ext uri="{FF2B5EF4-FFF2-40B4-BE49-F238E27FC236}">
                    <a16:creationId xmlns:a16="http://schemas.microsoft.com/office/drawing/2014/main" id="{D9AD438B-329C-4F68-ADC4-366C8F8A2F82}"/>
                  </a:ext>
                </a:extLst>
              </p:cNvPr>
              <p:cNvSpPr/>
              <p:nvPr/>
            </p:nvSpPr>
            <p:spPr>
              <a:xfrm>
                <a:off x="6235200" y="3299845"/>
                <a:ext cx="144358" cy="639823"/>
              </a:xfrm>
              <a:custGeom>
                <a:avLst/>
                <a:gdLst>
                  <a:gd name="connsiteX0" fmla="*/ 22274 w 144358"/>
                  <a:gd name="connsiteY0" fmla="*/ 340891 h 639823"/>
                  <a:gd name="connsiteX1" fmla="*/ 46624 w 144358"/>
                  <a:gd name="connsiteY1" fmla="*/ 340891 h 639823"/>
                  <a:gd name="connsiteX2" fmla="*/ 33808 w 144358"/>
                  <a:gd name="connsiteY2" fmla="*/ 322949 h 639823"/>
                  <a:gd name="connsiteX3" fmla="*/ 12022 w 144358"/>
                  <a:gd name="connsiteY3" fmla="*/ 222989 h 639823"/>
                  <a:gd name="connsiteX4" fmla="*/ 38935 w 144358"/>
                  <a:gd name="connsiteY4" fmla="*/ 183261 h 639823"/>
                  <a:gd name="connsiteX5" fmla="*/ 51750 w 144358"/>
                  <a:gd name="connsiteY5" fmla="*/ 239649 h 639823"/>
                  <a:gd name="connsiteX6" fmla="*/ 56876 w 144358"/>
                  <a:gd name="connsiteY6" fmla="*/ 265280 h 639823"/>
                  <a:gd name="connsiteX7" fmla="*/ 59439 w 144358"/>
                  <a:gd name="connsiteY7" fmla="*/ 278095 h 639823"/>
                  <a:gd name="connsiteX8" fmla="*/ 64566 w 144358"/>
                  <a:gd name="connsiteY8" fmla="*/ 303726 h 639823"/>
                  <a:gd name="connsiteX9" fmla="*/ 69692 w 144358"/>
                  <a:gd name="connsiteY9" fmla="*/ 329357 h 639823"/>
                  <a:gd name="connsiteX10" fmla="*/ 126080 w 144358"/>
                  <a:gd name="connsiteY10" fmla="*/ 615142 h 639823"/>
                  <a:gd name="connsiteX11" fmla="*/ 128643 w 144358"/>
                  <a:gd name="connsiteY11" fmla="*/ 639491 h 639823"/>
                  <a:gd name="connsiteX12" fmla="*/ 142740 w 144358"/>
                  <a:gd name="connsiteY12" fmla="*/ 620268 h 639823"/>
                  <a:gd name="connsiteX13" fmla="*/ 132488 w 144358"/>
                  <a:gd name="connsiteY13" fmla="*/ 613860 h 639823"/>
                  <a:gd name="connsiteX14" fmla="*/ 77381 w 144358"/>
                  <a:gd name="connsiteY14" fmla="*/ 326794 h 639823"/>
                  <a:gd name="connsiteX15" fmla="*/ 72255 w 144358"/>
                  <a:gd name="connsiteY15" fmla="*/ 301163 h 639823"/>
                  <a:gd name="connsiteX16" fmla="*/ 67129 w 144358"/>
                  <a:gd name="connsiteY16" fmla="*/ 275532 h 639823"/>
                  <a:gd name="connsiteX17" fmla="*/ 64566 w 144358"/>
                  <a:gd name="connsiteY17" fmla="*/ 262717 h 639823"/>
                  <a:gd name="connsiteX18" fmla="*/ 59439 w 144358"/>
                  <a:gd name="connsiteY18" fmla="*/ 237086 h 639823"/>
                  <a:gd name="connsiteX19" fmla="*/ 45342 w 144358"/>
                  <a:gd name="connsiteY19" fmla="*/ 174290 h 639823"/>
                  <a:gd name="connsiteX20" fmla="*/ 76100 w 144358"/>
                  <a:gd name="connsiteY20" fmla="*/ 126873 h 639823"/>
                  <a:gd name="connsiteX21" fmla="*/ 76100 w 144358"/>
                  <a:gd name="connsiteY21" fmla="*/ 126873 h 639823"/>
                  <a:gd name="connsiteX22" fmla="*/ 51750 w 144358"/>
                  <a:gd name="connsiteY22" fmla="*/ 25631 h 639823"/>
                  <a:gd name="connsiteX23" fmla="*/ 47905 w 144358"/>
                  <a:gd name="connsiteY23" fmla="*/ 0 h 639823"/>
                  <a:gd name="connsiteX24" fmla="*/ 42779 w 144358"/>
                  <a:gd name="connsiteY24" fmla="*/ 0 h 639823"/>
                  <a:gd name="connsiteX25" fmla="*/ 41498 w 144358"/>
                  <a:gd name="connsiteY25" fmla="*/ 25631 h 639823"/>
                  <a:gd name="connsiteX26" fmla="*/ 45342 w 144358"/>
                  <a:gd name="connsiteY26" fmla="*/ 26912 h 639823"/>
                  <a:gd name="connsiteX27" fmla="*/ 69692 w 144358"/>
                  <a:gd name="connsiteY27" fmla="*/ 126873 h 639823"/>
                  <a:gd name="connsiteX28" fmla="*/ 42779 w 144358"/>
                  <a:gd name="connsiteY28" fmla="*/ 166601 h 639823"/>
                  <a:gd name="connsiteX29" fmla="*/ 35090 w 144358"/>
                  <a:gd name="connsiteY29" fmla="*/ 135844 h 639823"/>
                  <a:gd name="connsiteX30" fmla="*/ 19712 w 144358"/>
                  <a:gd name="connsiteY30" fmla="*/ 71766 h 639823"/>
                  <a:gd name="connsiteX31" fmla="*/ 15867 w 144358"/>
                  <a:gd name="connsiteY31" fmla="*/ 46136 h 639823"/>
                  <a:gd name="connsiteX32" fmla="*/ 1769 w 144358"/>
                  <a:gd name="connsiteY32" fmla="*/ 66640 h 639823"/>
                  <a:gd name="connsiteX33" fmla="*/ 13303 w 144358"/>
                  <a:gd name="connsiteY33" fmla="*/ 73048 h 639823"/>
                  <a:gd name="connsiteX34" fmla="*/ 28682 w 144358"/>
                  <a:gd name="connsiteY34" fmla="*/ 137125 h 639823"/>
                  <a:gd name="connsiteX35" fmla="*/ 37653 w 144358"/>
                  <a:gd name="connsiteY35" fmla="*/ 173009 h 639823"/>
                  <a:gd name="connsiteX36" fmla="*/ 5614 w 144358"/>
                  <a:gd name="connsiteY36" fmla="*/ 220426 h 639823"/>
                  <a:gd name="connsiteX37" fmla="*/ 28682 w 144358"/>
                  <a:gd name="connsiteY37" fmla="*/ 322949 h 639823"/>
                  <a:gd name="connsiteX38" fmla="*/ 22274 w 144358"/>
                  <a:gd name="connsiteY38" fmla="*/ 340891 h 63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44358" h="639823">
                    <a:moveTo>
                      <a:pt x="22274" y="340891"/>
                    </a:moveTo>
                    <a:cubicBezTo>
                      <a:pt x="27401" y="352425"/>
                      <a:pt x="42779" y="351143"/>
                      <a:pt x="46624" y="340891"/>
                    </a:cubicBezTo>
                    <a:cubicBezTo>
                      <a:pt x="49187" y="335765"/>
                      <a:pt x="47905" y="324231"/>
                      <a:pt x="33808" y="322949"/>
                    </a:cubicBezTo>
                    <a:cubicBezTo>
                      <a:pt x="26119" y="289629"/>
                      <a:pt x="19712" y="256309"/>
                      <a:pt x="12022" y="222989"/>
                    </a:cubicBezTo>
                    <a:lnTo>
                      <a:pt x="38935" y="183261"/>
                    </a:lnTo>
                    <a:cubicBezTo>
                      <a:pt x="42779" y="202484"/>
                      <a:pt x="47905" y="221707"/>
                      <a:pt x="51750" y="239649"/>
                    </a:cubicBezTo>
                    <a:cubicBezTo>
                      <a:pt x="38935" y="248620"/>
                      <a:pt x="42779" y="262717"/>
                      <a:pt x="56876" y="265280"/>
                    </a:cubicBezTo>
                    <a:cubicBezTo>
                      <a:pt x="58158" y="269124"/>
                      <a:pt x="58158" y="272969"/>
                      <a:pt x="59439" y="278095"/>
                    </a:cubicBezTo>
                    <a:cubicBezTo>
                      <a:pt x="46624" y="287066"/>
                      <a:pt x="50468" y="301163"/>
                      <a:pt x="64566" y="303726"/>
                    </a:cubicBezTo>
                    <a:cubicBezTo>
                      <a:pt x="65847" y="312697"/>
                      <a:pt x="68410" y="320386"/>
                      <a:pt x="69692" y="329357"/>
                    </a:cubicBezTo>
                    <a:cubicBezTo>
                      <a:pt x="90197" y="426755"/>
                      <a:pt x="108138" y="521589"/>
                      <a:pt x="126080" y="615142"/>
                    </a:cubicBezTo>
                    <a:cubicBezTo>
                      <a:pt x="110701" y="625394"/>
                      <a:pt x="122235" y="638210"/>
                      <a:pt x="128643" y="639491"/>
                    </a:cubicBezTo>
                    <a:cubicBezTo>
                      <a:pt x="140177" y="642054"/>
                      <a:pt x="147867" y="629239"/>
                      <a:pt x="142740" y="620268"/>
                    </a:cubicBezTo>
                    <a:cubicBezTo>
                      <a:pt x="140177" y="615142"/>
                      <a:pt x="135051" y="615142"/>
                      <a:pt x="132488" y="613860"/>
                    </a:cubicBezTo>
                    <a:cubicBezTo>
                      <a:pt x="115828" y="520307"/>
                      <a:pt x="97886" y="424191"/>
                      <a:pt x="77381" y="326794"/>
                    </a:cubicBezTo>
                    <a:cubicBezTo>
                      <a:pt x="76100" y="317823"/>
                      <a:pt x="73536" y="310134"/>
                      <a:pt x="72255" y="301163"/>
                    </a:cubicBezTo>
                    <a:cubicBezTo>
                      <a:pt x="85070" y="292192"/>
                      <a:pt x="81226" y="278095"/>
                      <a:pt x="67129" y="275532"/>
                    </a:cubicBezTo>
                    <a:cubicBezTo>
                      <a:pt x="65847" y="271688"/>
                      <a:pt x="65847" y="267843"/>
                      <a:pt x="64566" y="262717"/>
                    </a:cubicBezTo>
                    <a:cubicBezTo>
                      <a:pt x="77381" y="253746"/>
                      <a:pt x="73536" y="239649"/>
                      <a:pt x="59439" y="237086"/>
                    </a:cubicBezTo>
                    <a:cubicBezTo>
                      <a:pt x="54313" y="216581"/>
                      <a:pt x="50468" y="196076"/>
                      <a:pt x="45342" y="174290"/>
                    </a:cubicBezTo>
                    <a:lnTo>
                      <a:pt x="76100" y="126873"/>
                    </a:lnTo>
                    <a:cubicBezTo>
                      <a:pt x="76100" y="126873"/>
                      <a:pt x="76100" y="126873"/>
                      <a:pt x="76100" y="126873"/>
                    </a:cubicBezTo>
                    <a:cubicBezTo>
                      <a:pt x="68410" y="92271"/>
                      <a:pt x="59439" y="58951"/>
                      <a:pt x="51750" y="25631"/>
                    </a:cubicBezTo>
                    <a:cubicBezTo>
                      <a:pt x="67129" y="15379"/>
                      <a:pt x="54313" y="1281"/>
                      <a:pt x="47905" y="0"/>
                    </a:cubicBezTo>
                    <a:cubicBezTo>
                      <a:pt x="46624" y="0"/>
                      <a:pt x="44061" y="0"/>
                      <a:pt x="42779" y="0"/>
                    </a:cubicBezTo>
                    <a:cubicBezTo>
                      <a:pt x="24837" y="7689"/>
                      <a:pt x="33808" y="23068"/>
                      <a:pt x="41498" y="25631"/>
                    </a:cubicBezTo>
                    <a:cubicBezTo>
                      <a:pt x="42779" y="25631"/>
                      <a:pt x="44061" y="25631"/>
                      <a:pt x="45342" y="26912"/>
                    </a:cubicBezTo>
                    <a:cubicBezTo>
                      <a:pt x="53032" y="60233"/>
                      <a:pt x="62002" y="93553"/>
                      <a:pt x="69692" y="126873"/>
                    </a:cubicBezTo>
                    <a:lnTo>
                      <a:pt x="42779" y="166601"/>
                    </a:lnTo>
                    <a:cubicBezTo>
                      <a:pt x="40216" y="156348"/>
                      <a:pt x="37653" y="146096"/>
                      <a:pt x="35090" y="135844"/>
                    </a:cubicBezTo>
                    <a:cubicBezTo>
                      <a:pt x="29964" y="114057"/>
                      <a:pt x="24837" y="93553"/>
                      <a:pt x="19712" y="71766"/>
                    </a:cubicBezTo>
                    <a:cubicBezTo>
                      <a:pt x="35090" y="60233"/>
                      <a:pt x="22274" y="47417"/>
                      <a:pt x="15867" y="46136"/>
                    </a:cubicBezTo>
                    <a:cubicBezTo>
                      <a:pt x="3051" y="43572"/>
                      <a:pt x="-3356" y="57670"/>
                      <a:pt x="1769" y="66640"/>
                    </a:cubicBezTo>
                    <a:cubicBezTo>
                      <a:pt x="4333" y="71766"/>
                      <a:pt x="10740" y="73048"/>
                      <a:pt x="13303" y="73048"/>
                    </a:cubicBezTo>
                    <a:cubicBezTo>
                      <a:pt x="18430" y="94834"/>
                      <a:pt x="23556" y="115339"/>
                      <a:pt x="28682" y="137125"/>
                    </a:cubicBezTo>
                    <a:cubicBezTo>
                      <a:pt x="31246" y="148659"/>
                      <a:pt x="33808" y="161475"/>
                      <a:pt x="37653" y="173009"/>
                    </a:cubicBezTo>
                    <a:lnTo>
                      <a:pt x="5614" y="220426"/>
                    </a:lnTo>
                    <a:cubicBezTo>
                      <a:pt x="13303" y="255028"/>
                      <a:pt x="20993" y="288348"/>
                      <a:pt x="28682" y="322949"/>
                    </a:cubicBezTo>
                    <a:cubicBezTo>
                      <a:pt x="19712" y="329357"/>
                      <a:pt x="19712" y="335765"/>
                      <a:pt x="22274" y="34089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881" name="Graphic 379285">
                <a:extLst>
                  <a:ext uri="{FF2B5EF4-FFF2-40B4-BE49-F238E27FC236}">
                    <a16:creationId xmlns:a16="http://schemas.microsoft.com/office/drawing/2014/main" id="{D973D960-FBCD-4D6F-9AA8-88935B4C1FE3}"/>
                  </a:ext>
                </a:extLst>
              </p:cNvPr>
              <p:cNvGrpSpPr/>
              <p:nvPr/>
            </p:nvGrpSpPr>
            <p:grpSpPr>
              <a:xfrm>
                <a:off x="6571628" y="3174253"/>
                <a:ext cx="188214" cy="485385"/>
                <a:chOff x="6571628" y="3174253"/>
                <a:chExt cx="188214" cy="485385"/>
              </a:xfrm>
              <a:grpFill/>
            </p:grpSpPr>
            <p:sp>
              <p:nvSpPr>
                <p:cNvPr id="973" name="Freeform: Shape 380024">
                  <a:extLst>
                    <a:ext uri="{FF2B5EF4-FFF2-40B4-BE49-F238E27FC236}">
                      <a16:creationId xmlns:a16="http://schemas.microsoft.com/office/drawing/2014/main" id="{09CA4F06-345E-4E1F-A031-B8A73757578D}"/>
                    </a:ext>
                  </a:extLst>
                </p:cNvPr>
                <p:cNvSpPr/>
                <p:nvPr/>
              </p:nvSpPr>
              <p:spPr>
                <a:xfrm>
                  <a:off x="6706017" y="3351107"/>
                  <a:ext cx="30757" cy="69203"/>
                </a:xfrm>
                <a:custGeom>
                  <a:avLst/>
                  <a:gdLst>
                    <a:gd name="connsiteX0" fmla="*/ 6408 w 30757"/>
                    <a:gd name="connsiteY0" fmla="*/ 69203 h 69203"/>
                    <a:gd name="connsiteX1" fmla="*/ 0 w 30757"/>
                    <a:gd name="connsiteY1" fmla="*/ 38446 h 69203"/>
                    <a:gd name="connsiteX2" fmla="*/ 24350 w 30757"/>
                    <a:gd name="connsiteY2" fmla="*/ 0 h 69203"/>
                    <a:gd name="connsiteX3" fmla="*/ 30757 w 30757"/>
                    <a:gd name="connsiteY3" fmla="*/ 30757 h 69203"/>
                    <a:gd name="connsiteX4" fmla="*/ 6408 w 30757"/>
                    <a:gd name="connsiteY4" fmla="*/ 69203 h 692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757" h="69203">
                      <a:moveTo>
                        <a:pt x="6408" y="69203"/>
                      </a:moveTo>
                      <a:cubicBezTo>
                        <a:pt x="3845" y="58951"/>
                        <a:pt x="2563" y="48699"/>
                        <a:pt x="0" y="38446"/>
                      </a:cubicBezTo>
                      <a:lnTo>
                        <a:pt x="24350" y="0"/>
                      </a:lnTo>
                      <a:cubicBezTo>
                        <a:pt x="26913" y="10252"/>
                        <a:pt x="29476" y="20505"/>
                        <a:pt x="30757" y="30757"/>
                      </a:cubicBezTo>
                      <a:lnTo>
                        <a:pt x="6408" y="69203"/>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74" name="Freeform: Shape 380025">
                  <a:extLst>
                    <a:ext uri="{FF2B5EF4-FFF2-40B4-BE49-F238E27FC236}">
                      <a16:creationId xmlns:a16="http://schemas.microsoft.com/office/drawing/2014/main" id="{D9026F5E-991F-40B4-A952-58C3A2BC4A31}"/>
                    </a:ext>
                  </a:extLst>
                </p:cNvPr>
                <p:cNvSpPr/>
                <p:nvPr/>
              </p:nvSpPr>
              <p:spPr>
                <a:xfrm>
                  <a:off x="6571628" y="3174253"/>
                  <a:ext cx="188214" cy="485385"/>
                </a:xfrm>
                <a:custGeom>
                  <a:avLst/>
                  <a:gdLst>
                    <a:gd name="connsiteX0" fmla="*/ 1108 w 188214"/>
                    <a:gd name="connsiteY0" fmla="*/ 401124 h 485385"/>
                    <a:gd name="connsiteX1" fmla="*/ 24176 w 188214"/>
                    <a:gd name="connsiteY1" fmla="*/ 401124 h 485385"/>
                    <a:gd name="connsiteX2" fmla="*/ 21613 w 188214"/>
                    <a:gd name="connsiteY2" fmla="*/ 387027 h 485385"/>
                    <a:gd name="connsiteX3" fmla="*/ 129263 w 188214"/>
                    <a:gd name="connsiteY3" fmla="*/ 221707 h 485385"/>
                    <a:gd name="connsiteX4" fmla="*/ 135671 w 188214"/>
                    <a:gd name="connsiteY4" fmla="*/ 252464 h 485385"/>
                    <a:gd name="connsiteX5" fmla="*/ 24176 w 188214"/>
                    <a:gd name="connsiteY5" fmla="*/ 421628 h 485385"/>
                    <a:gd name="connsiteX6" fmla="*/ 7516 w 188214"/>
                    <a:gd name="connsiteY6" fmla="*/ 439570 h 485385"/>
                    <a:gd name="connsiteX7" fmla="*/ 30584 w 188214"/>
                    <a:gd name="connsiteY7" fmla="*/ 439570 h 485385"/>
                    <a:gd name="connsiteX8" fmla="*/ 28021 w 188214"/>
                    <a:gd name="connsiteY8" fmla="*/ 425473 h 485385"/>
                    <a:gd name="connsiteX9" fmla="*/ 136952 w 188214"/>
                    <a:gd name="connsiteY9" fmla="*/ 260154 h 485385"/>
                    <a:gd name="connsiteX10" fmla="*/ 143360 w 188214"/>
                    <a:gd name="connsiteY10" fmla="*/ 290911 h 485385"/>
                    <a:gd name="connsiteX11" fmla="*/ 30584 w 188214"/>
                    <a:gd name="connsiteY11" fmla="*/ 460075 h 485385"/>
                    <a:gd name="connsiteX12" fmla="*/ 13924 w 188214"/>
                    <a:gd name="connsiteY12" fmla="*/ 476735 h 485385"/>
                    <a:gd name="connsiteX13" fmla="*/ 36991 w 188214"/>
                    <a:gd name="connsiteY13" fmla="*/ 476735 h 485385"/>
                    <a:gd name="connsiteX14" fmla="*/ 34428 w 188214"/>
                    <a:gd name="connsiteY14" fmla="*/ 462638 h 485385"/>
                    <a:gd name="connsiteX15" fmla="*/ 148486 w 188214"/>
                    <a:gd name="connsiteY15" fmla="*/ 292192 h 485385"/>
                    <a:gd name="connsiteX16" fmla="*/ 140797 w 188214"/>
                    <a:gd name="connsiteY16" fmla="*/ 253746 h 485385"/>
                    <a:gd name="connsiteX17" fmla="*/ 170273 w 188214"/>
                    <a:gd name="connsiteY17" fmla="*/ 208892 h 485385"/>
                    <a:gd name="connsiteX18" fmla="*/ 161302 w 188214"/>
                    <a:gd name="connsiteY18" fmla="*/ 170446 h 485385"/>
                    <a:gd name="connsiteX19" fmla="*/ 188214 w 188214"/>
                    <a:gd name="connsiteY19" fmla="*/ 125592 h 485385"/>
                    <a:gd name="connsiteX20" fmla="*/ 162583 w 188214"/>
                    <a:gd name="connsiteY20" fmla="*/ 24349 h 485385"/>
                    <a:gd name="connsiteX21" fmla="*/ 157457 w 188214"/>
                    <a:gd name="connsiteY21" fmla="*/ 0 h 485385"/>
                    <a:gd name="connsiteX22" fmla="*/ 152331 w 188214"/>
                    <a:gd name="connsiteY22" fmla="*/ 0 h 485385"/>
                    <a:gd name="connsiteX23" fmla="*/ 151049 w 188214"/>
                    <a:gd name="connsiteY23" fmla="*/ 24349 h 485385"/>
                    <a:gd name="connsiteX24" fmla="*/ 157457 w 188214"/>
                    <a:gd name="connsiteY24" fmla="*/ 26912 h 485385"/>
                    <a:gd name="connsiteX25" fmla="*/ 183088 w 188214"/>
                    <a:gd name="connsiteY25" fmla="*/ 125592 h 485385"/>
                    <a:gd name="connsiteX26" fmla="*/ 160020 w 188214"/>
                    <a:gd name="connsiteY26" fmla="*/ 164038 h 485385"/>
                    <a:gd name="connsiteX27" fmla="*/ 136952 w 188214"/>
                    <a:gd name="connsiteY27" fmla="*/ 70485 h 485385"/>
                    <a:gd name="connsiteX28" fmla="*/ 131826 w 188214"/>
                    <a:gd name="connsiteY28" fmla="*/ 46136 h 485385"/>
                    <a:gd name="connsiteX29" fmla="*/ 120292 w 188214"/>
                    <a:gd name="connsiteY29" fmla="*/ 65359 h 485385"/>
                    <a:gd name="connsiteX30" fmla="*/ 130545 w 188214"/>
                    <a:gd name="connsiteY30" fmla="*/ 71767 h 485385"/>
                    <a:gd name="connsiteX31" fmla="*/ 154894 w 188214"/>
                    <a:gd name="connsiteY31" fmla="*/ 171727 h 485385"/>
                    <a:gd name="connsiteX32" fmla="*/ 130545 w 188214"/>
                    <a:gd name="connsiteY32" fmla="*/ 210174 h 485385"/>
                    <a:gd name="connsiteX33" fmla="*/ 122855 w 188214"/>
                    <a:gd name="connsiteY33" fmla="*/ 179416 h 485385"/>
                    <a:gd name="connsiteX34" fmla="*/ 107477 w 188214"/>
                    <a:gd name="connsiteY34" fmla="*/ 115339 h 485385"/>
                    <a:gd name="connsiteX35" fmla="*/ 103632 w 188214"/>
                    <a:gd name="connsiteY35" fmla="*/ 89708 h 485385"/>
                    <a:gd name="connsiteX36" fmla="*/ 92098 w 188214"/>
                    <a:gd name="connsiteY36" fmla="*/ 108931 h 485385"/>
                    <a:gd name="connsiteX37" fmla="*/ 102350 w 188214"/>
                    <a:gd name="connsiteY37" fmla="*/ 115339 h 485385"/>
                    <a:gd name="connsiteX38" fmla="*/ 117729 w 188214"/>
                    <a:gd name="connsiteY38" fmla="*/ 179416 h 485385"/>
                    <a:gd name="connsiteX39" fmla="*/ 126700 w 188214"/>
                    <a:gd name="connsiteY39" fmla="*/ 215300 h 485385"/>
                    <a:gd name="connsiteX40" fmla="*/ 16487 w 188214"/>
                    <a:gd name="connsiteY40" fmla="*/ 384464 h 485385"/>
                    <a:gd name="connsiteX41" fmla="*/ 1108 w 188214"/>
                    <a:gd name="connsiteY41" fmla="*/ 401124 h 48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8214" h="485385">
                      <a:moveTo>
                        <a:pt x="1108" y="401124"/>
                      </a:moveTo>
                      <a:cubicBezTo>
                        <a:pt x="4953" y="412658"/>
                        <a:pt x="20331" y="412658"/>
                        <a:pt x="24176" y="401124"/>
                      </a:cubicBezTo>
                      <a:cubicBezTo>
                        <a:pt x="25457" y="395998"/>
                        <a:pt x="25457" y="392153"/>
                        <a:pt x="21613" y="387027"/>
                      </a:cubicBezTo>
                      <a:cubicBezTo>
                        <a:pt x="53652" y="338328"/>
                        <a:pt x="97224" y="271688"/>
                        <a:pt x="129263" y="221707"/>
                      </a:cubicBezTo>
                      <a:cubicBezTo>
                        <a:pt x="131826" y="231960"/>
                        <a:pt x="133108" y="242212"/>
                        <a:pt x="135671" y="252464"/>
                      </a:cubicBezTo>
                      <a:cubicBezTo>
                        <a:pt x="102350" y="303726"/>
                        <a:pt x="57496" y="371648"/>
                        <a:pt x="24176" y="421628"/>
                      </a:cubicBezTo>
                      <a:cubicBezTo>
                        <a:pt x="11360" y="417784"/>
                        <a:pt x="3671" y="429318"/>
                        <a:pt x="7516" y="439570"/>
                      </a:cubicBezTo>
                      <a:cubicBezTo>
                        <a:pt x="11360" y="451104"/>
                        <a:pt x="26739" y="451104"/>
                        <a:pt x="30584" y="439570"/>
                      </a:cubicBezTo>
                      <a:cubicBezTo>
                        <a:pt x="31865" y="434444"/>
                        <a:pt x="31865" y="430599"/>
                        <a:pt x="28021" y="425473"/>
                      </a:cubicBezTo>
                      <a:cubicBezTo>
                        <a:pt x="61341" y="376774"/>
                        <a:pt x="104913" y="310134"/>
                        <a:pt x="136952" y="260154"/>
                      </a:cubicBezTo>
                      <a:cubicBezTo>
                        <a:pt x="139515" y="270406"/>
                        <a:pt x="140797" y="280659"/>
                        <a:pt x="143360" y="290911"/>
                      </a:cubicBezTo>
                      <a:cubicBezTo>
                        <a:pt x="110040" y="342173"/>
                        <a:pt x="65186" y="410095"/>
                        <a:pt x="30584" y="460075"/>
                      </a:cubicBezTo>
                      <a:cubicBezTo>
                        <a:pt x="17768" y="456230"/>
                        <a:pt x="10079" y="467764"/>
                        <a:pt x="13924" y="476735"/>
                      </a:cubicBezTo>
                      <a:cubicBezTo>
                        <a:pt x="17768" y="488269"/>
                        <a:pt x="33147" y="488269"/>
                        <a:pt x="36991" y="476735"/>
                      </a:cubicBezTo>
                      <a:cubicBezTo>
                        <a:pt x="38273" y="472890"/>
                        <a:pt x="39555" y="467764"/>
                        <a:pt x="34428" y="462638"/>
                      </a:cubicBezTo>
                      <a:cubicBezTo>
                        <a:pt x="69030" y="411376"/>
                        <a:pt x="115166" y="343454"/>
                        <a:pt x="148486" y="292192"/>
                      </a:cubicBezTo>
                      <a:cubicBezTo>
                        <a:pt x="145923" y="279377"/>
                        <a:pt x="143360" y="266561"/>
                        <a:pt x="140797" y="253746"/>
                      </a:cubicBezTo>
                      <a:lnTo>
                        <a:pt x="170273" y="208892"/>
                      </a:lnTo>
                      <a:cubicBezTo>
                        <a:pt x="167710" y="196076"/>
                        <a:pt x="163865" y="183261"/>
                        <a:pt x="161302" y="170446"/>
                      </a:cubicBezTo>
                      <a:lnTo>
                        <a:pt x="188214" y="125592"/>
                      </a:lnTo>
                      <a:cubicBezTo>
                        <a:pt x="179244" y="90990"/>
                        <a:pt x="171554" y="57670"/>
                        <a:pt x="162583" y="24349"/>
                      </a:cubicBezTo>
                      <a:cubicBezTo>
                        <a:pt x="175399" y="15379"/>
                        <a:pt x="165146" y="1282"/>
                        <a:pt x="157457" y="0"/>
                      </a:cubicBezTo>
                      <a:cubicBezTo>
                        <a:pt x="156176" y="0"/>
                        <a:pt x="153613" y="0"/>
                        <a:pt x="152331" y="0"/>
                      </a:cubicBezTo>
                      <a:cubicBezTo>
                        <a:pt x="139515" y="3845"/>
                        <a:pt x="143360" y="19223"/>
                        <a:pt x="151049" y="24349"/>
                      </a:cubicBezTo>
                      <a:cubicBezTo>
                        <a:pt x="152331" y="25631"/>
                        <a:pt x="154894" y="25631"/>
                        <a:pt x="157457" y="26912"/>
                      </a:cubicBezTo>
                      <a:cubicBezTo>
                        <a:pt x="166428" y="58951"/>
                        <a:pt x="175399" y="92271"/>
                        <a:pt x="183088" y="125592"/>
                      </a:cubicBezTo>
                      <a:lnTo>
                        <a:pt x="160020" y="164038"/>
                      </a:lnTo>
                      <a:cubicBezTo>
                        <a:pt x="152331" y="131999"/>
                        <a:pt x="144642" y="101242"/>
                        <a:pt x="136952" y="70485"/>
                      </a:cubicBezTo>
                      <a:cubicBezTo>
                        <a:pt x="149768" y="61514"/>
                        <a:pt x="139515" y="47417"/>
                        <a:pt x="131826" y="46136"/>
                      </a:cubicBezTo>
                      <a:cubicBezTo>
                        <a:pt x="121574" y="43573"/>
                        <a:pt x="113884" y="55106"/>
                        <a:pt x="120292" y="65359"/>
                      </a:cubicBezTo>
                      <a:cubicBezTo>
                        <a:pt x="124137" y="70485"/>
                        <a:pt x="129263" y="71767"/>
                        <a:pt x="130545" y="71767"/>
                      </a:cubicBezTo>
                      <a:cubicBezTo>
                        <a:pt x="139515" y="105087"/>
                        <a:pt x="147205" y="138407"/>
                        <a:pt x="154894" y="171727"/>
                      </a:cubicBezTo>
                      <a:lnTo>
                        <a:pt x="130545" y="210174"/>
                      </a:lnTo>
                      <a:cubicBezTo>
                        <a:pt x="127981" y="199921"/>
                        <a:pt x="125418" y="189669"/>
                        <a:pt x="122855" y="179416"/>
                      </a:cubicBezTo>
                      <a:cubicBezTo>
                        <a:pt x="117729" y="157630"/>
                        <a:pt x="112603" y="137125"/>
                        <a:pt x="107477" y="115339"/>
                      </a:cubicBezTo>
                      <a:cubicBezTo>
                        <a:pt x="121574" y="105087"/>
                        <a:pt x="110040" y="92271"/>
                        <a:pt x="103632" y="89708"/>
                      </a:cubicBezTo>
                      <a:cubicBezTo>
                        <a:pt x="93379" y="87145"/>
                        <a:pt x="85691" y="98679"/>
                        <a:pt x="92098" y="108931"/>
                      </a:cubicBezTo>
                      <a:cubicBezTo>
                        <a:pt x="95943" y="114058"/>
                        <a:pt x="101069" y="115339"/>
                        <a:pt x="102350" y="115339"/>
                      </a:cubicBezTo>
                      <a:cubicBezTo>
                        <a:pt x="107477" y="137125"/>
                        <a:pt x="112603" y="157630"/>
                        <a:pt x="117729" y="179416"/>
                      </a:cubicBezTo>
                      <a:cubicBezTo>
                        <a:pt x="120292" y="190950"/>
                        <a:pt x="122855" y="203766"/>
                        <a:pt x="126700" y="215300"/>
                      </a:cubicBezTo>
                      <a:cubicBezTo>
                        <a:pt x="93379" y="266561"/>
                        <a:pt x="49807" y="334483"/>
                        <a:pt x="16487" y="384464"/>
                      </a:cubicBezTo>
                      <a:cubicBezTo>
                        <a:pt x="3671" y="379337"/>
                        <a:pt x="-2737" y="392153"/>
                        <a:pt x="1108" y="40112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882" name="Freeform: Shape 380026">
                <a:extLst>
                  <a:ext uri="{FF2B5EF4-FFF2-40B4-BE49-F238E27FC236}">
                    <a16:creationId xmlns:a16="http://schemas.microsoft.com/office/drawing/2014/main" id="{36F78F93-F936-44B7-8BBC-A0B2032C60C6}"/>
                  </a:ext>
                </a:extLst>
              </p:cNvPr>
              <p:cNvSpPr/>
              <p:nvPr/>
            </p:nvSpPr>
            <p:spPr>
              <a:xfrm>
                <a:off x="6557011" y="3165282"/>
                <a:ext cx="82366" cy="335444"/>
              </a:xfrm>
              <a:custGeom>
                <a:avLst/>
                <a:gdLst>
                  <a:gd name="connsiteX0" fmla="*/ 38793 w 82366"/>
                  <a:gd name="connsiteY0" fmla="*/ 326794 h 335444"/>
                  <a:gd name="connsiteX1" fmla="*/ 61861 w 82366"/>
                  <a:gd name="connsiteY1" fmla="*/ 326794 h 335444"/>
                  <a:gd name="connsiteX2" fmla="*/ 59298 w 82366"/>
                  <a:gd name="connsiteY2" fmla="*/ 312697 h 335444"/>
                  <a:gd name="connsiteX3" fmla="*/ 82366 w 82366"/>
                  <a:gd name="connsiteY3" fmla="*/ 276814 h 335444"/>
                  <a:gd name="connsiteX4" fmla="*/ 64424 w 82366"/>
                  <a:gd name="connsiteY4" fmla="*/ 199921 h 335444"/>
                  <a:gd name="connsiteX5" fmla="*/ 19570 w 82366"/>
                  <a:gd name="connsiteY5" fmla="*/ 24349 h 335444"/>
                  <a:gd name="connsiteX6" fmla="*/ 14444 w 82366"/>
                  <a:gd name="connsiteY6" fmla="*/ 0 h 335444"/>
                  <a:gd name="connsiteX7" fmla="*/ 9317 w 82366"/>
                  <a:gd name="connsiteY7" fmla="*/ 0 h 335444"/>
                  <a:gd name="connsiteX8" fmla="*/ 8036 w 82366"/>
                  <a:gd name="connsiteY8" fmla="*/ 24349 h 335444"/>
                  <a:gd name="connsiteX9" fmla="*/ 14444 w 82366"/>
                  <a:gd name="connsiteY9" fmla="*/ 25631 h 335444"/>
                  <a:gd name="connsiteX10" fmla="*/ 59298 w 82366"/>
                  <a:gd name="connsiteY10" fmla="*/ 201203 h 335444"/>
                  <a:gd name="connsiteX11" fmla="*/ 75958 w 82366"/>
                  <a:gd name="connsiteY11" fmla="*/ 275532 h 335444"/>
                  <a:gd name="connsiteX12" fmla="*/ 54172 w 82366"/>
                  <a:gd name="connsiteY12" fmla="*/ 308852 h 335444"/>
                  <a:gd name="connsiteX13" fmla="*/ 38793 w 82366"/>
                  <a:gd name="connsiteY13" fmla="*/ 326794 h 335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366" h="335444">
                    <a:moveTo>
                      <a:pt x="38793" y="326794"/>
                    </a:moveTo>
                    <a:cubicBezTo>
                      <a:pt x="43919" y="338328"/>
                      <a:pt x="58016" y="338328"/>
                      <a:pt x="61861" y="326794"/>
                    </a:cubicBezTo>
                    <a:cubicBezTo>
                      <a:pt x="63143" y="321668"/>
                      <a:pt x="63143" y="317823"/>
                      <a:pt x="59298" y="312697"/>
                    </a:cubicBezTo>
                    <a:lnTo>
                      <a:pt x="82366" y="276814"/>
                    </a:lnTo>
                    <a:cubicBezTo>
                      <a:pt x="77240" y="251183"/>
                      <a:pt x="70832" y="225552"/>
                      <a:pt x="64424" y="199921"/>
                    </a:cubicBezTo>
                    <a:cubicBezTo>
                      <a:pt x="50327" y="139688"/>
                      <a:pt x="34948" y="80737"/>
                      <a:pt x="19570" y="24349"/>
                    </a:cubicBezTo>
                    <a:cubicBezTo>
                      <a:pt x="31104" y="17942"/>
                      <a:pt x="24696" y="2563"/>
                      <a:pt x="14444" y="0"/>
                    </a:cubicBezTo>
                    <a:cubicBezTo>
                      <a:pt x="13162" y="0"/>
                      <a:pt x="10599" y="0"/>
                      <a:pt x="9317" y="0"/>
                    </a:cubicBezTo>
                    <a:cubicBezTo>
                      <a:pt x="-4779" y="3845"/>
                      <a:pt x="-935" y="19223"/>
                      <a:pt x="8036" y="24349"/>
                    </a:cubicBezTo>
                    <a:cubicBezTo>
                      <a:pt x="10599" y="25631"/>
                      <a:pt x="13162" y="25631"/>
                      <a:pt x="14444" y="25631"/>
                    </a:cubicBezTo>
                    <a:cubicBezTo>
                      <a:pt x="29823" y="83300"/>
                      <a:pt x="45201" y="140970"/>
                      <a:pt x="59298" y="201203"/>
                    </a:cubicBezTo>
                    <a:cubicBezTo>
                      <a:pt x="65706" y="225552"/>
                      <a:pt x="70832" y="251183"/>
                      <a:pt x="75958" y="275532"/>
                    </a:cubicBezTo>
                    <a:cubicBezTo>
                      <a:pt x="69550" y="285785"/>
                      <a:pt x="60580" y="298600"/>
                      <a:pt x="54172" y="308852"/>
                    </a:cubicBezTo>
                    <a:cubicBezTo>
                      <a:pt x="41356" y="305008"/>
                      <a:pt x="34948" y="317823"/>
                      <a:pt x="38793" y="32679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3" name="Freeform: Shape 380027">
                <a:extLst>
                  <a:ext uri="{FF2B5EF4-FFF2-40B4-BE49-F238E27FC236}">
                    <a16:creationId xmlns:a16="http://schemas.microsoft.com/office/drawing/2014/main" id="{8B5483BD-7190-4652-9403-2E75A5D24EB4}"/>
                  </a:ext>
                </a:extLst>
              </p:cNvPr>
              <p:cNvSpPr/>
              <p:nvPr/>
            </p:nvSpPr>
            <p:spPr>
              <a:xfrm>
                <a:off x="6434329" y="2958954"/>
                <a:ext cx="60233" cy="290116"/>
              </a:xfrm>
              <a:custGeom>
                <a:avLst/>
                <a:gdLst>
                  <a:gd name="connsiteX0" fmla="*/ 21787 w 60233"/>
                  <a:gd name="connsiteY0" fmla="*/ 281940 h 290116"/>
                  <a:gd name="connsiteX1" fmla="*/ 46136 w 60233"/>
                  <a:gd name="connsiteY1" fmla="*/ 281940 h 290116"/>
                  <a:gd name="connsiteX2" fmla="*/ 33321 w 60233"/>
                  <a:gd name="connsiteY2" fmla="*/ 263998 h 290116"/>
                  <a:gd name="connsiteX3" fmla="*/ 6408 w 60233"/>
                  <a:gd name="connsiteY3" fmla="*/ 167883 h 290116"/>
                  <a:gd name="connsiteX4" fmla="*/ 60233 w 60233"/>
                  <a:gd name="connsiteY4" fmla="*/ 82019 h 290116"/>
                  <a:gd name="connsiteX5" fmla="*/ 41010 w 60233"/>
                  <a:gd name="connsiteY5" fmla="*/ 23068 h 290116"/>
                  <a:gd name="connsiteX6" fmla="*/ 35883 w 60233"/>
                  <a:gd name="connsiteY6" fmla="*/ 0 h 290116"/>
                  <a:gd name="connsiteX7" fmla="*/ 30757 w 60233"/>
                  <a:gd name="connsiteY7" fmla="*/ 0 h 290116"/>
                  <a:gd name="connsiteX8" fmla="*/ 29476 w 60233"/>
                  <a:gd name="connsiteY8" fmla="*/ 21786 h 290116"/>
                  <a:gd name="connsiteX9" fmla="*/ 35883 w 60233"/>
                  <a:gd name="connsiteY9" fmla="*/ 23068 h 290116"/>
                  <a:gd name="connsiteX10" fmla="*/ 53825 w 60233"/>
                  <a:gd name="connsiteY10" fmla="*/ 79456 h 290116"/>
                  <a:gd name="connsiteX11" fmla="*/ 0 w 60233"/>
                  <a:gd name="connsiteY11" fmla="*/ 165319 h 290116"/>
                  <a:gd name="connsiteX12" fmla="*/ 26912 w 60233"/>
                  <a:gd name="connsiteY12" fmla="*/ 263998 h 290116"/>
                  <a:gd name="connsiteX13" fmla="*/ 21787 w 60233"/>
                  <a:gd name="connsiteY13" fmla="*/ 281940 h 2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33" h="290116">
                    <a:moveTo>
                      <a:pt x="21787" y="281940"/>
                    </a:moveTo>
                    <a:cubicBezTo>
                      <a:pt x="26912" y="292192"/>
                      <a:pt x="42291" y="293474"/>
                      <a:pt x="46136" y="281940"/>
                    </a:cubicBezTo>
                    <a:cubicBezTo>
                      <a:pt x="47417" y="276814"/>
                      <a:pt x="46136" y="265280"/>
                      <a:pt x="33321" y="263998"/>
                    </a:cubicBezTo>
                    <a:cubicBezTo>
                      <a:pt x="24350" y="231960"/>
                      <a:pt x="15378" y="199921"/>
                      <a:pt x="6408" y="167883"/>
                    </a:cubicBezTo>
                    <a:lnTo>
                      <a:pt x="60233" y="82019"/>
                    </a:lnTo>
                    <a:cubicBezTo>
                      <a:pt x="53825" y="62796"/>
                      <a:pt x="47417" y="42291"/>
                      <a:pt x="41010" y="23068"/>
                    </a:cubicBezTo>
                    <a:cubicBezTo>
                      <a:pt x="52544" y="16660"/>
                      <a:pt x="46136" y="2563"/>
                      <a:pt x="35883" y="0"/>
                    </a:cubicBezTo>
                    <a:cubicBezTo>
                      <a:pt x="34602" y="0"/>
                      <a:pt x="32039" y="0"/>
                      <a:pt x="30757" y="0"/>
                    </a:cubicBezTo>
                    <a:cubicBezTo>
                      <a:pt x="16660" y="3845"/>
                      <a:pt x="21787" y="17942"/>
                      <a:pt x="29476" y="21786"/>
                    </a:cubicBezTo>
                    <a:cubicBezTo>
                      <a:pt x="32039" y="23068"/>
                      <a:pt x="34602" y="23068"/>
                      <a:pt x="35883" y="23068"/>
                    </a:cubicBezTo>
                    <a:cubicBezTo>
                      <a:pt x="42291" y="42291"/>
                      <a:pt x="48699" y="60233"/>
                      <a:pt x="53825" y="79456"/>
                    </a:cubicBezTo>
                    <a:lnTo>
                      <a:pt x="0" y="165319"/>
                    </a:lnTo>
                    <a:cubicBezTo>
                      <a:pt x="8971" y="197358"/>
                      <a:pt x="17942" y="230678"/>
                      <a:pt x="26912" y="263998"/>
                    </a:cubicBezTo>
                    <a:cubicBezTo>
                      <a:pt x="16660" y="271688"/>
                      <a:pt x="20505" y="280659"/>
                      <a:pt x="21787" y="2819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4" name="Freeform: Shape 380028">
                <a:extLst>
                  <a:ext uri="{FF2B5EF4-FFF2-40B4-BE49-F238E27FC236}">
                    <a16:creationId xmlns:a16="http://schemas.microsoft.com/office/drawing/2014/main" id="{ECEA2F48-E804-4F57-9C80-54330197FFDD}"/>
                  </a:ext>
                </a:extLst>
              </p:cNvPr>
              <p:cNvSpPr/>
              <p:nvPr/>
            </p:nvSpPr>
            <p:spPr>
              <a:xfrm>
                <a:off x="6472775" y="2952546"/>
                <a:ext cx="60233" cy="252464"/>
              </a:xfrm>
              <a:custGeom>
                <a:avLst/>
                <a:gdLst>
                  <a:gd name="connsiteX0" fmla="*/ 11534 w 60233"/>
                  <a:gd name="connsiteY0" fmla="*/ 244775 h 252464"/>
                  <a:gd name="connsiteX1" fmla="*/ 35884 w 60233"/>
                  <a:gd name="connsiteY1" fmla="*/ 244775 h 252464"/>
                  <a:gd name="connsiteX2" fmla="*/ 23068 w 60233"/>
                  <a:gd name="connsiteY2" fmla="*/ 226833 h 252464"/>
                  <a:gd name="connsiteX3" fmla="*/ 6408 w 60233"/>
                  <a:gd name="connsiteY3" fmla="*/ 167882 h 252464"/>
                  <a:gd name="connsiteX4" fmla="*/ 60233 w 60233"/>
                  <a:gd name="connsiteY4" fmla="*/ 82019 h 252464"/>
                  <a:gd name="connsiteX5" fmla="*/ 41010 w 60233"/>
                  <a:gd name="connsiteY5" fmla="*/ 23068 h 252464"/>
                  <a:gd name="connsiteX6" fmla="*/ 35884 w 60233"/>
                  <a:gd name="connsiteY6" fmla="*/ 0 h 252464"/>
                  <a:gd name="connsiteX7" fmla="*/ 30757 w 60233"/>
                  <a:gd name="connsiteY7" fmla="*/ 0 h 252464"/>
                  <a:gd name="connsiteX8" fmla="*/ 29476 w 60233"/>
                  <a:gd name="connsiteY8" fmla="*/ 21786 h 252464"/>
                  <a:gd name="connsiteX9" fmla="*/ 35884 w 60233"/>
                  <a:gd name="connsiteY9" fmla="*/ 23068 h 252464"/>
                  <a:gd name="connsiteX10" fmla="*/ 53825 w 60233"/>
                  <a:gd name="connsiteY10" fmla="*/ 79456 h 252464"/>
                  <a:gd name="connsiteX11" fmla="*/ 0 w 60233"/>
                  <a:gd name="connsiteY11" fmla="*/ 165319 h 252464"/>
                  <a:gd name="connsiteX12" fmla="*/ 17942 w 60233"/>
                  <a:gd name="connsiteY12" fmla="*/ 226833 h 252464"/>
                  <a:gd name="connsiteX13" fmla="*/ 11534 w 60233"/>
                  <a:gd name="connsiteY13" fmla="*/ 244775 h 252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233" h="252464">
                    <a:moveTo>
                      <a:pt x="11534" y="244775"/>
                    </a:moveTo>
                    <a:cubicBezTo>
                      <a:pt x="16660" y="255028"/>
                      <a:pt x="32039" y="255028"/>
                      <a:pt x="35884" y="244775"/>
                    </a:cubicBezTo>
                    <a:cubicBezTo>
                      <a:pt x="37165" y="239649"/>
                      <a:pt x="35884" y="228115"/>
                      <a:pt x="23068" y="226833"/>
                    </a:cubicBezTo>
                    <a:cubicBezTo>
                      <a:pt x="17942" y="207610"/>
                      <a:pt x="11534" y="187106"/>
                      <a:pt x="6408" y="167882"/>
                    </a:cubicBezTo>
                    <a:lnTo>
                      <a:pt x="60233" y="82019"/>
                    </a:lnTo>
                    <a:cubicBezTo>
                      <a:pt x="53825" y="62796"/>
                      <a:pt x="47418" y="42291"/>
                      <a:pt x="41010" y="23068"/>
                    </a:cubicBezTo>
                    <a:cubicBezTo>
                      <a:pt x="52544" y="16660"/>
                      <a:pt x="46136" y="2563"/>
                      <a:pt x="35884" y="0"/>
                    </a:cubicBezTo>
                    <a:cubicBezTo>
                      <a:pt x="34602" y="0"/>
                      <a:pt x="32039" y="0"/>
                      <a:pt x="30757" y="0"/>
                    </a:cubicBezTo>
                    <a:cubicBezTo>
                      <a:pt x="17942" y="3845"/>
                      <a:pt x="21787" y="17942"/>
                      <a:pt x="29476" y="21786"/>
                    </a:cubicBezTo>
                    <a:cubicBezTo>
                      <a:pt x="32039" y="23068"/>
                      <a:pt x="34602" y="23068"/>
                      <a:pt x="35884" y="23068"/>
                    </a:cubicBezTo>
                    <a:cubicBezTo>
                      <a:pt x="42291" y="42291"/>
                      <a:pt x="48699" y="60233"/>
                      <a:pt x="53825" y="79456"/>
                    </a:cubicBezTo>
                    <a:lnTo>
                      <a:pt x="0" y="165319"/>
                    </a:lnTo>
                    <a:cubicBezTo>
                      <a:pt x="6408" y="185824"/>
                      <a:pt x="11534" y="206329"/>
                      <a:pt x="17942" y="226833"/>
                    </a:cubicBezTo>
                    <a:cubicBezTo>
                      <a:pt x="6408" y="233241"/>
                      <a:pt x="10253" y="243494"/>
                      <a:pt x="11534" y="24477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5" name="Freeform: Shape 380029">
                <a:extLst>
                  <a:ext uri="{FF2B5EF4-FFF2-40B4-BE49-F238E27FC236}">
                    <a16:creationId xmlns:a16="http://schemas.microsoft.com/office/drawing/2014/main" id="{E0E16149-C7D7-4B24-B1FB-5C8680B1B79A}"/>
                  </a:ext>
                </a:extLst>
              </p:cNvPr>
              <p:cNvSpPr/>
              <p:nvPr/>
            </p:nvSpPr>
            <p:spPr>
              <a:xfrm>
                <a:off x="5760233" y="3161438"/>
                <a:ext cx="138407" cy="638112"/>
              </a:xfrm>
              <a:custGeom>
                <a:avLst/>
                <a:gdLst>
                  <a:gd name="connsiteX0" fmla="*/ 8971 w 138407"/>
                  <a:gd name="connsiteY0" fmla="*/ 630520 h 638112"/>
                  <a:gd name="connsiteX1" fmla="*/ 34602 w 138407"/>
                  <a:gd name="connsiteY1" fmla="*/ 629239 h 638112"/>
                  <a:gd name="connsiteX2" fmla="*/ 21786 w 138407"/>
                  <a:gd name="connsiteY2" fmla="*/ 611297 h 638112"/>
                  <a:gd name="connsiteX3" fmla="*/ 6408 w 138407"/>
                  <a:gd name="connsiteY3" fmla="*/ 549783 h 638112"/>
                  <a:gd name="connsiteX4" fmla="*/ 39728 w 138407"/>
                  <a:gd name="connsiteY4" fmla="*/ 501084 h 638112"/>
                  <a:gd name="connsiteX5" fmla="*/ 12815 w 138407"/>
                  <a:gd name="connsiteY5" fmla="*/ 385745 h 638112"/>
                  <a:gd name="connsiteX6" fmla="*/ 3844 w 138407"/>
                  <a:gd name="connsiteY6" fmla="*/ 348580 h 638112"/>
                  <a:gd name="connsiteX7" fmla="*/ 32039 w 138407"/>
                  <a:gd name="connsiteY7" fmla="*/ 307571 h 638112"/>
                  <a:gd name="connsiteX8" fmla="*/ 48699 w 138407"/>
                  <a:gd name="connsiteY8" fmla="*/ 378056 h 638112"/>
                  <a:gd name="connsiteX9" fmla="*/ 75611 w 138407"/>
                  <a:gd name="connsiteY9" fmla="*/ 490832 h 638112"/>
                  <a:gd name="connsiteX10" fmla="*/ 42291 w 138407"/>
                  <a:gd name="connsiteY10" fmla="*/ 538249 h 638112"/>
                  <a:gd name="connsiteX11" fmla="*/ 48699 w 138407"/>
                  <a:gd name="connsiteY11" fmla="*/ 563880 h 638112"/>
                  <a:gd name="connsiteX12" fmla="*/ 52544 w 138407"/>
                  <a:gd name="connsiteY12" fmla="*/ 589511 h 638112"/>
                  <a:gd name="connsiteX13" fmla="*/ 66641 w 138407"/>
                  <a:gd name="connsiteY13" fmla="*/ 569006 h 638112"/>
                  <a:gd name="connsiteX14" fmla="*/ 55107 w 138407"/>
                  <a:gd name="connsiteY14" fmla="*/ 562598 h 638112"/>
                  <a:gd name="connsiteX15" fmla="*/ 49980 w 138407"/>
                  <a:gd name="connsiteY15" fmla="*/ 538249 h 638112"/>
                  <a:gd name="connsiteX16" fmla="*/ 83300 w 138407"/>
                  <a:gd name="connsiteY16" fmla="*/ 490832 h 638112"/>
                  <a:gd name="connsiteX17" fmla="*/ 56388 w 138407"/>
                  <a:gd name="connsiteY17" fmla="*/ 375493 h 638112"/>
                  <a:gd name="connsiteX18" fmla="*/ 38446 w 138407"/>
                  <a:gd name="connsiteY18" fmla="*/ 299882 h 638112"/>
                  <a:gd name="connsiteX19" fmla="*/ 66641 w 138407"/>
                  <a:gd name="connsiteY19" fmla="*/ 258872 h 638112"/>
                  <a:gd name="connsiteX20" fmla="*/ 92271 w 138407"/>
                  <a:gd name="connsiteY20" fmla="*/ 366522 h 638112"/>
                  <a:gd name="connsiteX21" fmla="*/ 115339 w 138407"/>
                  <a:gd name="connsiteY21" fmla="*/ 467764 h 638112"/>
                  <a:gd name="connsiteX22" fmla="*/ 119184 w 138407"/>
                  <a:gd name="connsiteY22" fmla="*/ 493395 h 638112"/>
                  <a:gd name="connsiteX23" fmla="*/ 133281 w 138407"/>
                  <a:gd name="connsiteY23" fmla="*/ 472890 h 638112"/>
                  <a:gd name="connsiteX24" fmla="*/ 121747 w 138407"/>
                  <a:gd name="connsiteY24" fmla="*/ 466482 h 638112"/>
                  <a:gd name="connsiteX25" fmla="*/ 98679 w 138407"/>
                  <a:gd name="connsiteY25" fmla="*/ 365240 h 638112"/>
                  <a:gd name="connsiteX26" fmla="*/ 71767 w 138407"/>
                  <a:gd name="connsiteY26" fmla="*/ 252464 h 638112"/>
                  <a:gd name="connsiteX27" fmla="*/ 138407 w 138407"/>
                  <a:gd name="connsiteY27" fmla="*/ 158912 h 638112"/>
                  <a:gd name="connsiteX28" fmla="*/ 106368 w 138407"/>
                  <a:gd name="connsiteY28" fmla="*/ 24349 h 638112"/>
                  <a:gd name="connsiteX29" fmla="*/ 102524 w 138407"/>
                  <a:gd name="connsiteY29" fmla="*/ 0 h 638112"/>
                  <a:gd name="connsiteX30" fmla="*/ 97398 w 138407"/>
                  <a:gd name="connsiteY30" fmla="*/ 0 h 638112"/>
                  <a:gd name="connsiteX31" fmla="*/ 96116 w 138407"/>
                  <a:gd name="connsiteY31" fmla="*/ 24349 h 638112"/>
                  <a:gd name="connsiteX32" fmla="*/ 101242 w 138407"/>
                  <a:gd name="connsiteY32" fmla="*/ 24349 h 638112"/>
                  <a:gd name="connsiteX33" fmla="*/ 132000 w 138407"/>
                  <a:gd name="connsiteY33" fmla="*/ 156348 h 638112"/>
                  <a:gd name="connsiteX34" fmla="*/ 70485 w 138407"/>
                  <a:gd name="connsiteY34" fmla="*/ 243494 h 638112"/>
                  <a:gd name="connsiteX35" fmla="*/ 64078 w 138407"/>
                  <a:gd name="connsiteY35" fmla="*/ 214018 h 638112"/>
                  <a:gd name="connsiteX36" fmla="*/ 97398 w 138407"/>
                  <a:gd name="connsiteY36" fmla="*/ 166601 h 638112"/>
                  <a:gd name="connsiteX37" fmla="*/ 83300 w 138407"/>
                  <a:gd name="connsiteY37" fmla="*/ 103805 h 638112"/>
                  <a:gd name="connsiteX38" fmla="*/ 79456 w 138407"/>
                  <a:gd name="connsiteY38" fmla="*/ 79456 h 638112"/>
                  <a:gd name="connsiteX39" fmla="*/ 65359 w 138407"/>
                  <a:gd name="connsiteY39" fmla="*/ 99961 h 638112"/>
                  <a:gd name="connsiteX40" fmla="*/ 76893 w 138407"/>
                  <a:gd name="connsiteY40" fmla="*/ 105087 h 638112"/>
                  <a:gd name="connsiteX41" fmla="*/ 90990 w 138407"/>
                  <a:gd name="connsiteY41" fmla="*/ 165319 h 638112"/>
                  <a:gd name="connsiteX42" fmla="*/ 57670 w 138407"/>
                  <a:gd name="connsiteY42" fmla="*/ 212737 h 638112"/>
                  <a:gd name="connsiteX43" fmla="*/ 66641 w 138407"/>
                  <a:gd name="connsiteY43" fmla="*/ 249901 h 638112"/>
                  <a:gd name="connsiteX44" fmla="*/ 38446 w 138407"/>
                  <a:gd name="connsiteY44" fmla="*/ 290911 h 638112"/>
                  <a:gd name="connsiteX45" fmla="*/ 25631 w 138407"/>
                  <a:gd name="connsiteY45" fmla="*/ 235804 h 638112"/>
                  <a:gd name="connsiteX46" fmla="*/ 21786 w 138407"/>
                  <a:gd name="connsiteY46" fmla="*/ 210173 h 638112"/>
                  <a:gd name="connsiteX47" fmla="*/ 7689 w 138407"/>
                  <a:gd name="connsiteY47" fmla="*/ 230678 h 638112"/>
                  <a:gd name="connsiteX48" fmla="*/ 19223 w 138407"/>
                  <a:gd name="connsiteY48" fmla="*/ 237086 h 638112"/>
                  <a:gd name="connsiteX49" fmla="*/ 33320 w 138407"/>
                  <a:gd name="connsiteY49" fmla="*/ 298600 h 638112"/>
                  <a:gd name="connsiteX50" fmla="*/ 0 w 138407"/>
                  <a:gd name="connsiteY50" fmla="*/ 347299 h 638112"/>
                  <a:gd name="connsiteX51" fmla="*/ 8971 w 138407"/>
                  <a:gd name="connsiteY51" fmla="*/ 387027 h 638112"/>
                  <a:gd name="connsiteX52" fmla="*/ 35883 w 138407"/>
                  <a:gd name="connsiteY52" fmla="*/ 499803 h 638112"/>
                  <a:gd name="connsiteX53" fmla="*/ 2563 w 138407"/>
                  <a:gd name="connsiteY53" fmla="*/ 548501 h 638112"/>
                  <a:gd name="connsiteX54" fmla="*/ 17942 w 138407"/>
                  <a:gd name="connsiteY54" fmla="*/ 612579 h 638112"/>
                  <a:gd name="connsiteX55" fmla="*/ 8971 w 138407"/>
                  <a:gd name="connsiteY55" fmla="*/ 630520 h 63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38407" h="638112">
                    <a:moveTo>
                      <a:pt x="8971" y="630520"/>
                    </a:moveTo>
                    <a:cubicBezTo>
                      <a:pt x="15378" y="642054"/>
                      <a:pt x="30757" y="639491"/>
                      <a:pt x="34602" y="629239"/>
                    </a:cubicBezTo>
                    <a:cubicBezTo>
                      <a:pt x="35883" y="624113"/>
                      <a:pt x="35883" y="612579"/>
                      <a:pt x="21786" y="611297"/>
                    </a:cubicBezTo>
                    <a:cubicBezTo>
                      <a:pt x="16660" y="590792"/>
                      <a:pt x="11534" y="570288"/>
                      <a:pt x="6408" y="549783"/>
                    </a:cubicBezTo>
                    <a:lnTo>
                      <a:pt x="39728" y="501084"/>
                    </a:lnTo>
                    <a:cubicBezTo>
                      <a:pt x="30757" y="462638"/>
                      <a:pt x="21786" y="424191"/>
                      <a:pt x="12815" y="385745"/>
                    </a:cubicBezTo>
                    <a:cubicBezTo>
                      <a:pt x="10252" y="372930"/>
                      <a:pt x="6408" y="360114"/>
                      <a:pt x="3844" y="348580"/>
                    </a:cubicBezTo>
                    <a:lnTo>
                      <a:pt x="32039" y="307571"/>
                    </a:lnTo>
                    <a:cubicBezTo>
                      <a:pt x="37165" y="330639"/>
                      <a:pt x="42291" y="353706"/>
                      <a:pt x="48699" y="378056"/>
                    </a:cubicBezTo>
                    <a:cubicBezTo>
                      <a:pt x="57670" y="415221"/>
                      <a:pt x="66641" y="453667"/>
                      <a:pt x="75611" y="490832"/>
                    </a:cubicBezTo>
                    <a:lnTo>
                      <a:pt x="42291" y="538249"/>
                    </a:lnTo>
                    <a:cubicBezTo>
                      <a:pt x="44854" y="547220"/>
                      <a:pt x="46136" y="556191"/>
                      <a:pt x="48699" y="563880"/>
                    </a:cubicBezTo>
                    <a:cubicBezTo>
                      <a:pt x="32039" y="575414"/>
                      <a:pt x="46136" y="588229"/>
                      <a:pt x="52544" y="589511"/>
                    </a:cubicBezTo>
                    <a:cubicBezTo>
                      <a:pt x="65359" y="590792"/>
                      <a:pt x="73048" y="577977"/>
                      <a:pt x="66641" y="569006"/>
                    </a:cubicBezTo>
                    <a:cubicBezTo>
                      <a:pt x="64078" y="563880"/>
                      <a:pt x="57670" y="563880"/>
                      <a:pt x="55107" y="562598"/>
                    </a:cubicBezTo>
                    <a:cubicBezTo>
                      <a:pt x="53825" y="554909"/>
                      <a:pt x="51262" y="547220"/>
                      <a:pt x="49980" y="538249"/>
                    </a:cubicBezTo>
                    <a:lnTo>
                      <a:pt x="83300" y="490832"/>
                    </a:lnTo>
                    <a:cubicBezTo>
                      <a:pt x="74330" y="452386"/>
                      <a:pt x="65359" y="413939"/>
                      <a:pt x="56388" y="375493"/>
                    </a:cubicBezTo>
                    <a:cubicBezTo>
                      <a:pt x="49980" y="349862"/>
                      <a:pt x="44854" y="324231"/>
                      <a:pt x="38446" y="299882"/>
                    </a:cubicBezTo>
                    <a:lnTo>
                      <a:pt x="66641" y="258872"/>
                    </a:lnTo>
                    <a:cubicBezTo>
                      <a:pt x="74330" y="294755"/>
                      <a:pt x="83300" y="330639"/>
                      <a:pt x="92271" y="366522"/>
                    </a:cubicBezTo>
                    <a:cubicBezTo>
                      <a:pt x="99961" y="399842"/>
                      <a:pt x="107650" y="434444"/>
                      <a:pt x="115339" y="467764"/>
                    </a:cubicBezTo>
                    <a:cubicBezTo>
                      <a:pt x="98679" y="479298"/>
                      <a:pt x="111495" y="492113"/>
                      <a:pt x="119184" y="493395"/>
                    </a:cubicBezTo>
                    <a:cubicBezTo>
                      <a:pt x="132000" y="495958"/>
                      <a:pt x="139689" y="481861"/>
                      <a:pt x="133281" y="472890"/>
                    </a:cubicBezTo>
                    <a:cubicBezTo>
                      <a:pt x="130718" y="467764"/>
                      <a:pt x="124310" y="467764"/>
                      <a:pt x="121747" y="466482"/>
                    </a:cubicBezTo>
                    <a:cubicBezTo>
                      <a:pt x="114058" y="433162"/>
                      <a:pt x="106368" y="399842"/>
                      <a:pt x="98679" y="365240"/>
                    </a:cubicBezTo>
                    <a:cubicBezTo>
                      <a:pt x="89709" y="326794"/>
                      <a:pt x="80737" y="289629"/>
                      <a:pt x="71767" y="252464"/>
                    </a:cubicBezTo>
                    <a:lnTo>
                      <a:pt x="138407" y="158912"/>
                    </a:lnTo>
                    <a:cubicBezTo>
                      <a:pt x="128155" y="112776"/>
                      <a:pt x="116621" y="69203"/>
                      <a:pt x="106368" y="24349"/>
                    </a:cubicBezTo>
                    <a:cubicBezTo>
                      <a:pt x="123029" y="12815"/>
                      <a:pt x="110213" y="1281"/>
                      <a:pt x="102524" y="0"/>
                    </a:cubicBezTo>
                    <a:cubicBezTo>
                      <a:pt x="101242" y="0"/>
                      <a:pt x="98679" y="0"/>
                      <a:pt x="97398" y="0"/>
                    </a:cubicBezTo>
                    <a:cubicBezTo>
                      <a:pt x="79456" y="7689"/>
                      <a:pt x="88427" y="21786"/>
                      <a:pt x="96116" y="24349"/>
                    </a:cubicBezTo>
                    <a:cubicBezTo>
                      <a:pt x="97398" y="24349"/>
                      <a:pt x="98679" y="24349"/>
                      <a:pt x="101242" y="24349"/>
                    </a:cubicBezTo>
                    <a:cubicBezTo>
                      <a:pt x="111495" y="67922"/>
                      <a:pt x="121747" y="111494"/>
                      <a:pt x="132000" y="156348"/>
                    </a:cubicBezTo>
                    <a:lnTo>
                      <a:pt x="70485" y="243494"/>
                    </a:lnTo>
                    <a:cubicBezTo>
                      <a:pt x="67922" y="233241"/>
                      <a:pt x="65359" y="224270"/>
                      <a:pt x="64078" y="214018"/>
                    </a:cubicBezTo>
                    <a:lnTo>
                      <a:pt x="97398" y="166601"/>
                    </a:lnTo>
                    <a:cubicBezTo>
                      <a:pt x="92271" y="146096"/>
                      <a:pt x="87145" y="125591"/>
                      <a:pt x="83300" y="103805"/>
                    </a:cubicBezTo>
                    <a:cubicBezTo>
                      <a:pt x="99961" y="92271"/>
                      <a:pt x="87145" y="80737"/>
                      <a:pt x="79456" y="79456"/>
                    </a:cubicBezTo>
                    <a:cubicBezTo>
                      <a:pt x="67922" y="78174"/>
                      <a:pt x="58951" y="89708"/>
                      <a:pt x="65359" y="99961"/>
                    </a:cubicBezTo>
                    <a:cubicBezTo>
                      <a:pt x="67922" y="105087"/>
                      <a:pt x="74330" y="105087"/>
                      <a:pt x="76893" y="105087"/>
                    </a:cubicBezTo>
                    <a:cubicBezTo>
                      <a:pt x="82019" y="124310"/>
                      <a:pt x="85864" y="144815"/>
                      <a:pt x="90990" y="165319"/>
                    </a:cubicBezTo>
                    <a:lnTo>
                      <a:pt x="57670" y="212737"/>
                    </a:lnTo>
                    <a:cubicBezTo>
                      <a:pt x="60233" y="225552"/>
                      <a:pt x="62796" y="237086"/>
                      <a:pt x="66641" y="249901"/>
                    </a:cubicBezTo>
                    <a:lnTo>
                      <a:pt x="38446" y="290911"/>
                    </a:lnTo>
                    <a:cubicBezTo>
                      <a:pt x="34602" y="271688"/>
                      <a:pt x="29476" y="253746"/>
                      <a:pt x="25631" y="235804"/>
                    </a:cubicBezTo>
                    <a:cubicBezTo>
                      <a:pt x="42291" y="224270"/>
                      <a:pt x="29476" y="211455"/>
                      <a:pt x="21786" y="210173"/>
                    </a:cubicBezTo>
                    <a:cubicBezTo>
                      <a:pt x="8971" y="208892"/>
                      <a:pt x="1281" y="221707"/>
                      <a:pt x="7689" y="230678"/>
                    </a:cubicBezTo>
                    <a:cubicBezTo>
                      <a:pt x="10252" y="235804"/>
                      <a:pt x="16660" y="235804"/>
                      <a:pt x="19223" y="237086"/>
                    </a:cubicBezTo>
                    <a:cubicBezTo>
                      <a:pt x="24349" y="257591"/>
                      <a:pt x="28194" y="278095"/>
                      <a:pt x="33320" y="298600"/>
                    </a:cubicBezTo>
                    <a:lnTo>
                      <a:pt x="0" y="347299"/>
                    </a:lnTo>
                    <a:cubicBezTo>
                      <a:pt x="2563" y="360114"/>
                      <a:pt x="6408" y="374211"/>
                      <a:pt x="8971" y="387027"/>
                    </a:cubicBezTo>
                    <a:cubicBezTo>
                      <a:pt x="17942" y="424191"/>
                      <a:pt x="26912" y="462638"/>
                      <a:pt x="35883" y="499803"/>
                    </a:cubicBezTo>
                    <a:lnTo>
                      <a:pt x="2563" y="548501"/>
                    </a:lnTo>
                    <a:cubicBezTo>
                      <a:pt x="7689" y="570288"/>
                      <a:pt x="12815" y="590792"/>
                      <a:pt x="17942" y="612579"/>
                    </a:cubicBezTo>
                    <a:cubicBezTo>
                      <a:pt x="5126" y="620268"/>
                      <a:pt x="6408" y="626676"/>
                      <a:pt x="8971" y="63052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6" name="Freeform: Shape 380030">
                <a:extLst>
                  <a:ext uri="{FF2B5EF4-FFF2-40B4-BE49-F238E27FC236}">
                    <a16:creationId xmlns:a16="http://schemas.microsoft.com/office/drawing/2014/main" id="{5C975CBC-80CD-40FE-A2DE-05A83FC94E48}"/>
                  </a:ext>
                </a:extLst>
              </p:cNvPr>
              <p:cNvSpPr/>
              <p:nvPr/>
            </p:nvSpPr>
            <p:spPr>
              <a:xfrm>
                <a:off x="5776819" y="3678221"/>
                <a:ext cx="85081" cy="159719"/>
              </a:xfrm>
              <a:custGeom>
                <a:avLst/>
                <a:gdLst>
                  <a:gd name="connsiteX0" fmla="*/ 1356 w 85081"/>
                  <a:gd name="connsiteY0" fmla="*/ 152184 h 159719"/>
                  <a:gd name="connsiteX1" fmla="*/ 26987 w 85081"/>
                  <a:gd name="connsiteY1" fmla="*/ 150902 h 159719"/>
                  <a:gd name="connsiteX2" fmla="*/ 24424 w 85081"/>
                  <a:gd name="connsiteY2" fmla="*/ 136805 h 159719"/>
                  <a:gd name="connsiteX3" fmla="*/ 83375 w 85081"/>
                  <a:gd name="connsiteY3" fmla="*/ 50942 h 159719"/>
                  <a:gd name="connsiteX4" fmla="*/ 76967 w 85081"/>
                  <a:gd name="connsiteY4" fmla="*/ 25311 h 159719"/>
                  <a:gd name="connsiteX5" fmla="*/ 75685 w 85081"/>
                  <a:gd name="connsiteY5" fmla="*/ 961 h 159719"/>
                  <a:gd name="connsiteX6" fmla="*/ 67996 w 85081"/>
                  <a:gd name="connsiteY6" fmla="*/ 961 h 159719"/>
                  <a:gd name="connsiteX7" fmla="*/ 64151 w 85081"/>
                  <a:gd name="connsiteY7" fmla="*/ 26592 h 159719"/>
                  <a:gd name="connsiteX8" fmla="*/ 70560 w 85081"/>
                  <a:gd name="connsiteY8" fmla="*/ 27874 h 159719"/>
                  <a:gd name="connsiteX9" fmla="*/ 75685 w 85081"/>
                  <a:gd name="connsiteY9" fmla="*/ 52223 h 159719"/>
                  <a:gd name="connsiteX10" fmla="*/ 18016 w 85081"/>
                  <a:gd name="connsiteY10" fmla="*/ 135524 h 159719"/>
                  <a:gd name="connsiteX11" fmla="*/ 1356 w 85081"/>
                  <a:gd name="connsiteY11" fmla="*/ 152184 h 15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081" h="159719">
                    <a:moveTo>
                      <a:pt x="1356" y="152184"/>
                    </a:moveTo>
                    <a:cubicBezTo>
                      <a:pt x="6482" y="162436"/>
                      <a:pt x="23142" y="162436"/>
                      <a:pt x="26987" y="150902"/>
                    </a:cubicBezTo>
                    <a:cubicBezTo>
                      <a:pt x="28268" y="148339"/>
                      <a:pt x="29550" y="143213"/>
                      <a:pt x="24424" y="136805"/>
                    </a:cubicBezTo>
                    <a:lnTo>
                      <a:pt x="83375" y="50942"/>
                    </a:lnTo>
                    <a:cubicBezTo>
                      <a:pt x="80812" y="41971"/>
                      <a:pt x="79530" y="33000"/>
                      <a:pt x="76967" y="25311"/>
                    </a:cubicBezTo>
                    <a:cubicBezTo>
                      <a:pt x="89783" y="17621"/>
                      <a:pt x="85938" y="3524"/>
                      <a:pt x="75685" y="961"/>
                    </a:cubicBezTo>
                    <a:cubicBezTo>
                      <a:pt x="73123" y="-320"/>
                      <a:pt x="69278" y="-320"/>
                      <a:pt x="67996" y="961"/>
                    </a:cubicBezTo>
                    <a:cubicBezTo>
                      <a:pt x="52617" y="6087"/>
                      <a:pt x="55181" y="21466"/>
                      <a:pt x="64151" y="26592"/>
                    </a:cubicBezTo>
                    <a:cubicBezTo>
                      <a:pt x="66715" y="27874"/>
                      <a:pt x="69278" y="27874"/>
                      <a:pt x="70560" y="27874"/>
                    </a:cubicBezTo>
                    <a:cubicBezTo>
                      <a:pt x="71841" y="35563"/>
                      <a:pt x="74404" y="43252"/>
                      <a:pt x="75685" y="52223"/>
                    </a:cubicBezTo>
                    <a:cubicBezTo>
                      <a:pt x="59026" y="76572"/>
                      <a:pt x="35958" y="109893"/>
                      <a:pt x="18016" y="135524"/>
                    </a:cubicBezTo>
                    <a:cubicBezTo>
                      <a:pt x="6482" y="129116"/>
                      <a:pt x="-3771" y="141931"/>
                      <a:pt x="1356" y="15218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7" name="Freeform: Shape 380031">
                <a:extLst>
                  <a:ext uri="{FF2B5EF4-FFF2-40B4-BE49-F238E27FC236}">
                    <a16:creationId xmlns:a16="http://schemas.microsoft.com/office/drawing/2014/main" id="{D174C1C1-8384-43E3-A72F-2A2F93862AE9}"/>
                  </a:ext>
                </a:extLst>
              </p:cNvPr>
              <p:cNvSpPr/>
              <p:nvPr/>
            </p:nvSpPr>
            <p:spPr>
              <a:xfrm>
                <a:off x="5868845" y="3081021"/>
                <a:ext cx="69524" cy="289155"/>
              </a:xfrm>
              <a:custGeom>
                <a:avLst/>
                <a:gdLst>
                  <a:gd name="connsiteX0" fmla="*/ 20825 w 69524"/>
                  <a:gd name="connsiteY0" fmla="*/ 281620 h 289155"/>
                  <a:gd name="connsiteX1" fmla="*/ 46456 w 69524"/>
                  <a:gd name="connsiteY1" fmla="*/ 280338 h 289155"/>
                  <a:gd name="connsiteX2" fmla="*/ 43893 w 69524"/>
                  <a:gd name="connsiteY2" fmla="*/ 266241 h 289155"/>
                  <a:gd name="connsiteX3" fmla="*/ 69524 w 69524"/>
                  <a:gd name="connsiteY3" fmla="*/ 229076 h 289155"/>
                  <a:gd name="connsiteX4" fmla="*/ 19544 w 69524"/>
                  <a:gd name="connsiteY4" fmla="*/ 24029 h 289155"/>
                  <a:gd name="connsiteX5" fmla="*/ 18262 w 69524"/>
                  <a:gd name="connsiteY5" fmla="*/ 961 h 289155"/>
                  <a:gd name="connsiteX6" fmla="*/ 10573 w 69524"/>
                  <a:gd name="connsiteY6" fmla="*/ 961 h 289155"/>
                  <a:gd name="connsiteX7" fmla="*/ 6728 w 69524"/>
                  <a:gd name="connsiteY7" fmla="*/ 24029 h 289155"/>
                  <a:gd name="connsiteX8" fmla="*/ 13136 w 69524"/>
                  <a:gd name="connsiteY8" fmla="*/ 25311 h 289155"/>
                  <a:gd name="connsiteX9" fmla="*/ 61835 w 69524"/>
                  <a:gd name="connsiteY9" fmla="*/ 227795 h 289155"/>
                  <a:gd name="connsiteX10" fmla="*/ 37485 w 69524"/>
                  <a:gd name="connsiteY10" fmla="*/ 262396 h 289155"/>
                  <a:gd name="connsiteX11" fmla="*/ 20825 w 69524"/>
                  <a:gd name="connsiteY11" fmla="*/ 281620 h 289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524" h="289155">
                    <a:moveTo>
                      <a:pt x="20825" y="281620"/>
                    </a:moveTo>
                    <a:cubicBezTo>
                      <a:pt x="25951" y="291872"/>
                      <a:pt x="42612" y="291872"/>
                      <a:pt x="46456" y="280338"/>
                    </a:cubicBezTo>
                    <a:cubicBezTo>
                      <a:pt x="47738" y="276493"/>
                      <a:pt x="49019" y="271367"/>
                      <a:pt x="43893" y="266241"/>
                    </a:cubicBezTo>
                    <a:lnTo>
                      <a:pt x="69524" y="229076"/>
                    </a:lnTo>
                    <a:cubicBezTo>
                      <a:pt x="52864" y="158591"/>
                      <a:pt x="36204" y="90669"/>
                      <a:pt x="19544" y="24029"/>
                    </a:cubicBezTo>
                    <a:cubicBezTo>
                      <a:pt x="32359" y="17621"/>
                      <a:pt x="27233" y="4806"/>
                      <a:pt x="18262" y="961"/>
                    </a:cubicBezTo>
                    <a:cubicBezTo>
                      <a:pt x="15699" y="-320"/>
                      <a:pt x="13136" y="-320"/>
                      <a:pt x="10573" y="961"/>
                    </a:cubicBezTo>
                    <a:cubicBezTo>
                      <a:pt x="-4806" y="6087"/>
                      <a:pt x="-961" y="20184"/>
                      <a:pt x="6728" y="24029"/>
                    </a:cubicBezTo>
                    <a:cubicBezTo>
                      <a:pt x="9291" y="25311"/>
                      <a:pt x="11854" y="25311"/>
                      <a:pt x="13136" y="25311"/>
                    </a:cubicBezTo>
                    <a:cubicBezTo>
                      <a:pt x="28515" y="90669"/>
                      <a:pt x="45175" y="158591"/>
                      <a:pt x="61835" y="227795"/>
                    </a:cubicBezTo>
                    <a:cubicBezTo>
                      <a:pt x="54146" y="238047"/>
                      <a:pt x="45175" y="252144"/>
                      <a:pt x="37485" y="262396"/>
                    </a:cubicBezTo>
                    <a:cubicBezTo>
                      <a:pt x="24670" y="259833"/>
                      <a:pt x="15699" y="272649"/>
                      <a:pt x="20825" y="28162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8" name="Freeform: Shape 380032">
                <a:extLst>
                  <a:ext uri="{FF2B5EF4-FFF2-40B4-BE49-F238E27FC236}">
                    <a16:creationId xmlns:a16="http://schemas.microsoft.com/office/drawing/2014/main" id="{1CA23D0F-DD12-4E35-92F4-BC58F9BF6F68}"/>
                  </a:ext>
                </a:extLst>
              </p:cNvPr>
              <p:cNvSpPr/>
              <p:nvPr/>
            </p:nvSpPr>
            <p:spPr>
              <a:xfrm>
                <a:off x="5649198" y="2834074"/>
                <a:ext cx="240010" cy="239101"/>
              </a:xfrm>
              <a:custGeom>
                <a:avLst/>
                <a:gdLst>
                  <a:gd name="connsiteX0" fmla="*/ 822 w 240010"/>
                  <a:gd name="connsiteY0" fmla="*/ 35171 h 239101"/>
                  <a:gd name="connsiteX1" fmla="*/ 12356 w 240010"/>
                  <a:gd name="connsiteY1" fmla="*/ 41579 h 239101"/>
                  <a:gd name="connsiteX2" fmla="*/ 17483 w 240010"/>
                  <a:gd name="connsiteY2" fmla="*/ 64647 h 239101"/>
                  <a:gd name="connsiteX3" fmla="*/ 63618 w 240010"/>
                  <a:gd name="connsiteY3" fmla="*/ 87715 h 239101"/>
                  <a:gd name="connsiteX4" fmla="*/ 78997 w 240010"/>
                  <a:gd name="connsiteY4" fmla="*/ 154355 h 239101"/>
                  <a:gd name="connsiteX5" fmla="*/ 213560 w 240010"/>
                  <a:gd name="connsiteY5" fmla="*/ 223558 h 239101"/>
                  <a:gd name="connsiteX6" fmla="*/ 234064 w 240010"/>
                  <a:gd name="connsiteY6" fmla="*/ 236374 h 239101"/>
                  <a:gd name="connsiteX7" fmla="*/ 228938 w 240010"/>
                  <a:gd name="connsiteY7" fmla="*/ 214588 h 239101"/>
                  <a:gd name="connsiteX8" fmla="*/ 216123 w 240010"/>
                  <a:gd name="connsiteY8" fmla="*/ 218432 h 239101"/>
                  <a:gd name="connsiteX9" fmla="*/ 84123 w 240010"/>
                  <a:gd name="connsiteY9" fmla="*/ 150510 h 239101"/>
                  <a:gd name="connsiteX10" fmla="*/ 71307 w 240010"/>
                  <a:gd name="connsiteY10" fmla="*/ 91559 h 239101"/>
                  <a:gd name="connsiteX11" fmla="*/ 111036 w 240010"/>
                  <a:gd name="connsiteY11" fmla="*/ 112064 h 239101"/>
                  <a:gd name="connsiteX12" fmla="*/ 118725 w 240010"/>
                  <a:gd name="connsiteY12" fmla="*/ 145384 h 239101"/>
                  <a:gd name="connsiteX13" fmla="*/ 204589 w 240010"/>
                  <a:gd name="connsiteY13" fmla="*/ 188957 h 239101"/>
                  <a:gd name="connsiteX14" fmla="*/ 225094 w 240010"/>
                  <a:gd name="connsiteY14" fmla="*/ 201772 h 239101"/>
                  <a:gd name="connsiteX15" fmla="*/ 219967 w 240010"/>
                  <a:gd name="connsiteY15" fmla="*/ 179986 h 239101"/>
                  <a:gd name="connsiteX16" fmla="*/ 207152 w 240010"/>
                  <a:gd name="connsiteY16" fmla="*/ 183831 h 239101"/>
                  <a:gd name="connsiteX17" fmla="*/ 122570 w 240010"/>
                  <a:gd name="connsiteY17" fmla="*/ 141540 h 239101"/>
                  <a:gd name="connsiteX18" fmla="*/ 116162 w 240010"/>
                  <a:gd name="connsiteY18" fmla="*/ 114627 h 239101"/>
                  <a:gd name="connsiteX19" fmla="*/ 194336 w 240010"/>
                  <a:gd name="connsiteY19" fmla="*/ 154355 h 239101"/>
                  <a:gd name="connsiteX20" fmla="*/ 214841 w 240010"/>
                  <a:gd name="connsiteY20" fmla="*/ 167171 h 239101"/>
                  <a:gd name="connsiteX21" fmla="*/ 209715 w 240010"/>
                  <a:gd name="connsiteY21" fmla="*/ 145384 h 239101"/>
                  <a:gd name="connsiteX22" fmla="*/ 198181 w 240010"/>
                  <a:gd name="connsiteY22" fmla="*/ 149229 h 239101"/>
                  <a:gd name="connsiteX23" fmla="*/ 114880 w 240010"/>
                  <a:gd name="connsiteY23" fmla="*/ 106938 h 239101"/>
                  <a:gd name="connsiteX24" fmla="*/ 94375 w 240010"/>
                  <a:gd name="connsiteY24" fmla="*/ 21074 h 239101"/>
                  <a:gd name="connsiteX25" fmla="*/ 94375 w 240010"/>
                  <a:gd name="connsiteY25" fmla="*/ 570 h 239101"/>
                  <a:gd name="connsiteX26" fmla="*/ 86686 w 240010"/>
                  <a:gd name="connsiteY26" fmla="*/ 570 h 239101"/>
                  <a:gd name="connsiteX27" fmla="*/ 82841 w 240010"/>
                  <a:gd name="connsiteY27" fmla="*/ 22356 h 239101"/>
                  <a:gd name="connsiteX28" fmla="*/ 89249 w 240010"/>
                  <a:gd name="connsiteY28" fmla="*/ 23637 h 239101"/>
                  <a:gd name="connsiteX29" fmla="*/ 108473 w 240010"/>
                  <a:gd name="connsiteY29" fmla="*/ 104375 h 239101"/>
                  <a:gd name="connsiteX30" fmla="*/ 68744 w 240010"/>
                  <a:gd name="connsiteY30" fmla="*/ 83870 h 239101"/>
                  <a:gd name="connsiteX31" fmla="*/ 57210 w 240010"/>
                  <a:gd name="connsiteY31" fmla="*/ 31327 h 239101"/>
                  <a:gd name="connsiteX32" fmla="*/ 57210 w 240010"/>
                  <a:gd name="connsiteY32" fmla="*/ 10822 h 239101"/>
                  <a:gd name="connsiteX33" fmla="*/ 40551 w 240010"/>
                  <a:gd name="connsiteY33" fmla="*/ 26200 h 239101"/>
                  <a:gd name="connsiteX34" fmla="*/ 52084 w 240010"/>
                  <a:gd name="connsiteY34" fmla="*/ 32608 h 239101"/>
                  <a:gd name="connsiteX35" fmla="*/ 62337 w 240010"/>
                  <a:gd name="connsiteY35" fmla="*/ 81307 h 239101"/>
                  <a:gd name="connsiteX36" fmla="*/ 22608 w 240010"/>
                  <a:gd name="connsiteY36" fmla="*/ 60802 h 239101"/>
                  <a:gd name="connsiteX37" fmla="*/ 18764 w 240010"/>
                  <a:gd name="connsiteY37" fmla="*/ 40297 h 239101"/>
                  <a:gd name="connsiteX38" fmla="*/ 18764 w 240010"/>
                  <a:gd name="connsiteY38" fmla="*/ 18511 h 239101"/>
                  <a:gd name="connsiteX39" fmla="*/ 822 w 240010"/>
                  <a:gd name="connsiteY39" fmla="*/ 35171 h 23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40010" h="239101">
                    <a:moveTo>
                      <a:pt x="822" y="35171"/>
                    </a:moveTo>
                    <a:cubicBezTo>
                      <a:pt x="2104" y="37734"/>
                      <a:pt x="4667" y="41579"/>
                      <a:pt x="12356" y="41579"/>
                    </a:cubicBezTo>
                    <a:cubicBezTo>
                      <a:pt x="13638" y="49268"/>
                      <a:pt x="14919" y="56958"/>
                      <a:pt x="17483" y="64647"/>
                    </a:cubicBezTo>
                    <a:lnTo>
                      <a:pt x="63618" y="87715"/>
                    </a:lnTo>
                    <a:cubicBezTo>
                      <a:pt x="68744" y="109501"/>
                      <a:pt x="73871" y="131287"/>
                      <a:pt x="78997" y="154355"/>
                    </a:cubicBezTo>
                    <a:cubicBezTo>
                      <a:pt x="120007" y="174860"/>
                      <a:pt x="173831" y="201772"/>
                      <a:pt x="213560" y="223558"/>
                    </a:cubicBezTo>
                    <a:cubicBezTo>
                      <a:pt x="209715" y="237655"/>
                      <a:pt x="225094" y="242782"/>
                      <a:pt x="234064" y="236374"/>
                    </a:cubicBezTo>
                    <a:cubicBezTo>
                      <a:pt x="244317" y="229966"/>
                      <a:pt x="240472" y="215869"/>
                      <a:pt x="228938" y="214588"/>
                    </a:cubicBezTo>
                    <a:cubicBezTo>
                      <a:pt x="222530" y="213306"/>
                      <a:pt x="218686" y="217151"/>
                      <a:pt x="216123" y="218432"/>
                    </a:cubicBezTo>
                    <a:cubicBezTo>
                      <a:pt x="176395" y="197928"/>
                      <a:pt x="123851" y="171015"/>
                      <a:pt x="84123" y="150510"/>
                    </a:cubicBezTo>
                    <a:cubicBezTo>
                      <a:pt x="80278" y="130006"/>
                      <a:pt x="75152" y="110782"/>
                      <a:pt x="71307" y="91559"/>
                    </a:cubicBezTo>
                    <a:lnTo>
                      <a:pt x="111036" y="112064"/>
                    </a:lnTo>
                    <a:cubicBezTo>
                      <a:pt x="113599" y="123598"/>
                      <a:pt x="116162" y="133850"/>
                      <a:pt x="118725" y="145384"/>
                    </a:cubicBezTo>
                    <a:cubicBezTo>
                      <a:pt x="144356" y="158200"/>
                      <a:pt x="178958" y="176141"/>
                      <a:pt x="204589" y="188957"/>
                    </a:cubicBezTo>
                    <a:cubicBezTo>
                      <a:pt x="200744" y="201772"/>
                      <a:pt x="216123" y="208180"/>
                      <a:pt x="225094" y="201772"/>
                    </a:cubicBezTo>
                    <a:cubicBezTo>
                      <a:pt x="235346" y="195364"/>
                      <a:pt x="231501" y="181267"/>
                      <a:pt x="219967" y="179986"/>
                    </a:cubicBezTo>
                    <a:cubicBezTo>
                      <a:pt x="213560" y="178704"/>
                      <a:pt x="209715" y="182549"/>
                      <a:pt x="207152" y="183831"/>
                    </a:cubicBezTo>
                    <a:lnTo>
                      <a:pt x="122570" y="141540"/>
                    </a:lnTo>
                    <a:cubicBezTo>
                      <a:pt x="120007" y="132569"/>
                      <a:pt x="118725" y="123598"/>
                      <a:pt x="116162" y="114627"/>
                    </a:cubicBezTo>
                    <a:cubicBezTo>
                      <a:pt x="139229" y="126161"/>
                      <a:pt x="171268" y="142821"/>
                      <a:pt x="194336" y="154355"/>
                    </a:cubicBezTo>
                    <a:cubicBezTo>
                      <a:pt x="190492" y="167171"/>
                      <a:pt x="205870" y="173578"/>
                      <a:pt x="214841" y="167171"/>
                    </a:cubicBezTo>
                    <a:cubicBezTo>
                      <a:pt x="225094" y="160763"/>
                      <a:pt x="221249" y="146666"/>
                      <a:pt x="209715" y="145384"/>
                    </a:cubicBezTo>
                    <a:cubicBezTo>
                      <a:pt x="203307" y="144103"/>
                      <a:pt x="199463" y="147947"/>
                      <a:pt x="198181" y="149229"/>
                    </a:cubicBezTo>
                    <a:lnTo>
                      <a:pt x="114880" y="106938"/>
                    </a:lnTo>
                    <a:cubicBezTo>
                      <a:pt x="108473" y="77462"/>
                      <a:pt x="102065" y="49268"/>
                      <a:pt x="94375" y="21074"/>
                    </a:cubicBezTo>
                    <a:cubicBezTo>
                      <a:pt x="105909" y="14667"/>
                      <a:pt x="103346" y="3133"/>
                      <a:pt x="94375" y="570"/>
                    </a:cubicBezTo>
                    <a:cubicBezTo>
                      <a:pt x="91812" y="-712"/>
                      <a:pt x="89249" y="570"/>
                      <a:pt x="86686" y="570"/>
                    </a:cubicBezTo>
                    <a:cubicBezTo>
                      <a:pt x="72589" y="5696"/>
                      <a:pt x="75152" y="18511"/>
                      <a:pt x="82841" y="22356"/>
                    </a:cubicBezTo>
                    <a:cubicBezTo>
                      <a:pt x="85405" y="23637"/>
                      <a:pt x="87968" y="23637"/>
                      <a:pt x="89249" y="23637"/>
                    </a:cubicBezTo>
                    <a:cubicBezTo>
                      <a:pt x="95657" y="50550"/>
                      <a:pt x="102065" y="77462"/>
                      <a:pt x="108473" y="104375"/>
                    </a:cubicBezTo>
                    <a:lnTo>
                      <a:pt x="68744" y="83870"/>
                    </a:lnTo>
                    <a:cubicBezTo>
                      <a:pt x="64900" y="65928"/>
                      <a:pt x="61055" y="47987"/>
                      <a:pt x="57210" y="31327"/>
                    </a:cubicBezTo>
                    <a:cubicBezTo>
                      <a:pt x="68744" y="24919"/>
                      <a:pt x="66181" y="13385"/>
                      <a:pt x="57210" y="10822"/>
                    </a:cubicBezTo>
                    <a:cubicBezTo>
                      <a:pt x="46958" y="6977"/>
                      <a:pt x="35424" y="17230"/>
                      <a:pt x="40551" y="26200"/>
                    </a:cubicBezTo>
                    <a:cubicBezTo>
                      <a:pt x="41832" y="28764"/>
                      <a:pt x="44395" y="32608"/>
                      <a:pt x="52084" y="32608"/>
                    </a:cubicBezTo>
                    <a:cubicBezTo>
                      <a:pt x="55929" y="47987"/>
                      <a:pt x="58492" y="64647"/>
                      <a:pt x="62337" y="81307"/>
                    </a:cubicBezTo>
                    <a:lnTo>
                      <a:pt x="22608" y="60802"/>
                    </a:lnTo>
                    <a:cubicBezTo>
                      <a:pt x="21327" y="54395"/>
                      <a:pt x="20045" y="46705"/>
                      <a:pt x="18764" y="40297"/>
                    </a:cubicBezTo>
                    <a:cubicBezTo>
                      <a:pt x="30298" y="33890"/>
                      <a:pt x="27735" y="22356"/>
                      <a:pt x="18764" y="18511"/>
                    </a:cubicBezTo>
                    <a:cubicBezTo>
                      <a:pt x="7230" y="15948"/>
                      <a:pt x="-3022" y="26200"/>
                      <a:pt x="822" y="3517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89" name="Freeform: Shape 380033">
                <a:extLst>
                  <a:ext uri="{FF2B5EF4-FFF2-40B4-BE49-F238E27FC236}">
                    <a16:creationId xmlns:a16="http://schemas.microsoft.com/office/drawing/2014/main" id="{999F2179-0C71-499E-808D-0F4464D6CB09}"/>
                  </a:ext>
                </a:extLst>
              </p:cNvPr>
              <p:cNvSpPr/>
              <p:nvPr/>
            </p:nvSpPr>
            <p:spPr>
              <a:xfrm>
                <a:off x="6007397" y="3188671"/>
                <a:ext cx="114233" cy="315286"/>
              </a:xfrm>
              <a:custGeom>
                <a:avLst/>
                <a:gdLst>
                  <a:gd name="connsiteX0" fmla="*/ 1457 w 114233"/>
                  <a:gd name="connsiteY0" fmla="*/ 307251 h 315286"/>
                  <a:gd name="connsiteX1" fmla="*/ 27088 w 114233"/>
                  <a:gd name="connsiteY1" fmla="*/ 305969 h 315286"/>
                  <a:gd name="connsiteX2" fmla="*/ 24525 w 114233"/>
                  <a:gd name="connsiteY2" fmla="*/ 291872 h 315286"/>
                  <a:gd name="connsiteX3" fmla="*/ 114234 w 114233"/>
                  <a:gd name="connsiteY3" fmla="*/ 159873 h 315286"/>
                  <a:gd name="connsiteX4" fmla="*/ 80913 w 114233"/>
                  <a:gd name="connsiteY4" fmla="*/ 24029 h 315286"/>
                  <a:gd name="connsiteX5" fmla="*/ 79632 w 114233"/>
                  <a:gd name="connsiteY5" fmla="*/ 961 h 315286"/>
                  <a:gd name="connsiteX6" fmla="*/ 71943 w 114233"/>
                  <a:gd name="connsiteY6" fmla="*/ 961 h 315286"/>
                  <a:gd name="connsiteX7" fmla="*/ 68098 w 114233"/>
                  <a:gd name="connsiteY7" fmla="*/ 25311 h 315286"/>
                  <a:gd name="connsiteX8" fmla="*/ 74506 w 114233"/>
                  <a:gd name="connsiteY8" fmla="*/ 26592 h 315286"/>
                  <a:gd name="connsiteX9" fmla="*/ 107826 w 114233"/>
                  <a:gd name="connsiteY9" fmla="*/ 159873 h 315286"/>
                  <a:gd name="connsiteX10" fmla="*/ 19399 w 114233"/>
                  <a:gd name="connsiteY10" fmla="*/ 289309 h 315286"/>
                  <a:gd name="connsiteX11" fmla="*/ 1457 w 114233"/>
                  <a:gd name="connsiteY11" fmla="*/ 307251 h 31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233" h="315286">
                    <a:moveTo>
                      <a:pt x="1457" y="307251"/>
                    </a:moveTo>
                    <a:cubicBezTo>
                      <a:pt x="6584" y="318785"/>
                      <a:pt x="23244" y="317503"/>
                      <a:pt x="27088" y="305969"/>
                    </a:cubicBezTo>
                    <a:cubicBezTo>
                      <a:pt x="29652" y="300843"/>
                      <a:pt x="28370" y="295717"/>
                      <a:pt x="24525" y="291872"/>
                    </a:cubicBezTo>
                    <a:cubicBezTo>
                      <a:pt x="51438" y="252144"/>
                      <a:pt x="87321" y="199601"/>
                      <a:pt x="114234" y="159873"/>
                    </a:cubicBezTo>
                    <a:cubicBezTo>
                      <a:pt x="102700" y="113737"/>
                      <a:pt x="91166" y="68883"/>
                      <a:pt x="80913" y="24029"/>
                    </a:cubicBezTo>
                    <a:cubicBezTo>
                      <a:pt x="93729" y="17621"/>
                      <a:pt x="88603" y="3524"/>
                      <a:pt x="79632" y="961"/>
                    </a:cubicBezTo>
                    <a:cubicBezTo>
                      <a:pt x="77069" y="-320"/>
                      <a:pt x="73224" y="-320"/>
                      <a:pt x="71943" y="961"/>
                    </a:cubicBezTo>
                    <a:cubicBezTo>
                      <a:pt x="56564" y="6087"/>
                      <a:pt x="60409" y="20184"/>
                      <a:pt x="68098" y="25311"/>
                    </a:cubicBezTo>
                    <a:cubicBezTo>
                      <a:pt x="70661" y="26592"/>
                      <a:pt x="73224" y="26592"/>
                      <a:pt x="74506" y="26592"/>
                    </a:cubicBezTo>
                    <a:cubicBezTo>
                      <a:pt x="86040" y="70165"/>
                      <a:pt x="96292" y="115019"/>
                      <a:pt x="107826" y="159873"/>
                    </a:cubicBezTo>
                    <a:cubicBezTo>
                      <a:pt x="80913" y="198319"/>
                      <a:pt x="46311" y="250863"/>
                      <a:pt x="19399" y="289309"/>
                    </a:cubicBezTo>
                    <a:cubicBezTo>
                      <a:pt x="5302" y="284183"/>
                      <a:pt x="-3669" y="296998"/>
                      <a:pt x="1457" y="3072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0" name="Freeform: Shape 380034">
                <a:extLst>
                  <a:ext uri="{FF2B5EF4-FFF2-40B4-BE49-F238E27FC236}">
                    <a16:creationId xmlns:a16="http://schemas.microsoft.com/office/drawing/2014/main" id="{2F10300D-3584-4976-8FED-5B735A73375B}"/>
                  </a:ext>
                </a:extLst>
              </p:cNvPr>
              <p:cNvSpPr/>
              <p:nvPr/>
            </p:nvSpPr>
            <p:spPr>
              <a:xfrm>
                <a:off x="5999563" y="3089992"/>
                <a:ext cx="81058" cy="328102"/>
              </a:xfrm>
              <a:custGeom>
                <a:avLst/>
                <a:gdLst>
                  <a:gd name="connsiteX0" fmla="*/ 32359 w 81058"/>
                  <a:gd name="connsiteY0" fmla="*/ 320066 h 328102"/>
                  <a:gd name="connsiteX1" fmla="*/ 57990 w 81058"/>
                  <a:gd name="connsiteY1" fmla="*/ 318784 h 328102"/>
                  <a:gd name="connsiteX2" fmla="*/ 55427 w 81058"/>
                  <a:gd name="connsiteY2" fmla="*/ 304687 h 328102"/>
                  <a:gd name="connsiteX3" fmla="*/ 81058 w 81058"/>
                  <a:gd name="connsiteY3" fmla="*/ 267523 h 328102"/>
                  <a:gd name="connsiteX4" fmla="*/ 19544 w 81058"/>
                  <a:gd name="connsiteY4" fmla="*/ 24029 h 328102"/>
                  <a:gd name="connsiteX5" fmla="*/ 18262 w 81058"/>
                  <a:gd name="connsiteY5" fmla="*/ 961 h 328102"/>
                  <a:gd name="connsiteX6" fmla="*/ 10573 w 81058"/>
                  <a:gd name="connsiteY6" fmla="*/ 961 h 328102"/>
                  <a:gd name="connsiteX7" fmla="*/ 6728 w 81058"/>
                  <a:gd name="connsiteY7" fmla="*/ 24029 h 328102"/>
                  <a:gd name="connsiteX8" fmla="*/ 13136 w 81058"/>
                  <a:gd name="connsiteY8" fmla="*/ 25310 h 328102"/>
                  <a:gd name="connsiteX9" fmla="*/ 73369 w 81058"/>
                  <a:gd name="connsiteY9" fmla="*/ 266241 h 328102"/>
                  <a:gd name="connsiteX10" fmla="*/ 49019 w 81058"/>
                  <a:gd name="connsiteY10" fmla="*/ 300843 h 328102"/>
                  <a:gd name="connsiteX11" fmla="*/ 32359 w 81058"/>
                  <a:gd name="connsiteY11" fmla="*/ 320066 h 32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058" h="328102">
                    <a:moveTo>
                      <a:pt x="32359" y="320066"/>
                    </a:moveTo>
                    <a:cubicBezTo>
                      <a:pt x="37485" y="331600"/>
                      <a:pt x="54145" y="330318"/>
                      <a:pt x="57990" y="318784"/>
                    </a:cubicBezTo>
                    <a:cubicBezTo>
                      <a:pt x="59272" y="313658"/>
                      <a:pt x="59272" y="309814"/>
                      <a:pt x="55427" y="304687"/>
                    </a:cubicBezTo>
                    <a:lnTo>
                      <a:pt x="81058" y="267523"/>
                    </a:lnTo>
                    <a:cubicBezTo>
                      <a:pt x="60553" y="184222"/>
                      <a:pt x="40049" y="102203"/>
                      <a:pt x="19544" y="24029"/>
                    </a:cubicBezTo>
                    <a:cubicBezTo>
                      <a:pt x="32359" y="17621"/>
                      <a:pt x="27233" y="4806"/>
                      <a:pt x="18262" y="961"/>
                    </a:cubicBezTo>
                    <a:cubicBezTo>
                      <a:pt x="15699" y="-320"/>
                      <a:pt x="13136" y="-320"/>
                      <a:pt x="10573" y="961"/>
                    </a:cubicBezTo>
                    <a:cubicBezTo>
                      <a:pt x="-4806" y="6087"/>
                      <a:pt x="-961" y="20184"/>
                      <a:pt x="6728" y="24029"/>
                    </a:cubicBezTo>
                    <a:cubicBezTo>
                      <a:pt x="9291" y="25310"/>
                      <a:pt x="11854" y="25310"/>
                      <a:pt x="13136" y="25310"/>
                    </a:cubicBezTo>
                    <a:cubicBezTo>
                      <a:pt x="33640" y="103485"/>
                      <a:pt x="52864" y="184222"/>
                      <a:pt x="73369" y="266241"/>
                    </a:cubicBezTo>
                    <a:cubicBezTo>
                      <a:pt x="65679" y="276493"/>
                      <a:pt x="56708" y="290590"/>
                      <a:pt x="49019" y="300843"/>
                    </a:cubicBezTo>
                    <a:cubicBezTo>
                      <a:pt x="36204" y="296998"/>
                      <a:pt x="28515" y="311095"/>
                      <a:pt x="32359" y="32006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1" name="Freeform: Shape 380035">
                <a:extLst>
                  <a:ext uri="{FF2B5EF4-FFF2-40B4-BE49-F238E27FC236}">
                    <a16:creationId xmlns:a16="http://schemas.microsoft.com/office/drawing/2014/main" id="{1DAD940A-D861-4B25-A5DA-73DD386687B1}"/>
                  </a:ext>
                </a:extLst>
              </p:cNvPr>
              <p:cNvSpPr/>
              <p:nvPr/>
            </p:nvSpPr>
            <p:spPr>
              <a:xfrm>
                <a:off x="5954858" y="2919103"/>
                <a:ext cx="241177" cy="195744"/>
              </a:xfrm>
              <a:custGeom>
                <a:avLst/>
                <a:gdLst>
                  <a:gd name="connsiteX0" fmla="*/ 1453 w 241177"/>
                  <a:gd name="connsiteY0" fmla="*/ 18065 h 195744"/>
                  <a:gd name="connsiteX1" fmla="*/ 23240 w 241177"/>
                  <a:gd name="connsiteY1" fmla="*/ 20628 h 195744"/>
                  <a:gd name="connsiteX2" fmla="*/ 206501 w 241177"/>
                  <a:gd name="connsiteY2" fmla="*/ 115462 h 195744"/>
                  <a:gd name="connsiteX3" fmla="*/ 221880 w 241177"/>
                  <a:gd name="connsiteY3" fmla="*/ 171850 h 195744"/>
                  <a:gd name="connsiteX4" fmla="*/ 223161 w 241177"/>
                  <a:gd name="connsiteY4" fmla="*/ 194918 h 195744"/>
                  <a:gd name="connsiteX5" fmla="*/ 239821 w 241177"/>
                  <a:gd name="connsiteY5" fmla="*/ 178258 h 195744"/>
                  <a:gd name="connsiteX6" fmla="*/ 227006 w 241177"/>
                  <a:gd name="connsiteY6" fmla="*/ 170569 h 195744"/>
                  <a:gd name="connsiteX7" fmla="*/ 210346 w 241177"/>
                  <a:gd name="connsiteY7" fmla="*/ 111618 h 195744"/>
                  <a:gd name="connsiteX8" fmla="*/ 24521 w 241177"/>
                  <a:gd name="connsiteY8" fmla="*/ 15502 h 195744"/>
                  <a:gd name="connsiteX9" fmla="*/ 9142 w 241177"/>
                  <a:gd name="connsiteY9" fmla="*/ 123 h 195744"/>
                  <a:gd name="connsiteX10" fmla="*/ 1453 w 241177"/>
                  <a:gd name="connsiteY10" fmla="*/ 18065 h 19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1177" h="195744">
                    <a:moveTo>
                      <a:pt x="1453" y="18065"/>
                    </a:moveTo>
                    <a:cubicBezTo>
                      <a:pt x="4016" y="24472"/>
                      <a:pt x="14268" y="28317"/>
                      <a:pt x="23240" y="20628"/>
                    </a:cubicBezTo>
                    <a:cubicBezTo>
                      <a:pt x="78346" y="48822"/>
                      <a:pt x="151395" y="87268"/>
                      <a:pt x="206501" y="115462"/>
                    </a:cubicBezTo>
                    <a:cubicBezTo>
                      <a:pt x="211627" y="134685"/>
                      <a:pt x="216753" y="152627"/>
                      <a:pt x="221880" y="171850"/>
                    </a:cubicBezTo>
                    <a:cubicBezTo>
                      <a:pt x="210346" y="178258"/>
                      <a:pt x="214190" y="191073"/>
                      <a:pt x="223161" y="194918"/>
                    </a:cubicBezTo>
                    <a:cubicBezTo>
                      <a:pt x="234695" y="198763"/>
                      <a:pt x="244948" y="188510"/>
                      <a:pt x="239821" y="178258"/>
                    </a:cubicBezTo>
                    <a:cubicBezTo>
                      <a:pt x="238540" y="175695"/>
                      <a:pt x="234695" y="171850"/>
                      <a:pt x="227006" y="170569"/>
                    </a:cubicBezTo>
                    <a:cubicBezTo>
                      <a:pt x="221880" y="150064"/>
                      <a:pt x="215472" y="130841"/>
                      <a:pt x="210346" y="111618"/>
                    </a:cubicBezTo>
                    <a:cubicBezTo>
                      <a:pt x="155239" y="82142"/>
                      <a:pt x="80909" y="43696"/>
                      <a:pt x="24521" y="15502"/>
                    </a:cubicBezTo>
                    <a:cubicBezTo>
                      <a:pt x="25802" y="7812"/>
                      <a:pt x="20676" y="-1158"/>
                      <a:pt x="9142" y="123"/>
                    </a:cubicBezTo>
                    <a:cubicBezTo>
                      <a:pt x="-4955" y="5249"/>
                      <a:pt x="1453" y="18065"/>
                      <a:pt x="1453" y="1806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2" name="Freeform: Shape 380036">
                <a:extLst>
                  <a:ext uri="{FF2B5EF4-FFF2-40B4-BE49-F238E27FC236}">
                    <a16:creationId xmlns:a16="http://schemas.microsoft.com/office/drawing/2014/main" id="{A54473B3-1C91-4461-B9E5-0E055481F9EF}"/>
                  </a:ext>
                </a:extLst>
              </p:cNvPr>
              <p:cNvSpPr/>
              <p:nvPr/>
            </p:nvSpPr>
            <p:spPr>
              <a:xfrm>
                <a:off x="6159589" y="2910575"/>
                <a:ext cx="85828" cy="386706"/>
              </a:xfrm>
              <a:custGeom>
                <a:avLst/>
                <a:gdLst>
                  <a:gd name="connsiteX0" fmla="*/ 59439 w 85828"/>
                  <a:gd name="connsiteY0" fmla="*/ 379017 h 386706"/>
                  <a:gd name="connsiteX1" fmla="*/ 85070 w 85828"/>
                  <a:gd name="connsiteY1" fmla="*/ 379017 h 386706"/>
                  <a:gd name="connsiteX2" fmla="*/ 72255 w 85828"/>
                  <a:gd name="connsiteY2" fmla="*/ 361075 h 386706"/>
                  <a:gd name="connsiteX3" fmla="*/ 47905 w 85828"/>
                  <a:gd name="connsiteY3" fmla="*/ 264960 h 386706"/>
                  <a:gd name="connsiteX4" fmla="*/ 77380 w 85828"/>
                  <a:gd name="connsiteY4" fmla="*/ 220105 h 386706"/>
                  <a:gd name="connsiteX5" fmla="*/ 19711 w 85828"/>
                  <a:gd name="connsiteY5" fmla="*/ 22747 h 386706"/>
                  <a:gd name="connsiteX6" fmla="*/ 17148 w 85828"/>
                  <a:gd name="connsiteY6" fmla="*/ 961 h 386706"/>
                  <a:gd name="connsiteX7" fmla="*/ 9458 w 85828"/>
                  <a:gd name="connsiteY7" fmla="*/ 961 h 386706"/>
                  <a:gd name="connsiteX8" fmla="*/ 6895 w 85828"/>
                  <a:gd name="connsiteY8" fmla="*/ 22747 h 386706"/>
                  <a:gd name="connsiteX9" fmla="*/ 13303 w 85828"/>
                  <a:gd name="connsiteY9" fmla="*/ 24029 h 386706"/>
                  <a:gd name="connsiteX10" fmla="*/ 69691 w 85828"/>
                  <a:gd name="connsiteY10" fmla="*/ 218824 h 386706"/>
                  <a:gd name="connsiteX11" fmla="*/ 40216 w 85828"/>
                  <a:gd name="connsiteY11" fmla="*/ 263678 h 386706"/>
                  <a:gd name="connsiteX12" fmla="*/ 65846 w 85828"/>
                  <a:gd name="connsiteY12" fmla="*/ 362357 h 386706"/>
                  <a:gd name="connsiteX13" fmla="*/ 59439 w 85828"/>
                  <a:gd name="connsiteY13" fmla="*/ 379017 h 38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828" h="386706">
                    <a:moveTo>
                      <a:pt x="59439" y="379017"/>
                    </a:moveTo>
                    <a:cubicBezTo>
                      <a:pt x="64565" y="389269"/>
                      <a:pt x="79944" y="389269"/>
                      <a:pt x="85070" y="379017"/>
                    </a:cubicBezTo>
                    <a:cubicBezTo>
                      <a:pt x="87633" y="372609"/>
                      <a:pt x="83789" y="362357"/>
                      <a:pt x="72255" y="361075"/>
                    </a:cubicBezTo>
                    <a:cubicBezTo>
                      <a:pt x="64565" y="329037"/>
                      <a:pt x="55594" y="296998"/>
                      <a:pt x="47905" y="264960"/>
                    </a:cubicBezTo>
                    <a:lnTo>
                      <a:pt x="77380" y="220105"/>
                    </a:lnTo>
                    <a:cubicBezTo>
                      <a:pt x="58157" y="152183"/>
                      <a:pt x="38934" y="86825"/>
                      <a:pt x="19711" y="22747"/>
                    </a:cubicBezTo>
                    <a:cubicBezTo>
                      <a:pt x="31245" y="16340"/>
                      <a:pt x="26119" y="3524"/>
                      <a:pt x="17148" y="961"/>
                    </a:cubicBezTo>
                    <a:cubicBezTo>
                      <a:pt x="14585" y="-320"/>
                      <a:pt x="12022" y="-320"/>
                      <a:pt x="9458" y="961"/>
                    </a:cubicBezTo>
                    <a:cubicBezTo>
                      <a:pt x="-4639" y="4806"/>
                      <a:pt x="-794" y="18903"/>
                      <a:pt x="6895" y="22747"/>
                    </a:cubicBezTo>
                    <a:cubicBezTo>
                      <a:pt x="9458" y="24029"/>
                      <a:pt x="12022" y="24029"/>
                      <a:pt x="13303" y="24029"/>
                    </a:cubicBezTo>
                    <a:cubicBezTo>
                      <a:pt x="32526" y="86825"/>
                      <a:pt x="51750" y="152183"/>
                      <a:pt x="69691" y="218824"/>
                    </a:cubicBezTo>
                    <a:lnTo>
                      <a:pt x="40216" y="263678"/>
                    </a:lnTo>
                    <a:cubicBezTo>
                      <a:pt x="49187" y="295717"/>
                      <a:pt x="56876" y="329037"/>
                      <a:pt x="65846" y="362357"/>
                    </a:cubicBezTo>
                    <a:cubicBezTo>
                      <a:pt x="54312" y="368765"/>
                      <a:pt x="58157" y="377736"/>
                      <a:pt x="59439" y="3790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3" name="Freeform: Shape 380037">
                <a:extLst>
                  <a:ext uri="{FF2B5EF4-FFF2-40B4-BE49-F238E27FC236}">
                    <a16:creationId xmlns:a16="http://schemas.microsoft.com/office/drawing/2014/main" id="{C69DDB38-345D-4202-A664-2DCDA29338A4}"/>
                  </a:ext>
                </a:extLst>
              </p:cNvPr>
              <p:cNvSpPr/>
              <p:nvPr/>
            </p:nvSpPr>
            <p:spPr>
              <a:xfrm>
                <a:off x="6227512" y="3005410"/>
                <a:ext cx="46623" cy="173969"/>
              </a:xfrm>
              <a:custGeom>
                <a:avLst/>
                <a:gdLst>
                  <a:gd name="connsiteX0" fmla="*/ 3051 w 46623"/>
                  <a:gd name="connsiteY0" fmla="*/ 166281 h 173969"/>
                  <a:gd name="connsiteX1" fmla="*/ 27400 w 46623"/>
                  <a:gd name="connsiteY1" fmla="*/ 166281 h 173969"/>
                  <a:gd name="connsiteX2" fmla="*/ 23555 w 46623"/>
                  <a:gd name="connsiteY2" fmla="*/ 153465 h 173969"/>
                  <a:gd name="connsiteX3" fmla="*/ 46623 w 46623"/>
                  <a:gd name="connsiteY3" fmla="*/ 118863 h 173969"/>
                  <a:gd name="connsiteX4" fmla="*/ 19711 w 46623"/>
                  <a:gd name="connsiteY4" fmla="*/ 24029 h 173969"/>
                  <a:gd name="connsiteX5" fmla="*/ 17148 w 46623"/>
                  <a:gd name="connsiteY5" fmla="*/ 961 h 173969"/>
                  <a:gd name="connsiteX6" fmla="*/ 9458 w 46623"/>
                  <a:gd name="connsiteY6" fmla="*/ 961 h 173969"/>
                  <a:gd name="connsiteX7" fmla="*/ 6895 w 46623"/>
                  <a:gd name="connsiteY7" fmla="*/ 24029 h 173969"/>
                  <a:gd name="connsiteX8" fmla="*/ 13303 w 46623"/>
                  <a:gd name="connsiteY8" fmla="*/ 25310 h 173969"/>
                  <a:gd name="connsiteX9" fmla="*/ 40216 w 46623"/>
                  <a:gd name="connsiteY9" fmla="*/ 117582 h 173969"/>
                  <a:gd name="connsiteX10" fmla="*/ 18429 w 46623"/>
                  <a:gd name="connsiteY10" fmla="*/ 150902 h 173969"/>
                  <a:gd name="connsiteX11" fmla="*/ 3051 w 46623"/>
                  <a:gd name="connsiteY11" fmla="*/ 166281 h 173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23" h="173969">
                    <a:moveTo>
                      <a:pt x="3051" y="166281"/>
                    </a:moveTo>
                    <a:cubicBezTo>
                      <a:pt x="8177" y="176533"/>
                      <a:pt x="23555" y="176533"/>
                      <a:pt x="27400" y="166281"/>
                    </a:cubicBezTo>
                    <a:cubicBezTo>
                      <a:pt x="28682" y="163717"/>
                      <a:pt x="29963" y="158591"/>
                      <a:pt x="23555" y="153465"/>
                    </a:cubicBezTo>
                    <a:lnTo>
                      <a:pt x="46623" y="118863"/>
                    </a:lnTo>
                    <a:cubicBezTo>
                      <a:pt x="37652" y="86825"/>
                      <a:pt x="28682" y="54786"/>
                      <a:pt x="19711" y="24029"/>
                    </a:cubicBezTo>
                    <a:cubicBezTo>
                      <a:pt x="31245" y="17621"/>
                      <a:pt x="26118" y="4806"/>
                      <a:pt x="17148" y="961"/>
                    </a:cubicBezTo>
                    <a:cubicBezTo>
                      <a:pt x="14584" y="-320"/>
                      <a:pt x="12021" y="-320"/>
                      <a:pt x="9458" y="961"/>
                    </a:cubicBezTo>
                    <a:cubicBezTo>
                      <a:pt x="-4638" y="4806"/>
                      <a:pt x="-794" y="18903"/>
                      <a:pt x="6895" y="24029"/>
                    </a:cubicBezTo>
                    <a:cubicBezTo>
                      <a:pt x="9458" y="25310"/>
                      <a:pt x="12021" y="25310"/>
                      <a:pt x="13303" y="25310"/>
                    </a:cubicBezTo>
                    <a:cubicBezTo>
                      <a:pt x="22274" y="56068"/>
                      <a:pt x="31245" y="86825"/>
                      <a:pt x="40216" y="117582"/>
                    </a:cubicBezTo>
                    <a:cubicBezTo>
                      <a:pt x="33808" y="127834"/>
                      <a:pt x="24837" y="140650"/>
                      <a:pt x="18429" y="150902"/>
                    </a:cubicBezTo>
                    <a:cubicBezTo>
                      <a:pt x="6895" y="144494"/>
                      <a:pt x="-2076" y="156028"/>
                      <a:pt x="3051" y="16628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894" name="Graphic 379285">
                <a:extLst>
                  <a:ext uri="{FF2B5EF4-FFF2-40B4-BE49-F238E27FC236}">
                    <a16:creationId xmlns:a16="http://schemas.microsoft.com/office/drawing/2014/main" id="{D973D960-FBCD-4D6F-9AA8-88935B4C1FE3}"/>
                  </a:ext>
                </a:extLst>
              </p:cNvPr>
              <p:cNvGrpSpPr/>
              <p:nvPr/>
            </p:nvGrpSpPr>
            <p:grpSpPr>
              <a:xfrm>
                <a:off x="6097769" y="2980740"/>
                <a:ext cx="339278" cy="1061107"/>
                <a:chOff x="6097769" y="2980740"/>
                <a:chExt cx="339278" cy="1061107"/>
              </a:xfrm>
              <a:grpFill/>
            </p:grpSpPr>
            <p:sp>
              <p:nvSpPr>
                <p:cNvPr id="971" name="Freeform: Shape 380039">
                  <a:extLst>
                    <a:ext uri="{FF2B5EF4-FFF2-40B4-BE49-F238E27FC236}">
                      <a16:creationId xmlns:a16="http://schemas.microsoft.com/office/drawing/2014/main" id="{4E11A5C5-174F-4C87-8B2A-AFA3AA8FD3B6}"/>
                    </a:ext>
                  </a:extLst>
                </p:cNvPr>
                <p:cNvSpPr/>
                <p:nvPr/>
              </p:nvSpPr>
              <p:spPr>
                <a:xfrm>
                  <a:off x="6313863" y="3078137"/>
                  <a:ext cx="32038" cy="65358"/>
                </a:xfrm>
                <a:custGeom>
                  <a:avLst/>
                  <a:gdLst>
                    <a:gd name="connsiteX0" fmla="*/ 7689 w 32038"/>
                    <a:gd name="connsiteY0" fmla="*/ 65359 h 65358"/>
                    <a:gd name="connsiteX1" fmla="*/ 0 w 32038"/>
                    <a:gd name="connsiteY1" fmla="*/ 37165 h 65358"/>
                    <a:gd name="connsiteX2" fmla="*/ 24349 w 32038"/>
                    <a:gd name="connsiteY2" fmla="*/ 0 h 65358"/>
                    <a:gd name="connsiteX3" fmla="*/ 32039 w 32038"/>
                    <a:gd name="connsiteY3" fmla="*/ 28194 h 65358"/>
                    <a:gd name="connsiteX4" fmla="*/ 7689 w 32038"/>
                    <a:gd name="connsiteY4" fmla="*/ 65359 h 653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38" h="65358">
                      <a:moveTo>
                        <a:pt x="7689" y="65359"/>
                      </a:moveTo>
                      <a:cubicBezTo>
                        <a:pt x="5126" y="56388"/>
                        <a:pt x="2563" y="46136"/>
                        <a:pt x="0" y="37165"/>
                      </a:cubicBezTo>
                      <a:lnTo>
                        <a:pt x="24349" y="0"/>
                      </a:lnTo>
                      <a:cubicBezTo>
                        <a:pt x="26912" y="8971"/>
                        <a:pt x="29476" y="17942"/>
                        <a:pt x="32039" y="28194"/>
                      </a:cubicBezTo>
                      <a:lnTo>
                        <a:pt x="7689" y="65359"/>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72" name="Freeform: Shape 380040">
                  <a:extLst>
                    <a:ext uri="{FF2B5EF4-FFF2-40B4-BE49-F238E27FC236}">
                      <a16:creationId xmlns:a16="http://schemas.microsoft.com/office/drawing/2014/main" id="{2A03B80A-DECA-4060-B49E-72B3906AE789}"/>
                    </a:ext>
                  </a:extLst>
                </p:cNvPr>
                <p:cNvSpPr/>
                <p:nvPr/>
              </p:nvSpPr>
              <p:spPr>
                <a:xfrm>
                  <a:off x="6097769" y="2980740"/>
                  <a:ext cx="339278" cy="1061107"/>
                </a:xfrm>
                <a:custGeom>
                  <a:avLst/>
                  <a:gdLst>
                    <a:gd name="connsiteX0" fmla="*/ 12327 w 339278"/>
                    <a:gd name="connsiteY0" fmla="*/ 771490 h 1061107"/>
                    <a:gd name="connsiteX1" fmla="*/ 37959 w 339278"/>
                    <a:gd name="connsiteY1" fmla="*/ 767646 h 1061107"/>
                    <a:gd name="connsiteX2" fmla="*/ 25143 w 339278"/>
                    <a:gd name="connsiteY2" fmla="*/ 752267 h 1061107"/>
                    <a:gd name="connsiteX3" fmla="*/ 11046 w 339278"/>
                    <a:gd name="connsiteY3" fmla="*/ 690753 h 1061107"/>
                    <a:gd name="connsiteX4" fmla="*/ 39240 w 339278"/>
                    <a:gd name="connsiteY4" fmla="*/ 651025 h 1061107"/>
                    <a:gd name="connsiteX5" fmla="*/ 45648 w 339278"/>
                    <a:gd name="connsiteY5" fmla="*/ 681782 h 1061107"/>
                    <a:gd name="connsiteX6" fmla="*/ 53337 w 339278"/>
                    <a:gd name="connsiteY6" fmla="*/ 718947 h 1061107"/>
                    <a:gd name="connsiteX7" fmla="*/ 62308 w 339278"/>
                    <a:gd name="connsiteY7" fmla="*/ 757393 h 1061107"/>
                    <a:gd name="connsiteX8" fmla="*/ 100754 w 339278"/>
                    <a:gd name="connsiteY8" fmla="*/ 780461 h 1061107"/>
                    <a:gd name="connsiteX9" fmla="*/ 121259 w 339278"/>
                    <a:gd name="connsiteY9" fmla="*/ 795840 h 1061107"/>
                    <a:gd name="connsiteX10" fmla="*/ 118696 w 339278"/>
                    <a:gd name="connsiteY10" fmla="*/ 772772 h 1061107"/>
                    <a:gd name="connsiteX11" fmla="*/ 103317 w 339278"/>
                    <a:gd name="connsiteY11" fmla="*/ 776617 h 1061107"/>
                    <a:gd name="connsiteX12" fmla="*/ 67434 w 339278"/>
                    <a:gd name="connsiteY12" fmla="*/ 754830 h 1061107"/>
                    <a:gd name="connsiteX13" fmla="*/ 59745 w 339278"/>
                    <a:gd name="connsiteY13" fmla="*/ 718947 h 1061107"/>
                    <a:gd name="connsiteX14" fmla="*/ 52055 w 339278"/>
                    <a:gd name="connsiteY14" fmla="*/ 681782 h 1061107"/>
                    <a:gd name="connsiteX15" fmla="*/ 44366 w 339278"/>
                    <a:gd name="connsiteY15" fmla="*/ 644617 h 1061107"/>
                    <a:gd name="connsiteX16" fmla="*/ 72560 w 339278"/>
                    <a:gd name="connsiteY16" fmla="*/ 604890 h 1061107"/>
                    <a:gd name="connsiteX17" fmla="*/ 87939 w 339278"/>
                    <a:gd name="connsiteY17" fmla="*/ 674093 h 1061107"/>
                    <a:gd name="connsiteX18" fmla="*/ 102036 w 339278"/>
                    <a:gd name="connsiteY18" fmla="*/ 736889 h 1061107"/>
                    <a:gd name="connsiteX19" fmla="*/ 107162 w 339278"/>
                    <a:gd name="connsiteY19" fmla="*/ 762520 h 1061107"/>
                    <a:gd name="connsiteX20" fmla="*/ 117415 w 339278"/>
                    <a:gd name="connsiteY20" fmla="*/ 740733 h 1061107"/>
                    <a:gd name="connsiteX21" fmla="*/ 107162 w 339278"/>
                    <a:gd name="connsiteY21" fmla="*/ 736889 h 1061107"/>
                    <a:gd name="connsiteX22" fmla="*/ 93065 w 339278"/>
                    <a:gd name="connsiteY22" fmla="*/ 674093 h 1061107"/>
                    <a:gd name="connsiteX23" fmla="*/ 76405 w 339278"/>
                    <a:gd name="connsiteY23" fmla="*/ 599763 h 1061107"/>
                    <a:gd name="connsiteX24" fmla="*/ 104599 w 339278"/>
                    <a:gd name="connsiteY24" fmla="*/ 560035 h 1061107"/>
                    <a:gd name="connsiteX25" fmla="*/ 144327 w 339278"/>
                    <a:gd name="connsiteY25" fmla="*/ 743296 h 1061107"/>
                    <a:gd name="connsiteX26" fmla="*/ 152016 w 339278"/>
                    <a:gd name="connsiteY26" fmla="*/ 780461 h 1061107"/>
                    <a:gd name="connsiteX27" fmla="*/ 189182 w 339278"/>
                    <a:gd name="connsiteY27" fmla="*/ 966285 h 1061107"/>
                    <a:gd name="connsiteX28" fmla="*/ 314773 w 339278"/>
                    <a:gd name="connsiteY28" fmla="*/ 1044460 h 1061107"/>
                    <a:gd name="connsiteX29" fmla="*/ 335278 w 339278"/>
                    <a:gd name="connsiteY29" fmla="*/ 1057275 h 1061107"/>
                    <a:gd name="connsiteX30" fmla="*/ 327589 w 339278"/>
                    <a:gd name="connsiteY30" fmla="*/ 1035489 h 1061107"/>
                    <a:gd name="connsiteX31" fmla="*/ 318618 w 339278"/>
                    <a:gd name="connsiteY31" fmla="*/ 1039333 h 1061107"/>
                    <a:gd name="connsiteX32" fmla="*/ 195589 w 339278"/>
                    <a:gd name="connsiteY32" fmla="*/ 962441 h 1061107"/>
                    <a:gd name="connsiteX33" fmla="*/ 159705 w 339278"/>
                    <a:gd name="connsiteY33" fmla="*/ 777898 h 1061107"/>
                    <a:gd name="connsiteX34" fmla="*/ 152016 w 339278"/>
                    <a:gd name="connsiteY34" fmla="*/ 740733 h 1061107"/>
                    <a:gd name="connsiteX35" fmla="*/ 111007 w 339278"/>
                    <a:gd name="connsiteY35" fmla="*/ 552346 h 1061107"/>
                    <a:gd name="connsiteX36" fmla="*/ 143046 w 339278"/>
                    <a:gd name="connsiteY36" fmla="*/ 504929 h 1061107"/>
                    <a:gd name="connsiteX37" fmla="*/ 143046 w 339278"/>
                    <a:gd name="connsiteY37" fmla="*/ 503647 h 1061107"/>
                    <a:gd name="connsiteX38" fmla="*/ 134075 w 339278"/>
                    <a:gd name="connsiteY38" fmla="*/ 466483 h 1061107"/>
                    <a:gd name="connsiteX39" fmla="*/ 134075 w 339278"/>
                    <a:gd name="connsiteY39" fmla="*/ 465201 h 1061107"/>
                    <a:gd name="connsiteX40" fmla="*/ 127667 w 339278"/>
                    <a:gd name="connsiteY40" fmla="*/ 439570 h 1061107"/>
                    <a:gd name="connsiteX41" fmla="*/ 121259 w 339278"/>
                    <a:gd name="connsiteY41" fmla="*/ 413939 h 1061107"/>
                    <a:gd name="connsiteX42" fmla="*/ 109725 w 339278"/>
                    <a:gd name="connsiteY42" fmla="*/ 434444 h 1061107"/>
                    <a:gd name="connsiteX43" fmla="*/ 121259 w 339278"/>
                    <a:gd name="connsiteY43" fmla="*/ 440852 h 1061107"/>
                    <a:gd name="connsiteX44" fmla="*/ 127667 w 339278"/>
                    <a:gd name="connsiteY44" fmla="*/ 466483 h 1061107"/>
                    <a:gd name="connsiteX45" fmla="*/ 127667 w 339278"/>
                    <a:gd name="connsiteY45" fmla="*/ 467764 h 1061107"/>
                    <a:gd name="connsiteX46" fmla="*/ 136638 w 339278"/>
                    <a:gd name="connsiteY46" fmla="*/ 503647 h 1061107"/>
                    <a:gd name="connsiteX47" fmla="*/ 109725 w 339278"/>
                    <a:gd name="connsiteY47" fmla="*/ 543375 h 1061107"/>
                    <a:gd name="connsiteX48" fmla="*/ 94347 w 339278"/>
                    <a:gd name="connsiteY48" fmla="*/ 474172 h 1061107"/>
                    <a:gd name="connsiteX49" fmla="*/ 85376 w 339278"/>
                    <a:gd name="connsiteY49" fmla="*/ 437007 h 1061107"/>
                    <a:gd name="connsiteX50" fmla="*/ 171239 w 339278"/>
                    <a:gd name="connsiteY50" fmla="*/ 310134 h 1061107"/>
                    <a:gd name="connsiteX51" fmla="*/ 186618 w 339278"/>
                    <a:gd name="connsiteY51" fmla="*/ 290911 h 1061107"/>
                    <a:gd name="connsiteX52" fmla="*/ 185337 w 339278"/>
                    <a:gd name="connsiteY52" fmla="*/ 289629 h 1061107"/>
                    <a:gd name="connsiteX53" fmla="*/ 201997 w 339278"/>
                    <a:gd name="connsiteY53" fmla="*/ 265280 h 1061107"/>
                    <a:gd name="connsiteX54" fmla="*/ 207123 w 339278"/>
                    <a:gd name="connsiteY54" fmla="*/ 266561 h 1061107"/>
                    <a:gd name="connsiteX55" fmla="*/ 250696 w 339278"/>
                    <a:gd name="connsiteY55" fmla="*/ 440852 h 1061107"/>
                    <a:gd name="connsiteX56" fmla="*/ 227628 w 339278"/>
                    <a:gd name="connsiteY56" fmla="*/ 475453 h 1061107"/>
                    <a:gd name="connsiteX57" fmla="*/ 212249 w 339278"/>
                    <a:gd name="connsiteY57" fmla="*/ 495958 h 1061107"/>
                    <a:gd name="connsiteX58" fmla="*/ 235317 w 339278"/>
                    <a:gd name="connsiteY58" fmla="*/ 493395 h 1061107"/>
                    <a:gd name="connsiteX59" fmla="*/ 232754 w 339278"/>
                    <a:gd name="connsiteY59" fmla="*/ 479298 h 1061107"/>
                    <a:gd name="connsiteX60" fmla="*/ 257104 w 339278"/>
                    <a:gd name="connsiteY60" fmla="*/ 442133 h 1061107"/>
                    <a:gd name="connsiteX61" fmla="*/ 257104 w 339278"/>
                    <a:gd name="connsiteY61" fmla="*/ 442133 h 1061107"/>
                    <a:gd name="connsiteX62" fmla="*/ 213531 w 339278"/>
                    <a:gd name="connsiteY62" fmla="*/ 266561 h 1061107"/>
                    <a:gd name="connsiteX63" fmla="*/ 217375 w 339278"/>
                    <a:gd name="connsiteY63" fmla="*/ 246057 h 1061107"/>
                    <a:gd name="connsiteX64" fmla="*/ 236599 w 339278"/>
                    <a:gd name="connsiteY64" fmla="*/ 216581 h 1061107"/>
                    <a:gd name="connsiteX65" fmla="*/ 291705 w 339278"/>
                    <a:gd name="connsiteY65" fmla="*/ 433162 h 1061107"/>
                    <a:gd name="connsiteX66" fmla="*/ 237880 w 339278"/>
                    <a:gd name="connsiteY66" fmla="*/ 513900 h 1061107"/>
                    <a:gd name="connsiteX67" fmla="*/ 223783 w 339278"/>
                    <a:gd name="connsiteY67" fmla="*/ 535686 h 1061107"/>
                    <a:gd name="connsiteX68" fmla="*/ 245570 w 339278"/>
                    <a:gd name="connsiteY68" fmla="*/ 522871 h 1061107"/>
                    <a:gd name="connsiteX69" fmla="*/ 241725 w 339278"/>
                    <a:gd name="connsiteY69" fmla="*/ 516463 h 1061107"/>
                    <a:gd name="connsiteX70" fmla="*/ 296832 w 339278"/>
                    <a:gd name="connsiteY70" fmla="*/ 433162 h 1061107"/>
                    <a:gd name="connsiteX71" fmla="*/ 296832 w 339278"/>
                    <a:gd name="connsiteY71" fmla="*/ 433162 h 1061107"/>
                    <a:gd name="connsiteX72" fmla="*/ 240443 w 339278"/>
                    <a:gd name="connsiteY72" fmla="*/ 208892 h 1061107"/>
                    <a:gd name="connsiteX73" fmla="*/ 230191 w 339278"/>
                    <a:gd name="connsiteY73" fmla="*/ 173009 h 1061107"/>
                    <a:gd name="connsiteX74" fmla="*/ 254540 w 339278"/>
                    <a:gd name="connsiteY74" fmla="*/ 125592 h 1061107"/>
                    <a:gd name="connsiteX75" fmla="*/ 244288 w 339278"/>
                    <a:gd name="connsiteY75" fmla="*/ 89708 h 1061107"/>
                    <a:gd name="connsiteX76" fmla="*/ 272482 w 339278"/>
                    <a:gd name="connsiteY76" fmla="*/ 47417 h 1061107"/>
                    <a:gd name="connsiteX77" fmla="*/ 264793 w 339278"/>
                    <a:gd name="connsiteY77" fmla="*/ 23068 h 1061107"/>
                    <a:gd name="connsiteX78" fmla="*/ 257104 w 339278"/>
                    <a:gd name="connsiteY78" fmla="*/ 0 h 1061107"/>
                    <a:gd name="connsiteX79" fmla="*/ 254540 w 339278"/>
                    <a:gd name="connsiteY79" fmla="*/ 0 h 1061107"/>
                    <a:gd name="connsiteX80" fmla="*/ 257104 w 339278"/>
                    <a:gd name="connsiteY80" fmla="*/ 24349 h 1061107"/>
                    <a:gd name="connsiteX81" fmla="*/ 259667 w 339278"/>
                    <a:gd name="connsiteY81" fmla="*/ 24349 h 1061107"/>
                    <a:gd name="connsiteX82" fmla="*/ 266074 w 339278"/>
                    <a:gd name="connsiteY82" fmla="*/ 46136 h 1061107"/>
                    <a:gd name="connsiteX83" fmla="*/ 241725 w 339278"/>
                    <a:gd name="connsiteY83" fmla="*/ 82019 h 1061107"/>
                    <a:gd name="connsiteX84" fmla="*/ 226346 w 339278"/>
                    <a:gd name="connsiteY84" fmla="*/ 30757 h 1061107"/>
                    <a:gd name="connsiteX85" fmla="*/ 218657 w 339278"/>
                    <a:gd name="connsiteY85" fmla="*/ 7689 h 1061107"/>
                    <a:gd name="connsiteX86" fmla="*/ 210968 w 339278"/>
                    <a:gd name="connsiteY86" fmla="*/ 28194 h 1061107"/>
                    <a:gd name="connsiteX87" fmla="*/ 221220 w 339278"/>
                    <a:gd name="connsiteY87" fmla="*/ 32039 h 1061107"/>
                    <a:gd name="connsiteX88" fmla="*/ 237880 w 339278"/>
                    <a:gd name="connsiteY88" fmla="*/ 88427 h 1061107"/>
                    <a:gd name="connsiteX89" fmla="*/ 213531 w 339278"/>
                    <a:gd name="connsiteY89" fmla="*/ 125592 h 1061107"/>
                    <a:gd name="connsiteX90" fmla="*/ 187900 w 339278"/>
                    <a:gd name="connsiteY90" fmla="*/ 38446 h 1061107"/>
                    <a:gd name="connsiteX91" fmla="*/ 180210 w 339278"/>
                    <a:gd name="connsiteY91" fmla="*/ 15379 h 1061107"/>
                    <a:gd name="connsiteX92" fmla="*/ 172521 w 339278"/>
                    <a:gd name="connsiteY92" fmla="*/ 35883 h 1061107"/>
                    <a:gd name="connsiteX93" fmla="*/ 182773 w 339278"/>
                    <a:gd name="connsiteY93" fmla="*/ 39728 h 1061107"/>
                    <a:gd name="connsiteX94" fmla="*/ 209686 w 339278"/>
                    <a:gd name="connsiteY94" fmla="*/ 131999 h 1061107"/>
                    <a:gd name="connsiteX95" fmla="*/ 158424 w 339278"/>
                    <a:gd name="connsiteY95" fmla="*/ 208892 h 1061107"/>
                    <a:gd name="connsiteX96" fmla="*/ 143046 w 339278"/>
                    <a:gd name="connsiteY96" fmla="*/ 228115 h 1061107"/>
                    <a:gd name="connsiteX97" fmla="*/ 167395 w 339278"/>
                    <a:gd name="connsiteY97" fmla="*/ 222989 h 1061107"/>
                    <a:gd name="connsiteX98" fmla="*/ 163550 w 339278"/>
                    <a:gd name="connsiteY98" fmla="*/ 211455 h 1061107"/>
                    <a:gd name="connsiteX99" fmla="*/ 212249 w 339278"/>
                    <a:gd name="connsiteY99" fmla="*/ 138407 h 1061107"/>
                    <a:gd name="connsiteX100" fmla="*/ 219938 w 339278"/>
                    <a:gd name="connsiteY100" fmla="*/ 166601 h 1061107"/>
                    <a:gd name="connsiteX101" fmla="*/ 168677 w 339278"/>
                    <a:gd name="connsiteY101" fmla="*/ 244775 h 1061107"/>
                    <a:gd name="connsiteX102" fmla="*/ 153298 w 339278"/>
                    <a:gd name="connsiteY102" fmla="*/ 263998 h 1061107"/>
                    <a:gd name="connsiteX103" fmla="*/ 177648 w 339278"/>
                    <a:gd name="connsiteY103" fmla="*/ 258872 h 1061107"/>
                    <a:gd name="connsiteX104" fmla="*/ 173803 w 339278"/>
                    <a:gd name="connsiteY104" fmla="*/ 247338 h 1061107"/>
                    <a:gd name="connsiteX105" fmla="*/ 222502 w 339278"/>
                    <a:gd name="connsiteY105" fmla="*/ 174290 h 1061107"/>
                    <a:gd name="connsiteX106" fmla="*/ 230191 w 339278"/>
                    <a:gd name="connsiteY106" fmla="*/ 202484 h 1061107"/>
                    <a:gd name="connsiteX107" fmla="*/ 208404 w 339278"/>
                    <a:gd name="connsiteY107" fmla="*/ 235804 h 1061107"/>
                    <a:gd name="connsiteX108" fmla="*/ 193026 w 339278"/>
                    <a:gd name="connsiteY108" fmla="*/ 255028 h 1061107"/>
                    <a:gd name="connsiteX109" fmla="*/ 194307 w 339278"/>
                    <a:gd name="connsiteY109" fmla="*/ 256309 h 1061107"/>
                    <a:gd name="connsiteX110" fmla="*/ 177648 w 339278"/>
                    <a:gd name="connsiteY110" fmla="*/ 280659 h 1061107"/>
                    <a:gd name="connsiteX111" fmla="*/ 162269 w 339278"/>
                    <a:gd name="connsiteY111" fmla="*/ 299882 h 1061107"/>
                    <a:gd name="connsiteX112" fmla="*/ 163550 w 339278"/>
                    <a:gd name="connsiteY112" fmla="*/ 301163 h 1061107"/>
                    <a:gd name="connsiteX113" fmla="*/ 76405 w 339278"/>
                    <a:gd name="connsiteY113" fmla="*/ 430599 h 1061107"/>
                    <a:gd name="connsiteX114" fmla="*/ 85376 w 339278"/>
                    <a:gd name="connsiteY114" fmla="*/ 470327 h 1061107"/>
                    <a:gd name="connsiteX115" fmla="*/ 102036 w 339278"/>
                    <a:gd name="connsiteY115" fmla="*/ 544657 h 1061107"/>
                    <a:gd name="connsiteX116" fmla="*/ 73842 w 339278"/>
                    <a:gd name="connsiteY116" fmla="*/ 584385 h 1061107"/>
                    <a:gd name="connsiteX117" fmla="*/ 58463 w 339278"/>
                    <a:gd name="connsiteY117" fmla="*/ 515181 h 1061107"/>
                    <a:gd name="connsiteX118" fmla="*/ 52055 w 339278"/>
                    <a:gd name="connsiteY118" fmla="*/ 489550 h 1061107"/>
                    <a:gd name="connsiteX119" fmla="*/ 45648 w 339278"/>
                    <a:gd name="connsiteY119" fmla="*/ 463919 h 1061107"/>
                    <a:gd name="connsiteX120" fmla="*/ 35395 w 339278"/>
                    <a:gd name="connsiteY120" fmla="*/ 486987 h 1061107"/>
                    <a:gd name="connsiteX121" fmla="*/ 45648 w 339278"/>
                    <a:gd name="connsiteY121" fmla="*/ 492113 h 1061107"/>
                    <a:gd name="connsiteX122" fmla="*/ 52055 w 339278"/>
                    <a:gd name="connsiteY122" fmla="*/ 517744 h 1061107"/>
                    <a:gd name="connsiteX123" fmla="*/ 68715 w 339278"/>
                    <a:gd name="connsiteY123" fmla="*/ 593356 h 1061107"/>
                    <a:gd name="connsiteX124" fmla="*/ 40522 w 339278"/>
                    <a:gd name="connsiteY124" fmla="*/ 633084 h 1061107"/>
                    <a:gd name="connsiteX125" fmla="*/ 34114 w 339278"/>
                    <a:gd name="connsiteY125" fmla="*/ 602326 h 1061107"/>
                    <a:gd name="connsiteX126" fmla="*/ 20016 w 339278"/>
                    <a:gd name="connsiteY126" fmla="*/ 539531 h 1061107"/>
                    <a:gd name="connsiteX127" fmla="*/ 13609 w 339278"/>
                    <a:gd name="connsiteY127" fmla="*/ 513900 h 1061107"/>
                    <a:gd name="connsiteX128" fmla="*/ 3357 w 339278"/>
                    <a:gd name="connsiteY128" fmla="*/ 536968 h 1061107"/>
                    <a:gd name="connsiteX129" fmla="*/ 13609 w 339278"/>
                    <a:gd name="connsiteY129" fmla="*/ 540812 h 1061107"/>
                    <a:gd name="connsiteX130" fmla="*/ 27706 w 339278"/>
                    <a:gd name="connsiteY130" fmla="*/ 603608 h 1061107"/>
                    <a:gd name="connsiteX131" fmla="*/ 35395 w 339278"/>
                    <a:gd name="connsiteY131" fmla="*/ 640773 h 1061107"/>
                    <a:gd name="connsiteX132" fmla="*/ 2075 w 339278"/>
                    <a:gd name="connsiteY132" fmla="*/ 688190 h 1061107"/>
                    <a:gd name="connsiteX133" fmla="*/ 16172 w 339278"/>
                    <a:gd name="connsiteY133" fmla="*/ 752267 h 1061107"/>
                    <a:gd name="connsiteX134" fmla="*/ 12327 w 339278"/>
                    <a:gd name="connsiteY134" fmla="*/ 771490 h 106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339278" h="1061107">
                      <a:moveTo>
                        <a:pt x="12327" y="771490"/>
                      </a:moveTo>
                      <a:cubicBezTo>
                        <a:pt x="20016" y="784306"/>
                        <a:pt x="35395" y="780461"/>
                        <a:pt x="37959" y="767646"/>
                      </a:cubicBezTo>
                      <a:cubicBezTo>
                        <a:pt x="37959" y="766364"/>
                        <a:pt x="40522" y="754830"/>
                        <a:pt x="25143" y="752267"/>
                      </a:cubicBezTo>
                      <a:cubicBezTo>
                        <a:pt x="20016" y="731762"/>
                        <a:pt x="16172" y="711258"/>
                        <a:pt x="11046" y="690753"/>
                      </a:cubicBezTo>
                      <a:lnTo>
                        <a:pt x="39240" y="651025"/>
                      </a:lnTo>
                      <a:cubicBezTo>
                        <a:pt x="41803" y="661278"/>
                        <a:pt x="44366" y="671530"/>
                        <a:pt x="45648" y="681782"/>
                      </a:cubicBezTo>
                      <a:cubicBezTo>
                        <a:pt x="48211" y="694598"/>
                        <a:pt x="50774" y="707413"/>
                        <a:pt x="53337" y="718947"/>
                      </a:cubicBezTo>
                      <a:cubicBezTo>
                        <a:pt x="55900" y="731762"/>
                        <a:pt x="58463" y="744578"/>
                        <a:pt x="62308" y="757393"/>
                      </a:cubicBezTo>
                      <a:cubicBezTo>
                        <a:pt x="73842" y="763801"/>
                        <a:pt x="89220" y="772772"/>
                        <a:pt x="100754" y="780461"/>
                      </a:cubicBezTo>
                      <a:cubicBezTo>
                        <a:pt x="98191" y="799684"/>
                        <a:pt x="117415" y="798403"/>
                        <a:pt x="121259" y="795840"/>
                      </a:cubicBezTo>
                      <a:cubicBezTo>
                        <a:pt x="130230" y="788151"/>
                        <a:pt x="127667" y="776617"/>
                        <a:pt x="118696" y="772772"/>
                      </a:cubicBezTo>
                      <a:cubicBezTo>
                        <a:pt x="113570" y="770209"/>
                        <a:pt x="108444" y="771490"/>
                        <a:pt x="103317" y="776617"/>
                      </a:cubicBezTo>
                      <a:lnTo>
                        <a:pt x="67434" y="754830"/>
                      </a:lnTo>
                      <a:cubicBezTo>
                        <a:pt x="64871" y="743296"/>
                        <a:pt x="62308" y="730481"/>
                        <a:pt x="59745" y="718947"/>
                      </a:cubicBezTo>
                      <a:cubicBezTo>
                        <a:pt x="57181" y="706132"/>
                        <a:pt x="54618" y="693316"/>
                        <a:pt x="52055" y="681782"/>
                      </a:cubicBezTo>
                      <a:cubicBezTo>
                        <a:pt x="49493" y="668967"/>
                        <a:pt x="46929" y="657433"/>
                        <a:pt x="44366" y="644617"/>
                      </a:cubicBezTo>
                      <a:lnTo>
                        <a:pt x="72560" y="604890"/>
                      </a:lnTo>
                      <a:cubicBezTo>
                        <a:pt x="77686" y="627957"/>
                        <a:pt x="82813" y="651025"/>
                        <a:pt x="87939" y="674093"/>
                      </a:cubicBezTo>
                      <a:cubicBezTo>
                        <a:pt x="93065" y="694598"/>
                        <a:pt x="96910" y="716384"/>
                        <a:pt x="102036" y="736889"/>
                      </a:cubicBezTo>
                      <a:cubicBezTo>
                        <a:pt x="85376" y="749704"/>
                        <a:pt x="99473" y="762520"/>
                        <a:pt x="107162" y="762520"/>
                      </a:cubicBezTo>
                      <a:cubicBezTo>
                        <a:pt x="117415" y="762520"/>
                        <a:pt x="125104" y="748423"/>
                        <a:pt x="117415" y="740733"/>
                      </a:cubicBezTo>
                      <a:cubicBezTo>
                        <a:pt x="114851" y="738170"/>
                        <a:pt x="111007" y="736889"/>
                        <a:pt x="107162" y="736889"/>
                      </a:cubicBezTo>
                      <a:cubicBezTo>
                        <a:pt x="103317" y="716384"/>
                        <a:pt x="98191" y="694598"/>
                        <a:pt x="93065" y="674093"/>
                      </a:cubicBezTo>
                      <a:cubicBezTo>
                        <a:pt x="87939" y="649744"/>
                        <a:pt x="81531" y="624113"/>
                        <a:pt x="76405" y="599763"/>
                      </a:cubicBezTo>
                      <a:lnTo>
                        <a:pt x="104599" y="560035"/>
                      </a:lnTo>
                      <a:cubicBezTo>
                        <a:pt x="118696" y="621550"/>
                        <a:pt x="131512" y="681782"/>
                        <a:pt x="144327" y="743296"/>
                      </a:cubicBezTo>
                      <a:cubicBezTo>
                        <a:pt x="146890" y="756112"/>
                        <a:pt x="149453" y="768927"/>
                        <a:pt x="152016" y="780461"/>
                      </a:cubicBezTo>
                      <a:cubicBezTo>
                        <a:pt x="164832" y="843257"/>
                        <a:pt x="177648" y="906053"/>
                        <a:pt x="189182" y="966285"/>
                      </a:cubicBezTo>
                      <a:cubicBezTo>
                        <a:pt x="226346" y="989353"/>
                        <a:pt x="277608" y="1020110"/>
                        <a:pt x="314773" y="1044460"/>
                      </a:cubicBezTo>
                      <a:cubicBezTo>
                        <a:pt x="312210" y="1063683"/>
                        <a:pt x="328871" y="1063683"/>
                        <a:pt x="335278" y="1057275"/>
                      </a:cubicBezTo>
                      <a:cubicBezTo>
                        <a:pt x="342967" y="1049586"/>
                        <a:pt x="339123" y="1035489"/>
                        <a:pt x="327589" y="1035489"/>
                      </a:cubicBezTo>
                      <a:cubicBezTo>
                        <a:pt x="325026" y="1035489"/>
                        <a:pt x="321181" y="1038052"/>
                        <a:pt x="318618" y="1039333"/>
                      </a:cubicBezTo>
                      <a:cubicBezTo>
                        <a:pt x="281453" y="1016266"/>
                        <a:pt x="232754" y="984227"/>
                        <a:pt x="195589" y="962441"/>
                      </a:cubicBezTo>
                      <a:cubicBezTo>
                        <a:pt x="184055" y="902208"/>
                        <a:pt x="172521" y="840694"/>
                        <a:pt x="159705" y="777898"/>
                      </a:cubicBezTo>
                      <a:cubicBezTo>
                        <a:pt x="157143" y="765083"/>
                        <a:pt x="154580" y="752267"/>
                        <a:pt x="152016" y="740733"/>
                      </a:cubicBezTo>
                      <a:cubicBezTo>
                        <a:pt x="139201" y="677938"/>
                        <a:pt x="125104" y="615142"/>
                        <a:pt x="111007" y="552346"/>
                      </a:cubicBezTo>
                      <a:lnTo>
                        <a:pt x="143046" y="504929"/>
                      </a:lnTo>
                      <a:cubicBezTo>
                        <a:pt x="143046" y="504929"/>
                        <a:pt x="143046" y="503647"/>
                        <a:pt x="143046" y="503647"/>
                      </a:cubicBezTo>
                      <a:cubicBezTo>
                        <a:pt x="140482" y="490832"/>
                        <a:pt x="136638" y="478017"/>
                        <a:pt x="134075" y="466483"/>
                      </a:cubicBezTo>
                      <a:cubicBezTo>
                        <a:pt x="134075" y="466483"/>
                        <a:pt x="134075" y="466483"/>
                        <a:pt x="134075" y="465201"/>
                      </a:cubicBezTo>
                      <a:cubicBezTo>
                        <a:pt x="131512" y="456230"/>
                        <a:pt x="130230" y="448541"/>
                        <a:pt x="127667" y="439570"/>
                      </a:cubicBezTo>
                      <a:cubicBezTo>
                        <a:pt x="145609" y="425473"/>
                        <a:pt x="126385" y="413939"/>
                        <a:pt x="121259" y="413939"/>
                      </a:cubicBezTo>
                      <a:cubicBezTo>
                        <a:pt x="111007" y="413939"/>
                        <a:pt x="104599" y="424192"/>
                        <a:pt x="109725" y="434444"/>
                      </a:cubicBezTo>
                      <a:cubicBezTo>
                        <a:pt x="112288" y="438289"/>
                        <a:pt x="117415" y="439570"/>
                        <a:pt x="121259" y="440852"/>
                      </a:cubicBezTo>
                      <a:cubicBezTo>
                        <a:pt x="123822" y="449822"/>
                        <a:pt x="125104" y="457512"/>
                        <a:pt x="127667" y="466483"/>
                      </a:cubicBezTo>
                      <a:cubicBezTo>
                        <a:pt x="127667" y="466483"/>
                        <a:pt x="127667" y="466483"/>
                        <a:pt x="127667" y="467764"/>
                      </a:cubicBezTo>
                      <a:cubicBezTo>
                        <a:pt x="130230" y="479298"/>
                        <a:pt x="132793" y="492113"/>
                        <a:pt x="136638" y="503647"/>
                      </a:cubicBezTo>
                      <a:lnTo>
                        <a:pt x="109725" y="543375"/>
                      </a:lnTo>
                      <a:cubicBezTo>
                        <a:pt x="104599" y="520308"/>
                        <a:pt x="99473" y="497240"/>
                        <a:pt x="94347" y="474172"/>
                      </a:cubicBezTo>
                      <a:cubicBezTo>
                        <a:pt x="91783" y="461356"/>
                        <a:pt x="87939" y="448541"/>
                        <a:pt x="85376" y="437007"/>
                      </a:cubicBezTo>
                      <a:cubicBezTo>
                        <a:pt x="111007" y="398561"/>
                        <a:pt x="145609" y="348580"/>
                        <a:pt x="171239" y="310134"/>
                      </a:cubicBezTo>
                      <a:cubicBezTo>
                        <a:pt x="189182" y="312697"/>
                        <a:pt x="191744" y="297319"/>
                        <a:pt x="186618" y="290911"/>
                      </a:cubicBezTo>
                      <a:cubicBezTo>
                        <a:pt x="186618" y="290911"/>
                        <a:pt x="185337" y="289629"/>
                        <a:pt x="185337" y="289629"/>
                      </a:cubicBezTo>
                      <a:cubicBezTo>
                        <a:pt x="190463" y="281940"/>
                        <a:pt x="196870" y="272969"/>
                        <a:pt x="201997" y="265280"/>
                      </a:cubicBezTo>
                      <a:cubicBezTo>
                        <a:pt x="203278" y="265280"/>
                        <a:pt x="205841" y="266561"/>
                        <a:pt x="207123" y="266561"/>
                      </a:cubicBezTo>
                      <a:cubicBezTo>
                        <a:pt x="222502" y="322950"/>
                        <a:pt x="236599" y="381901"/>
                        <a:pt x="250696" y="440852"/>
                      </a:cubicBezTo>
                      <a:cubicBezTo>
                        <a:pt x="244288" y="451104"/>
                        <a:pt x="234036" y="465201"/>
                        <a:pt x="227628" y="475453"/>
                      </a:cubicBezTo>
                      <a:cubicBezTo>
                        <a:pt x="208404" y="471609"/>
                        <a:pt x="208404" y="490832"/>
                        <a:pt x="212249" y="495958"/>
                      </a:cubicBezTo>
                      <a:cubicBezTo>
                        <a:pt x="219938" y="504929"/>
                        <a:pt x="232754" y="502366"/>
                        <a:pt x="235317" y="493395"/>
                      </a:cubicBezTo>
                      <a:cubicBezTo>
                        <a:pt x="237880" y="485706"/>
                        <a:pt x="234036" y="480580"/>
                        <a:pt x="232754" y="479298"/>
                      </a:cubicBezTo>
                      <a:lnTo>
                        <a:pt x="257104" y="442133"/>
                      </a:lnTo>
                      <a:cubicBezTo>
                        <a:pt x="257104" y="442133"/>
                        <a:pt x="257104" y="442133"/>
                        <a:pt x="257104" y="442133"/>
                      </a:cubicBezTo>
                      <a:cubicBezTo>
                        <a:pt x="243006" y="381901"/>
                        <a:pt x="228909" y="322950"/>
                        <a:pt x="213531" y="266561"/>
                      </a:cubicBezTo>
                      <a:cubicBezTo>
                        <a:pt x="216094" y="263998"/>
                        <a:pt x="226346" y="256309"/>
                        <a:pt x="217375" y="246057"/>
                      </a:cubicBezTo>
                      <a:lnTo>
                        <a:pt x="236599" y="216581"/>
                      </a:lnTo>
                      <a:cubicBezTo>
                        <a:pt x="255822" y="287066"/>
                        <a:pt x="273764" y="358833"/>
                        <a:pt x="291705" y="433162"/>
                      </a:cubicBezTo>
                      <a:cubicBezTo>
                        <a:pt x="275045" y="457512"/>
                        <a:pt x="253259" y="489550"/>
                        <a:pt x="237880" y="513900"/>
                      </a:cubicBezTo>
                      <a:cubicBezTo>
                        <a:pt x="216094" y="510055"/>
                        <a:pt x="218657" y="531841"/>
                        <a:pt x="223783" y="535686"/>
                      </a:cubicBezTo>
                      <a:cubicBezTo>
                        <a:pt x="234036" y="544657"/>
                        <a:pt x="248133" y="536968"/>
                        <a:pt x="245570" y="522871"/>
                      </a:cubicBezTo>
                      <a:cubicBezTo>
                        <a:pt x="245570" y="520308"/>
                        <a:pt x="243006" y="517744"/>
                        <a:pt x="241725" y="516463"/>
                      </a:cubicBezTo>
                      <a:lnTo>
                        <a:pt x="296832" y="433162"/>
                      </a:lnTo>
                      <a:cubicBezTo>
                        <a:pt x="296832" y="433162"/>
                        <a:pt x="296832" y="433162"/>
                        <a:pt x="296832" y="433162"/>
                      </a:cubicBezTo>
                      <a:cubicBezTo>
                        <a:pt x="278890" y="356270"/>
                        <a:pt x="259667" y="281940"/>
                        <a:pt x="240443" y="208892"/>
                      </a:cubicBezTo>
                      <a:cubicBezTo>
                        <a:pt x="236599" y="197358"/>
                        <a:pt x="234036" y="184543"/>
                        <a:pt x="230191" y="173009"/>
                      </a:cubicBezTo>
                      <a:lnTo>
                        <a:pt x="254540" y="125592"/>
                      </a:lnTo>
                      <a:cubicBezTo>
                        <a:pt x="250696" y="114058"/>
                        <a:pt x="248133" y="102524"/>
                        <a:pt x="244288" y="89708"/>
                      </a:cubicBezTo>
                      <a:lnTo>
                        <a:pt x="272482" y="47417"/>
                      </a:lnTo>
                      <a:cubicBezTo>
                        <a:pt x="269919" y="39728"/>
                        <a:pt x="267356" y="30757"/>
                        <a:pt x="264793" y="23068"/>
                      </a:cubicBezTo>
                      <a:cubicBezTo>
                        <a:pt x="277608" y="12816"/>
                        <a:pt x="267356" y="1282"/>
                        <a:pt x="257104" y="0"/>
                      </a:cubicBezTo>
                      <a:cubicBezTo>
                        <a:pt x="255822" y="0"/>
                        <a:pt x="255822" y="0"/>
                        <a:pt x="254540" y="0"/>
                      </a:cubicBezTo>
                      <a:cubicBezTo>
                        <a:pt x="235317" y="10252"/>
                        <a:pt x="251977" y="23068"/>
                        <a:pt x="257104" y="24349"/>
                      </a:cubicBezTo>
                      <a:cubicBezTo>
                        <a:pt x="258385" y="24349"/>
                        <a:pt x="258385" y="24349"/>
                        <a:pt x="259667" y="24349"/>
                      </a:cubicBezTo>
                      <a:cubicBezTo>
                        <a:pt x="262230" y="32039"/>
                        <a:pt x="264793" y="38446"/>
                        <a:pt x="266074" y="46136"/>
                      </a:cubicBezTo>
                      <a:lnTo>
                        <a:pt x="241725" y="82019"/>
                      </a:lnTo>
                      <a:cubicBezTo>
                        <a:pt x="236599" y="64077"/>
                        <a:pt x="231472" y="47417"/>
                        <a:pt x="226346" y="30757"/>
                      </a:cubicBezTo>
                      <a:cubicBezTo>
                        <a:pt x="241725" y="17942"/>
                        <a:pt x="225065" y="7689"/>
                        <a:pt x="218657" y="7689"/>
                      </a:cubicBezTo>
                      <a:cubicBezTo>
                        <a:pt x="207123" y="7689"/>
                        <a:pt x="201997" y="20505"/>
                        <a:pt x="210968" y="28194"/>
                      </a:cubicBezTo>
                      <a:cubicBezTo>
                        <a:pt x="213531" y="30757"/>
                        <a:pt x="217375" y="32039"/>
                        <a:pt x="221220" y="32039"/>
                      </a:cubicBezTo>
                      <a:cubicBezTo>
                        <a:pt x="227628" y="51262"/>
                        <a:pt x="232754" y="69203"/>
                        <a:pt x="237880" y="88427"/>
                      </a:cubicBezTo>
                      <a:lnTo>
                        <a:pt x="213531" y="125592"/>
                      </a:lnTo>
                      <a:cubicBezTo>
                        <a:pt x="204560" y="96116"/>
                        <a:pt x="196870" y="66640"/>
                        <a:pt x="187900" y="38446"/>
                      </a:cubicBezTo>
                      <a:cubicBezTo>
                        <a:pt x="203278" y="25631"/>
                        <a:pt x="186618" y="15379"/>
                        <a:pt x="180210" y="15379"/>
                      </a:cubicBezTo>
                      <a:cubicBezTo>
                        <a:pt x="168677" y="15379"/>
                        <a:pt x="163550" y="28194"/>
                        <a:pt x="172521" y="35883"/>
                      </a:cubicBezTo>
                      <a:cubicBezTo>
                        <a:pt x="175084" y="38446"/>
                        <a:pt x="178929" y="39728"/>
                        <a:pt x="182773" y="39728"/>
                      </a:cubicBezTo>
                      <a:cubicBezTo>
                        <a:pt x="191744" y="70485"/>
                        <a:pt x="200715" y="101242"/>
                        <a:pt x="209686" y="131999"/>
                      </a:cubicBezTo>
                      <a:cubicBezTo>
                        <a:pt x="194307" y="155067"/>
                        <a:pt x="173803" y="185824"/>
                        <a:pt x="158424" y="208892"/>
                      </a:cubicBezTo>
                      <a:cubicBezTo>
                        <a:pt x="139201" y="206329"/>
                        <a:pt x="139201" y="224270"/>
                        <a:pt x="143046" y="228115"/>
                      </a:cubicBezTo>
                      <a:cubicBezTo>
                        <a:pt x="150735" y="237086"/>
                        <a:pt x="164832" y="234523"/>
                        <a:pt x="167395" y="222989"/>
                      </a:cubicBezTo>
                      <a:cubicBezTo>
                        <a:pt x="167395" y="219144"/>
                        <a:pt x="164832" y="215300"/>
                        <a:pt x="163550" y="211455"/>
                      </a:cubicBezTo>
                      <a:lnTo>
                        <a:pt x="212249" y="138407"/>
                      </a:lnTo>
                      <a:cubicBezTo>
                        <a:pt x="214812" y="147378"/>
                        <a:pt x="217375" y="157630"/>
                        <a:pt x="219938" y="166601"/>
                      </a:cubicBezTo>
                      <a:cubicBezTo>
                        <a:pt x="204560" y="189669"/>
                        <a:pt x="184055" y="220426"/>
                        <a:pt x="168677" y="244775"/>
                      </a:cubicBezTo>
                      <a:cubicBezTo>
                        <a:pt x="149453" y="242212"/>
                        <a:pt x="149453" y="260154"/>
                        <a:pt x="153298" y="263998"/>
                      </a:cubicBezTo>
                      <a:cubicBezTo>
                        <a:pt x="160987" y="272969"/>
                        <a:pt x="175084" y="270406"/>
                        <a:pt x="177648" y="258872"/>
                      </a:cubicBezTo>
                      <a:cubicBezTo>
                        <a:pt x="177648" y="256309"/>
                        <a:pt x="177648" y="252464"/>
                        <a:pt x="173803" y="247338"/>
                      </a:cubicBezTo>
                      <a:lnTo>
                        <a:pt x="222502" y="174290"/>
                      </a:lnTo>
                      <a:cubicBezTo>
                        <a:pt x="225065" y="183261"/>
                        <a:pt x="227628" y="193513"/>
                        <a:pt x="230191" y="202484"/>
                      </a:cubicBezTo>
                      <a:cubicBezTo>
                        <a:pt x="223783" y="212737"/>
                        <a:pt x="214812" y="225552"/>
                        <a:pt x="208404" y="235804"/>
                      </a:cubicBezTo>
                      <a:cubicBezTo>
                        <a:pt x="190463" y="233241"/>
                        <a:pt x="189182" y="248620"/>
                        <a:pt x="193026" y="255028"/>
                      </a:cubicBezTo>
                      <a:cubicBezTo>
                        <a:pt x="193026" y="255028"/>
                        <a:pt x="194307" y="256309"/>
                        <a:pt x="194307" y="256309"/>
                      </a:cubicBezTo>
                      <a:cubicBezTo>
                        <a:pt x="189182" y="263998"/>
                        <a:pt x="182773" y="272969"/>
                        <a:pt x="177648" y="280659"/>
                      </a:cubicBezTo>
                      <a:cubicBezTo>
                        <a:pt x="159705" y="278095"/>
                        <a:pt x="157143" y="293474"/>
                        <a:pt x="162269" y="299882"/>
                      </a:cubicBezTo>
                      <a:cubicBezTo>
                        <a:pt x="162269" y="299882"/>
                        <a:pt x="163550" y="301163"/>
                        <a:pt x="163550" y="301163"/>
                      </a:cubicBezTo>
                      <a:cubicBezTo>
                        <a:pt x="137919" y="339610"/>
                        <a:pt x="102036" y="392153"/>
                        <a:pt x="76405" y="430599"/>
                      </a:cubicBezTo>
                      <a:cubicBezTo>
                        <a:pt x="78968" y="443415"/>
                        <a:pt x="82813" y="457512"/>
                        <a:pt x="85376" y="470327"/>
                      </a:cubicBezTo>
                      <a:cubicBezTo>
                        <a:pt x="91783" y="494677"/>
                        <a:pt x="96910" y="520308"/>
                        <a:pt x="102036" y="544657"/>
                      </a:cubicBezTo>
                      <a:lnTo>
                        <a:pt x="73842" y="584385"/>
                      </a:lnTo>
                      <a:cubicBezTo>
                        <a:pt x="68715" y="561317"/>
                        <a:pt x="63589" y="538249"/>
                        <a:pt x="58463" y="515181"/>
                      </a:cubicBezTo>
                      <a:cubicBezTo>
                        <a:pt x="55900" y="506211"/>
                        <a:pt x="54618" y="498521"/>
                        <a:pt x="52055" y="489550"/>
                      </a:cubicBezTo>
                      <a:cubicBezTo>
                        <a:pt x="69997" y="475453"/>
                        <a:pt x="52055" y="463919"/>
                        <a:pt x="45648" y="463919"/>
                      </a:cubicBezTo>
                      <a:cubicBezTo>
                        <a:pt x="34114" y="463919"/>
                        <a:pt x="27706" y="478017"/>
                        <a:pt x="35395" y="486987"/>
                      </a:cubicBezTo>
                      <a:cubicBezTo>
                        <a:pt x="37959" y="489550"/>
                        <a:pt x="41803" y="490832"/>
                        <a:pt x="45648" y="492113"/>
                      </a:cubicBezTo>
                      <a:cubicBezTo>
                        <a:pt x="48211" y="501084"/>
                        <a:pt x="49493" y="508774"/>
                        <a:pt x="52055" y="517744"/>
                      </a:cubicBezTo>
                      <a:cubicBezTo>
                        <a:pt x="58463" y="543375"/>
                        <a:pt x="63589" y="567725"/>
                        <a:pt x="68715" y="593356"/>
                      </a:cubicBezTo>
                      <a:lnTo>
                        <a:pt x="40522" y="633084"/>
                      </a:lnTo>
                      <a:cubicBezTo>
                        <a:pt x="37959" y="622831"/>
                        <a:pt x="35395" y="612579"/>
                        <a:pt x="34114" y="602326"/>
                      </a:cubicBezTo>
                      <a:cubicBezTo>
                        <a:pt x="28988" y="581822"/>
                        <a:pt x="25143" y="560035"/>
                        <a:pt x="20016" y="539531"/>
                      </a:cubicBezTo>
                      <a:cubicBezTo>
                        <a:pt x="37959" y="525434"/>
                        <a:pt x="20016" y="513900"/>
                        <a:pt x="13609" y="513900"/>
                      </a:cubicBezTo>
                      <a:cubicBezTo>
                        <a:pt x="2075" y="513900"/>
                        <a:pt x="-4333" y="527997"/>
                        <a:pt x="3357" y="536968"/>
                      </a:cubicBezTo>
                      <a:cubicBezTo>
                        <a:pt x="5920" y="539531"/>
                        <a:pt x="9764" y="540812"/>
                        <a:pt x="13609" y="540812"/>
                      </a:cubicBezTo>
                      <a:cubicBezTo>
                        <a:pt x="18735" y="562599"/>
                        <a:pt x="23861" y="583103"/>
                        <a:pt x="27706" y="603608"/>
                      </a:cubicBezTo>
                      <a:cubicBezTo>
                        <a:pt x="30269" y="616423"/>
                        <a:pt x="32832" y="627957"/>
                        <a:pt x="35395" y="640773"/>
                      </a:cubicBezTo>
                      <a:lnTo>
                        <a:pt x="2075" y="688190"/>
                      </a:lnTo>
                      <a:cubicBezTo>
                        <a:pt x="7201" y="709976"/>
                        <a:pt x="11046" y="730481"/>
                        <a:pt x="16172" y="752267"/>
                      </a:cubicBezTo>
                      <a:cubicBezTo>
                        <a:pt x="14891" y="756112"/>
                        <a:pt x="9764" y="761238"/>
                        <a:pt x="12327" y="77149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895" name="Freeform: Shape 380041">
                <a:extLst>
                  <a:ext uri="{FF2B5EF4-FFF2-40B4-BE49-F238E27FC236}">
                    <a16:creationId xmlns:a16="http://schemas.microsoft.com/office/drawing/2014/main" id="{4B40B078-CB3B-43F5-B06A-289114A6BFAD}"/>
                  </a:ext>
                </a:extLst>
              </p:cNvPr>
              <p:cNvSpPr/>
              <p:nvPr/>
            </p:nvSpPr>
            <p:spPr>
              <a:xfrm>
                <a:off x="5953427" y="2531629"/>
                <a:ext cx="95155" cy="337784"/>
              </a:xfrm>
              <a:custGeom>
                <a:avLst/>
                <a:gdLst>
                  <a:gd name="connsiteX0" fmla="*/ 23388 w 95155"/>
                  <a:gd name="connsiteY0" fmla="*/ 331208 h 337784"/>
                  <a:gd name="connsiteX1" fmla="*/ 47737 w 95155"/>
                  <a:gd name="connsiteY1" fmla="*/ 329927 h 337784"/>
                  <a:gd name="connsiteX2" fmla="*/ 45175 w 95155"/>
                  <a:gd name="connsiteY2" fmla="*/ 318393 h 337784"/>
                  <a:gd name="connsiteX3" fmla="*/ 95155 w 95155"/>
                  <a:gd name="connsiteY3" fmla="*/ 246626 h 337784"/>
                  <a:gd name="connsiteX4" fmla="*/ 16981 w 95155"/>
                  <a:gd name="connsiteY4" fmla="*/ 18511 h 337784"/>
                  <a:gd name="connsiteX5" fmla="*/ 14417 w 95155"/>
                  <a:gd name="connsiteY5" fmla="*/ 570 h 337784"/>
                  <a:gd name="connsiteX6" fmla="*/ 8010 w 95155"/>
                  <a:gd name="connsiteY6" fmla="*/ 570 h 337784"/>
                  <a:gd name="connsiteX7" fmla="*/ 5447 w 95155"/>
                  <a:gd name="connsiteY7" fmla="*/ 18511 h 337784"/>
                  <a:gd name="connsiteX8" fmla="*/ 13136 w 95155"/>
                  <a:gd name="connsiteY8" fmla="*/ 21074 h 337784"/>
                  <a:gd name="connsiteX9" fmla="*/ 90029 w 95155"/>
                  <a:gd name="connsiteY9" fmla="*/ 246626 h 337784"/>
                  <a:gd name="connsiteX10" fmla="*/ 41330 w 95155"/>
                  <a:gd name="connsiteY10" fmla="*/ 315830 h 337784"/>
                  <a:gd name="connsiteX11" fmla="*/ 23388 w 95155"/>
                  <a:gd name="connsiteY11" fmla="*/ 331208 h 33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155" h="337784">
                    <a:moveTo>
                      <a:pt x="23388" y="331208"/>
                    </a:moveTo>
                    <a:cubicBezTo>
                      <a:pt x="28514" y="340179"/>
                      <a:pt x="43893" y="340179"/>
                      <a:pt x="47737" y="329927"/>
                    </a:cubicBezTo>
                    <a:cubicBezTo>
                      <a:pt x="49019" y="327364"/>
                      <a:pt x="49019" y="322237"/>
                      <a:pt x="45175" y="318393"/>
                    </a:cubicBezTo>
                    <a:lnTo>
                      <a:pt x="95155" y="246626"/>
                    </a:lnTo>
                    <a:cubicBezTo>
                      <a:pt x="69524" y="165889"/>
                      <a:pt x="43893" y="90278"/>
                      <a:pt x="16981" y="18511"/>
                    </a:cubicBezTo>
                    <a:cubicBezTo>
                      <a:pt x="27233" y="13385"/>
                      <a:pt x="22107" y="3133"/>
                      <a:pt x="14417" y="570"/>
                    </a:cubicBezTo>
                    <a:cubicBezTo>
                      <a:pt x="11854" y="-712"/>
                      <a:pt x="9291" y="570"/>
                      <a:pt x="8010" y="570"/>
                    </a:cubicBezTo>
                    <a:cubicBezTo>
                      <a:pt x="-3524" y="4414"/>
                      <a:pt x="-961" y="14667"/>
                      <a:pt x="5447" y="18511"/>
                    </a:cubicBezTo>
                    <a:cubicBezTo>
                      <a:pt x="8010" y="19793"/>
                      <a:pt x="10573" y="19793"/>
                      <a:pt x="13136" y="21074"/>
                    </a:cubicBezTo>
                    <a:cubicBezTo>
                      <a:pt x="38767" y="91559"/>
                      <a:pt x="64398" y="167170"/>
                      <a:pt x="90029" y="246626"/>
                    </a:cubicBezTo>
                    <a:cubicBezTo>
                      <a:pt x="74650" y="267131"/>
                      <a:pt x="55427" y="295325"/>
                      <a:pt x="41330" y="315830"/>
                    </a:cubicBezTo>
                    <a:cubicBezTo>
                      <a:pt x="25951" y="311985"/>
                      <a:pt x="18262" y="323519"/>
                      <a:pt x="23388" y="33120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6" name="Freeform: Shape 380042">
                <a:extLst>
                  <a:ext uri="{FF2B5EF4-FFF2-40B4-BE49-F238E27FC236}">
                    <a16:creationId xmlns:a16="http://schemas.microsoft.com/office/drawing/2014/main" id="{8DE0126E-E0D1-479E-A937-C4B8D392A056}"/>
                  </a:ext>
                </a:extLst>
              </p:cNvPr>
              <p:cNvSpPr/>
              <p:nvPr/>
            </p:nvSpPr>
            <p:spPr>
              <a:xfrm>
                <a:off x="5875847" y="2508562"/>
                <a:ext cx="126425" cy="326912"/>
              </a:xfrm>
              <a:custGeom>
                <a:avLst/>
                <a:gdLst>
                  <a:gd name="connsiteX0" fmla="*/ 6134 w 126425"/>
                  <a:gd name="connsiteY0" fmla="*/ 306859 h 326912"/>
                  <a:gd name="connsiteX1" fmla="*/ 30483 w 126425"/>
                  <a:gd name="connsiteY1" fmla="*/ 305577 h 326912"/>
                  <a:gd name="connsiteX2" fmla="*/ 27920 w 126425"/>
                  <a:gd name="connsiteY2" fmla="*/ 294044 h 326912"/>
                  <a:gd name="connsiteX3" fmla="*/ 75337 w 126425"/>
                  <a:gd name="connsiteY3" fmla="*/ 228685 h 326912"/>
                  <a:gd name="connsiteX4" fmla="*/ 83027 w 126425"/>
                  <a:gd name="connsiteY4" fmla="*/ 253034 h 326912"/>
                  <a:gd name="connsiteX5" fmla="*/ 61240 w 126425"/>
                  <a:gd name="connsiteY5" fmla="*/ 282510 h 326912"/>
                  <a:gd name="connsiteX6" fmla="*/ 45862 w 126425"/>
                  <a:gd name="connsiteY6" fmla="*/ 297888 h 326912"/>
                  <a:gd name="connsiteX7" fmla="*/ 68929 w 126425"/>
                  <a:gd name="connsiteY7" fmla="*/ 296607 h 326912"/>
                  <a:gd name="connsiteX8" fmla="*/ 66366 w 126425"/>
                  <a:gd name="connsiteY8" fmla="*/ 285073 h 326912"/>
                  <a:gd name="connsiteX9" fmla="*/ 84308 w 126425"/>
                  <a:gd name="connsiteY9" fmla="*/ 259442 h 326912"/>
                  <a:gd name="connsiteX10" fmla="*/ 98405 w 126425"/>
                  <a:gd name="connsiteY10" fmla="*/ 305577 h 326912"/>
                  <a:gd name="connsiteX11" fmla="*/ 99687 w 126425"/>
                  <a:gd name="connsiteY11" fmla="*/ 326082 h 326912"/>
                  <a:gd name="connsiteX12" fmla="*/ 116347 w 126425"/>
                  <a:gd name="connsiteY12" fmla="*/ 310704 h 326912"/>
                  <a:gd name="connsiteX13" fmla="*/ 104813 w 126425"/>
                  <a:gd name="connsiteY13" fmla="*/ 304296 h 326912"/>
                  <a:gd name="connsiteX14" fmla="*/ 89434 w 126425"/>
                  <a:gd name="connsiteY14" fmla="*/ 253034 h 326912"/>
                  <a:gd name="connsiteX15" fmla="*/ 109939 w 126425"/>
                  <a:gd name="connsiteY15" fmla="*/ 223559 h 326912"/>
                  <a:gd name="connsiteX16" fmla="*/ 125318 w 126425"/>
                  <a:gd name="connsiteY16" fmla="*/ 208180 h 326912"/>
                  <a:gd name="connsiteX17" fmla="*/ 102250 w 126425"/>
                  <a:gd name="connsiteY17" fmla="*/ 210743 h 326912"/>
                  <a:gd name="connsiteX18" fmla="*/ 106095 w 126425"/>
                  <a:gd name="connsiteY18" fmla="*/ 219714 h 326912"/>
                  <a:gd name="connsiteX19" fmla="*/ 88153 w 126425"/>
                  <a:gd name="connsiteY19" fmla="*/ 245345 h 326912"/>
                  <a:gd name="connsiteX20" fmla="*/ 80463 w 126425"/>
                  <a:gd name="connsiteY20" fmla="*/ 220995 h 326912"/>
                  <a:gd name="connsiteX21" fmla="*/ 107376 w 126425"/>
                  <a:gd name="connsiteY21" fmla="*/ 182549 h 326912"/>
                  <a:gd name="connsiteX22" fmla="*/ 52269 w 126425"/>
                  <a:gd name="connsiteY22" fmla="*/ 18511 h 326912"/>
                  <a:gd name="connsiteX23" fmla="*/ 49706 w 126425"/>
                  <a:gd name="connsiteY23" fmla="*/ 570 h 326912"/>
                  <a:gd name="connsiteX24" fmla="*/ 43298 w 126425"/>
                  <a:gd name="connsiteY24" fmla="*/ 570 h 326912"/>
                  <a:gd name="connsiteX25" fmla="*/ 39454 w 126425"/>
                  <a:gd name="connsiteY25" fmla="*/ 17230 h 326912"/>
                  <a:gd name="connsiteX26" fmla="*/ 47143 w 126425"/>
                  <a:gd name="connsiteY26" fmla="*/ 19793 h 326912"/>
                  <a:gd name="connsiteX27" fmla="*/ 100968 w 126425"/>
                  <a:gd name="connsiteY27" fmla="*/ 181268 h 326912"/>
                  <a:gd name="connsiteX28" fmla="*/ 77900 w 126425"/>
                  <a:gd name="connsiteY28" fmla="*/ 214588 h 326912"/>
                  <a:gd name="connsiteX29" fmla="*/ 17667 w 126425"/>
                  <a:gd name="connsiteY29" fmla="*/ 26201 h 326912"/>
                  <a:gd name="connsiteX30" fmla="*/ 15105 w 126425"/>
                  <a:gd name="connsiteY30" fmla="*/ 8259 h 326912"/>
                  <a:gd name="connsiteX31" fmla="*/ 1007 w 126425"/>
                  <a:gd name="connsiteY31" fmla="*/ 21074 h 326912"/>
                  <a:gd name="connsiteX32" fmla="*/ 12541 w 126425"/>
                  <a:gd name="connsiteY32" fmla="*/ 26201 h 326912"/>
                  <a:gd name="connsiteX33" fmla="*/ 74056 w 126425"/>
                  <a:gd name="connsiteY33" fmla="*/ 219714 h 326912"/>
                  <a:gd name="connsiteX34" fmla="*/ 24075 w 126425"/>
                  <a:gd name="connsiteY34" fmla="*/ 288917 h 326912"/>
                  <a:gd name="connsiteX35" fmla="*/ 6134 w 126425"/>
                  <a:gd name="connsiteY35" fmla="*/ 306859 h 32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6425" h="326912">
                    <a:moveTo>
                      <a:pt x="6134" y="306859"/>
                    </a:moveTo>
                    <a:cubicBezTo>
                      <a:pt x="11260" y="315830"/>
                      <a:pt x="25357" y="314548"/>
                      <a:pt x="30483" y="305577"/>
                    </a:cubicBezTo>
                    <a:cubicBezTo>
                      <a:pt x="31764" y="301733"/>
                      <a:pt x="31764" y="297888"/>
                      <a:pt x="27920" y="294044"/>
                    </a:cubicBezTo>
                    <a:lnTo>
                      <a:pt x="75337" y="228685"/>
                    </a:lnTo>
                    <a:cubicBezTo>
                      <a:pt x="77900" y="236374"/>
                      <a:pt x="80463" y="245345"/>
                      <a:pt x="83027" y="253034"/>
                    </a:cubicBezTo>
                    <a:cubicBezTo>
                      <a:pt x="76619" y="262005"/>
                      <a:pt x="67648" y="273539"/>
                      <a:pt x="61240" y="282510"/>
                    </a:cubicBezTo>
                    <a:cubicBezTo>
                      <a:pt x="48425" y="278665"/>
                      <a:pt x="40735" y="290199"/>
                      <a:pt x="45862" y="297888"/>
                    </a:cubicBezTo>
                    <a:cubicBezTo>
                      <a:pt x="50988" y="306859"/>
                      <a:pt x="66366" y="305577"/>
                      <a:pt x="68929" y="296607"/>
                    </a:cubicBezTo>
                    <a:cubicBezTo>
                      <a:pt x="70211" y="292762"/>
                      <a:pt x="70211" y="288917"/>
                      <a:pt x="66366" y="285073"/>
                    </a:cubicBezTo>
                    <a:lnTo>
                      <a:pt x="84308" y="259442"/>
                    </a:lnTo>
                    <a:cubicBezTo>
                      <a:pt x="89434" y="274820"/>
                      <a:pt x="93279" y="290199"/>
                      <a:pt x="98405" y="305577"/>
                    </a:cubicBezTo>
                    <a:cubicBezTo>
                      <a:pt x="86871" y="311985"/>
                      <a:pt x="90716" y="323519"/>
                      <a:pt x="99687" y="326082"/>
                    </a:cubicBezTo>
                    <a:cubicBezTo>
                      <a:pt x="109939" y="329927"/>
                      <a:pt x="120192" y="319674"/>
                      <a:pt x="116347" y="310704"/>
                    </a:cubicBezTo>
                    <a:cubicBezTo>
                      <a:pt x="115065" y="308140"/>
                      <a:pt x="111221" y="304296"/>
                      <a:pt x="104813" y="304296"/>
                    </a:cubicBezTo>
                    <a:cubicBezTo>
                      <a:pt x="99687" y="287636"/>
                      <a:pt x="94561" y="269694"/>
                      <a:pt x="89434" y="253034"/>
                    </a:cubicBezTo>
                    <a:cubicBezTo>
                      <a:pt x="95842" y="244063"/>
                      <a:pt x="103531" y="232529"/>
                      <a:pt x="109939" y="223559"/>
                    </a:cubicBezTo>
                    <a:cubicBezTo>
                      <a:pt x="122755" y="226122"/>
                      <a:pt x="129163" y="215869"/>
                      <a:pt x="125318" y="208180"/>
                    </a:cubicBezTo>
                    <a:cubicBezTo>
                      <a:pt x="120192" y="199209"/>
                      <a:pt x="103531" y="200491"/>
                      <a:pt x="102250" y="210743"/>
                    </a:cubicBezTo>
                    <a:cubicBezTo>
                      <a:pt x="100968" y="215869"/>
                      <a:pt x="104813" y="218432"/>
                      <a:pt x="106095" y="219714"/>
                    </a:cubicBezTo>
                    <a:lnTo>
                      <a:pt x="88153" y="245345"/>
                    </a:lnTo>
                    <a:cubicBezTo>
                      <a:pt x="85590" y="237655"/>
                      <a:pt x="83027" y="228685"/>
                      <a:pt x="80463" y="220995"/>
                    </a:cubicBezTo>
                    <a:lnTo>
                      <a:pt x="107376" y="182549"/>
                    </a:lnTo>
                    <a:cubicBezTo>
                      <a:pt x="89434" y="124879"/>
                      <a:pt x="70211" y="71055"/>
                      <a:pt x="52269" y="18511"/>
                    </a:cubicBezTo>
                    <a:cubicBezTo>
                      <a:pt x="62522" y="13385"/>
                      <a:pt x="57396" y="3133"/>
                      <a:pt x="49706" y="570"/>
                    </a:cubicBezTo>
                    <a:cubicBezTo>
                      <a:pt x="47143" y="-712"/>
                      <a:pt x="44580" y="570"/>
                      <a:pt x="43298" y="570"/>
                    </a:cubicBezTo>
                    <a:cubicBezTo>
                      <a:pt x="31764" y="4414"/>
                      <a:pt x="34328" y="14667"/>
                      <a:pt x="39454" y="17230"/>
                    </a:cubicBezTo>
                    <a:cubicBezTo>
                      <a:pt x="42017" y="18511"/>
                      <a:pt x="44580" y="18511"/>
                      <a:pt x="47143" y="19793"/>
                    </a:cubicBezTo>
                    <a:cubicBezTo>
                      <a:pt x="65085" y="71055"/>
                      <a:pt x="83027" y="124879"/>
                      <a:pt x="100968" y="181268"/>
                    </a:cubicBezTo>
                    <a:lnTo>
                      <a:pt x="77900" y="214588"/>
                    </a:lnTo>
                    <a:cubicBezTo>
                      <a:pt x="57396" y="147947"/>
                      <a:pt x="36891" y="85152"/>
                      <a:pt x="17667" y="26201"/>
                    </a:cubicBezTo>
                    <a:cubicBezTo>
                      <a:pt x="27920" y="21074"/>
                      <a:pt x="24075" y="10822"/>
                      <a:pt x="15105" y="8259"/>
                    </a:cubicBezTo>
                    <a:cubicBezTo>
                      <a:pt x="4852" y="5696"/>
                      <a:pt x="-2838" y="13385"/>
                      <a:pt x="1007" y="21074"/>
                    </a:cubicBezTo>
                    <a:cubicBezTo>
                      <a:pt x="2289" y="23637"/>
                      <a:pt x="4852" y="26201"/>
                      <a:pt x="12541" y="26201"/>
                    </a:cubicBezTo>
                    <a:cubicBezTo>
                      <a:pt x="33046" y="86433"/>
                      <a:pt x="53551" y="151792"/>
                      <a:pt x="74056" y="219714"/>
                    </a:cubicBezTo>
                    <a:cubicBezTo>
                      <a:pt x="58677" y="240219"/>
                      <a:pt x="39454" y="268413"/>
                      <a:pt x="24075" y="288917"/>
                    </a:cubicBezTo>
                    <a:cubicBezTo>
                      <a:pt x="8696" y="288917"/>
                      <a:pt x="2289" y="299170"/>
                      <a:pt x="6134" y="30685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7" name="Freeform: Shape 380043">
                <a:extLst>
                  <a:ext uri="{FF2B5EF4-FFF2-40B4-BE49-F238E27FC236}">
                    <a16:creationId xmlns:a16="http://schemas.microsoft.com/office/drawing/2014/main" id="{7D13E405-E04E-40EE-A541-86E4AB4AEA04}"/>
                  </a:ext>
                </a:extLst>
              </p:cNvPr>
              <p:cNvSpPr/>
              <p:nvPr/>
            </p:nvSpPr>
            <p:spPr>
              <a:xfrm>
                <a:off x="6210057" y="2443772"/>
                <a:ext cx="52538" cy="113416"/>
              </a:xfrm>
              <a:custGeom>
                <a:avLst/>
                <a:gdLst>
                  <a:gd name="connsiteX0" fmla="*/ 6408 w 52538"/>
                  <a:gd name="connsiteY0" fmla="*/ 107650 h 113416"/>
                  <a:gd name="connsiteX1" fmla="*/ 28194 w 52538"/>
                  <a:gd name="connsiteY1" fmla="*/ 107650 h 113416"/>
                  <a:gd name="connsiteX2" fmla="*/ 14097 w 52538"/>
                  <a:gd name="connsiteY2" fmla="*/ 93553 h 113416"/>
                  <a:gd name="connsiteX3" fmla="*/ 6408 w 52538"/>
                  <a:gd name="connsiteY3" fmla="*/ 75611 h 113416"/>
                  <a:gd name="connsiteX4" fmla="*/ 39728 w 52538"/>
                  <a:gd name="connsiteY4" fmla="*/ 17942 h 113416"/>
                  <a:gd name="connsiteX5" fmla="*/ 51262 w 52538"/>
                  <a:gd name="connsiteY5" fmla="*/ 7689 h 113416"/>
                  <a:gd name="connsiteX6" fmla="*/ 35883 w 52538"/>
                  <a:gd name="connsiteY6" fmla="*/ 0 h 113416"/>
                  <a:gd name="connsiteX7" fmla="*/ 34602 w 52538"/>
                  <a:gd name="connsiteY7" fmla="*/ 16660 h 113416"/>
                  <a:gd name="connsiteX8" fmla="*/ 0 w 52538"/>
                  <a:gd name="connsiteY8" fmla="*/ 76893 h 113416"/>
                  <a:gd name="connsiteX9" fmla="*/ 8971 w 52538"/>
                  <a:gd name="connsiteY9" fmla="*/ 96116 h 113416"/>
                  <a:gd name="connsiteX10" fmla="*/ 6408 w 52538"/>
                  <a:gd name="connsiteY10" fmla="*/ 107650 h 11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538" h="113416">
                    <a:moveTo>
                      <a:pt x="6408" y="107650"/>
                    </a:moveTo>
                    <a:cubicBezTo>
                      <a:pt x="11534" y="115339"/>
                      <a:pt x="25631" y="115339"/>
                      <a:pt x="28194" y="107650"/>
                    </a:cubicBezTo>
                    <a:cubicBezTo>
                      <a:pt x="29476" y="103805"/>
                      <a:pt x="25631" y="94834"/>
                      <a:pt x="14097" y="93553"/>
                    </a:cubicBezTo>
                    <a:cubicBezTo>
                      <a:pt x="11534" y="87145"/>
                      <a:pt x="8971" y="82019"/>
                      <a:pt x="6408" y="75611"/>
                    </a:cubicBezTo>
                    <a:cubicBezTo>
                      <a:pt x="16660" y="57670"/>
                      <a:pt x="29476" y="34602"/>
                      <a:pt x="39728" y="17942"/>
                    </a:cubicBezTo>
                    <a:cubicBezTo>
                      <a:pt x="49980" y="20505"/>
                      <a:pt x="55107" y="14097"/>
                      <a:pt x="51262" y="7689"/>
                    </a:cubicBezTo>
                    <a:cubicBezTo>
                      <a:pt x="49980" y="6408"/>
                      <a:pt x="46136" y="0"/>
                      <a:pt x="35883" y="0"/>
                    </a:cubicBezTo>
                    <a:cubicBezTo>
                      <a:pt x="26912" y="3845"/>
                      <a:pt x="28194" y="11534"/>
                      <a:pt x="34602" y="16660"/>
                    </a:cubicBezTo>
                    <a:lnTo>
                      <a:pt x="0" y="76893"/>
                    </a:lnTo>
                    <a:cubicBezTo>
                      <a:pt x="2563" y="83300"/>
                      <a:pt x="6408" y="89708"/>
                      <a:pt x="8971" y="96116"/>
                    </a:cubicBezTo>
                    <a:cubicBezTo>
                      <a:pt x="0" y="99961"/>
                      <a:pt x="5126" y="107650"/>
                      <a:pt x="6408" y="10765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8" name="Freeform: Shape 380044">
                <a:extLst>
                  <a:ext uri="{FF2B5EF4-FFF2-40B4-BE49-F238E27FC236}">
                    <a16:creationId xmlns:a16="http://schemas.microsoft.com/office/drawing/2014/main" id="{4864BD0A-E46F-4FD8-AC89-A26BD8E12D44}"/>
                  </a:ext>
                </a:extLst>
              </p:cNvPr>
              <p:cNvSpPr/>
              <p:nvPr/>
            </p:nvSpPr>
            <p:spPr>
              <a:xfrm>
                <a:off x="5955947" y="2300951"/>
                <a:ext cx="99543" cy="208682"/>
              </a:xfrm>
              <a:custGeom>
                <a:avLst/>
                <a:gdLst>
                  <a:gd name="connsiteX0" fmla="*/ 11898 w 99543"/>
                  <a:gd name="connsiteY0" fmla="*/ 182549 h 208682"/>
                  <a:gd name="connsiteX1" fmla="*/ 33684 w 99543"/>
                  <a:gd name="connsiteY1" fmla="*/ 179986 h 208682"/>
                  <a:gd name="connsiteX2" fmla="*/ 29840 w 99543"/>
                  <a:gd name="connsiteY2" fmla="*/ 172297 h 208682"/>
                  <a:gd name="connsiteX3" fmla="*/ 43937 w 99543"/>
                  <a:gd name="connsiteY3" fmla="*/ 150510 h 208682"/>
                  <a:gd name="connsiteX4" fmla="*/ 60597 w 99543"/>
                  <a:gd name="connsiteY4" fmla="*/ 190238 h 208682"/>
                  <a:gd name="connsiteX5" fmla="*/ 63160 w 99543"/>
                  <a:gd name="connsiteY5" fmla="*/ 208180 h 208682"/>
                  <a:gd name="connsiteX6" fmla="*/ 75975 w 99543"/>
                  <a:gd name="connsiteY6" fmla="*/ 195364 h 208682"/>
                  <a:gd name="connsiteX7" fmla="*/ 64441 w 99543"/>
                  <a:gd name="connsiteY7" fmla="*/ 190238 h 208682"/>
                  <a:gd name="connsiteX8" fmla="*/ 46500 w 99543"/>
                  <a:gd name="connsiteY8" fmla="*/ 146666 h 208682"/>
                  <a:gd name="connsiteX9" fmla="*/ 64441 w 99543"/>
                  <a:gd name="connsiteY9" fmla="*/ 118472 h 208682"/>
                  <a:gd name="connsiteX10" fmla="*/ 81102 w 99543"/>
                  <a:gd name="connsiteY10" fmla="*/ 156918 h 208682"/>
                  <a:gd name="connsiteX11" fmla="*/ 84946 w 99543"/>
                  <a:gd name="connsiteY11" fmla="*/ 173578 h 208682"/>
                  <a:gd name="connsiteX12" fmla="*/ 99043 w 99543"/>
                  <a:gd name="connsiteY12" fmla="*/ 162044 h 208682"/>
                  <a:gd name="connsiteX13" fmla="*/ 86228 w 99543"/>
                  <a:gd name="connsiteY13" fmla="*/ 154355 h 208682"/>
                  <a:gd name="connsiteX14" fmla="*/ 67005 w 99543"/>
                  <a:gd name="connsiteY14" fmla="*/ 112064 h 208682"/>
                  <a:gd name="connsiteX15" fmla="*/ 86228 w 99543"/>
                  <a:gd name="connsiteY15" fmla="*/ 80025 h 208682"/>
                  <a:gd name="connsiteX16" fmla="*/ 54189 w 99543"/>
                  <a:gd name="connsiteY16" fmla="*/ 15948 h 208682"/>
                  <a:gd name="connsiteX17" fmla="*/ 50344 w 99543"/>
                  <a:gd name="connsiteY17" fmla="*/ 570 h 208682"/>
                  <a:gd name="connsiteX18" fmla="*/ 43937 w 99543"/>
                  <a:gd name="connsiteY18" fmla="*/ 570 h 208682"/>
                  <a:gd name="connsiteX19" fmla="*/ 42655 w 99543"/>
                  <a:gd name="connsiteY19" fmla="*/ 14667 h 208682"/>
                  <a:gd name="connsiteX20" fmla="*/ 50344 w 99543"/>
                  <a:gd name="connsiteY20" fmla="*/ 18511 h 208682"/>
                  <a:gd name="connsiteX21" fmla="*/ 82383 w 99543"/>
                  <a:gd name="connsiteY21" fmla="*/ 81307 h 208682"/>
                  <a:gd name="connsiteX22" fmla="*/ 64441 w 99543"/>
                  <a:gd name="connsiteY22" fmla="*/ 108219 h 208682"/>
                  <a:gd name="connsiteX23" fmla="*/ 36247 w 99543"/>
                  <a:gd name="connsiteY23" fmla="*/ 46705 h 208682"/>
                  <a:gd name="connsiteX24" fmla="*/ 32403 w 99543"/>
                  <a:gd name="connsiteY24" fmla="*/ 31327 h 208682"/>
                  <a:gd name="connsiteX25" fmla="*/ 19587 w 99543"/>
                  <a:gd name="connsiteY25" fmla="*/ 41579 h 208682"/>
                  <a:gd name="connsiteX26" fmla="*/ 31121 w 99543"/>
                  <a:gd name="connsiteY26" fmla="*/ 47987 h 208682"/>
                  <a:gd name="connsiteX27" fmla="*/ 61878 w 99543"/>
                  <a:gd name="connsiteY27" fmla="*/ 112064 h 208682"/>
                  <a:gd name="connsiteX28" fmla="*/ 43937 w 99543"/>
                  <a:gd name="connsiteY28" fmla="*/ 140258 h 208682"/>
                  <a:gd name="connsiteX29" fmla="*/ 17024 w 99543"/>
                  <a:gd name="connsiteY29" fmla="*/ 77462 h 208682"/>
                  <a:gd name="connsiteX30" fmla="*/ 13179 w 99543"/>
                  <a:gd name="connsiteY30" fmla="*/ 62084 h 208682"/>
                  <a:gd name="connsiteX31" fmla="*/ 1645 w 99543"/>
                  <a:gd name="connsiteY31" fmla="*/ 73618 h 208682"/>
                  <a:gd name="connsiteX32" fmla="*/ 11898 w 99543"/>
                  <a:gd name="connsiteY32" fmla="*/ 78744 h 208682"/>
                  <a:gd name="connsiteX33" fmla="*/ 41374 w 99543"/>
                  <a:gd name="connsiteY33" fmla="*/ 145384 h 208682"/>
                  <a:gd name="connsiteX34" fmla="*/ 24713 w 99543"/>
                  <a:gd name="connsiteY34" fmla="*/ 169734 h 208682"/>
                  <a:gd name="connsiteX35" fmla="*/ 11898 w 99543"/>
                  <a:gd name="connsiteY35" fmla="*/ 182549 h 208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9543" h="208682">
                    <a:moveTo>
                      <a:pt x="11898" y="182549"/>
                    </a:moveTo>
                    <a:cubicBezTo>
                      <a:pt x="17024" y="191520"/>
                      <a:pt x="32403" y="188957"/>
                      <a:pt x="33684" y="179986"/>
                    </a:cubicBezTo>
                    <a:cubicBezTo>
                      <a:pt x="33684" y="176141"/>
                      <a:pt x="31121" y="173578"/>
                      <a:pt x="29840" y="172297"/>
                    </a:cubicBezTo>
                    <a:lnTo>
                      <a:pt x="43937" y="150510"/>
                    </a:lnTo>
                    <a:cubicBezTo>
                      <a:pt x="49063" y="163326"/>
                      <a:pt x="54189" y="176141"/>
                      <a:pt x="60597" y="190238"/>
                    </a:cubicBezTo>
                    <a:cubicBezTo>
                      <a:pt x="50344" y="195364"/>
                      <a:pt x="55471" y="205617"/>
                      <a:pt x="63160" y="208180"/>
                    </a:cubicBezTo>
                    <a:cubicBezTo>
                      <a:pt x="73412" y="210743"/>
                      <a:pt x="81102" y="203054"/>
                      <a:pt x="75975" y="195364"/>
                    </a:cubicBezTo>
                    <a:cubicBezTo>
                      <a:pt x="74694" y="192801"/>
                      <a:pt x="70849" y="190238"/>
                      <a:pt x="64441" y="190238"/>
                    </a:cubicBezTo>
                    <a:cubicBezTo>
                      <a:pt x="58034" y="176141"/>
                      <a:pt x="52907" y="160763"/>
                      <a:pt x="46500" y="146666"/>
                    </a:cubicBezTo>
                    <a:lnTo>
                      <a:pt x="64441" y="118472"/>
                    </a:lnTo>
                    <a:cubicBezTo>
                      <a:pt x="69568" y="131287"/>
                      <a:pt x="75975" y="144103"/>
                      <a:pt x="81102" y="156918"/>
                    </a:cubicBezTo>
                    <a:cubicBezTo>
                      <a:pt x="72131" y="162044"/>
                      <a:pt x="75975" y="172297"/>
                      <a:pt x="84946" y="173578"/>
                    </a:cubicBezTo>
                    <a:cubicBezTo>
                      <a:pt x="93917" y="176141"/>
                      <a:pt x="101607" y="169734"/>
                      <a:pt x="99043" y="162044"/>
                    </a:cubicBezTo>
                    <a:cubicBezTo>
                      <a:pt x="97762" y="159481"/>
                      <a:pt x="95199" y="155637"/>
                      <a:pt x="86228" y="154355"/>
                    </a:cubicBezTo>
                    <a:cubicBezTo>
                      <a:pt x="79820" y="140258"/>
                      <a:pt x="73412" y="126161"/>
                      <a:pt x="67005" y="112064"/>
                    </a:cubicBezTo>
                    <a:lnTo>
                      <a:pt x="86228" y="80025"/>
                    </a:lnTo>
                    <a:cubicBezTo>
                      <a:pt x="75975" y="58239"/>
                      <a:pt x="64441" y="36453"/>
                      <a:pt x="54189" y="15948"/>
                    </a:cubicBezTo>
                    <a:cubicBezTo>
                      <a:pt x="63160" y="10822"/>
                      <a:pt x="58034" y="3133"/>
                      <a:pt x="50344" y="570"/>
                    </a:cubicBezTo>
                    <a:cubicBezTo>
                      <a:pt x="47781" y="-712"/>
                      <a:pt x="45218" y="570"/>
                      <a:pt x="43937" y="570"/>
                    </a:cubicBezTo>
                    <a:cubicBezTo>
                      <a:pt x="33684" y="3133"/>
                      <a:pt x="37529" y="12103"/>
                      <a:pt x="42655" y="14667"/>
                    </a:cubicBezTo>
                    <a:cubicBezTo>
                      <a:pt x="46500" y="18511"/>
                      <a:pt x="47781" y="18511"/>
                      <a:pt x="50344" y="18511"/>
                    </a:cubicBezTo>
                    <a:cubicBezTo>
                      <a:pt x="60597" y="39016"/>
                      <a:pt x="70849" y="59521"/>
                      <a:pt x="82383" y="81307"/>
                    </a:cubicBezTo>
                    <a:lnTo>
                      <a:pt x="64441" y="108219"/>
                    </a:lnTo>
                    <a:cubicBezTo>
                      <a:pt x="55471" y="87715"/>
                      <a:pt x="45218" y="67210"/>
                      <a:pt x="36247" y="46705"/>
                    </a:cubicBezTo>
                    <a:cubicBezTo>
                      <a:pt x="45218" y="41579"/>
                      <a:pt x="40092" y="33890"/>
                      <a:pt x="32403" y="31327"/>
                    </a:cubicBezTo>
                    <a:cubicBezTo>
                      <a:pt x="23432" y="28764"/>
                      <a:pt x="17024" y="35171"/>
                      <a:pt x="19587" y="41579"/>
                    </a:cubicBezTo>
                    <a:cubicBezTo>
                      <a:pt x="20869" y="42861"/>
                      <a:pt x="23432" y="47987"/>
                      <a:pt x="31121" y="47987"/>
                    </a:cubicBezTo>
                    <a:cubicBezTo>
                      <a:pt x="41374" y="68492"/>
                      <a:pt x="51626" y="90278"/>
                      <a:pt x="61878" y="112064"/>
                    </a:cubicBezTo>
                    <a:lnTo>
                      <a:pt x="43937" y="140258"/>
                    </a:lnTo>
                    <a:cubicBezTo>
                      <a:pt x="34966" y="118472"/>
                      <a:pt x="25995" y="97967"/>
                      <a:pt x="17024" y="77462"/>
                    </a:cubicBezTo>
                    <a:cubicBezTo>
                      <a:pt x="25995" y="72336"/>
                      <a:pt x="20869" y="63365"/>
                      <a:pt x="13179" y="62084"/>
                    </a:cubicBezTo>
                    <a:cubicBezTo>
                      <a:pt x="4208" y="59521"/>
                      <a:pt x="-3481" y="67210"/>
                      <a:pt x="1645" y="73618"/>
                    </a:cubicBezTo>
                    <a:cubicBezTo>
                      <a:pt x="2927" y="76181"/>
                      <a:pt x="6772" y="78744"/>
                      <a:pt x="11898" y="78744"/>
                    </a:cubicBezTo>
                    <a:cubicBezTo>
                      <a:pt x="22151" y="100530"/>
                      <a:pt x="31121" y="122316"/>
                      <a:pt x="41374" y="145384"/>
                    </a:cubicBezTo>
                    <a:cubicBezTo>
                      <a:pt x="36247" y="153073"/>
                      <a:pt x="29840" y="162044"/>
                      <a:pt x="24713" y="169734"/>
                    </a:cubicBezTo>
                    <a:cubicBezTo>
                      <a:pt x="13179" y="167171"/>
                      <a:pt x="6772" y="176141"/>
                      <a:pt x="11898" y="18254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899" name="Freeform: Shape 380045">
                <a:extLst>
                  <a:ext uri="{FF2B5EF4-FFF2-40B4-BE49-F238E27FC236}">
                    <a16:creationId xmlns:a16="http://schemas.microsoft.com/office/drawing/2014/main" id="{A256BF76-6852-4A17-99DE-364F53A0BAB7}"/>
                  </a:ext>
                </a:extLst>
              </p:cNvPr>
              <p:cNvSpPr/>
              <p:nvPr/>
            </p:nvSpPr>
            <p:spPr>
              <a:xfrm>
                <a:off x="6765897" y="2798760"/>
                <a:ext cx="91642" cy="304397"/>
              </a:xfrm>
              <a:custGeom>
                <a:avLst/>
                <a:gdLst>
                  <a:gd name="connsiteX0" fmla="*/ 69557 w 91642"/>
                  <a:gd name="connsiteY0" fmla="*/ 296037 h 304397"/>
                  <a:gd name="connsiteX1" fmla="*/ 91343 w 91642"/>
                  <a:gd name="connsiteY1" fmla="*/ 297319 h 304397"/>
                  <a:gd name="connsiteX2" fmla="*/ 78528 w 91642"/>
                  <a:gd name="connsiteY2" fmla="*/ 279377 h 304397"/>
                  <a:gd name="connsiteX3" fmla="*/ 34955 w 91642"/>
                  <a:gd name="connsiteY3" fmla="*/ 151222 h 304397"/>
                  <a:gd name="connsiteX4" fmla="*/ 55460 w 91642"/>
                  <a:gd name="connsiteY4" fmla="*/ 111495 h 304397"/>
                  <a:gd name="connsiteX5" fmla="*/ 18295 w 91642"/>
                  <a:gd name="connsiteY5" fmla="*/ 21786 h 304397"/>
                  <a:gd name="connsiteX6" fmla="*/ 10606 w 91642"/>
                  <a:gd name="connsiteY6" fmla="*/ 0 h 304397"/>
                  <a:gd name="connsiteX7" fmla="*/ 6761 w 91642"/>
                  <a:gd name="connsiteY7" fmla="*/ 0 h 304397"/>
                  <a:gd name="connsiteX8" fmla="*/ 8042 w 91642"/>
                  <a:gd name="connsiteY8" fmla="*/ 20505 h 304397"/>
                  <a:gd name="connsiteX9" fmla="*/ 14450 w 91642"/>
                  <a:gd name="connsiteY9" fmla="*/ 21786 h 304397"/>
                  <a:gd name="connsiteX10" fmla="*/ 50333 w 91642"/>
                  <a:gd name="connsiteY10" fmla="*/ 108931 h 304397"/>
                  <a:gd name="connsiteX11" fmla="*/ 29829 w 91642"/>
                  <a:gd name="connsiteY11" fmla="*/ 148659 h 304397"/>
                  <a:gd name="connsiteX12" fmla="*/ 74683 w 91642"/>
                  <a:gd name="connsiteY12" fmla="*/ 279377 h 304397"/>
                  <a:gd name="connsiteX13" fmla="*/ 69557 w 91642"/>
                  <a:gd name="connsiteY13" fmla="*/ 296037 h 3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642" h="304397">
                    <a:moveTo>
                      <a:pt x="69557" y="296037"/>
                    </a:moveTo>
                    <a:cubicBezTo>
                      <a:pt x="74683" y="306289"/>
                      <a:pt x="88780" y="307571"/>
                      <a:pt x="91343" y="297319"/>
                    </a:cubicBezTo>
                    <a:cubicBezTo>
                      <a:pt x="92625" y="292192"/>
                      <a:pt x="90062" y="280659"/>
                      <a:pt x="78528" y="279377"/>
                    </a:cubicBezTo>
                    <a:cubicBezTo>
                      <a:pt x="64431" y="235804"/>
                      <a:pt x="50333" y="193513"/>
                      <a:pt x="34955" y="151222"/>
                    </a:cubicBezTo>
                    <a:lnTo>
                      <a:pt x="55460" y="111495"/>
                    </a:lnTo>
                    <a:cubicBezTo>
                      <a:pt x="43926" y="80737"/>
                      <a:pt x="31110" y="51262"/>
                      <a:pt x="18295" y="21786"/>
                    </a:cubicBezTo>
                    <a:cubicBezTo>
                      <a:pt x="28547" y="16660"/>
                      <a:pt x="19576" y="2563"/>
                      <a:pt x="10606" y="0"/>
                    </a:cubicBezTo>
                    <a:cubicBezTo>
                      <a:pt x="9324" y="0"/>
                      <a:pt x="8042" y="0"/>
                      <a:pt x="6761" y="0"/>
                    </a:cubicBezTo>
                    <a:cubicBezTo>
                      <a:pt x="-4773" y="3845"/>
                      <a:pt x="353" y="16660"/>
                      <a:pt x="8042" y="20505"/>
                    </a:cubicBezTo>
                    <a:cubicBezTo>
                      <a:pt x="10606" y="21786"/>
                      <a:pt x="11887" y="21786"/>
                      <a:pt x="14450" y="21786"/>
                    </a:cubicBezTo>
                    <a:cubicBezTo>
                      <a:pt x="27265" y="49980"/>
                      <a:pt x="38799" y="79456"/>
                      <a:pt x="50333" y="108931"/>
                    </a:cubicBezTo>
                    <a:lnTo>
                      <a:pt x="29829" y="148659"/>
                    </a:lnTo>
                    <a:cubicBezTo>
                      <a:pt x="45208" y="190950"/>
                      <a:pt x="60586" y="234523"/>
                      <a:pt x="74683" y="279377"/>
                    </a:cubicBezTo>
                    <a:cubicBezTo>
                      <a:pt x="64431" y="285785"/>
                      <a:pt x="69557" y="294755"/>
                      <a:pt x="69557" y="29603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0" name="Freeform: Shape 380046">
                <a:extLst>
                  <a:ext uri="{FF2B5EF4-FFF2-40B4-BE49-F238E27FC236}">
                    <a16:creationId xmlns:a16="http://schemas.microsoft.com/office/drawing/2014/main" id="{46FC013F-273F-4100-BA51-293F3247EA2F}"/>
                  </a:ext>
                </a:extLst>
              </p:cNvPr>
              <p:cNvSpPr/>
              <p:nvPr/>
            </p:nvSpPr>
            <p:spPr>
              <a:xfrm>
                <a:off x="6820485" y="2930760"/>
                <a:ext cx="63667" cy="363805"/>
              </a:xfrm>
              <a:custGeom>
                <a:avLst/>
                <a:gdLst>
                  <a:gd name="connsiteX0" fmla="*/ 32910 w 63667"/>
                  <a:gd name="connsiteY0" fmla="*/ 354988 h 363805"/>
                  <a:gd name="connsiteX1" fmla="*/ 54697 w 63667"/>
                  <a:gd name="connsiteY1" fmla="*/ 356270 h 363805"/>
                  <a:gd name="connsiteX2" fmla="*/ 43163 w 63667"/>
                  <a:gd name="connsiteY2" fmla="*/ 337046 h 363805"/>
                  <a:gd name="connsiteX3" fmla="*/ 17532 w 63667"/>
                  <a:gd name="connsiteY3" fmla="*/ 238367 h 363805"/>
                  <a:gd name="connsiteX4" fmla="*/ 63668 w 63667"/>
                  <a:gd name="connsiteY4" fmla="*/ 153785 h 363805"/>
                  <a:gd name="connsiteX5" fmla="*/ 18813 w 63667"/>
                  <a:gd name="connsiteY5" fmla="*/ 23068 h 363805"/>
                  <a:gd name="connsiteX6" fmla="*/ 9842 w 63667"/>
                  <a:gd name="connsiteY6" fmla="*/ 0 h 363805"/>
                  <a:gd name="connsiteX7" fmla="*/ 7279 w 63667"/>
                  <a:gd name="connsiteY7" fmla="*/ 0 h 363805"/>
                  <a:gd name="connsiteX8" fmla="*/ 7279 w 63667"/>
                  <a:gd name="connsiteY8" fmla="*/ 21786 h 363805"/>
                  <a:gd name="connsiteX9" fmla="*/ 12406 w 63667"/>
                  <a:gd name="connsiteY9" fmla="*/ 24349 h 363805"/>
                  <a:gd name="connsiteX10" fmla="*/ 55978 w 63667"/>
                  <a:gd name="connsiteY10" fmla="*/ 152504 h 363805"/>
                  <a:gd name="connsiteX11" fmla="*/ 9842 w 63667"/>
                  <a:gd name="connsiteY11" fmla="*/ 237086 h 363805"/>
                  <a:gd name="connsiteX12" fmla="*/ 36755 w 63667"/>
                  <a:gd name="connsiteY12" fmla="*/ 338328 h 363805"/>
                  <a:gd name="connsiteX13" fmla="*/ 32910 w 63667"/>
                  <a:gd name="connsiteY13" fmla="*/ 354988 h 36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667" h="363805">
                    <a:moveTo>
                      <a:pt x="32910" y="354988"/>
                    </a:moveTo>
                    <a:cubicBezTo>
                      <a:pt x="38037" y="366522"/>
                      <a:pt x="50852" y="366522"/>
                      <a:pt x="54697" y="356270"/>
                    </a:cubicBezTo>
                    <a:cubicBezTo>
                      <a:pt x="55978" y="351143"/>
                      <a:pt x="53415" y="339610"/>
                      <a:pt x="43163" y="337046"/>
                    </a:cubicBezTo>
                    <a:cubicBezTo>
                      <a:pt x="35474" y="303726"/>
                      <a:pt x="26503" y="271688"/>
                      <a:pt x="17532" y="238367"/>
                    </a:cubicBezTo>
                    <a:lnTo>
                      <a:pt x="63668" y="153785"/>
                    </a:lnTo>
                    <a:cubicBezTo>
                      <a:pt x="49571" y="108931"/>
                      <a:pt x="35474" y="65359"/>
                      <a:pt x="18813" y="23068"/>
                    </a:cubicBezTo>
                    <a:cubicBezTo>
                      <a:pt x="31629" y="14097"/>
                      <a:pt x="17532" y="0"/>
                      <a:pt x="9842" y="0"/>
                    </a:cubicBezTo>
                    <a:cubicBezTo>
                      <a:pt x="8561" y="0"/>
                      <a:pt x="8561" y="0"/>
                      <a:pt x="7279" y="0"/>
                    </a:cubicBezTo>
                    <a:cubicBezTo>
                      <a:pt x="-4255" y="3845"/>
                      <a:pt x="-410" y="17942"/>
                      <a:pt x="7279" y="21786"/>
                    </a:cubicBezTo>
                    <a:cubicBezTo>
                      <a:pt x="9842" y="23068"/>
                      <a:pt x="11124" y="23068"/>
                      <a:pt x="12406" y="24349"/>
                    </a:cubicBezTo>
                    <a:cubicBezTo>
                      <a:pt x="27784" y="66640"/>
                      <a:pt x="41881" y="108931"/>
                      <a:pt x="55978" y="152504"/>
                    </a:cubicBezTo>
                    <a:lnTo>
                      <a:pt x="9842" y="237086"/>
                    </a:lnTo>
                    <a:cubicBezTo>
                      <a:pt x="18813" y="270406"/>
                      <a:pt x="27784" y="303726"/>
                      <a:pt x="36755" y="338328"/>
                    </a:cubicBezTo>
                    <a:cubicBezTo>
                      <a:pt x="27784" y="343454"/>
                      <a:pt x="31629" y="353706"/>
                      <a:pt x="32910" y="35498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1" name="Freeform: Shape 380047">
                <a:extLst>
                  <a:ext uri="{FF2B5EF4-FFF2-40B4-BE49-F238E27FC236}">
                    <a16:creationId xmlns:a16="http://schemas.microsoft.com/office/drawing/2014/main" id="{0E78DED6-8D4E-4F16-96C2-65CFF7D1EF13}"/>
                  </a:ext>
                </a:extLst>
              </p:cNvPr>
              <p:cNvSpPr/>
              <p:nvPr/>
            </p:nvSpPr>
            <p:spPr>
              <a:xfrm>
                <a:off x="6887998" y="3032002"/>
                <a:ext cx="81122" cy="366338"/>
              </a:xfrm>
              <a:custGeom>
                <a:avLst/>
                <a:gdLst>
                  <a:gd name="connsiteX0" fmla="*/ 58951 w 81122"/>
                  <a:gd name="connsiteY0" fmla="*/ 357551 h 366338"/>
                  <a:gd name="connsiteX1" fmla="*/ 79456 w 81122"/>
                  <a:gd name="connsiteY1" fmla="*/ 361396 h 366338"/>
                  <a:gd name="connsiteX2" fmla="*/ 69204 w 81122"/>
                  <a:gd name="connsiteY2" fmla="*/ 339610 h 366338"/>
                  <a:gd name="connsiteX3" fmla="*/ 55107 w 81122"/>
                  <a:gd name="connsiteY3" fmla="*/ 276814 h 366338"/>
                  <a:gd name="connsiteX4" fmla="*/ 5126 w 81122"/>
                  <a:gd name="connsiteY4" fmla="*/ 89708 h 366338"/>
                  <a:gd name="connsiteX5" fmla="*/ 26912 w 81122"/>
                  <a:gd name="connsiteY5" fmla="*/ 48699 h 366338"/>
                  <a:gd name="connsiteX6" fmla="*/ 19223 w 81122"/>
                  <a:gd name="connsiteY6" fmla="*/ 24349 h 366338"/>
                  <a:gd name="connsiteX7" fmla="*/ 11534 w 81122"/>
                  <a:gd name="connsiteY7" fmla="*/ 0 h 366338"/>
                  <a:gd name="connsiteX8" fmla="*/ 8971 w 81122"/>
                  <a:gd name="connsiteY8" fmla="*/ 0 h 366338"/>
                  <a:gd name="connsiteX9" fmla="*/ 8971 w 81122"/>
                  <a:gd name="connsiteY9" fmla="*/ 23068 h 366338"/>
                  <a:gd name="connsiteX10" fmla="*/ 14097 w 81122"/>
                  <a:gd name="connsiteY10" fmla="*/ 25631 h 366338"/>
                  <a:gd name="connsiteX11" fmla="*/ 21786 w 81122"/>
                  <a:gd name="connsiteY11" fmla="*/ 48699 h 366338"/>
                  <a:gd name="connsiteX12" fmla="*/ 0 w 81122"/>
                  <a:gd name="connsiteY12" fmla="*/ 89708 h 366338"/>
                  <a:gd name="connsiteX13" fmla="*/ 49980 w 81122"/>
                  <a:gd name="connsiteY13" fmla="*/ 279377 h 366338"/>
                  <a:gd name="connsiteX14" fmla="*/ 64078 w 81122"/>
                  <a:gd name="connsiteY14" fmla="*/ 342173 h 366338"/>
                  <a:gd name="connsiteX15" fmla="*/ 58951 w 81122"/>
                  <a:gd name="connsiteY15" fmla="*/ 357551 h 366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122" h="366338">
                    <a:moveTo>
                      <a:pt x="58951" y="357551"/>
                    </a:moveTo>
                    <a:cubicBezTo>
                      <a:pt x="62796" y="367804"/>
                      <a:pt x="74330" y="369085"/>
                      <a:pt x="79456" y="361396"/>
                    </a:cubicBezTo>
                    <a:cubicBezTo>
                      <a:pt x="83301" y="354988"/>
                      <a:pt x="80738" y="342173"/>
                      <a:pt x="69204" y="339610"/>
                    </a:cubicBezTo>
                    <a:cubicBezTo>
                      <a:pt x="65359" y="319105"/>
                      <a:pt x="60233" y="297319"/>
                      <a:pt x="55107" y="276814"/>
                    </a:cubicBezTo>
                    <a:cubicBezTo>
                      <a:pt x="39728" y="212737"/>
                      <a:pt x="23068" y="151222"/>
                      <a:pt x="5126" y="89708"/>
                    </a:cubicBezTo>
                    <a:lnTo>
                      <a:pt x="26912" y="48699"/>
                    </a:lnTo>
                    <a:cubicBezTo>
                      <a:pt x="24349" y="39728"/>
                      <a:pt x="21786" y="32039"/>
                      <a:pt x="19223" y="24349"/>
                    </a:cubicBezTo>
                    <a:cubicBezTo>
                      <a:pt x="32039" y="15379"/>
                      <a:pt x="19223" y="1282"/>
                      <a:pt x="11534" y="0"/>
                    </a:cubicBezTo>
                    <a:cubicBezTo>
                      <a:pt x="10252" y="0"/>
                      <a:pt x="10252" y="0"/>
                      <a:pt x="8971" y="0"/>
                    </a:cubicBezTo>
                    <a:cubicBezTo>
                      <a:pt x="-2563" y="3845"/>
                      <a:pt x="1281" y="17942"/>
                      <a:pt x="8971" y="23068"/>
                    </a:cubicBezTo>
                    <a:cubicBezTo>
                      <a:pt x="11534" y="24349"/>
                      <a:pt x="12815" y="24349"/>
                      <a:pt x="14097" y="25631"/>
                    </a:cubicBezTo>
                    <a:cubicBezTo>
                      <a:pt x="16660" y="33320"/>
                      <a:pt x="19223" y="41009"/>
                      <a:pt x="21786" y="48699"/>
                    </a:cubicBezTo>
                    <a:lnTo>
                      <a:pt x="0" y="89708"/>
                    </a:lnTo>
                    <a:cubicBezTo>
                      <a:pt x="17942" y="151222"/>
                      <a:pt x="35883" y="214018"/>
                      <a:pt x="49980" y="279377"/>
                    </a:cubicBezTo>
                    <a:cubicBezTo>
                      <a:pt x="55107" y="299882"/>
                      <a:pt x="58951" y="321668"/>
                      <a:pt x="64078" y="342173"/>
                    </a:cubicBezTo>
                    <a:cubicBezTo>
                      <a:pt x="55107" y="346017"/>
                      <a:pt x="58951" y="357551"/>
                      <a:pt x="58951" y="3575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2" name="Freeform: Shape 380048">
                <a:extLst>
                  <a:ext uri="{FF2B5EF4-FFF2-40B4-BE49-F238E27FC236}">
                    <a16:creationId xmlns:a16="http://schemas.microsoft.com/office/drawing/2014/main" id="{B7186716-E94A-42A1-A79F-EFACE95D760E}"/>
                  </a:ext>
                </a:extLst>
              </p:cNvPr>
              <p:cNvSpPr/>
              <p:nvPr/>
            </p:nvSpPr>
            <p:spPr>
              <a:xfrm>
                <a:off x="6732577" y="2805168"/>
                <a:ext cx="101895" cy="340280"/>
              </a:xfrm>
              <a:custGeom>
                <a:avLst/>
                <a:gdLst>
                  <a:gd name="connsiteX0" fmla="*/ 79809 w 101895"/>
                  <a:gd name="connsiteY0" fmla="*/ 331920 h 340280"/>
                  <a:gd name="connsiteX1" fmla="*/ 101595 w 101895"/>
                  <a:gd name="connsiteY1" fmla="*/ 333202 h 340280"/>
                  <a:gd name="connsiteX2" fmla="*/ 88780 w 101895"/>
                  <a:gd name="connsiteY2" fmla="*/ 315260 h 340280"/>
                  <a:gd name="connsiteX3" fmla="*/ 34955 w 101895"/>
                  <a:gd name="connsiteY3" fmla="*/ 151222 h 340280"/>
                  <a:gd name="connsiteX4" fmla="*/ 55460 w 101895"/>
                  <a:gd name="connsiteY4" fmla="*/ 111494 h 340280"/>
                  <a:gd name="connsiteX5" fmla="*/ 19576 w 101895"/>
                  <a:gd name="connsiteY5" fmla="*/ 21786 h 340280"/>
                  <a:gd name="connsiteX6" fmla="*/ 11887 w 101895"/>
                  <a:gd name="connsiteY6" fmla="*/ 0 h 340280"/>
                  <a:gd name="connsiteX7" fmla="*/ 6761 w 101895"/>
                  <a:gd name="connsiteY7" fmla="*/ 0 h 340280"/>
                  <a:gd name="connsiteX8" fmla="*/ 8042 w 101895"/>
                  <a:gd name="connsiteY8" fmla="*/ 20505 h 340280"/>
                  <a:gd name="connsiteX9" fmla="*/ 14450 w 101895"/>
                  <a:gd name="connsiteY9" fmla="*/ 21786 h 340280"/>
                  <a:gd name="connsiteX10" fmla="*/ 49052 w 101895"/>
                  <a:gd name="connsiteY10" fmla="*/ 110213 h 340280"/>
                  <a:gd name="connsiteX11" fmla="*/ 28547 w 101895"/>
                  <a:gd name="connsiteY11" fmla="*/ 149941 h 340280"/>
                  <a:gd name="connsiteX12" fmla="*/ 83654 w 101895"/>
                  <a:gd name="connsiteY12" fmla="*/ 316542 h 340280"/>
                  <a:gd name="connsiteX13" fmla="*/ 79809 w 101895"/>
                  <a:gd name="connsiteY13" fmla="*/ 331920 h 34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895" h="340280">
                    <a:moveTo>
                      <a:pt x="79809" y="331920"/>
                    </a:moveTo>
                    <a:cubicBezTo>
                      <a:pt x="84935" y="342173"/>
                      <a:pt x="99032" y="343454"/>
                      <a:pt x="101595" y="333202"/>
                    </a:cubicBezTo>
                    <a:cubicBezTo>
                      <a:pt x="102877" y="328076"/>
                      <a:pt x="100314" y="316542"/>
                      <a:pt x="88780" y="315260"/>
                    </a:cubicBezTo>
                    <a:cubicBezTo>
                      <a:pt x="72120" y="258872"/>
                      <a:pt x="54178" y="205047"/>
                      <a:pt x="34955" y="151222"/>
                    </a:cubicBezTo>
                    <a:lnTo>
                      <a:pt x="55460" y="111494"/>
                    </a:lnTo>
                    <a:cubicBezTo>
                      <a:pt x="43926" y="80737"/>
                      <a:pt x="32392" y="51262"/>
                      <a:pt x="19576" y="21786"/>
                    </a:cubicBezTo>
                    <a:cubicBezTo>
                      <a:pt x="31110" y="14097"/>
                      <a:pt x="18295" y="1282"/>
                      <a:pt x="11887" y="0"/>
                    </a:cubicBezTo>
                    <a:cubicBezTo>
                      <a:pt x="10605" y="0"/>
                      <a:pt x="9324" y="0"/>
                      <a:pt x="6761" y="0"/>
                    </a:cubicBezTo>
                    <a:cubicBezTo>
                      <a:pt x="-4773" y="3845"/>
                      <a:pt x="353" y="16660"/>
                      <a:pt x="8042" y="20505"/>
                    </a:cubicBezTo>
                    <a:cubicBezTo>
                      <a:pt x="10605" y="21786"/>
                      <a:pt x="11887" y="21786"/>
                      <a:pt x="14450" y="21786"/>
                    </a:cubicBezTo>
                    <a:cubicBezTo>
                      <a:pt x="25984" y="49980"/>
                      <a:pt x="38799" y="79456"/>
                      <a:pt x="49052" y="110213"/>
                    </a:cubicBezTo>
                    <a:lnTo>
                      <a:pt x="28547" y="149941"/>
                    </a:lnTo>
                    <a:cubicBezTo>
                      <a:pt x="47770" y="203766"/>
                      <a:pt x="66994" y="258872"/>
                      <a:pt x="83654" y="316542"/>
                    </a:cubicBezTo>
                    <a:cubicBezTo>
                      <a:pt x="74683" y="320386"/>
                      <a:pt x="79809" y="330639"/>
                      <a:pt x="79809" y="33192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3" name="Freeform: Shape 380049">
                <a:extLst>
                  <a:ext uri="{FF2B5EF4-FFF2-40B4-BE49-F238E27FC236}">
                    <a16:creationId xmlns:a16="http://schemas.microsoft.com/office/drawing/2014/main" id="{ADCFB255-3BB6-4A4B-97F6-A058C97A78B2}"/>
                  </a:ext>
                </a:extLst>
              </p:cNvPr>
              <p:cNvSpPr/>
              <p:nvPr/>
            </p:nvSpPr>
            <p:spPr>
              <a:xfrm>
                <a:off x="6729085" y="2908973"/>
                <a:ext cx="119611" cy="430446"/>
              </a:xfrm>
              <a:custGeom>
                <a:avLst/>
                <a:gdLst>
                  <a:gd name="connsiteX0" fmla="*/ 97398 w 119611"/>
                  <a:gd name="connsiteY0" fmla="*/ 421628 h 430446"/>
                  <a:gd name="connsiteX1" fmla="*/ 119184 w 119611"/>
                  <a:gd name="connsiteY1" fmla="*/ 422910 h 430446"/>
                  <a:gd name="connsiteX2" fmla="*/ 107650 w 119611"/>
                  <a:gd name="connsiteY2" fmla="*/ 403687 h 430446"/>
                  <a:gd name="connsiteX3" fmla="*/ 3845 w 119611"/>
                  <a:gd name="connsiteY3" fmla="*/ 52543 h 430446"/>
                  <a:gd name="connsiteX4" fmla="*/ 20505 w 119611"/>
                  <a:gd name="connsiteY4" fmla="*/ 23068 h 430446"/>
                  <a:gd name="connsiteX5" fmla="*/ 33321 w 119611"/>
                  <a:gd name="connsiteY5" fmla="*/ 7689 h 430446"/>
                  <a:gd name="connsiteX6" fmla="*/ 19223 w 119611"/>
                  <a:gd name="connsiteY6" fmla="*/ 0 h 430446"/>
                  <a:gd name="connsiteX7" fmla="*/ 16660 w 119611"/>
                  <a:gd name="connsiteY7" fmla="*/ 19223 h 430446"/>
                  <a:gd name="connsiteX8" fmla="*/ 0 w 119611"/>
                  <a:gd name="connsiteY8" fmla="*/ 51262 h 430446"/>
                  <a:gd name="connsiteX9" fmla="*/ 103806 w 119611"/>
                  <a:gd name="connsiteY9" fmla="*/ 404968 h 430446"/>
                  <a:gd name="connsiteX10" fmla="*/ 97398 w 119611"/>
                  <a:gd name="connsiteY10" fmla="*/ 421628 h 430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611" h="430446">
                    <a:moveTo>
                      <a:pt x="97398" y="421628"/>
                    </a:moveTo>
                    <a:cubicBezTo>
                      <a:pt x="102524" y="433162"/>
                      <a:pt x="115340" y="433162"/>
                      <a:pt x="119184" y="422910"/>
                    </a:cubicBezTo>
                    <a:cubicBezTo>
                      <a:pt x="119184" y="422910"/>
                      <a:pt x="123029" y="407531"/>
                      <a:pt x="107650" y="403687"/>
                    </a:cubicBezTo>
                    <a:cubicBezTo>
                      <a:pt x="78175" y="280658"/>
                      <a:pt x="43573" y="164038"/>
                      <a:pt x="3845" y="52543"/>
                    </a:cubicBezTo>
                    <a:cubicBezTo>
                      <a:pt x="8971" y="43573"/>
                      <a:pt x="15379" y="32039"/>
                      <a:pt x="20505" y="23068"/>
                    </a:cubicBezTo>
                    <a:cubicBezTo>
                      <a:pt x="33321" y="26912"/>
                      <a:pt x="38447" y="16660"/>
                      <a:pt x="33321" y="7689"/>
                    </a:cubicBezTo>
                    <a:cubicBezTo>
                      <a:pt x="32039" y="5126"/>
                      <a:pt x="28194" y="0"/>
                      <a:pt x="19223" y="0"/>
                    </a:cubicBezTo>
                    <a:cubicBezTo>
                      <a:pt x="10253" y="2563"/>
                      <a:pt x="10253" y="12815"/>
                      <a:pt x="16660" y="19223"/>
                    </a:cubicBezTo>
                    <a:lnTo>
                      <a:pt x="0" y="51262"/>
                    </a:lnTo>
                    <a:cubicBezTo>
                      <a:pt x="39728" y="162756"/>
                      <a:pt x="74330" y="280658"/>
                      <a:pt x="103806" y="404968"/>
                    </a:cubicBezTo>
                    <a:cubicBezTo>
                      <a:pt x="94835" y="410095"/>
                      <a:pt x="96116" y="416502"/>
                      <a:pt x="97398" y="42162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4" name="Freeform: Shape 380050">
                <a:extLst>
                  <a:ext uri="{FF2B5EF4-FFF2-40B4-BE49-F238E27FC236}">
                    <a16:creationId xmlns:a16="http://schemas.microsoft.com/office/drawing/2014/main" id="{AFC4E11C-6D8F-478B-B3F8-5AF7E256A0A5}"/>
                  </a:ext>
                </a:extLst>
              </p:cNvPr>
              <p:cNvSpPr/>
              <p:nvPr/>
            </p:nvSpPr>
            <p:spPr>
              <a:xfrm>
                <a:off x="6966030" y="2803887"/>
                <a:ext cx="119041" cy="379695"/>
              </a:xfrm>
              <a:custGeom>
                <a:avLst/>
                <a:gdLst>
                  <a:gd name="connsiteX0" fmla="*/ 98822 w 119041"/>
                  <a:gd name="connsiteY0" fmla="*/ 370367 h 379695"/>
                  <a:gd name="connsiteX1" fmla="*/ 118045 w 119041"/>
                  <a:gd name="connsiteY1" fmla="*/ 374211 h 379695"/>
                  <a:gd name="connsiteX2" fmla="*/ 106511 w 119041"/>
                  <a:gd name="connsiteY2" fmla="*/ 353707 h 379695"/>
                  <a:gd name="connsiteX3" fmla="*/ 77035 w 119041"/>
                  <a:gd name="connsiteY3" fmla="*/ 257591 h 379695"/>
                  <a:gd name="connsiteX4" fmla="*/ 94977 w 119041"/>
                  <a:gd name="connsiteY4" fmla="*/ 217863 h 379695"/>
                  <a:gd name="connsiteX5" fmla="*/ 18084 w 119041"/>
                  <a:gd name="connsiteY5" fmla="*/ 21786 h 379695"/>
                  <a:gd name="connsiteX6" fmla="*/ 7831 w 119041"/>
                  <a:gd name="connsiteY6" fmla="*/ 0 h 379695"/>
                  <a:gd name="connsiteX7" fmla="*/ 5269 w 119041"/>
                  <a:gd name="connsiteY7" fmla="*/ 0 h 379695"/>
                  <a:gd name="connsiteX8" fmla="*/ 9113 w 119041"/>
                  <a:gd name="connsiteY8" fmla="*/ 21786 h 379695"/>
                  <a:gd name="connsiteX9" fmla="*/ 12958 w 119041"/>
                  <a:gd name="connsiteY9" fmla="*/ 23068 h 379695"/>
                  <a:gd name="connsiteX10" fmla="*/ 88569 w 119041"/>
                  <a:gd name="connsiteY10" fmla="*/ 216581 h 379695"/>
                  <a:gd name="connsiteX11" fmla="*/ 70628 w 119041"/>
                  <a:gd name="connsiteY11" fmla="*/ 256309 h 379695"/>
                  <a:gd name="connsiteX12" fmla="*/ 101385 w 119041"/>
                  <a:gd name="connsiteY12" fmla="*/ 354988 h 379695"/>
                  <a:gd name="connsiteX13" fmla="*/ 98822 w 119041"/>
                  <a:gd name="connsiteY13" fmla="*/ 370367 h 37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041" h="379695">
                    <a:moveTo>
                      <a:pt x="98822" y="370367"/>
                    </a:moveTo>
                    <a:cubicBezTo>
                      <a:pt x="102666" y="380619"/>
                      <a:pt x="114200" y="383182"/>
                      <a:pt x="118045" y="374211"/>
                    </a:cubicBezTo>
                    <a:cubicBezTo>
                      <a:pt x="119327" y="371648"/>
                      <a:pt x="121890" y="357551"/>
                      <a:pt x="106511" y="353707"/>
                    </a:cubicBezTo>
                    <a:cubicBezTo>
                      <a:pt x="97540" y="321668"/>
                      <a:pt x="87288" y="289629"/>
                      <a:pt x="77035" y="257591"/>
                    </a:cubicBezTo>
                    <a:lnTo>
                      <a:pt x="94977" y="217863"/>
                    </a:lnTo>
                    <a:cubicBezTo>
                      <a:pt x="71909" y="149941"/>
                      <a:pt x="46278" y="84582"/>
                      <a:pt x="18084" y="21786"/>
                    </a:cubicBezTo>
                    <a:cubicBezTo>
                      <a:pt x="28336" y="14097"/>
                      <a:pt x="14239" y="0"/>
                      <a:pt x="7831" y="0"/>
                    </a:cubicBezTo>
                    <a:cubicBezTo>
                      <a:pt x="7831" y="0"/>
                      <a:pt x="6550" y="0"/>
                      <a:pt x="5269" y="0"/>
                    </a:cubicBezTo>
                    <a:cubicBezTo>
                      <a:pt x="-6265" y="5126"/>
                      <a:pt x="3987" y="19223"/>
                      <a:pt x="9113" y="21786"/>
                    </a:cubicBezTo>
                    <a:cubicBezTo>
                      <a:pt x="10395" y="21786"/>
                      <a:pt x="11676" y="23068"/>
                      <a:pt x="12958" y="23068"/>
                    </a:cubicBezTo>
                    <a:cubicBezTo>
                      <a:pt x="41152" y="84582"/>
                      <a:pt x="65501" y="149941"/>
                      <a:pt x="88569" y="216581"/>
                    </a:cubicBezTo>
                    <a:lnTo>
                      <a:pt x="70628" y="256309"/>
                    </a:lnTo>
                    <a:cubicBezTo>
                      <a:pt x="80880" y="288348"/>
                      <a:pt x="91132" y="321668"/>
                      <a:pt x="101385" y="354988"/>
                    </a:cubicBezTo>
                    <a:cubicBezTo>
                      <a:pt x="96259" y="358833"/>
                      <a:pt x="94977" y="363959"/>
                      <a:pt x="98822" y="37036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5" name="Freeform: Shape 380051">
                <a:extLst>
                  <a:ext uri="{FF2B5EF4-FFF2-40B4-BE49-F238E27FC236}">
                    <a16:creationId xmlns:a16="http://schemas.microsoft.com/office/drawing/2014/main" id="{28371FAF-7550-4437-9E3C-AAFA060FD6F1}"/>
                  </a:ext>
                </a:extLst>
              </p:cNvPr>
              <p:cNvSpPr/>
              <p:nvPr/>
            </p:nvSpPr>
            <p:spPr>
              <a:xfrm>
                <a:off x="6331050" y="2332109"/>
                <a:ext cx="175076" cy="352913"/>
              </a:xfrm>
              <a:custGeom>
                <a:avLst/>
                <a:gdLst>
                  <a:gd name="connsiteX0" fmla="*/ 52017 w 175076"/>
                  <a:gd name="connsiteY0" fmla="*/ 346186 h 352913"/>
                  <a:gd name="connsiteX1" fmla="*/ 73803 w 175076"/>
                  <a:gd name="connsiteY1" fmla="*/ 346186 h 352913"/>
                  <a:gd name="connsiteX2" fmla="*/ 59706 w 175076"/>
                  <a:gd name="connsiteY2" fmla="*/ 330807 h 352913"/>
                  <a:gd name="connsiteX3" fmla="*/ 37920 w 175076"/>
                  <a:gd name="connsiteY3" fmla="*/ 282109 h 352913"/>
                  <a:gd name="connsiteX4" fmla="*/ 54580 w 175076"/>
                  <a:gd name="connsiteY4" fmla="*/ 251351 h 352913"/>
                  <a:gd name="connsiteX5" fmla="*/ 89182 w 175076"/>
                  <a:gd name="connsiteY5" fmla="*/ 324399 h 352913"/>
                  <a:gd name="connsiteX6" fmla="*/ 94308 w 175076"/>
                  <a:gd name="connsiteY6" fmla="*/ 343623 h 352913"/>
                  <a:gd name="connsiteX7" fmla="*/ 108405 w 175076"/>
                  <a:gd name="connsiteY7" fmla="*/ 332089 h 352913"/>
                  <a:gd name="connsiteX8" fmla="*/ 95590 w 175076"/>
                  <a:gd name="connsiteY8" fmla="*/ 323118 h 352913"/>
                  <a:gd name="connsiteX9" fmla="*/ 59706 w 175076"/>
                  <a:gd name="connsiteY9" fmla="*/ 246225 h 352913"/>
                  <a:gd name="connsiteX10" fmla="*/ 75085 w 175076"/>
                  <a:gd name="connsiteY10" fmla="*/ 216750 h 352913"/>
                  <a:gd name="connsiteX11" fmla="*/ 125065 w 175076"/>
                  <a:gd name="connsiteY11" fmla="*/ 317992 h 352913"/>
                  <a:gd name="connsiteX12" fmla="*/ 130191 w 175076"/>
                  <a:gd name="connsiteY12" fmla="*/ 337215 h 352913"/>
                  <a:gd name="connsiteX13" fmla="*/ 143007 w 175076"/>
                  <a:gd name="connsiteY13" fmla="*/ 325681 h 352913"/>
                  <a:gd name="connsiteX14" fmla="*/ 130191 w 175076"/>
                  <a:gd name="connsiteY14" fmla="*/ 316710 h 352913"/>
                  <a:gd name="connsiteX15" fmla="*/ 76366 w 175076"/>
                  <a:gd name="connsiteY15" fmla="*/ 212905 h 352913"/>
                  <a:gd name="connsiteX16" fmla="*/ 90464 w 175076"/>
                  <a:gd name="connsiteY16" fmla="*/ 183430 h 352913"/>
                  <a:gd name="connsiteX17" fmla="*/ 155822 w 175076"/>
                  <a:gd name="connsiteY17" fmla="*/ 312866 h 352913"/>
                  <a:gd name="connsiteX18" fmla="*/ 163512 w 175076"/>
                  <a:gd name="connsiteY18" fmla="*/ 333370 h 352913"/>
                  <a:gd name="connsiteX19" fmla="*/ 172483 w 175076"/>
                  <a:gd name="connsiteY19" fmla="*/ 319273 h 352913"/>
                  <a:gd name="connsiteX20" fmla="*/ 159667 w 175076"/>
                  <a:gd name="connsiteY20" fmla="*/ 312866 h 352913"/>
                  <a:gd name="connsiteX21" fmla="*/ 91745 w 175076"/>
                  <a:gd name="connsiteY21" fmla="*/ 179585 h 352913"/>
                  <a:gd name="connsiteX22" fmla="*/ 107123 w 175076"/>
                  <a:gd name="connsiteY22" fmla="*/ 146265 h 352913"/>
                  <a:gd name="connsiteX23" fmla="*/ 80211 w 175076"/>
                  <a:gd name="connsiteY23" fmla="*/ 101411 h 352913"/>
                  <a:gd name="connsiteX24" fmla="*/ 71240 w 175076"/>
                  <a:gd name="connsiteY24" fmla="*/ 83469 h 352913"/>
                  <a:gd name="connsiteX25" fmla="*/ 62269 w 175076"/>
                  <a:gd name="connsiteY25" fmla="*/ 93721 h 352913"/>
                  <a:gd name="connsiteX26" fmla="*/ 75085 w 175076"/>
                  <a:gd name="connsiteY26" fmla="*/ 101411 h 352913"/>
                  <a:gd name="connsiteX27" fmla="*/ 100716 w 175076"/>
                  <a:gd name="connsiteY27" fmla="*/ 144983 h 352913"/>
                  <a:gd name="connsiteX28" fmla="*/ 86619 w 175076"/>
                  <a:gd name="connsiteY28" fmla="*/ 173177 h 352913"/>
                  <a:gd name="connsiteX29" fmla="*/ 43046 w 175076"/>
                  <a:gd name="connsiteY29" fmla="*/ 98848 h 352913"/>
                  <a:gd name="connsiteX30" fmla="*/ 78930 w 175076"/>
                  <a:gd name="connsiteY30" fmla="*/ 15547 h 352913"/>
                  <a:gd name="connsiteX31" fmla="*/ 87900 w 175076"/>
                  <a:gd name="connsiteY31" fmla="*/ 6576 h 352913"/>
                  <a:gd name="connsiteX32" fmla="*/ 72522 w 175076"/>
                  <a:gd name="connsiteY32" fmla="*/ 169 h 352913"/>
                  <a:gd name="connsiteX33" fmla="*/ 73803 w 175076"/>
                  <a:gd name="connsiteY33" fmla="*/ 14265 h 352913"/>
                  <a:gd name="connsiteX34" fmla="*/ 37920 w 175076"/>
                  <a:gd name="connsiteY34" fmla="*/ 98848 h 352913"/>
                  <a:gd name="connsiteX35" fmla="*/ 84056 w 175076"/>
                  <a:gd name="connsiteY35" fmla="*/ 179585 h 352913"/>
                  <a:gd name="connsiteX36" fmla="*/ 72522 w 175076"/>
                  <a:gd name="connsiteY36" fmla="*/ 206497 h 352913"/>
                  <a:gd name="connsiteX37" fmla="*/ 35357 w 175076"/>
                  <a:gd name="connsiteY37" fmla="*/ 138575 h 352913"/>
                  <a:gd name="connsiteX38" fmla="*/ 27667 w 175076"/>
                  <a:gd name="connsiteY38" fmla="*/ 120634 h 352913"/>
                  <a:gd name="connsiteX39" fmla="*/ 19978 w 175076"/>
                  <a:gd name="connsiteY39" fmla="*/ 133449 h 352913"/>
                  <a:gd name="connsiteX40" fmla="*/ 31512 w 175076"/>
                  <a:gd name="connsiteY40" fmla="*/ 139857 h 352913"/>
                  <a:gd name="connsiteX41" fmla="*/ 69959 w 175076"/>
                  <a:gd name="connsiteY41" fmla="*/ 211623 h 352913"/>
                  <a:gd name="connsiteX42" fmla="*/ 54580 w 175076"/>
                  <a:gd name="connsiteY42" fmla="*/ 241099 h 352913"/>
                  <a:gd name="connsiteX43" fmla="*/ 18697 w 175076"/>
                  <a:gd name="connsiteY43" fmla="*/ 171896 h 352913"/>
                  <a:gd name="connsiteX44" fmla="*/ 11007 w 175076"/>
                  <a:gd name="connsiteY44" fmla="*/ 153954 h 352913"/>
                  <a:gd name="connsiteX45" fmla="*/ 2036 w 175076"/>
                  <a:gd name="connsiteY45" fmla="*/ 166769 h 352913"/>
                  <a:gd name="connsiteX46" fmla="*/ 13570 w 175076"/>
                  <a:gd name="connsiteY46" fmla="*/ 173177 h 352913"/>
                  <a:gd name="connsiteX47" fmla="*/ 50735 w 175076"/>
                  <a:gd name="connsiteY47" fmla="*/ 247507 h 352913"/>
                  <a:gd name="connsiteX48" fmla="*/ 32794 w 175076"/>
                  <a:gd name="connsiteY48" fmla="*/ 282109 h 352913"/>
                  <a:gd name="connsiteX49" fmla="*/ 55862 w 175076"/>
                  <a:gd name="connsiteY49" fmla="*/ 332089 h 352913"/>
                  <a:gd name="connsiteX50" fmla="*/ 52017 w 175076"/>
                  <a:gd name="connsiteY50" fmla="*/ 346186 h 35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75076" h="352913">
                    <a:moveTo>
                      <a:pt x="52017" y="346186"/>
                    </a:moveTo>
                    <a:cubicBezTo>
                      <a:pt x="58425" y="355157"/>
                      <a:pt x="71240" y="355157"/>
                      <a:pt x="73803" y="346186"/>
                    </a:cubicBezTo>
                    <a:cubicBezTo>
                      <a:pt x="75085" y="341060"/>
                      <a:pt x="71240" y="332089"/>
                      <a:pt x="59706" y="330807"/>
                    </a:cubicBezTo>
                    <a:cubicBezTo>
                      <a:pt x="52017" y="314147"/>
                      <a:pt x="45609" y="298769"/>
                      <a:pt x="37920" y="282109"/>
                    </a:cubicBezTo>
                    <a:lnTo>
                      <a:pt x="54580" y="251351"/>
                    </a:lnTo>
                    <a:cubicBezTo>
                      <a:pt x="66114" y="275701"/>
                      <a:pt x="77648" y="300050"/>
                      <a:pt x="89182" y="324399"/>
                    </a:cubicBezTo>
                    <a:cubicBezTo>
                      <a:pt x="78930" y="329526"/>
                      <a:pt x="85337" y="341060"/>
                      <a:pt x="94308" y="343623"/>
                    </a:cubicBezTo>
                    <a:cubicBezTo>
                      <a:pt x="103279" y="347467"/>
                      <a:pt x="110968" y="339778"/>
                      <a:pt x="108405" y="332089"/>
                    </a:cubicBezTo>
                    <a:cubicBezTo>
                      <a:pt x="107123" y="329526"/>
                      <a:pt x="104561" y="324399"/>
                      <a:pt x="95590" y="323118"/>
                    </a:cubicBezTo>
                    <a:cubicBezTo>
                      <a:pt x="84056" y="296205"/>
                      <a:pt x="71240" y="270575"/>
                      <a:pt x="59706" y="246225"/>
                    </a:cubicBezTo>
                    <a:lnTo>
                      <a:pt x="75085" y="216750"/>
                    </a:lnTo>
                    <a:cubicBezTo>
                      <a:pt x="91745" y="250070"/>
                      <a:pt x="108405" y="283390"/>
                      <a:pt x="125065" y="317992"/>
                    </a:cubicBezTo>
                    <a:cubicBezTo>
                      <a:pt x="116095" y="323118"/>
                      <a:pt x="121220" y="334652"/>
                      <a:pt x="130191" y="337215"/>
                    </a:cubicBezTo>
                    <a:cubicBezTo>
                      <a:pt x="139162" y="341060"/>
                      <a:pt x="146852" y="333370"/>
                      <a:pt x="143007" y="325681"/>
                    </a:cubicBezTo>
                    <a:cubicBezTo>
                      <a:pt x="141725" y="323118"/>
                      <a:pt x="139162" y="317992"/>
                      <a:pt x="130191" y="316710"/>
                    </a:cubicBezTo>
                    <a:cubicBezTo>
                      <a:pt x="110968" y="282109"/>
                      <a:pt x="94308" y="247507"/>
                      <a:pt x="76366" y="212905"/>
                    </a:cubicBezTo>
                    <a:lnTo>
                      <a:pt x="90464" y="183430"/>
                    </a:lnTo>
                    <a:cubicBezTo>
                      <a:pt x="113531" y="224439"/>
                      <a:pt x="135318" y="268011"/>
                      <a:pt x="155822" y="312866"/>
                    </a:cubicBezTo>
                    <a:cubicBezTo>
                      <a:pt x="144288" y="320555"/>
                      <a:pt x="157104" y="332089"/>
                      <a:pt x="163512" y="333370"/>
                    </a:cubicBezTo>
                    <a:cubicBezTo>
                      <a:pt x="172483" y="334652"/>
                      <a:pt x="178890" y="326963"/>
                      <a:pt x="172483" y="319273"/>
                    </a:cubicBezTo>
                    <a:cubicBezTo>
                      <a:pt x="171201" y="316710"/>
                      <a:pt x="167356" y="312866"/>
                      <a:pt x="159667" y="312866"/>
                    </a:cubicBezTo>
                    <a:cubicBezTo>
                      <a:pt x="137881" y="266730"/>
                      <a:pt x="114813" y="221876"/>
                      <a:pt x="91745" y="179585"/>
                    </a:cubicBezTo>
                    <a:lnTo>
                      <a:pt x="107123" y="146265"/>
                    </a:lnTo>
                    <a:cubicBezTo>
                      <a:pt x="98153" y="130886"/>
                      <a:pt x="89182" y="115508"/>
                      <a:pt x="80211" y="101411"/>
                    </a:cubicBezTo>
                    <a:cubicBezTo>
                      <a:pt x="89182" y="95003"/>
                      <a:pt x="77648" y="84751"/>
                      <a:pt x="71240" y="83469"/>
                    </a:cubicBezTo>
                    <a:cubicBezTo>
                      <a:pt x="63551" y="82187"/>
                      <a:pt x="58425" y="87314"/>
                      <a:pt x="62269" y="93721"/>
                    </a:cubicBezTo>
                    <a:cubicBezTo>
                      <a:pt x="63551" y="96284"/>
                      <a:pt x="67396" y="100129"/>
                      <a:pt x="75085" y="101411"/>
                    </a:cubicBezTo>
                    <a:cubicBezTo>
                      <a:pt x="84056" y="115508"/>
                      <a:pt x="91745" y="129605"/>
                      <a:pt x="100716" y="144983"/>
                    </a:cubicBezTo>
                    <a:lnTo>
                      <a:pt x="86619" y="173177"/>
                    </a:lnTo>
                    <a:cubicBezTo>
                      <a:pt x="72522" y="147546"/>
                      <a:pt x="58425" y="123197"/>
                      <a:pt x="43046" y="98848"/>
                    </a:cubicBezTo>
                    <a:cubicBezTo>
                      <a:pt x="53298" y="74498"/>
                      <a:pt x="68677" y="41178"/>
                      <a:pt x="78930" y="15547"/>
                    </a:cubicBezTo>
                    <a:cubicBezTo>
                      <a:pt x="89182" y="18110"/>
                      <a:pt x="91745" y="11702"/>
                      <a:pt x="87900" y="6576"/>
                    </a:cubicBezTo>
                    <a:cubicBezTo>
                      <a:pt x="87900" y="5295"/>
                      <a:pt x="82774" y="-1113"/>
                      <a:pt x="72522" y="169"/>
                    </a:cubicBezTo>
                    <a:cubicBezTo>
                      <a:pt x="64832" y="2732"/>
                      <a:pt x="67396" y="9139"/>
                      <a:pt x="73803" y="14265"/>
                    </a:cubicBezTo>
                    <a:cubicBezTo>
                      <a:pt x="63551" y="39896"/>
                      <a:pt x="49454" y="74498"/>
                      <a:pt x="37920" y="98848"/>
                    </a:cubicBezTo>
                    <a:cubicBezTo>
                      <a:pt x="53298" y="124478"/>
                      <a:pt x="68677" y="151391"/>
                      <a:pt x="84056" y="179585"/>
                    </a:cubicBezTo>
                    <a:lnTo>
                      <a:pt x="72522" y="206497"/>
                    </a:lnTo>
                    <a:cubicBezTo>
                      <a:pt x="60988" y="183430"/>
                      <a:pt x="48172" y="160362"/>
                      <a:pt x="35357" y="138575"/>
                    </a:cubicBezTo>
                    <a:cubicBezTo>
                      <a:pt x="45609" y="130886"/>
                      <a:pt x="34075" y="121915"/>
                      <a:pt x="27667" y="120634"/>
                    </a:cubicBezTo>
                    <a:cubicBezTo>
                      <a:pt x="18697" y="119352"/>
                      <a:pt x="13570" y="127041"/>
                      <a:pt x="19978" y="133449"/>
                    </a:cubicBezTo>
                    <a:cubicBezTo>
                      <a:pt x="21260" y="136012"/>
                      <a:pt x="25104" y="138575"/>
                      <a:pt x="31512" y="139857"/>
                    </a:cubicBezTo>
                    <a:cubicBezTo>
                      <a:pt x="44328" y="162925"/>
                      <a:pt x="57143" y="187274"/>
                      <a:pt x="69959" y="211623"/>
                    </a:cubicBezTo>
                    <a:lnTo>
                      <a:pt x="54580" y="241099"/>
                    </a:lnTo>
                    <a:cubicBezTo>
                      <a:pt x="43046" y="216750"/>
                      <a:pt x="31512" y="193682"/>
                      <a:pt x="18697" y="171896"/>
                    </a:cubicBezTo>
                    <a:cubicBezTo>
                      <a:pt x="30231" y="164206"/>
                      <a:pt x="18697" y="153954"/>
                      <a:pt x="11007" y="153954"/>
                    </a:cubicBezTo>
                    <a:cubicBezTo>
                      <a:pt x="2036" y="152672"/>
                      <a:pt x="-3090" y="160362"/>
                      <a:pt x="2036" y="166769"/>
                    </a:cubicBezTo>
                    <a:cubicBezTo>
                      <a:pt x="3318" y="169332"/>
                      <a:pt x="7163" y="171896"/>
                      <a:pt x="13570" y="173177"/>
                    </a:cubicBezTo>
                    <a:cubicBezTo>
                      <a:pt x="26386" y="197527"/>
                      <a:pt x="39201" y="221876"/>
                      <a:pt x="50735" y="247507"/>
                    </a:cubicBezTo>
                    <a:lnTo>
                      <a:pt x="32794" y="282109"/>
                    </a:lnTo>
                    <a:cubicBezTo>
                      <a:pt x="40483" y="298769"/>
                      <a:pt x="48172" y="315429"/>
                      <a:pt x="55862" y="332089"/>
                    </a:cubicBezTo>
                    <a:cubicBezTo>
                      <a:pt x="46891" y="337215"/>
                      <a:pt x="52017" y="344904"/>
                      <a:pt x="52017" y="34618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6" name="Freeform: Shape 380052">
                <a:extLst>
                  <a:ext uri="{FF2B5EF4-FFF2-40B4-BE49-F238E27FC236}">
                    <a16:creationId xmlns:a16="http://schemas.microsoft.com/office/drawing/2014/main" id="{BFD743DD-8A6F-4769-8C75-7B2E318CAA2D}"/>
                  </a:ext>
                </a:extLst>
              </p:cNvPr>
              <p:cNvSpPr/>
              <p:nvPr/>
            </p:nvSpPr>
            <p:spPr>
              <a:xfrm>
                <a:off x="6406842" y="2354385"/>
                <a:ext cx="104236" cy="246056"/>
              </a:xfrm>
              <a:custGeom>
                <a:avLst/>
                <a:gdLst>
                  <a:gd name="connsiteX0" fmla="*/ 82593 w 104236"/>
                  <a:gd name="connsiteY0" fmla="*/ 239329 h 246056"/>
                  <a:gd name="connsiteX1" fmla="*/ 103098 w 104236"/>
                  <a:gd name="connsiteY1" fmla="*/ 239329 h 246056"/>
                  <a:gd name="connsiteX2" fmla="*/ 89001 w 104236"/>
                  <a:gd name="connsiteY2" fmla="*/ 225232 h 246056"/>
                  <a:gd name="connsiteX3" fmla="*/ 49273 w 104236"/>
                  <a:gd name="connsiteY3" fmla="*/ 150902 h 246056"/>
                  <a:gd name="connsiteX4" fmla="*/ 62088 w 104236"/>
                  <a:gd name="connsiteY4" fmla="*/ 122708 h 246056"/>
                  <a:gd name="connsiteX5" fmla="*/ 85156 w 104236"/>
                  <a:gd name="connsiteY5" fmla="*/ 163717 h 246056"/>
                  <a:gd name="connsiteX6" fmla="*/ 91564 w 104236"/>
                  <a:gd name="connsiteY6" fmla="*/ 181659 h 246056"/>
                  <a:gd name="connsiteX7" fmla="*/ 103098 w 104236"/>
                  <a:gd name="connsiteY7" fmla="*/ 171407 h 246056"/>
                  <a:gd name="connsiteX8" fmla="*/ 90283 w 104236"/>
                  <a:gd name="connsiteY8" fmla="*/ 163717 h 246056"/>
                  <a:gd name="connsiteX9" fmla="*/ 64652 w 104236"/>
                  <a:gd name="connsiteY9" fmla="*/ 118863 h 246056"/>
                  <a:gd name="connsiteX10" fmla="*/ 78749 w 104236"/>
                  <a:gd name="connsiteY10" fmla="*/ 86825 h 246056"/>
                  <a:gd name="connsiteX11" fmla="*/ 32613 w 104236"/>
                  <a:gd name="connsiteY11" fmla="*/ 17621 h 246056"/>
                  <a:gd name="connsiteX12" fmla="*/ 24923 w 104236"/>
                  <a:gd name="connsiteY12" fmla="*/ 961 h 246056"/>
                  <a:gd name="connsiteX13" fmla="*/ 18516 w 104236"/>
                  <a:gd name="connsiteY13" fmla="*/ 961 h 246056"/>
                  <a:gd name="connsiteX14" fmla="*/ 21079 w 104236"/>
                  <a:gd name="connsiteY14" fmla="*/ 16340 h 246056"/>
                  <a:gd name="connsiteX15" fmla="*/ 28768 w 104236"/>
                  <a:gd name="connsiteY15" fmla="*/ 18903 h 246056"/>
                  <a:gd name="connsiteX16" fmla="*/ 73622 w 104236"/>
                  <a:gd name="connsiteY16" fmla="*/ 86825 h 246056"/>
                  <a:gd name="connsiteX17" fmla="*/ 60807 w 104236"/>
                  <a:gd name="connsiteY17" fmla="*/ 112456 h 246056"/>
                  <a:gd name="connsiteX18" fmla="*/ 19797 w 104236"/>
                  <a:gd name="connsiteY18" fmla="*/ 47097 h 246056"/>
                  <a:gd name="connsiteX19" fmla="*/ 12108 w 104236"/>
                  <a:gd name="connsiteY19" fmla="*/ 30437 h 246056"/>
                  <a:gd name="connsiteX20" fmla="*/ 574 w 104236"/>
                  <a:gd name="connsiteY20" fmla="*/ 38126 h 246056"/>
                  <a:gd name="connsiteX21" fmla="*/ 14671 w 104236"/>
                  <a:gd name="connsiteY21" fmla="*/ 47097 h 246056"/>
                  <a:gd name="connsiteX22" fmla="*/ 56962 w 104236"/>
                  <a:gd name="connsiteY22" fmla="*/ 116300 h 246056"/>
                  <a:gd name="connsiteX23" fmla="*/ 41584 w 104236"/>
                  <a:gd name="connsiteY23" fmla="*/ 148339 h 246056"/>
                  <a:gd name="connsiteX24" fmla="*/ 82593 w 104236"/>
                  <a:gd name="connsiteY24" fmla="*/ 223950 h 246056"/>
                  <a:gd name="connsiteX25" fmla="*/ 82593 w 104236"/>
                  <a:gd name="connsiteY25" fmla="*/ 239329 h 24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4236" h="246056">
                    <a:moveTo>
                      <a:pt x="82593" y="239329"/>
                    </a:moveTo>
                    <a:cubicBezTo>
                      <a:pt x="89001" y="248299"/>
                      <a:pt x="101817" y="248299"/>
                      <a:pt x="103098" y="239329"/>
                    </a:cubicBezTo>
                    <a:cubicBezTo>
                      <a:pt x="104380" y="234202"/>
                      <a:pt x="99253" y="226513"/>
                      <a:pt x="89001" y="225232"/>
                    </a:cubicBezTo>
                    <a:cubicBezTo>
                      <a:pt x="76186" y="199601"/>
                      <a:pt x="62088" y="175251"/>
                      <a:pt x="49273" y="150902"/>
                    </a:cubicBezTo>
                    <a:lnTo>
                      <a:pt x="62088" y="122708"/>
                    </a:lnTo>
                    <a:cubicBezTo>
                      <a:pt x="69778" y="135523"/>
                      <a:pt x="77467" y="149620"/>
                      <a:pt x="85156" y="163717"/>
                    </a:cubicBezTo>
                    <a:cubicBezTo>
                      <a:pt x="76186" y="168844"/>
                      <a:pt x="82593" y="179096"/>
                      <a:pt x="91564" y="181659"/>
                    </a:cubicBezTo>
                    <a:cubicBezTo>
                      <a:pt x="100535" y="184222"/>
                      <a:pt x="106942" y="179096"/>
                      <a:pt x="103098" y="171407"/>
                    </a:cubicBezTo>
                    <a:cubicBezTo>
                      <a:pt x="101817" y="168844"/>
                      <a:pt x="97972" y="163717"/>
                      <a:pt x="90283" y="163717"/>
                    </a:cubicBezTo>
                    <a:cubicBezTo>
                      <a:pt x="81312" y="148339"/>
                      <a:pt x="73622" y="134242"/>
                      <a:pt x="64652" y="118863"/>
                    </a:cubicBezTo>
                    <a:lnTo>
                      <a:pt x="78749" y="86825"/>
                    </a:lnTo>
                    <a:cubicBezTo>
                      <a:pt x="63370" y="63757"/>
                      <a:pt x="47991" y="39408"/>
                      <a:pt x="32613" y="17621"/>
                    </a:cubicBezTo>
                    <a:cubicBezTo>
                      <a:pt x="40302" y="13777"/>
                      <a:pt x="32613" y="3524"/>
                      <a:pt x="24923" y="961"/>
                    </a:cubicBezTo>
                    <a:cubicBezTo>
                      <a:pt x="22360" y="-320"/>
                      <a:pt x="19797" y="-320"/>
                      <a:pt x="18516" y="961"/>
                    </a:cubicBezTo>
                    <a:cubicBezTo>
                      <a:pt x="8264" y="3524"/>
                      <a:pt x="14671" y="12495"/>
                      <a:pt x="21079" y="16340"/>
                    </a:cubicBezTo>
                    <a:cubicBezTo>
                      <a:pt x="23642" y="17621"/>
                      <a:pt x="26205" y="17621"/>
                      <a:pt x="28768" y="18903"/>
                    </a:cubicBezTo>
                    <a:cubicBezTo>
                      <a:pt x="44147" y="40689"/>
                      <a:pt x="58244" y="63757"/>
                      <a:pt x="73622" y="86825"/>
                    </a:cubicBezTo>
                    <a:lnTo>
                      <a:pt x="60807" y="112456"/>
                    </a:lnTo>
                    <a:cubicBezTo>
                      <a:pt x="47991" y="90669"/>
                      <a:pt x="33894" y="68883"/>
                      <a:pt x="19797" y="47097"/>
                    </a:cubicBezTo>
                    <a:cubicBezTo>
                      <a:pt x="27486" y="43252"/>
                      <a:pt x="21079" y="33000"/>
                      <a:pt x="12108" y="30437"/>
                    </a:cubicBezTo>
                    <a:cubicBezTo>
                      <a:pt x="4419" y="27874"/>
                      <a:pt x="-1989" y="31718"/>
                      <a:pt x="574" y="38126"/>
                    </a:cubicBezTo>
                    <a:cubicBezTo>
                      <a:pt x="574" y="38126"/>
                      <a:pt x="4419" y="45815"/>
                      <a:pt x="14671" y="47097"/>
                    </a:cubicBezTo>
                    <a:cubicBezTo>
                      <a:pt x="28768" y="68883"/>
                      <a:pt x="42865" y="91951"/>
                      <a:pt x="56962" y="116300"/>
                    </a:cubicBezTo>
                    <a:lnTo>
                      <a:pt x="41584" y="148339"/>
                    </a:lnTo>
                    <a:cubicBezTo>
                      <a:pt x="55681" y="172688"/>
                      <a:pt x="69778" y="198319"/>
                      <a:pt x="82593" y="223950"/>
                    </a:cubicBezTo>
                    <a:cubicBezTo>
                      <a:pt x="76186" y="231639"/>
                      <a:pt x="81312" y="239329"/>
                      <a:pt x="82593" y="23932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7" name="Freeform: Shape 380053">
                <a:extLst>
                  <a:ext uri="{FF2B5EF4-FFF2-40B4-BE49-F238E27FC236}">
                    <a16:creationId xmlns:a16="http://schemas.microsoft.com/office/drawing/2014/main" id="{618599C5-1E9A-4A27-833A-138B831F2540}"/>
                  </a:ext>
                </a:extLst>
              </p:cNvPr>
              <p:cNvSpPr/>
              <p:nvPr/>
            </p:nvSpPr>
            <p:spPr>
              <a:xfrm>
                <a:off x="6412844" y="2301841"/>
                <a:ext cx="100940" cy="174610"/>
              </a:xfrm>
              <a:custGeom>
                <a:avLst/>
                <a:gdLst>
                  <a:gd name="connsiteX0" fmla="*/ 76591 w 100940"/>
                  <a:gd name="connsiteY0" fmla="*/ 168844 h 174610"/>
                  <a:gd name="connsiteX1" fmla="*/ 97096 w 100940"/>
                  <a:gd name="connsiteY1" fmla="*/ 168844 h 174610"/>
                  <a:gd name="connsiteX2" fmla="*/ 90688 w 100940"/>
                  <a:gd name="connsiteY2" fmla="*/ 158591 h 174610"/>
                  <a:gd name="connsiteX3" fmla="*/ 100940 w 100940"/>
                  <a:gd name="connsiteY3" fmla="*/ 134242 h 174610"/>
                  <a:gd name="connsiteX4" fmla="*/ 18921 w 100940"/>
                  <a:gd name="connsiteY4" fmla="*/ 16340 h 174610"/>
                  <a:gd name="connsiteX5" fmla="*/ 11232 w 100940"/>
                  <a:gd name="connsiteY5" fmla="*/ 961 h 174610"/>
                  <a:gd name="connsiteX6" fmla="*/ 4824 w 100940"/>
                  <a:gd name="connsiteY6" fmla="*/ 961 h 174610"/>
                  <a:gd name="connsiteX7" fmla="*/ 7387 w 100940"/>
                  <a:gd name="connsiteY7" fmla="*/ 15058 h 174610"/>
                  <a:gd name="connsiteX8" fmla="*/ 15077 w 100940"/>
                  <a:gd name="connsiteY8" fmla="*/ 17621 h 174610"/>
                  <a:gd name="connsiteX9" fmla="*/ 95814 w 100940"/>
                  <a:gd name="connsiteY9" fmla="*/ 132960 h 174610"/>
                  <a:gd name="connsiteX10" fmla="*/ 86844 w 100940"/>
                  <a:gd name="connsiteY10" fmla="*/ 156028 h 174610"/>
                  <a:gd name="connsiteX11" fmla="*/ 76591 w 100940"/>
                  <a:gd name="connsiteY11" fmla="*/ 166281 h 174610"/>
                  <a:gd name="connsiteX12" fmla="*/ 76591 w 100940"/>
                  <a:gd name="connsiteY12" fmla="*/ 168844 h 174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940" h="174610">
                    <a:moveTo>
                      <a:pt x="76591" y="168844"/>
                    </a:moveTo>
                    <a:cubicBezTo>
                      <a:pt x="82999" y="176533"/>
                      <a:pt x="95814" y="176533"/>
                      <a:pt x="97096" y="168844"/>
                    </a:cubicBezTo>
                    <a:cubicBezTo>
                      <a:pt x="97096" y="164999"/>
                      <a:pt x="95814" y="162436"/>
                      <a:pt x="90688" y="158591"/>
                    </a:cubicBezTo>
                    <a:lnTo>
                      <a:pt x="100940" y="134242"/>
                    </a:lnTo>
                    <a:cubicBezTo>
                      <a:pt x="74028" y="93232"/>
                      <a:pt x="47115" y="53505"/>
                      <a:pt x="18921" y="16340"/>
                    </a:cubicBezTo>
                    <a:cubicBezTo>
                      <a:pt x="25329" y="12495"/>
                      <a:pt x="18921" y="3524"/>
                      <a:pt x="11232" y="961"/>
                    </a:cubicBezTo>
                    <a:cubicBezTo>
                      <a:pt x="8669" y="-320"/>
                      <a:pt x="6106" y="-320"/>
                      <a:pt x="4824" y="961"/>
                    </a:cubicBezTo>
                    <a:cubicBezTo>
                      <a:pt x="-4147" y="3524"/>
                      <a:pt x="980" y="12495"/>
                      <a:pt x="7387" y="15058"/>
                    </a:cubicBezTo>
                    <a:cubicBezTo>
                      <a:pt x="9950" y="16340"/>
                      <a:pt x="12513" y="16340"/>
                      <a:pt x="15077" y="17621"/>
                    </a:cubicBezTo>
                    <a:cubicBezTo>
                      <a:pt x="43271" y="54786"/>
                      <a:pt x="70183" y="93232"/>
                      <a:pt x="95814" y="132960"/>
                    </a:cubicBezTo>
                    <a:cubicBezTo>
                      <a:pt x="93251" y="139368"/>
                      <a:pt x="89406" y="149620"/>
                      <a:pt x="86844" y="156028"/>
                    </a:cubicBezTo>
                    <a:cubicBezTo>
                      <a:pt x="75310" y="153465"/>
                      <a:pt x="72747" y="159873"/>
                      <a:pt x="76591" y="166281"/>
                    </a:cubicBezTo>
                    <a:cubicBezTo>
                      <a:pt x="76591" y="167562"/>
                      <a:pt x="76591" y="168844"/>
                      <a:pt x="76591" y="16884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8" name="Freeform: Shape 380054">
                <a:extLst>
                  <a:ext uri="{FF2B5EF4-FFF2-40B4-BE49-F238E27FC236}">
                    <a16:creationId xmlns:a16="http://schemas.microsoft.com/office/drawing/2014/main" id="{470E9C5F-6CAD-4256-BFDE-CE3BAF3F1D2E}"/>
                  </a:ext>
                </a:extLst>
              </p:cNvPr>
              <p:cNvSpPr/>
              <p:nvPr/>
            </p:nvSpPr>
            <p:spPr>
              <a:xfrm>
                <a:off x="6483579" y="2215514"/>
                <a:ext cx="76439" cy="110996"/>
              </a:xfrm>
              <a:custGeom>
                <a:avLst/>
                <a:gdLst>
                  <a:gd name="connsiteX0" fmla="*/ 58400 w 76439"/>
                  <a:gd name="connsiteY0" fmla="*/ 105230 h 110996"/>
                  <a:gd name="connsiteX1" fmla="*/ 76341 w 76439"/>
                  <a:gd name="connsiteY1" fmla="*/ 105230 h 110996"/>
                  <a:gd name="connsiteX2" fmla="*/ 60963 w 76439"/>
                  <a:gd name="connsiteY2" fmla="*/ 93696 h 110996"/>
                  <a:gd name="connsiteX3" fmla="*/ 8419 w 76439"/>
                  <a:gd name="connsiteY3" fmla="*/ 33463 h 110996"/>
                  <a:gd name="connsiteX4" fmla="*/ 12264 w 76439"/>
                  <a:gd name="connsiteY4" fmla="*/ 14240 h 110996"/>
                  <a:gd name="connsiteX5" fmla="*/ 21235 w 76439"/>
                  <a:gd name="connsiteY5" fmla="*/ 9114 h 110996"/>
                  <a:gd name="connsiteX6" fmla="*/ 3293 w 76439"/>
                  <a:gd name="connsiteY6" fmla="*/ 143 h 110996"/>
                  <a:gd name="connsiteX7" fmla="*/ 7138 w 76439"/>
                  <a:gd name="connsiteY7" fmla="*/ 11677 h 110996"/>
                  <a:gd name="connsiteX8" fmla="*/ 3293 w 76439"/>
                  <a:gd name="connsiteY8" fmla="*/ 32182 h 110996"/>
                  <a:gd name="connsiteX9" fmla="*/ 57118 w 76439"/>
                  <a:gd name="connsiteY9" fmla="*/ 93696 h 110996"/>
                  <a:gd name="connsiteX10" fmla="*/ 58400 w 76439"/>
                  <a:gd name="connsiteY10" fmla="*/ 105230 h 110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6439" h="110996">
                    <a:moveTo>
                      <a:pt x="58400" y="105230"/>
                    </a:moveTo>
                    <a:cubicBezTo>
                      <a:pt x="66089" y="112919"/>
                      <a:pt x="77623" y="112919"/>
                      <a:pt x="76341" y="105230"/>
                    </a:cubicBezTo>
                    <a:cubicBezTo>
                      <a:pt x="76341" y="101385"/>
                      <a:pt x="69934" y="94977"/>
                      <a:pt x="60963" y="93696"/>
                    </a:cubicBezTo>
                    <a:cubicBezTo>
                      <a:pt x="44303" y="73191"/>
                      <a:pt x="26361" y="52686"/>
                      <a:pt x="8419" y="33463"/>
                    </a:cubicBezTo>
                    <a:cubicBezTo>
                      <a:pt x="9701" y="27055"/>
                      <a:pt x="10982" y="19366"/>
                      <a:pt x="12264" y="14240"/>
                    </a:cubicBezTo>
                    <a:cubicBezTo>
                      <a:pt x="19953" y="16803"/>
                      <a:pt x="22516" y="12958"/>
                      <a:pt x="21235" y="9114"/>
                    </a:cubicBezTo>
                    <a:cubicBezTo>
                      <a:pt x="19953" y="6551"/>
                      <a:pt x="12264" y="-1139"/>
                      <a:pt x="3293" y="143"/>
                    </a:cubicBezTo>
                    <a:cubicBezTo>
                      <a:pt x="-3115" y="1425"/>
                      <a:pt x="730" y="7832"/>
                      <a:pt x="7138" y="11677"/>
                    </a:cubicBezTo>
                    <a:lnTo>
                      <a:pt x="3293" y="32182"/>
                    </a:lnTo>
                    <a:cubicBezTo>
                      <a:pt x="21235" y="52686"/>
                      <a:pt x="39177" y="73191"/>
                      <a:pt x="57118" y="93696"/>
                    </a:cubicBezTo>
                    <a:cubicBezTo>
                      <a:pt x="51992" y="97540"/>
                      <a:pt x="58400" y="103948"/>
                      <a:pt x="58400" y="10523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09" name="Freeform: Shape 380055">
                <a:extLst>
                  <a:ext uri="{FF2B5EF4-FFF2-40B4-BE49-F238E27FC236}">
                    <a16:creationId xmlns:a16="http://schemas.microsoft.com/office/drawing/2014/main" id="{E1A02028-C762-4D5B-80B2-E13FDE061A0D}"/>
                  </a:ext>
                </a:extLst>
              </p:cNvPr>
              <p:cNvSpPr/>
              <p:nvPr/>
            </p:nvSpPr>
            <p:spPr>
              <a:xfrm>
                <a:off x="6805482" y="3536931"/>
                <a:ext cx="169138" cy="388323"/>
              </a:xfrm>
              <a:custGeom>
                <a:avLst/>
                <a:gdLst>
                  <a:gd name="connsiteX0" fmla="*/ 497 w 169138"/>
                  <a:gd name="connsiteY0" fmla="*/ 342173 h 388323"/>
                  <a:gd name="connsiteX1" fmla="*/ 21002 w 169138"/>
                  <a:gd name="connsiteY1" fmla="*/ 343454 h 388323"/>
                  <a:gd name="connsiteX2" fmla="*/ 19720 w 169138"/>
                  <a:gd name="connsiteY2" fmla="*/ 329357 h 388323"/>
                  <a:gd name="connsiteX3" fmla="*/ 131215 w 169138"/>
                  <a:gd name="connsiteY3" fmla="*/ 171727 h 388323"/>
                  <a:gd name="connsiteX4" fmla="*/ 135059 w 169138"/>
                  <a:gd name="connsiteY4" fmla="*/ 201203 h 388323"/>
                  <a:gd name="connsiteX5" fmla="*/ 19720 w 169138"/>
                  <a:gd name="connsiteY5" fmla="*/ 362677 h 388323"/>
                  <a:gd name="connsiteX6" fmla="*/ 4341 w 169138"/>
                  <a:gd name="connsiteY6" fmla="*/ 381901 h 388323"/>
                  <a:gd name="connsiteX7" fmla="*/ 24846 w 169138"/>
                  <a:gd name="connsiteY7" fmla="*/ 378056 h 388323"/>
                  <a:gd name="connsiteX8" fmla="*/ 23565 w 169138"/>
                  <a:gd name="connsiteY8" fmla="*/ 366522 h 388323"/>
                  <a:gd name="connsiteX9" fmla="*/ 140186 w 169138"/>
                  <a:gd name="connsiteY9" fmla="*/ 202484 h 388323"/>
                  <a:gd name="connsiteX10" fmla="*/ 136341 w 169138"/>
                  <a:gd name="connsiteY10" fmla="*/ 165319 h 388323"/>
                  <a:gd name="connsiteX11" fmla="*/ 165817 w 169138"/>
                  <a:gd name="connsiteY11" fmla="*/ 121747 h 388323"/>
                  <a:gd name="connsiteX12" fmla="*/ 161972 w 169138"/>
                  <a:gd name="connsiteY12" fmla="*/ 94834 h 388323"/>
                  <a:gd name="connsiteX13" fmla="*/ 160691 w 169138"/>
                  <a:gd name="connsiteY13" fmla="*/ 69203 h 388323"/>
                  <a:gd name="connsiteX14" fmla="*/ 147875 w 169138"/>
                  <a:gd name="connsiteY14" fmla="*/ 88427 h 388323"/>
                  <a:gd name="connsiteX15" fmla="*/ 156846 w 169138"/>
                  <a:gd name="connsiteY15" fmla="*/ 96116 h 388323"/>
                  <a:gd name="connsiteX16" fmla="*/ 159409 w 169138"/>
                  <a:gd name="connsiteY16" fmla="*/ 120465 h 388323"/>
                  <a:gd name="connsiteX17" fmla="*/ 135059 w 169138"/>
                  <a:gd name="connsiteY17" fmla="*/ 157630 h 388323"/>
                  <a:gd name="connsiteX18" fmla="*/ 117118 w 169138"/>
                  <a:gd name="connsiteY18" fmla="*/ 25631 h 388323"/>
                  <a:gd name="connsiteX19" fmla="*/ 114555 w 169138"/>
                  <a:gd name="connsiteY19" fmla="*/ 0 h 388323"/>
                  <a:gd name="connsiteX20" fmla="*/ 109428 w 169138"/>
                  <a:gd name="connsiteY20" fmla="*/ 0 h 388323"/>
                  <a:gd name="connsiteX21" fmla="*/ 106865 w 169138"/>
                  <a:gd name="connsiteY21" fmla="*/ 25631 h 388323"/>
                  <a:gd name="connsiteX22" fmla="*/ 110710 w 169138"/>
                  <a:gd name="connsiteY22" fmla="*/ 26912 h 388323"/>
                  <a:gd name="connsiteX23" fmla="*/ 129933 w 169138"/>
                  <a:gd name="connsiteY23" fmla="*/ 164038 h 388323"/>
                  <a:gd name="connsiteX24" fmla="*/ 15875 w 169138"/>
                  <a:gd name="connsiteY24" fmla="*/ 326794 h 388323"/>
                  <a:gd name="connsiteX25" fmla="*/ 497 w 169138"/>
                  <a:gd name="connsiteY25" fmla="*/ 342173 h 38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9138" h="388323">
                    <a:moveTo>
                      <a:pt x="497" y="342173"/>
                    </a:moveTo>
                    <a:cubicBezTo>
                      <a:pt x="3060" y="352425"/>
                      <a:pt x="17157" y="353706"/>
                      <a:pt x="21002" y="343454"/>
                    </a:cubicBezTo>
                    <a:cubicBezTo>
                      <a:pt x="23565" y="338328"/>
                      <a:pt x="22283" y="334483"/>
                      <a:pt x="19720" y="329357"/>
                    </a:cubicBezTo>
                    <a:cubicBezTo>
                      <a:pt x="53040" y="281940"/>
                      <a:pt x="97894" y="219144"/>
                      <a:pt x="131215" y="171727"/>
                    </a:cubicBezTo>
                    <a:cubicBezTo>
                      <a:pt x="132496" y="181980"/>
                      <a:pt x="133778" y="190950"/>
                      <a:pt x="135059" y="201203"/>
                    </a:cubicBezTo>
                    <a:cubicBezTo>
                      <a:pt x="100458" y="249901"/>
                      <a:pt x="55603" y="315260"/>
                      <a:pt x="19720" y="362677"/>
                    </a:cubicBezTo>
                    <a:cubicBezTo>
                      <a:pt x="6904" y="357551"/>
                      <a:pt x="-785" y="371648"/>
                      <a:pt x="4341" y="381901"/>
                    </a:cubicBezTo>
                    <a:cubicBezTo>
                      <a:pt x="9468" y="392153"/>
                      <a:pt x="22283" y="389590"/>
                      <a:pt x="24846" y="378056"/>
                    </a:cubicBezTo>
                    <a:cubicBezTo>
                      <a:pt x="26128" y="371648"/>
                      <a:pt x="23565" y="367804"/>
                      <a:pt x="23565" y="366522"/>
                    </a:cubicBezTo>
                    <a:cubicBezTo>
                      <a:pt x="58167" y="317823"/>
                      <a:pt x="105584" y="252464"/>
                      <a:pt x="140186" y="202484"/>
                    </a:cubicBezTo>
                    <a:cubicBezTo>
                      <a:pt x="138904" y="189669"/>
                      <a:pt x="137623" y="176853"/>
                      <a:pt x="136341" y="165319"/>
                    </a:cubicBezTo>
                    <a:lnTo>
                      <a:pt x="165817" y="121747"/>
                    </a:lnTo>
                    <a:cubicBezTo>
                      <a:pt x="164535" y="112776"/>
                      <a:pt x="163254" y="103805"/>
                      <a:pt x="161972" y="94834"/>
                    </a:cubicBezTo>
                    <a:cubicBezTo>
                      <a:pt x="173506" y="88427"/>
                      <a:pt x="169661" y="71767"/>
                      <a:pt x="160691" y="69203"/>
                    </a:cubicBezTo>
                    <a:cubicBezTo>
                      <a:pt x="151720" y="66640"/>
                      <a:pt x="144030" y="78174"/>
                      <a:pt x="147875" y="88427"/>
                    </a:cubicBezTo>
                    <a:cubicBezTo>
                      <a:pt x="150438" y="93553"/>
                      <a:pt x="155564" y="94834"/>
                      <a:pt x="156846" y="96116"/>
                    </a:cubicBezTo>
                    <a:cubicBezTo>
                      <a:pt x="158127" y="103805"/>
                      <a:pt x="159409" y="111494"/>
                      <a:pt x="159409" y="120465"/>
                    </a:cubicBezTo>
                    <a:lnTo>
                      <a:pt x="135059" y="157630"/>
                    </a:lnTo>
                    <a:cubicBezTo>
                      <a:pt x="129933" y="114058"/>
                      <a:pt x="123525" y="69203"/>
                      <a:pt x="117118" y="25631"/>
                    </a:cubicBezTo>
                    <a:cubicBezTo>
                      <a:pt x="128652" y="19223"/>
                      <a:pt x="123525" y="2563"/>
                      <a:pt x="114555" y="0"/>
                    </a:cubicBezTo>
                    <a:cubicBezTo>
                      <a:pt x="113273" y="0"/>
                      <a:pt x="111992" y="0"/>
                      <a:pt x="109428" y="0"/>
                    </a:cubicBezTo>
                    <a:cubicBezTo>
                      <a:pt x="96613" y="3845"/>
                      <a:pt x="97894" y="20505"/>
                      <a:pt x="106865" y="25631"/>
                    </a:cubicBezTo>
                    <a:cubicBezTo>
                      <a:pt x="108147" y="25631"/>
                      <a:pt x="109428" y="26912"/>
                      <a:pt x="110710" y="26912"/>
                    </a:cubicBezTo>
                    <a:cubicBezTo>
                      <a:pt x="118399" y="73048"/>
                      <a:pt x="124807" y="119184"/>
                      <a:pt x="129933" y="164038"/>
                    </a:cubicBezTo>
                    <a:cubicBezTo>
                      <a:pt x="95331" y="212737"/>
                      <a:pt x="50477" y="278096"/>
                      <a:pt x="15875" y="326794"/>
                    </a:cubicBezTo>
                    <a:cubicBezTo>
                      <a:pt x="5623" y="321668"/>
                      <a:pt x="-2066" y="333202"/>
                      <a:pt x="497" y="34217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0" name="Freeform: Shape 380056">
                <a:extLst>
                  <a:ext uri="{FF2B5EF4-FFF2-40B4-BE49-F238E27FC236}">
                    <a16:creationId xmlns:a16="http://schemas.microsoft.com/office/drawing/2014/main" id="{CBF5D150-809A-4DDE-9882-81BF03FB6367}"/>
                  </a:ext>
                </a:extLst>
              </p:cNvPr>
              <p:cNvSpPr/>
              <p:nvPr/>
            </p:nvSpPr>
            <p:spPr>
              <a:xfrm>
                <a:off x="6939984" y="3634328"/>
                <a:ext cx="106402" cy="192048"/>
              </a:xfrm>
              <a:custGeom>
                <a:avLst/>
                <a:gdLst>
                  <a:gd name="connsiteX0" fmla="*/ 557 w 106402"/>
                  <a:gd name="connsiteY0" fmla="*/ 183261 h 192048"/>
                  <a:gd name="connsiteX1" fmla="*/ 19780 w 106402"/>
                  <a:gd name="connsiteY1" fmla="*/ 187106 h 192048"/>
                  <a:gd name="connsiteX2" fmla="*/ 19780 w 106402"/>
                  <a:gd name="connsiteY2" fmla="*/ 171727 h 192048"/>
                  <a:gd name="connsiteX3" fmla="*/ 101800 w 106402"/>
                  <a:gd name="connsiteY3" fmla="*/ 52543 h 192048"/>
                  <a:gd name="connsiteX4" fmla="*/ 99236 w 106402"/>
                  <a:gd name="connsiteY4" fmla="*/ 25631 h 192048"/>
                  <a:gd name="connsiteX5" fmla="*/ 97955 w 106402"/>
                  <a:gd name="connsiteY5" fmla="*/ 0 h 192048"/>
                  <a:gd name="connsiteX6" fmla="*/ 94110 w 106402"/>
                  <a:gd name="connsiteY6" fmla="*/ 0 h 192048"/>
                  <a:gd name="connsiteX7" fmla="*/ 91547 w 106402"/>
                  <a:gd name="connsiteY7" fmla="*/ 25631 h 192048"/>
                  <a:gd name="connsiteX8" fmla="*/ 95392 w 106402"/>
                  <a:gd name="connsiteY8" fmla="*/ 26912 h 192048"/>
                  <a:gd name="connsiteX9" fmla="*/ 97955 w 106402"/>
                  <a:gd name="connsiteY9" fmla="*/ 51262 h 192048"/>
                  <a:gd name="connsiteX10" fmla="*/ 17217 w 106402"/>
                  <a:gd name="connsiteY10" fmla="*/ 169164 h 192048"/>
                  <a:gd name="connsiteX11" fmla="*/ 557 w 106402"/>
                  <a:gd name="connsiteY11" fmla="*/ 183261 h 19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402" h="192048">
                    <a:moveTo>
                      <a:pt x="557" y="183261"/>
                    </a:moveTo>
                    <a:cubicBezTo>
                      <a:pt x="3120" y="193513"/>
                      <a:pt x="13372" y="194795"/>
                      <a:pt x="19780" y="187106"/>
                    </a:cubicBezTo>
                    <a:cubicBezTo>
                      <a:pt x="21062" y="185824"/>
                      <a:pt x="24906" y="179416"/>
                      <a:pt x="19780" y="171727"/>
                    </a:cubicBezTo>
                    <a:cubicBezTo>
                      <a:pt x="44130" y="135844"/>
                      <a:pt x="77450" y="88427"/>
                      <a:pt x="101800" y="52543"/>
                    </a:cubicBezTo>
                    <a:cubicBezTo>
                      <a:pt x="100518" y="43572"/>
                      <a:pt x="100518" y="34602"/>
                      <a:pt x="99236" y="25631"/>
                    </a:cubicBezTo>
                    <a:cubicBezTo>
                      <a:pt x="110770" y="19223"/>
                      <a:pt x="106925" y="3845"/>
                      <a:pt x="97955" y="0"/>
                    </a:cubicBezTo>
                    <a:cubicBezTo>
                      <a:pt x="96673" y="0"/>
                      <a:pt x="95392" y="0"/>
                      <a:pt x="94110" y="0"/>
                    </a:cubicBezTo>
                    <a:cubicBezTo>
                      <a:pt x="81295" y="3845"/>
                      <a:pt x="82576" y="20505"/>
                      <a:pt x="91547" y="25631"/>
                    </a:cubicBezTo>
                    <a:cubicBezTo>
                      <a:pt x="92829" y="25631"/>
                      <a:pt x="94110" y="26912"/>
                      <a:pt x="95392" y="26912"/>
                    </a:cubicBezTo>
                    <a:cubicBezTo>
                      <a:pt x="96673" y="34602"/>
                      <a:pt x="96673" y="42291"/>
                      <a:pt x="97955" y="51262"/>
                    </a:cubicBezTo>
                    <a:cubicBezTo>
                      <a:pt x="73605" y="87145"/>
                      <a:pt x="41567" y="134562"/>
                      <a:pt x="17217" y="169164"/>
                    </a:cubicBezTo>
                    <a:cubicBezTo>
                      <a:pt x="4401" y="162756"/>
                      <a:pt x="-2006" y="174290"/>
                      <a:pt x="557" y="18326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1" name="Freeform: Shape 380057">
                <a:extLst>
                  <a:ext uri="{FF2B5EF4-FFF2-40B4-BE49-F238E27FC236}">
                    <a16:creationId xmlns:a16="http://schemas.microsoft.com/office/drawing/2014/main" id="{F094BCB3-E2D2-4079-8A81-9C2A525D7D36}"/>
                  </a:ext>
                </a:extLst>
              </p:cNvPr>
              <p:cNvSpPr/>
              <p:nvPr/>
            </p:nvSpPr>
            <p:spPr>
              <a:xfrm>
                <a:off x="6936197" y="3639454"/>
                <a:ext cx="77392" cy="149757"/>
              </a:xfrm>
              <a:custGeom>
                <a:avLst/>
                <a:gdLst>
                  <a:gd name="connsiteX0" fmla="*/ 500 w 77392"/>
                  <a:gd name="connsiteY0" fmla="*/ 140970 h 149757"/>
                  <a:gd name="connsiteX1" fmla="*/ 19723 w 77392"/>
                  <a:gd name="connsiteY1" fmla="*/ 144815 h 149757"/>
                  <a:gd name="connsiteX2" fmla="*/ 19723 w 77392"/>
                  <a:gd name="connsiteY2" fmla="*/ 128155 h 149757"/>
                  <a:gd name="connsiteX3" fmla="*/ 70985 w 77392"/>
                  <a:gd name="connsiteY3" fmla="*/ 48699 h 149757"/>
                  <a:gd name="connsiteX4" fmla="*/ 68422 w 77392"/>
                  <a:gd name="connsiteY4" fmla="*/ 25631 h 149757"/>
                  <a:gd name="connsiteX5" fmla="*/ 70985 w 77392"/>
                  <a:gd name="connsiteY5" fmla="*/ 1282 h 149757"/>
                  <a:gd name="connsiteX6" fmla="*/ 63295 w 77392"/>
                  <a:gd name="connsiteY6" fmla="*/ 0 h 149757"/>
                  <a:gd name="connsiteX7" fmla="*/ 60732 w 77392"/>
                  <a:gd name="connsiteY7" fmla="*/ 25631 h 149757"/>
                  <a:gd name="connsiteX8" fmla="*/ 62014 w 77392"/>
                  <a:gd name="connsiteY8" fmla="*/ 25631 h 149757"/>
                  <a:gd name="connsiteX9" fmla="*/ 64577 w 77392"/>
                  <a:gd name="connsiteY9" fmla="*/ 47417 h 149757"/>
                  <a:gd name="connsiteX10" fmla="*/ 14596 w 77392"/>
                  <a:gd name="connsiteY10" fmla="*/ 124310 h 149757"/>
                  <a:gd name="connsiteX11" fmla="*/ 500 w 77392"/>
                  <a:gd name="connsiteY11" fmla="*/ 140970 h 14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392" h="149757">
                    <a:moveTo>
                      <a:pt x="500" y="140970"/>
                    </a:moveTo>
                    <a:cubicBezTo>
                      <a:pt x="3063" y="151222"/>
                      <a:pt x="14596" y="152504"/>
                      <a:pt x="19723" y="144815"/>
                    </a:cubicBezTo>
                    <a:cubicBezTo>
                      <a:pt x="21005" y="142252"/>
                      <a:pt x="23568" y="134562"/>
                      <a:pt x="19723" y="128155"/>
                    </a:cubicBezTo>
                    <a:lnTo>
                      <a:pt x="70985" y="48699"/>
                    </a:lnTo>
                    <a:cubicBezTo>
                      <a:pt x="69703" y="41009"/>
                      <a:pt x="69703" y="33320"/>
                      <a:pt x="68422" y="25631"/>
                    </a:cubicBezTo>
                    <a:cubicBezTo>
                      <a:pt x="81237" y="21786"/>
                      <a:pt x="78674" y="5126"/>
                      <a:pt x="70985" y="1282"/>
                    </a:cubicBezTo>
                    <a:cubicBezTo>
                      <a:pt x="68422" y="0"/>
                      <a:pt x="65859" y="0"/>
                      <a:pt x="63295" y="0"/>
                    </a:cubicBezTo>
                    <a:cubicBezTo>
                      <a:pt x="50480" y="3845"/>
                      <a:pt x="53043" y="21786"/>
                      <a:pt x="60732" y="25631"/>
                    </a:cubicBezTo>
                    <a:cubicBezTo>
                      <a:pt x="60732" y="25631"/>
                      <a:pt x="62014" y="25631"/>
                      <a:pt x="62014" y="25631"/>
                    </a:cubicBezTo>
                    <a:cubicBezTo>
                      <a:pt x="63295" y="33320"/>
                      <a:pt x="63295" y="41009"/>
                      <a:pt x="64577" y="47417"/>
                    </a:cubicBezTo>
                    <a:cubicBezTo>
                      <a:pt x="49198" y="70485"/>
                      <a:pt x="29975" y="101242"/>
                      <a:pt x="14596" y="124310"/>
                    </a:cubicBezTo>
                    <a:cubicBezTo>
                      <a:pt x="5626" y="120465"/>
                      <a:pt x="-2063" y="130718"/>
                      <a:pt x="500" y="14097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2" name="Freeform: Shape 380058">
                <a:extLst>
                  <a:ext uri="{FF2B5EF4-FFF2-40B4-BE49-F238E27FC236}">
                    <a16:creationId xmlns:a16="http://schemas.microsoft.com/office/drawing/2014/main" id="{682450D4-D578-42F9-8C47-8D96C6CE368E}"/>
                  </a:ext>
                </a:extLst>
              </p:cNvPr>
              <p:cNvSpPr/>
              <p:nvPr/>
            </p:nvSpPr>
            <p:spPr>
              <a:xfrm>
                <a:off x="6753527" y="3324194"/>
                <a:ext cx="93461" cy="526074"/>
              </a:xfrm>
              <a:custGeom>
                <a:avLst/>
                <a:gdLst>
                  <a:gd name="connsiteX0" fmla="*/ 48607 w 93461"/>
                  <a:gd name="connsiteY0" fmla="*/ 517744 h 526074"/>
                  <a:gd name="connsiteX1" fmla="*/ 70393 w 93461"/>
                  <a:gd name="connsiteY1" fmla="*/ 519026 h 526074"/>
                  <a:gd name="connsiteX2" fmla="*/ 69111 w 93461"/>
                  <a:gd name="connsiteY2" fmla="*/ 504929 h 526074"/>
                  <a:gd name="connsiteX3" fmla="*/ 93461 w 93461"/>
                  <a:gd name="connsiteY3" fmla="*/ 470327 h 526074"/>
                  <a:gd name="connsiteX4" fmla="*/ 17850 w 93461"/>
                  <a:gd name="connsiteY4" fmla="*/ 25631 h 526074"/>
                  <a:gd name="connsiteX5" fmla="*/ 11442 w 93461"/>
                  <a:gd name="connsiteY5" fmla="*/ 0 h 526074"/>
                  <a:gd name="connsiteX6" fmla="*/ 8879 w 93461"/>
                  <a:gd name="connsiteY6" fmla="*/ 0 h 526074"/>
                  <a:gd name="connsiteX7" fmla="*/ 8879 w 93461"/>
                  <a:gd name="connsiteY7" fmla="*/ 25631 h 526074"/>
                  <a:gd name="connsiteX8" fmla="*/ 12723 w 93461"/>
                  <a:gd name="connsiteY8" fmla="*/ 26912 h 526074"/>
                  <a:gd name="connsiteX9" fmla="*/ 87053 w 93461"/>
                  <a:gd name="connsiteY9" fmla="*/ 469046 h 526074"/>
                  <a:gd name="connsiteX10" fmla="*/ 63986 w 93461"/>
                  <a:gd name="connsiteY10" fmla="*/ 501084 h 526074"/>
                  <a:gd name="connsiteX11" fmla="*/ 48607 w 93461"/>
                  <a:gd name="connsiteY11" fmla="*/ 517744 h 5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461" h="526074">
                    <a:moveTo>
                      <a:pt x="48607" y="517744"/>
                    </a:moveTo>
                    <a:cubicBezTo>
                      <a:pt x="52452" y="529278"/>
                      <a:pt x="65267" y="527997"/>
                      <a:pt x="70393" y="519026"/>
                    </a:cubicBezTo>
                    <a:cubicBezTo>
                      <a:pt x="72956" y="512618"/>
                      <a:pt x="70393" y="507492"/>
                      <a:pt x="69111" y="504929"/>
                    </a:cubicBezTo>
                    <a:lnTo>
                      <a:pt x="93461" y="470327"/>
                    </a:lnTo>
                    <a:cubicBezTo>
                      <a:pt x="78083" y="324231"/>
                      <a:pt x="52452" y="175572"/>
                      <a:pt x="17850" y="25631"/>
                    </a:cubicBezTo>
                    <a:cubicBezTo>
                      <a:pt x="31947" y="15379"/>
                      <a:pt x="20413" y="0"/>
                      <a:pt x="11442" y="0"/>
                    </a:cubicBezTo>
                    <a:cubicBezTo>
                      <a:pt x="10160" y="0"/>
                      <a:pt x="10160" y="0"/>
                      <a:pt x="8879" y="0"/>
                    </a:cubicBezTo>
                    <a:cubicBezTo>
                      <a:pt x="-6500" y="6408"/>
                      <a:pt x="1189" y="23068"/>
                      <a:pt x="8879" y="25631"/>
                    </a:cubicBezTo>
                    <a:cubicBezTo>
                      <a:pt x="10160" y="25631"/>
                      <a:pt x="11442" y="26912"/>
                      <a:pt x="12723" y="26912"/>
                    </a:cubicBezTo>
                    <a:cubicBezTo>
                      <a:pt x="47325" y="175572"/>
                      <a:pt x="71675" y="324231"/>
                      <a:pt x="87053" y="469046"/>
                    </a:cubicBezTo>
                    <a:cubicBezTo>
                      <a:pt x="80645" y="479298"/>
                      <a:pt x="70393" y="492113"/>
                      <a:pt x="63986" y="501084"/>
                    </a:cubicBezTo>
                    <a:cubicBezTo>
                      <a:pt x="52452" y="497240"/>
                      <a:pt x="47325" y="511337"/>
                      <a:pt x="48607" y="51774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3" name="Freeform: Shape 380059">
                <a:extLst>
                  <a:ext uri="{FF2B5EF4-FFF2-40B4-BE49-F238E27FC236}">
                    <a16:creationId xmlns:a16="http://schemas.microsoft.com/office/drawing/2014/main" id="{0653E0BB-1071-44D8-AECD-AF5D9A7D4419}"/>
                  </a:ext>
                </a:extLst>
              </p:cNvPr>
              <p:cNvSpPr/>
              <p:nvPr/>
            </p:nvSpPr>
            <p:spPr>
              <a:xfrm>
                <a:off x="7368579" y="2586024"/>
                <a:ext cx="176854" cy="339609"/>
              </a:xfrm>
              <a:custGeom>
                <a:avLst/>
                <a:gdLst>
                  <a:gd name="connsiteX0" fmla="*/ 134563 w 176854"/>
                  <a:gd name="connsiteY0" fmla="*/ 262717 h 339609"/>
                  <a:gd name="connsiteX1" fmla="*/ 142252 w 176854"/>
                  <a:gd name="connsiteY1" fmla="*/ 271688 h 339609"/>
                  <a:gd name="connsiteX2" fmla="*/ 144815 w 176854"/>
                  <a:gd name="connsiteY2" fmla="*/ 271688 h 339609"/>
                  <a:gd name="connsiteX3" fmla="*/ 138407 w 176854"/>
                  <a:gd name="connsiteY3" fmla="*/ 255028 h 339609"/>
                  <a:gd name="connsiteX4" fmla="*/ 129436 w 176854"/>
                  <a:gd name="connsiteY4" fmla="*/ 202484 h 339609"/>
                  <a:gd name="connsiteX5" fmla="*/ 143533 w 176854"/>
                  <a:gd name="connsiteY5" fmla="*/ 228115 h 339609"/>
                  <a:gd name="connsiteX6" fmla="*/ 152504 w 176854"/>
                  <a:gd name="connsiteY6" fmla="*/ 284503 h 339609"/>
                  <a:gd name="connsiteX7" fmla="*/ 148660 w 176854"/>
                  <a:gd name="connsiteY7" fmla="*/ 281940 h 339609"/>
                  <a:gd name="connsiteX8" fmla="*/ 158912 w 176854"/>
                  <a:gd name="connsiteY8" fmla="*/ 305008 h 339609"/>
                  <a:gd name="connsiteX9" fmla="*/ 161475 w 176854"/>
                  <a:gd name="connsiteY9" fmla="*/ 305008 h 339609"/>
                  <a:gd name="connsiteX10" fmla="*/ 155067 w 176854"/>
                  <a:gd name="connsiteY10" fmla="*/ 288348 h 339609"/>
                  <a:gd name="connsiteX11" fmla="*/ 146097 w 176854"/>
                  <a:gd name="connsiteY11" fmla="*/ 230678 h 339609"/>
                  <a:gd name="connsiteX12" fmla="*/ 128155 w 176854"/>
                  <a:gd name="connsiteY12" fmla="*/ 197358 h 339609"/>
                  <a:gd name="connsiteX13" fmla="*/ 121747 w 176854"/>
                  <a:gd name="connsiteY13" fmla="*/ 171727 h 339609"/>
                  <a:gd name="connsiteX14" fmla="*/ 153786 w 176854"/>
                  <a:gd name="connsiteY14" fmla="*/ 230678 h 339609"/>
                  <a:gd name="connsiteX15" fmla="*/ 167883 w 176854"/>
                  <a:gd name="connsiteY15" fmla="*/ 319105 h 339609"/>
                  <a:gd name="connsiteX16" fmla="*/ 164038 w 176854"/>
                  <a:gd name="connsiteY16" fmla="*/ 316542 h 339609"/>
                  <a:gd name="connsiteX17" fmla="*/ 174291 w 176854"/>
                  <a:gd name="connsiteY17" fmla="*/ 339610 h 339609"/>
                  <a:gd name="connsiteX18" fmla="*/ 176854 w 176854"/>
                  <a:gd name="connsiteY18" fmla="*/ 339610 h 339609"/>
                  <a:gd name="connsiteX19" fmla="*/ 171728 w 176854"/>
                  <a:gd name="connsiteY19" fmla="*/ 322949 h 339609"/>
                  <a:gd name="connsiteX20" fmla="*/ 157631 w 176854"/>
                  <a:gd name="connsiteY20" fmla="*/ 233241 h 339609"/>
                  <a:gd name="connsiteX21" fmla="*/ 121747 w 176854"/>
                  <a:gd name="connsiteY21" fmla="*/ 167882 h 339609"/>
                  <a:gd name="connsiteX22" fmla="*/ 111495 w 176854"/>
                  <a:gd name="connsiteY22" fmla="*/ 138407 h 339609"/>
                  <a:gd name="connsiteX23" fmla="*/ 97398 w 176854"/>
                  <a:gd name="connsiteY23" fmla="*/ 116621 h 339609"/>
                  <a:gd name="connsiteX24" fmla="*/ 83301 w 176854"/>
                  <a:gd name="connsiteY24" fmla="*/ 94834 h 339609"/>
                  <a:gd name="connsiteX25" fmla="*/ 96116 w 176854"/>
                  <a:gd name="connsiteY25" fmla="*/ 115339 h 339609"/>
                  <a:gd name="connsiteX26" fmla="*/ 108932 w 176854"/>
                  <a:gd name="connsiteY26" fmla="*/ 135844 h 339609"/>
                  <a:gd name="connsiteX27" fmla="*/ 116621 w 176854"/>
                  <a:gd name="connsiteY27" fmla="*/ 161475 h 339609"/>
                  <a:gd name="connsiteX28" fmla="*/ 67922 w 176854"/>
                  <a:gd name="connsiteY28" fmla="*/ 83300 h 339609"/>
                  <a:gd name="connsiteX29" fmla="*/ 53825 w 176854"/>
                  <a:gd name="connsiteY29" fmla="*/ 62796 h 339609"/>
                  <a:gd name="connsiteX30" fmla="*/ 52544 w 176854"/>
                  <a:gd name="connsiteY30" fmla="*/ 65359 h 339609"/>
                  <a:gd name="connsiteX31" fmla="*/ 65359 w 176854"/>
                  <a:gd name="connsiteY31" fmla="*/ 83300 h 339609"/>
                  <a:gd name="connsiteX32" fmla="*/ 116621 w 176854"/>
                  <a:gd name="connsiteY32" fmla="*/ 166601 h 339609"/>
                  <a:gd name="connsiteX33" fmla="*/ 123029 w 176854"/>
                  <a:gd name="connsiteY33" fmla="*/ 192232 h 339609"/>
                  <a:gd name="connsiteX34" fmla="*/ 15378 w 176854"/>
                  <a:gd name="connsiteY34" fmla="*/ 20505 h 339609"/>
                  <a:gd name="connsiteX35" fmla="*/ 0 w 176854"/>
                  <a:gd name="connsiteY35" fmla="*/ 0 h 339609"/>
                  <a:gd name="connsiteX36" fmla="*/ 14097 w 176854"/>
                  <a:gd name="connsiteY36" fmla="*/ 20505 h 339609"/>
                  <a:gd name="connsiteX37" fmla="*/ 124311 w 176854"/>
                  <a:gd name="connsiteY37" fmla="*/ 197358 h 339609"/>
                  <a:gd name="connsiteX38" fmla="*/ 134563 w 176854"/>
                  <a:gd name="connsiteY38" fmla="*/ 252464 h 339609"/>
                  <a:gd name="connsiteX39" fmla="*/ 130718 w 176854"/>
                  <a:gd name="connsiteY39" fmla="*/ 249901 h 339609"/>
                  <a:gd name="connsiteX40" fmla="*/ 134563 w 176854"/>
                  <a:gd name="connsiteY40" fmla="*/ 262717 h 33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6854" h="339609">
                    <a:moveTo>
                      <a:pt x="134563" y="262717"/>
                    </a:moveTo>
                    <a:cubicBezTo>
                      <a:pt x="138407" y="269125"/>
                      <a:pt x="139689" y="270406"/>
                      <a:pt x="142252" y="271688"/>
                    </a:cubicBezTo>
                    <a:cubicBezTo>
                      <a:pt x="143533" y="271688"/>
                      <a:pt x="143533" y="271688"/>
                      <a:pt x="144815" y="271688"/>
                    </a:cubicBezTo>
                    <a:cubicBezTo>
                      <a:pt x="144815" y="269125"/>
                      <a:pt x="144815" y="263998"/>
                      <a:pt x="138407" y="255028"/>
                    </a:cubicBezTo>
                    <a:lnTo>
                      <a:pt x="129436" y="202484"/>
                    </a:lnTo>
                    <a:cubicBezTo>
                      <a:pt x="134563" y="211455"/>
                      <a:pt x="138407" y="220426"/>
                      <a:pt x="143533" y="228115"/>
                    </a:cubicBezTo>
                    <a:cubicBezTo>
                      <a:pt x="146097" y="244775"/>
                      <a:pt x="149941" y="267843"/>
                      <a:pt x="152504" y="284503"/>
                    </a:cubicBezTo>
                    <a:cubicBezTo>
                      <a:pt x="151223" y="283222"/>
                      <a:pt x="149941" y="283222"/>
                      <a:pt x="148660" y="281940"/>
                    </a:cubicBezTo>
                    <a:cubicBezTo>
                      <a:pt x="147378" y="289629"/>
                      <a:pt x="153786" y="301163"/>
                      <a:pt x="158912" y="305008"/>
                    </a:cubicBezTo>
                    <a:cubicBezTo>
                      <a:pt x="160194" y="305008"/>
                      <a:pt x="160194" y="305008"/>
                      <a:pt x="161475" y="305008"/>
                    </a:cubicBezTo>
                    <a:cubicBezTo>
                      <a:pt x="161475" y="302445"/>
                      <a:pt x="161475" y="297319"/>
                      <a:pt x="155067" y="288348"/>
                    </a:cubicBezTo>
                    <a:lnTo>
                      <a:pt x="146097" y="230678"/>
                    </a:lnTo>
                    <a:cubicBezTo>
                      <a:pt x="140970" y="219144"/>
                      <a:pt x="134563" y="208892"/>
                      <a:pt x="128155" y="197358"/>
                    </a:cubicBezTo>
                    <a:lnTo>
                      <a:pt x="121747" y="171727"/>
                    </a:lnTo>
                    <a:cubicBezTo>
                      <a:pt x="133281" y="190950"/>
                      <a:pt x="143533" y="210173"/>
                      <a:pt x="153786" y="230678"/>
                    </a:cubicBezTo>
                    <a:cubicBezTo>
                      <a:pt x="157631" y="257591"/>
                      <a:pt x="165320" y="292192"/>
                      <a:pt x="167883" y="319105"/>
                    </a:cubicBezTo>
                    <a:cubicBezTo>
                      <a:pt x="166601" y="317823"/>
                      <a:pt x="165320" y="317823"/>
                      <a:pt x="164038" y="316542"/>
                    </a:cubicBezTo>
                    <a:cubicBezTo>
                      <a:pt x="160194" y="321668"/>
                      <a:pt x="167883" y="335765"/>
                      <a:pt x="174291" y="339610"/>
                    </a:cubicBezTo>
                    <a:cubicBezTo>
                      <a:pt x="175572" y="339610"/>
                      <a:pt x="175572" y="339610"/>
                      <a:pt x="176854" y="339610"/>
                    </a:cubicBezTo>
                    <a:cubicBezTo>
                      <a:pt x="176854" y="337046"/>
                      <a:pt x="176854" y="331920"/>
                      <a:pt x="171728" y="322949"/>
                    </a:cubicBezTo>
                    <a:cubicBezTo>
                      <a:pt x="167883" y="296037"/>
                      <a:pt x="164038" y="260154"/>
                      <a:pt x="157631" y="233241"/>
                    </a:cubicBezTo>
                    <a:cubicBezTo>
                      <a:pt x="146097" y="211455"/>
                      <a:pt x="134563" y="189669"/>
                      <a:pt x="121747" y="167882"/>
                    </a:cubicBezTo>
                    <a:lnTo>
                      <a:pt x="111495" y="138407"/>
                    </a:lnTo>
                    <a:cubicBezTo>
                      <a:pt x="107650" y="130718"/>
                      <a:pt x="102524" y="124310"/>
                      <a:pt x="97398" y="116621"/>
                    </a:cubicBezTo>
                    <a:cubicBezTo>
                      <a:pt x="96116" y="110213"/>
                      <a:pt x="88427" y="99961"/>
                      <a:pt x="83301" y="94834"/>
                    </a:cubicBezTo>
                    <a:cubicBezTo>
                      <a:pt x="82019" y="101242"/>
                      <a:pt x="94834" y="115339"/>
                      <a:pt x="96116" y="115339"/>
                    </a:cubicBezTo>
                    <a:cubicBezTo>
                      <a:pt x="99961" y="121747"/>
                      <a:pt x="103806" y="128154"/>
                      <a:pt x="108932" y="135844"/>
                    </a:cubicBezTo>
                    <a:lnTo>
                      <a:pt x="116621" y="161475"/>
                    </a:lnTo>
                    <a:cubicBezTo>
                      <a:pt x="101243" y="134562"/>
                      <a:pt x="84582" y="108931"/>
                      <a:pt x="67922" y="83300"/>
                    </a:cubicBezTo>
                    <a:cubicBezTo>
                      <a:pt x="66641" y="76893"/>
                      <a:pt x="58951" y="66640"/>
                      <a:pt x="53825" y="62796"/>
                    </a:cubicBezTo>
                    <a:cubicBezTo>
                      <a:pt x="53825" y="64077"/>
                      <a:pt x="52544" y="64077"/>
                      <a:pt x="52544" y="65359"/>
                    </a:cubicBezTo>
                    <a:cubicBezTo>
                      <a:pt x="56388" y="73048"/>
                      <a:pt x="61514" y="79456"/>
                      <a:pt x="65359" y="83300"/>
                    </a:cubicBezTo>
                    <a:cubicBezTo>
                      <a:pt x="83301" y="110213"/>
                      <a:pt x="99961" y="138407"/>
                      <a:pt x="116621" y="166601"/>
                    </a:cubicBezTo>
                    <a:lnTo>
                      <a:pt x="123029" y="192232"/>
                    </a:lnTo>
                    <a:cubicBezTo>
                      <a:pt x="89709" y="131999"/>
                      <a:pt x="53825" y="75611"/>
                      <a:pt x="15378" y="20505"/>
                    </a:cubicBezTo>
                    <a:cubicBezTo>
                      <a:pt x="14097" y="14097"/>
                      <a:pt x="3844" y="1282"/>
                      <a:pt x="0" y="0"/>
                    </a:cubicBezTo>
                    <a:cubicBezTo>
                      <a:pt x="0" y="7689"/>
                      <a:pt x="14097" y="20505"/>
                      <a:pt x="14097" y="20505"/>
                    </a:cubicBezTo>
                    <a:cubicBezTo>
                      <a:pt x="53825" y="76893"/>
                      <a:pt x="90990" y="135844"/>
                      <a:pt x="124311" y="197358"/>
                    </a:cubicBezTo>
                    <a:cubicBezTo>
                      <a:pt x="126873" y="214018"/>
                      <a:pt x="130718" y="235804"/>
                      <a:pt x="134563" y="252464"/>
                    </a:cubicBezTo>
                    <a:cubicBezTo>
                      <a:pt x="133281" y="251183"/>
                      <a:pt x="132000" y="251183"/>
                      <a:pt x="130718" y="249901"/>
                    </a:cubicBezTo>
                    <a:cubicBezTo>
                      <a:pt x="130718" y="252464"/>
                      <a:pt x="130718" y="255028"/>
                      <a:pt x="134563" y="2627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914" name="Graphic 379285">
                <a:extLst>
                  <a:ext uri="{FF2B5EF4-FFF2-40B4-BE49-F238E27FC236}">
                    <a16:creationId xmlns:a16="http://schemas.microsoft.com/office/drawing/2014/main" id="{D973D960-FBCD-4D6F-9AA8-88935B4C1FE3}"/>
                  </a:ext>
                </a:extLst>
              </p:cNvPr>
              <p:cNvGrpSpPr/>
              <p:nvPr/>
            </p:nvGrpSpPr>
            <p:grpSpPr>
              <a:xfrm>
                <a:off x="7244268" y="2439928"/>
                <a:ext cx="288106" cy="626675"/>
                <a:chOff x="7244268" y="2439928"/>
                <a:chExt cx="288106" cy="626675"/>
              </a:xfrm>
              <a:grpFill/>
            </p:grpSpPr>
            <p:sp>
              <p:nvSpPr>
                <p:cNvPr id="969" name="Freeform: Shape 380061">
                  <a:extLst>
                    <a:ext uri="{FF2B5EF4-FFF2-40B4-BE49-F238E27FC236}">
                      <a16:creationId xmlns:a16="http://schemas.microsoft.com/office/drawing/2014/main" id="{C397DBEE-B323-43BA-9973-DFB282D0D035}"/>
                    </a:ext>
                  </a:extLst>
                </p:cNvPr>
                <p:cNvSpPr/>
                <p:nvPr/>
              </p:nvSpPr>
              <p:spPr>
                <a:xfrm>
                  <a:off x="7313472" y="2512976"/>
                  <a:ext cx="28194" cy="46135"/>
                </a:xfrm>
                <a:custGeom>
                  <a:avLst/>
                  <a:gdLst>
                    <a:gd name="connsiteX0" fmla="*/ 28194 w 28194"/>
                    <a:gd name="connsiteY0" fmla="*/ 46136 h 46135"/>
                    <a:gd name="connsiteX1" fmla="*/ 10253 w 28194"/>
                    <a:gd name="connsiteY1" fmla="*/ 23068 h 46135"/>
                    <a:gd name="connsiteX2" fmla="*/ 0 w 28194"/>
                    <a:gd name="connsiteY2" fmla="*/ 0 h 46135"/>
                    <a:gd name="connsiteX3" fmla="*/ 17942 w 28194"/>
                    <a:gd name="connsiteY3" fmla="*/ 23068 h 46135"/>
                    <a:gd name="connsiteX4" fmla="*/ 28194 w 28194"/>
                    <a:gd name="connsiteY4" fmla="*/ 46136 h 46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94" h="46135">
                      <a:moveTo>
                        <a:pt x="28194" y="46136"/>
                      </a:moveTo>
                      <a:cubicBezTo>
                        <a:pt x="23068" y="38446"/>
                        <a:pt x="16660" y="30757"/>
                        <a:pt x="10253" y="23068"/>
                      </a:cubicBezTo>
                      <a:lnTo>
                        <a:pt x="0" y="0"/>
                      </a:lnTo>
                      <a:cubicBezTo>
                        <a:pt x="6408" y="7689"/>
                        <a:pt x="11534" y="15379"/>
                        <a:pt x="17942" y="23068"/>
                      </a:cubicBezTo>
                      <a:lnTo>
                        <a:pt x="28194" y="46136"/>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70" name="Freeform: Shape 380062">
                  <a:extLst>
                    <a:ext uri="{FF2B5EF4-FFF2-40B4-BE49-F238E27FC236}">
                      <a16:creationId xmlns:a16="http://schemas.microsoft.com/office/drawing/2014/main" id="{B42D6527-16F2-44E3-A734-E3C482AD7C38}"/>
                    </a:ext>
                  </a:extLst>
                </p:cNvPr>
                <p:cNvSpPr/>
                <p:nvPr/>
              </p:nvSpPr>
              <p:spPr>
                <a:xfrm>
                  <a:off x="7244268" y="2439928"/>
                  <a:ext cx="288106" cy="626675"/>
                </a:xfrm>
                <a:custGeom>
                  <a:avLst/>
                  <a:gdLst>
                    <a:gd name="connsiteX0" fmla="*/ 219145 w 288106"/>
                    <a:gd name="connsiteY0" fmla="*/ 580540 h 626675"/>
                    <a:gd name="connsiteX1" fmla="*/ 228116 w 288106"/>
                    <a:gd name="connsiteY1" fmla="*/ 589511 h 626675"/>
                    <a:gd name="connsiteX2" fmla="*/ 231961 w 288106"/>
                    <a:gd name="connsiteY2" fmla="*/ 588229 h 626675"/>
                    <a:gd name="connsiteX3" fmla="*/ 222990 w 288106"/>
                    <a:gd name="connsiteY3" fmla="*/ 565162 h 626675"/>
                    <a:gd name="connsiteX4" fmla="*/ 201203 w 288106"/>
                    <a:gd name="connsiteY4" fmla="*/ 507492 h 626675"/>
                    <a:gd name="connsiteX5" fmla="*/ 205048 w 288106"/>
                    <a:gd name="connsiteY5" fmla="*/ 478016 h 626675"/>
                    <a:gd name="connsiteX6" fmla="*/ 216582 w 288106"/>
                    <a:gd name="connsiteY6" fmla="*/ 506211 h 626675"/>
                    <a:gd name="connsiteX7" fmla="*/ 230679 w 288106"/>
                    <a:gd name="connsiteY7" fmla="*/ 542094 h 626675"/>
                    <a:gd name="connsiteX8" fmla="*/ 244776 w 288106"/>
                    <a:gd name="connsiteY8" fmla="*/ 579259 h 626675"/>
                    <a:gd name="connsiteX9" fmla="*/ 280660 w 288106"/>
                    <a:gd name="connsiteY9" fmla="*/ 626676 h 626675"/>
                    <a:gd name="connsiteX10" fmla="*/ 271689 w 288106"/>
                    <a:gd name="connsiteY10" fmla="*/ 601045 h 626675"/>
                    <a:gd name="connsiteX11" fmla="*/ 270407 w 288106"/>
                    <a:gd name="connsiteY11" fmla="*/ 603608 h 626675"/>
                    <a:gd name="connsiteX12" fmla="*/ 247339 w 288106"/>
                    <a:gd name="connsiteY12" fmla="*/ 576696 h 626675"/>
                    <a:gd name="connsiteX13" fmla="*/ 234524 w 288106"/>
                    <a:gd name="connsiteY13" fmla="*/ 542094 h 626675"/>
                    <a:gd name="connsiteX14" fmla="*/ 220427 w 288106"/>
                    <a:gd name="connsiteY14" fmla="*/ 507492 h 626675"/>
                    <a:gd name="connsiteX15" fmla="*/ 206330 w 288106"/>
                    <a:gd name="connsiteY15" fmla="*/ 474172 h 626675"/>
                    <a:gd name="connsiteX16" fmla="*/ 208893 w 288106"/>
                    <a:gd name="connsiteY16" fmla="*/ 444696 h 626675"/>
                    <a:gd name="connsiteX17" fmla="*/ 235805 w 288106"/>
                    <a:gd name="connsiteY17" fmla="*/ 507492 h 626675"/>
                    <a:gd name="connsiteX18" fmla="*/ 258873 w 288106"/>
                    <a:gd name="connsiteY18" fmla="*/ 566443 h 626675"/>
                    <a:gd name="connsiteX19" fmla="*/ 270407 w 288106"/>
                    <a:gd name="connsiteY19" fmla="*/ 590793 h 626675"/>
                    <a:gd name="connsiteX20" fmla="*/ 261436 w 288106"/>
                    <a:gd name="connsiteY20" fmla="*/ 566443 h 626675"/>
                    <a:gd name="connsiteX21" fmla="*/ 238368 w 288106"/>
                    <a:gd name="connsiteY21" fmla="*/ 507492 h 626675"/>
                    <a:gd name="connsiteX22" fmla="*/ 208893 w 288106"/>
                    <a:gd name="connsiteY22" fmla="*/ 439570 h 626675"/>
                    <a:gd name="connsiteX23" fmla="*/ 210174 w 288106"/>
                    <a:gd name="connsiteY23" fmla="*/ 410095 h 626675"/>
                    <a:gd name="connsiteX24" fmla="*/ 275534 w 288106"/>
                    <a:gd name="connsiteY24" fmla="*/ 566443 h 626675"/>
                    <a:gd name="connsiteX25" fmla="*/ 287067 w 288106"/>
                    <a:gd name="connsiteY25" fmla="*/ 590793 h 626675"/>
                    <a:gd name="connsiteX26" fmla="*/ 278097 w 288106"/>
                    <a:gd name="connsiteY26" fmla="*/ 566443 h 626675"/>
                    <a:gd name="connsiteX27" fmla="*/ 210174 w 288106"/>
                    <a:gd name="connsiteY27" fmla="*/ 406250 h 626675"/>
                    <a:gd name="connsiteX28" fmla="*/ 208893 w 288106"/>
                    <a:gd name="connsiteY28" fmla="*/ 372930 h 626675"/>
                    <a:gd name="connsiteX29" fmla="*/ 208893 w 288106"/>
                    <a:gd name="connsiteY29" fmla="*/ 371648 h 626675"/>
                    <a:gd name="connsiteX30" fmla="*/ 192233 w 288106"/>
                    <a:gd name="connsiteY30" fmla="*/ 338328 h 626675"/>
                    <a:gd name="connsiteX31" fmla="*/ 180699 w 288106"/>
                    <a:gd name="connsiteY31" fmla="*/ 316542 h 626675"/>
                    <a:gd name="connsiteX32" fmla="*/ 166601 w 288106"/>
                    <a:gd name="connsiteY32" fmla="*/ 294755 h 626675"/>
                    <a:gd name="connsiteX33" fmla="*/ 178135 w 288106"/>
                    <a:gd name="connsiteY33" fmla="*/ 316542 h 626675"/>
                    <a:gd name="connsiteX34" fmla="*/ 189669 w 288106"/>
                    <a:gd name="connsiteY34" fmla="*/ 338328 h 626675"/>
                    <a:gd name="connsiteX35" fmla="*/ 206330 w 288106"/>
                    <a:gd name="connsiteY35" fmla="*/ 370367 h 626675"/>
                    <a:gd name="connsiteX36" fmla="*/ 207611 w 288106"/>
                    <a:gd name="connsiteY36" fmla="*/ 398561 h 626675"/>
                    <a:gd name="connsiteX37" fmla="*/ 160194 w 288106"/>
                    <a:gd name="connsiteY37" fmla="*/ 306289 h 626675"/>
                    <a:gd name="connsiteX38" fmla="*/ 146097 w 288106"/>
                    <a:gd name="connsiteY38" fmla="*/ 214018 h 626675"/>
                    <a:gd name="connsiteX39" fmla="*/ 139689 w 288106"/>
                    <a:gd name="connsiteY39" fmla="*/ 188387 h 626675"/>
                    <a:gd name="connsiteX40" fmla="*/ 231961 w 288106"/>
                    <a:gd name="connsiteY40" fmla="*/ 339610 h 626675"/>
                    <a:gd name="connsiteX41" fmla="*/ 235805 w 288106"/>
                    <a:gd name="connsiteY41" fmla="*/ 362677 h 626675"/>
                    <a:gd name="connsiteX42" fmla="*/ 233242 w 288106"/>
                    <a:gd name="connsiteY42" fmla="*/ 360114 h 626675"/>
                    <a:gd name="connsiteX43" fmla="*/ 230679 w 288106"/>
                    <a:gd name="connsiteY43" fmla="*/ 362677 h 626675"/>
                    <a:gd name="connsiteX44" fmla="*/ 244776 w 288106"/>
                    <a:gd name="connsiteY44" fmla="*/ 381901 h 626675"/>
                    <a:gd name="connsiteX45" fmla="*/ 238368 w 288106"/>
                    <a:gd name="connsiteY45" fmla="*/ 365240 h 626675"/>
                    <a:gd name="connsiteX46" fmla="*/ 234524 w 288106"/>
                    <a:gd name="connsiteY46" fmla="*/ 339610 h 626675"/>
                    <a:gd name="connsiteX47" fmla="*/ 133281 w 288106"/>
                    <a:gd name="connsiteY47" fmla="*/ 184543 h 626675"/>
                    <a:gd name="connsiteX48" fmla="*/ 125592 w 288106"/>
                    <a:gd name="connsiteY48" fmla="*/ 160193 h 626675"/>
                    <a:gd name="connsiteX49" fmla="*/ 238368 w 288106"/>
                    <a:gd name="connsiteY49" fmla="*/ 342173 h 626675"/>
                    <a:gd name="connsiteX50" fmla="*/ 246058 w 288106"/>
                    <a:gd name="connsiteY50" fmla="*/ 397279 h 626675"/>
                    <a:gd name="connsiteX51" fmla="*/ 243495 w 288106"/>
                    <a:gd name="connsiteY51" fmla="*/ 394716 h 626675"/>
                    <a:gd name="connsiteX52" fmla="*/ 256310 w 288106"/>
                    <a:gd name="connsiteY52" fmla="*/ 417784 h 626675"/>
                    <a:gd name="connsiteX53" fmla="*/ 249902 w 288106"/>
                    <a:gd name="connsiteY53" fmla="*/ 401124 h 626675"/>
                    <a:gd name="connsiteX54" fmla="*/ 240932 w 288106"/>
                    <a:gd name="connsiteY54" fmla="*/ 343454 h 626675"/>
                    <a:gd name="connsiteX55" fmla="*/ 123029 w 288106"/>
                    <a:gd name="connsiteY55" fmla="*/ 155067 h 626675"/>
                    <a:gd name="connsiteX56" fmla="*/ 101243 w 288106"/>
                    <a:gd name="connsiteY56" fmla="*/ 125591 h 626675"/>
                    <a:gd name="connsiteX57" fmla="*/ 89709 w 288106"/>
                    <a:gd name="connsiteY57" fmla="*/ 98679 h 626675"/>
                    <a:gd name="connsiteX58" fmla="*/ 66641 w 288106"/>
                    <a:gd name="connsiteY58" fmla="*/ 70485 h 626675"/>
                    <a:gd name="connsiteX59" fmla="*/ 52544 w 288106"/>
                    <a:gd name="connsiteY59" fmla="*/ 44854 h 626675"/>
                    <a:gd name="connsiteX60" fmla="*/ 35884 w 288106"/>
                    <a:gd name="connsiteY60" fmla="*/ 25631 h 626675"/>
                    <a:gd name="connsiteX61" fmla="*/ 19223 w 288106"/>
                    <a:gd name="connsiteY61" fmla="*/ 6408 h 626675"/>
                    <a:gd name="connsiteX62" fmla="*/ 34602 w 288106"/>
                    <a:gd name="connsiteY62" fmla="*/ 24349 h 626675"/>
                    <a:gd name="connsiteX63" fmla="*/ 49980 w 288106"/>
                    <a:gd name="connsiteY63" fmla="*/ 41009 h 626675"/>
                    <a:gd name="connsiteX64" fmla="*/ 61514 w 288106"/>
                    <a:gd name="connsiteY64" fmla="*/ 62796 h 626675"/>
                    <a:gd name="connsiteX65" fmla="*/ 26912 w 288106"/>
                    <a:gd name="connsiteY65" fmla="*/ 21786 h 626675"/>
                    <a:gd name="connsiteX66" fmla="*/ 10253 w 288106"/>
                    <a:gd name="connsiteY66" fmla="*/ 2563 h 626675"/>
                    <a:gd name="connsiteX67" fmla="*/ 25631 w 288106"/>
                    <a:gd name="connsiteY67" fmla="*/ 20505 h 626675"/>
                    <a:gd name="connsiteX68" fmla="*/ 64078 w 288106"/>
                    <a:gd name="connsiteY68" fmla="*/ 65359 h 626675"/>
                    <a:gd name="connsiteX69" fmla="*/ 74330 w 288106"/>
                    <a:gd name="connsiteY69" fmla="*/ 88427 h 626675"/>
                    <a:gd name="connsiteX70" fmla="*/ 16660 w 288106"/>
                    <a:gd name="connsiteY70" fmla="*/ 19223 h 626675"/>
                    <a:gd name="connsiteX71" fmla="*/ 0 w 288106"/>
                    <a:gd name="connsiteY71" fmla="*/ 0 h 626675"/>
                    <a:gd name="connsiteX72" fmla="*/ 15379 w 288106"/>
                    <a:gd name="connsiteY72" fmla="*/ 17942 h 626675"/>
                    <a:gd name="connsiteX73" fmla="*/ 75611 w 288106"/>
                    <a:gd name="connsiteY73" fmla="*/ 92271 h 626675"/>
                    <a:gd name="connsiteX74" fmla="*/ 93553 w 288106"/>
                    <a:gd name="connsiteY74" fmla="*/ 140970 h 626675"/>
                    <a:gd name="connsiteX75" fmla="*/ 90990 w 288106"/>
                    <a:gd name="connsiteY75" fmla="*/ 139688 h 626675"/>
                    <a:gd name="connsiteX76" fmla="*/ 105087 w 288106"/>
                    <a:gd name="connsiteY76" fmla="*/ 160193 h 626675"/>
                    <a:gd name="connsiteX77" fmla="*/ 97398 w 288106"/>
                    <a:gd name="connsiteY77" fmla="*/ 144815 h 626675"/>
                    <a:gd name="connsiteX78" fmla="*/ 82019 w 288106"/>
                    <a:gd name="connsiteY78" fmla="*/ 101242 h 626675"/>
                    <a:gd name="connsiteX79" fmla="*/ 99961 w 288106"/>
                    <a:gd name="connsiteY79" fmla="*/ 124310 h 626675"/>
                    <a:gd name="connsiteX80" fmla="*/ 116621 w 288106"/>
                    <a:gd name="connsiteY80" fmla="*/ 174290 h 626675"/>
                    <a:gd name="connsiteX81" fmla="*/ 114058 w 288106"/>
                    <a:gd name="connsiteY81" fmla="*/ 173009 h 626675"/>
                    <a:gd name="connsiteX82" fmla="*/ 128155 w 288106"/>
                    <a:gd name="connsiteY82" fmla="*/ 193513 h 626675"/>
                    <a:gd name="connsiteX83" fmla="*/ 120466 w 288106"/>
                    <a:gd name="connsiteY83" fmla="*/ 178135 h 626675"/>
                    <a:gd name="connsiteX84" fmla="*/ 105087 w 288106"/>
                    <a:gd name="connsiteY84" fmla="*/ 130718 h 626675"/>
                    <a:gd name="connsiteX85" fmla="*/ 121747 w 288106"/>
                    <a:gd name="connsiteY85" fmla="*/ 153785 h 626675"/>
                    <a:gd name="connsiteX86" fmla="*/ 138408 w 288106"/>
                    <a:gd name="connsiteY86" fmla="*/ 211455 h 626675"/>
                    <a:gd name="connsiteX87" fmla="*/ 152505 w 288106"/>
                    <a:gd name="connsiteY87" fmla="*/ 305008 h 626675"/>
                    <a:gd name="connsiteX88" fmla="*/ 203767 w 288106"/>
                    <a:gd name="connsiteY88" fmla="*/ 403687 h 626675"/>
                    <a:gd name="connsiteX89" fmla="*/ 203767 w 288106"/>
                    <a:gd name="connsiteY89" fmla="*/ 433162 h 626675"/>
                    <a:gd name="connsiteX90" fmla="*/ 174291 w 288106"/>
                    <a:gd name="connsiteY90" fmla="*/ 371648 h 626675"/>
                    <a:gd name="connsiteX91" fmla="*/ 162757 w 288106"/>
                    <a:gd name="connsiteY91" fmla="*/ 349862 h 626675"/>
                    <a:gd name="connsiteX92" fmla="*/ 148660 w 288106"/>
                    <a:gd name="connsiteY92" fmla="*/ 328076 h 626675"/>
                    <a:gd name="connsiteX93" fmla="*/ 160194 w 288106"/>
                    <a:gd name="connsiteY93" fmla="*/ 349862 h 626675"/>
                    <a:gd name="connsiteX94" fmla="*/ 171728 w 288106"/>
                    <a:gd name="connsiteY94" fmla="*/ 371648 h 626675"/>
                    <a:gd name="connsiteX95" fmla="*/ 203767 w 288106"/>
                    <a:gd name="connsiteY95" fmla="*/ 438289 h 626675"/>
                    <a:gd name="connsiteX96" fmla="*/ 201203 w 288106"/>
                    <a:gd name="connsiteY96" fmla="*/ 467764 h 626675"/>
                    <a:gd name="connsiteX97" fmla="*/ 188388 w 288106"/>
                    <a:gd name="connsiteY97" fmla="*/ 439570 h 626675"/>
                    <a:gd name="connsiteX98" fmla="*/ 161476 w 288106"/>
                    <a:gd name="connsiteY98" fmla="*/ 383182 h 626675"/>
                    <a:gd name="connsiteX99" fmla="*/ 147378 w 288106"/>
                    <a:gd name="connsiteY99" fmla="*/ 360114 h 626675"/>
                    <a:gd name="connsiteX100" fmla="*/ 158912 w 288106"/>
                    <a:gd name="connsiteY100" fmla="*/ 383182 h 626675"/>
                    <a:gd name="connsiteX101" fmla="*/ 185825 w 288106"/>
                    <a:gd name="connsiteY101" fmla="*/ 439570 h 626675"/>
                    <a:gd name="connsiteX102" fmla="*/ 199922 w 288106"/>
                    <a:gd name="connsiteY102" fmla="*/ 472890 h 626675"/>
                    <a:gd name="connsiteX103" fmla="*/ 196078 w 288106"/>
                    <a:gd name="connsiteY103" fmla="*/ 507492 h 626675"/>
                    <a:gd name="connsiteX104" fmla="*/ 219145 w 288106"/>
                    <a:gd name="connsiteY104" fmla="*/ 567725 h 626675"/>
                    <a:gd name="connsiteX105" fmla="*/ 219145 w 288106"/>
                    <a:gd name="connsiteY105" fmla="*/ 580540 h 62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88106" h="626675">
                      <a:moveTo>
                        <a:pt x="219145" y="580540"/>
                      </a:moveTo>
                      <a:cubicBezTo>
                        <a:pt x="221708" y="586948"/>
                        <a:pt x="225553" y="588229"/>
                        <a:pt x="228116" y="589511"/>
                      </a:cubicBezTo>
                      <a:cubicBezTo>
                        <a:pt x="229398" y="589511"/>
                        <a:pt x="230679" y="589511"/>
                        <a:pt x="231961" y="588229"/>
                      </a:cubicBezTo>
                      <a:cubicBezTo>
                        <a:pt x="234524" y="579259"/>
                        <a:pt x="230679" y="570288"/>
                        <a:pt x="222990" y="565162"/>
                      </a:cubicBezTo>
                      <a:cubicBezTo>
                        <a:pt x="215300" y="545938"/>
                        <a:pt x="208893" y="526715"/>
                        <a:pt x="201203" y="507492"/>
                      </a:cubicBezTo>
                      <a:lnTo>
                        <a:pt x="205048" y="478016"/>
                      </a:lnTo>
                      <a:cubicBezTo>
                        <a:pt x="208893" y="486987"/>
                        <a:pt x="212737" y="497240"/>
                        <a:pt x="216582" y="506211"/>
                      </a:cubicBezTo>
                      <a:cubicBezTo>
                        <a:pt x="221708" y="517744"/>
                        <a:pt x="225553" y="529278"/>
                        <a:pt x="230679" y="542094"/>
                      </a:cubicBezTo>
                      <a:cubicBezTo>
                        <a:pt x="235805" y="554909"/>
                        <a:pt x="239650" y="566443"/>
                        <a:pt x="244776" y="579259"/>
                      </a:cubicBezTo>
                      <a:cubicBezTo>
                        <a:pt x="257592" y="594637"/>
                        <a:pt x="261436" y="616423"/>
                        <a:pt x="280660" y="626676"/>
                      </a:cubicBezTo>
                      <a:cubicBezTo>
                        <a:pt x="288349" y="616423"/>
                        <a:pt x="276815" y="602326"/>
                        <a:pt x="271689" y="601045"/>
                      </a:cubicBezTo>
                      <a:cubicBezTo>
                        <a:pt x="271689" y="601045"/>
                        <a:pt x="270407" y="602326"/>
                        <a:pt x="270407" y="603608"/>
                      </a:cubicBezTo>
                      <a:lnTo>
                        <a:pt x="247339" y="576696"/>
                      </a:lnTo>
                      <a:cubicBezTo>
                        <a:pt x="243495" y="565162"/>
                        <a:pt x="238368" y="553628"/>
                        <a:pt x="234524" y="542094"/>
                      </a:cubicBezTo>
                      <a:cubicBezTo>
                        <a:pt x="229398" y="530560"/>
                        <a:pt x="225553" y="519026"/>
                        <a:pt x="220427" y="507492"/>
                      </a:cubicBezTo>
                      <a:cubicBezTo>
                        <a:pt x="215300" y="495958"/>
                        <a:pt x="211456" y="484424"/>
                        <a:pt x="206330" y="474172"/>
                      </a:cubicBezTo>
                      <a:lnTo>
                        <a:pt x="208893" y="444696"/>
                      </a:lnTo>
                      <a:cubicBezTo>
                        <a:pt x="217864" y="465201"/>
                        <a:pt x="226834" y="486987"/>
                        <a:pt x="235805" y="507492"/>
                      </a:cubicBezTo>
                      <a:cubicBezTo>
                        <a:pt x="243495" y="526715"/>
                        <a:pt x="251184" y="545938"/>
                        <a:pt x="258873" y="566443"/>
                      </a:cubicBezTo>
                      <a:cubicBezTo>
                        <a:pt x="255029" y="576696"/>
                        <a:pt x="262718" y="589511"/>
                        <a:pt x="270407" y="590793"/>
                      </a:cubicBezTo>
                      <a:cubicBezTo>
                        <a:pt x="274252" y="581822"/>
                        <a:pt x="266563" y="570288"/>
                        <a:pt x="261436" y="566443"/>
                      </a:cubicBezTo>
                      <a:cubicBezTo>
                        <a:pt x="253747" y="547220"/>
                        <a:pt x="246058" y="526715"/>
                        <a:pt x="238368" y="507492"/>
                      </a:cubicBezTo>
                      <a:cubicBezTo>
                        <a:pt x="229398" y="484424"/>
                        <a:pt x="219145" y="461356"/>
                        <a:pt x="208893" y="439570"/>
                      </a:cubicBezTo>
                      <a:lnTo>
                        <a:pt x="210174" y="410095"/>
                      </a:lnTo>
                      <a:cubicBezTo>
                        <a:pt x="234524" y="460075"/>
                        <a:pt x="256310" y="512618"/>
                        <a:pt x="275534" y="566443"/>
                      </a:cubicBezTo>
                      <a:cubicBezTo>
                        <a:pt x="271689" y="576696"/>
                        <a:pt x="280660" y="589511"/>
                        <a:pt x="287067" y="590793"/>
                      </a:cubicBezTo>
                      <a:cubicBezTo>
                        <a:pt x="290912" y="581822"/>
                        <a:pt x="283222" y="570288"/>
                        <a:pt x="278097" y="566443"/>
                      </a:cubicBezTo>
                      <a:cubicBezTo>
                        <a:pt x="257592" y="511337"/>
                        <a:pt x="234524" y="457512"/>
                        <a:pt x="210174" y="406250"/>
                      </a:cubicBezTo>
                      <a:lnTo>
                        <a:pt x="208893" y="372930"/>
                      </a:lnTo>
                      <a:cubicBezTo>
                        <a:pt x="208893" y="372930"/>
                        <a:pt x="208893" y="371648"/>
                        <a:pt x="208893" y="371648"/>
                      </a:cubicBezTo>
                      <a:cubicBezTo>
                        <a:pt x="203767" y="360114"/>
                        <a:pt x="197359" y="349862"/>
                        <a:pt x="192233" y="338328"/>
                      </a:cubicBezTo>
                      <a:cubicBezTo>
                        <a:pt x="188388" y="330639"/>
                        <a:pt x="184544" y="324231"/>
                        <a:pt x="180699" y="316542"/>
                      </a:cubicBezTo>
                      <a:cubicBezTo>
                        <a:pt x="181980" y="307571"/>
                        <a:pt x="173010" y="296037"/>
                        <a:pt x="166601" y="294755"/>
                      </a:cubicBezTo>
                      <a:cubicBezTo>
                        <a:pt x="165320" y="306289"/>
                        <a:pt x="175573" y="313979"/>
                        <a:pt x="178135" y="316542"/>
                      </a:cubicBezTo>
                      <a:cubicBezTo>
                        <a:pt x="181980" y="324231"/>
                        <a:pt x="185825" y="330639"/>
                        <a:pt x="189669" y="338328"/>
                      </a:cubicBezTo>
                      <a:cubicBezTo>
                        <a:pt x="194796" y="348580"/>
                        <a:pt x="201203" y="358833"/>
                        <a:pt x="206330" y="370367"/>
                      </a:cubicBezTo>
                      <a:lnTo>
                        <a:pt x="207611" y="398561"/>
                      </a:lnTo>
                      <a:cubicBezTo>
                        <a:pt x="192233" y="367804"/>
                        <a:pt x="176854" y="337047"/>
                        <a:pt x="160194" y="306289"/>
                      </a:cubicBezTo>
                      <a:cubicBezTo>
                        <a:pt x="156349" y="278095"/>
                        <a:pt x="152505" y="240931"/>
                        <a:pt x="146097" y="214018"/>
                      </a:cubicBezTo>
                      <a:lnTo>
                        <a:pt x="139689" y="188387"/>
                      </a:lnTo>
                      <a:cubicBezTo>
                        <a:pt x="173010" y="237086"/>
                        <a:pt x="203767" y="287066"/>
                        <a:pt x="231961" y="339610"/>
                      </a:cubicBezTo>
                      <a:cubicBezTo>
                        <a:pt x="233242" y="347299"/>
                        <a:pt x="234524" y="356270"/>
                        <a:pt x="235805" y="362677"/>
                      </a:cubicBezTo>
                      <a:cubicBezTo>
                        <a:pt x="234524" y="362677"/>
                        <a:pt x="234524" y="361396"/>
                        <a:pt x="233242" y="360114"/>
                      </a:cubicBezTo>
                      <a:cubicBezTo>
                        <a:pt x="231961" y="361396"/>
                        <a:pt x="231961" y="362677"/>
                        <a:pt x="230679" y="362677"/>
                      </a:cubicBezTo>
                      <a:cubicBezTo>
                        <a:pt x="230679" y="362677"/>
                        <a:pt x="235805" y="380619"/>
                        <a:pt x="244776" y="381901"/>
                      </a:cubicBezTo>
                      <a:cubicBezTo>
                        <a:pt x="244776" y="378056"/>
                        <a:pt x="244776" y="374211"/>
                        <a:pt x="238368" y="365240"/>
                      </a:cubicBezTo>
                      <a:lnTo>
                        <a:pt x="234524" y="339610"/>
                      </a:lnTo>
                      <a:cubicBezTo>
                        <a:pt x="199922" y="287066"/>
                        <a:pt x="167883" y="234523"/>
                        <a:pt x="133281" y="184543"/>
                      </a:cubicBezTo>
                      <a:lnTo>
                        <a:pt x="125592" y="160193"/>
                      </a:lnTo>
                      <a:cubicBezTo>
                        <a:pt x="166601" y="217863"/>
                        <a:pt x="203767" y="278095"/>
                        <a:pt x="238368" y="342173"/>
                      </a:cubicBezTo>
                      <a:cubicBezTo>
                        <a:pt x="240932" y="358833"/>
                        <a:pt x="243495" y="380619"/>
                        <a:pt x="246058" y="397279"/>
                      </a:cubicBezTo>
                      <a:cubicBezTo>
                        <a:pt x="244776" y="397279"/>
                        <a:pt x="243495" y="395998"/>
                        <a:pt x="243495" y="394716"/>
                      </a:cubicBezTo>
                      <a:cubicBezTo>
                        <a:pt x="239650" y="401124"/>
                        <a:pt x="248621" y="416502"/>
                        <a:pt x="256310" y="417784"/>
                      </a:cubicBezTo>
                      <a:cubicBezTo>
                        <a:pt x="256310" y="413939"/>
                        <a:pt x="256310" y="410095"/>
                        <a:pt x="249902" y="401124"/>
                      </a:cubicBezTo>
                      <a:lnTo>
                        <a:pt x="240932" y="343454"/>
                      </a:lnTo>
                      <a:cubicBezTo>
                        <a:pt x="205048" y="278095"/>
                        <a:pt x="166601" y="215300"/>
                        <a:pt x="123029" y="155067"/>
                      </a:cubicBezTo>
                      <a:cubicBezTo>
                        <a:pt x="115340" y="144815"/>
                        <a:pt x="108932" y="135844"/>
                        <a:pt x="101243" y="125591"/>
                      </a:cubicBezTo>
                      <a:lnTo>
                        <a:pt x="89709" y="98679"/>
                      </a:lnTo>
                      <a:cubicBezTo>
                        <a:pt x="82019" y="89708"/>
                        <a:pt x="74330" y="79456"/>
                        <a:pt x="66641" y="70485"/>
                      </a:cubicBezTo>
                      <a:lnTo>
                        <a:pt x="52544" y="44854"/>
                      </a:lnTo>
                      <a:cubicBezTo>
                        <a:pt x="47418" y="38446"/>
                        <a:pt x="41010" y="32039"/>
                        <a:pt x="35884" y="25631"/>
                      </a:cubicBezTo>
                      <a:cubicBezTo>
                        <a:pt x="29476" y="14097"/>
                        <a:pt x="19223" y="7689"/>
                        <a:pt x="19223" y="6408"/>
                      </a:cubicBezTo>
                      <a:cubicBezTo>
                        <a:pt x="21787" y="14097"/>
                        <a:pt x="30757" y="21786"/>
                        <a:pt x="34602" y="24349"/>
                      </a:cubicBezTo>
                      <a:cubicBezTo>
                        <a:pt x="39728" y="29476"/>
                        <a:pt x="44855" y="35883"/>
                        <a:pt x="49980" y="41009"/>
                      </a:cubicBezTo>
                      <a:lnTo>
                        <a:pt x="61514" y="62796"/>
                      </a:lnTo>
                      <a:cubicBezTo>
                        <a:pt x="49980" y="48699"/>
                        <a:pt x="38446" y="34602"/>
                        <a:pt x="26912" y="21786"/>
                      </a:cubicBezTo>
                      <a:cubicBezTo>
                        <a:pt x="21787" y="10252"/>
                        <a:pt x="10253" y="3845"/>
                        <a:pt x="10253" y="2563"/>
                      </a:cubicBezTo>
                      <a:cubicBezTo>
                        <a:pt x="12816" y="10252"/>
                        <a:pt x="21787" y="17942"/>
                        <a:pt x="25631" y="20505"/>
                      </a:cubicBezTo>
                      <a:cubicBezTo>
                        <a:pt x="38446" y="35883"/>
                        <a:pt x="51262" y="49980"/>
                        <a:pt x="64078" y="65359"/>
                      </a:cubicBezTo>
                      <a:lnTo>
                        <a:pt x="74330" y="88427"/>
                      </a:lnTo>
                      <a:cubicBezTo>
                        <a:pt x="55107" y="64077"/>
                        <a:pt x="35884" y="41009"/>
                        <a:pt x="16660" y="19223"/>
                      </a:cubicBezTo>
                      <a:cubicBezTo>
                        <a:pt x="11534" y="7689"/>
                        <a:pt x="1282" y="1282"/>
                        <a:pt x="0" y="0"/>
                      </a:cubicBezTo>
                      <a:cubicBezTo>
                        <a:pt x="1282" y="7689"/>
                        <a:pt x="11534" y="15379"/>
                        <a:pt x="15379" y="17942"/>
                      </a:cubicBezTo>
                      <a:cubicBezTo>
                        <a:pt x="35884" y="42291"/>
                        <a:pt x="56389" y="66640"/>
                        <a:pt x="75611" y="92271"/>
                      </a:cubicBezTo>
                      <a:cubicBezTo>
                        <a:pt x="80738" y="106368"/>
                        <a:pt x="88427" y="126873"/>
                        <a:pt x="93553" y="140970"/>
                      </a:cubicBezTo>
                      <a:cubicBezTo>
                        <a:pt x="92272" y="140970"/>
                        <a:pt x="90990" y="139688"/>
                        <a:pt x="90990" y="139688"/>
                      </a:cubicBezTo>
                      <a:cubicBezTo>
                        <a:pt x="88427" y="149941"/>
                        <a:pt x="105087" y="160193"/>
                        <a:pt x="105087" y="160193"/>
                      </a:cubicBezTo>
                      <a:cubicBezTo>
                        <a:pt x="105087" y="155067"/>
                        <a:pt x="105087" y="153785"/>
                        <a:pt x="97398" y="144815"/>
                      </a:cubicBezTo>
                      <a:lnTo>
                        <a:pt x="82019" y="101242"/>
                      </a:lnTo>
                      <a:cubicBezTo>
                        <a:pt x="88427" y="108931"/>
                        <a:pt x="93553" y="116621"/>
                        <a:pt x="99961" y="124310"/>
                      </a:cubicBezTo>
                      <a:cubicBezTo>
                        <a:pt x="105087" y="139688"/>
                        <a:pt x="111495" y="158912"/>
                        <a:pt x="116621" y="174290"/>
                      </a:cubicBezTo>
                      <a:cubicBezTo>
                        <a:pt x="115340" y="174290"/>
                        <a:pt x="114058" y="173009"/>
                        <a:pt x="114058" y="173009"/>
                      </a:cubicBezTo>
                      <a:cubicBezTo>
                        <a:pt x="111495" y="183261"/>
                        <a:pt x="126874" y="193513"/>
                        <a:pt x="128155" y="193513"/>
                      </a:cubicBezTo>
                      <a:cubicBezTo>
                        <a:pt x="128155" y="188387"/>
                        <a:pt x="128155" y="187106"/>
                        <a:pt x="120466" y="178135"/>
                      </a:cubicBezTo>
                      <a:lnTo>
                        <a:pt x="105087" y="130718"/>
                      </a:lnTo>
                      <a:cubicBezTo>
                        <a:pt x="110213" y="138407"/>
                        <a:pt x="116621" y="146096"/>
                        <a:pt x="121747" y="153785"/>
                      </a:cubicBezTo>
                      <a:lnTo>
                        <a:pt x="138408" y="211455"/>
                      </a:lnTo>
                      <a:cubicBezTo>
                        <a:pt x="142252" y="239649"/>
                        <a:pt x="149942" y="276814"/>
                        <a:pt x="152505" y="305008"/>
                      </a:cubicBezTo>
                      <a:cubicBezTo>
                        <a:pt x="170446" y="337047"/>
                        <a:pt x="187106" y="370367"/>
                        <a:pt x="203767" y="403687"/>
                      </a:cubicBezTo>
                      <a:lnTo>
                        <a:pt x="203767" y="433162"/>
                      </a:lnTo>
                      <a:cubicBezTo>
                        <a:pt x="194796" y="412658"/>
                        <a:pt x="184544" y="392153"/>
                        <a:pt x="174291" y="371648"/>
                      </a:cubicBezTo>
                      <a:cubicBezTo>
                        <a:pt x="170446" y="363959"/>
                        <a:pt x="166601" y="357551"/>
                        <a:pt x="162757" y="349862"/>
                      </a:cubicBezTo>
                      <a:cubicBezTo>
                        <a:pt x="165320" y="340891"/>
                        <a:pt x="155067" y="329357"/>
                        <a:pt x="148660" y="328076"/>
                      </a:cubicBezTo>
                      <a:cubicBezTo>
                        <a:pt x="146097" y="339610"/>
                        <a:pt x="156349" y="348580"/>
                        <a:pt x="160194" y="349862"/>
                      </a:cubicBezTo>
                      <a:cubicBezTo>
                        <a:pt x="164039" y="357551"/>
                        <a:pt x="167883" y="363959"/>
                        <a:pt x="171728" y="371648"/>
                      </a:cubicBezTo>
                      <a:cubicBezTo>
                        <a:pt x="183262" y="393434"/>
                        <a:pt x="193514" y="415221"/>
                        <a:pt x="203767" y="438289"/>
                      </a:cubicBezTo>
                      <a:lnTo>
                        <a:pt x="201203" y="467764"/>
                      </a:lnTo>
                      <a:cubicBezTo>
                        <a:pt x="197359" y="458793"/>
                        <a:pt x="193514" y="448541"/>
                        <a:pt x="188388" y="439570"/>
                      </a:cubicBezTo>
                      <a:cubicBezTo>
                        <a:pt x="179417" y="420347"/>
                        <a:pt x="170446" y="402405"/>
                        <a:pt x="161476" y="383182"/>
                      </a:cubicBezTo>
                      <a:cubicBezTo>
                        <a:pt x="164039" y="372930"/>
                        <a:pt x="155067" y="361396"/>
                        <a:pt x="147378" y="360114"/>
                      </a:cubicBezTo>
                      <a:cubicBezTo>
                        <a:pt x="143534" y="369085"/>
                        <a:pt x="152505" y="379338"/>
                        <a:pt x="158912" y="383182"/>
                      </a:cubicBezTo>
                      <a:cubicBezTo>
                        <a:pt x="167883" y="401124"/>
                        <a:pt x="176854" y="420347"/>
                        <a:pt x="185825" y="439570"/>
                      </a:cubicBezTo>
                      <a:cubicBezTo>
                        <a:pt x="190951" y="451104"/>
                        <a:pt x="196078" y="461356"/>
                        <a:pt x="199922" y="472890"/>
                      </a:cubicBezTo>
                      <a:lnTo>
                        <a:pt x="196078" y="507492"/>
                      </a:lnTo>
                      <a:cubicBezTo>
                        <a:pt x="203767" y="526715"/>
                        <a:pt x="211456" y="547220"/>
                        <a:pt x="219145" y="567725"/>
                      </a:cubicBezTo>
                      <a:cubicBezTo>
                        <a:pt x="217864" y="567725"/>
                        <a:pt x="215300" y="572851"/>
                        <a:pt x="219145" y="5805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915" name="Freeform: Shape 380063">
                <a:extLst>
                  <a:ext uri="{FF2B5EF4-FFF2-40B4-BE49-F238E27FC236}">
                    <a16:creationId xmlns:a16="http://schemas.microsoft.com/office/drawing/2014/main" id="{A3239E8B-DFE9-4859-A3AE-94B5818C7313}"/>
                  </a:ext>
                </a:extLst>
              </p:cNvPr>
              <p:cNvSpPr/>
              <p:nvPr/>
            </p:nvSpPr>
            <p:spPr>
              <a:xfrm>
                <a:off x="7281433" y="2448899"/>
                <a:ext cx="134562" cy="189668"/>
              </a:xfrm>
              <a:custGeom>
                <a:avLst/>
                <a:gdLst>
                  <a:gd name="connsiteX0" fmla="*/ 125592 w 134562"/>
                  <a:gd name="connsiteY0" fmla="*/ 180698 h 189668"/>
                  <a:gd name="connsiteX1" fmla="*/ 134563 w 134562"/>
                  <a:gd name="connsiteY1" fmla="*/ 189669 h 189668"/>
                  <a:gd name="connsiteX2" fmla="*/ 120466 w 134562"/>
                  <a:gd name="connsiteY2" fmla="*/ 169164 h 189668"/>
                  <a:gd name="connsiteX3" fmla="*/ 85864 w 134562"/>
                  <a:gd name="connsiteY3" fmla="*/ 120465 h 189668"/>
                  <a:gd name="connsiteX4" fmla="*/ 56388 w 134562"/>
                  <a:gd name="connsiteY4" fmla="*/ 66640 h 189668"/>
                  <a:gd name="connsiteX5" fmla="*/ 16660 w 134562"/>
                  <a:gd name="connsiteY5" fmla="*/ 19223 h 189668"/>
                  <a:gd name="connsiteX6" fmla="*/ 0 w 134562"/>
                  <a:gd name="connsiteY6" fmla="*/ 0 h 189668"/>
                  <a:gd name="connsiteX7" fmla="*/ 16660 w 134562"/>
                  <a:gd name="connsiteY7" fmla="*/ 17942 h 189668"/>
                  <a:gd name="connsiteX8" fmla="*/ 55107 w 134562"/>
                  <a:gd name="connsiteY8" fmla="*/ 62796 h 189668"/>
                  <a:gd name="connsiteX9" fmla="*/ 83301 w 134562"/>
                  <a:gd name="connsiteY9" fmla="*/ 116621 h 189668"/>
                  <a:gd name="connsiteX10" fmla="*/ 120466 w 134562"/>
                  <a:gd name="connsiteY10" fmla="*/ 166601 h 189668"/>
                  <a:gd name="connsiteX11" fmla="*/ 125592 w 134562"/>
                  <a:gd name="connsiteY11" fmla="*/ 180698 h 18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4562" h="189668">
                    <a:moveTo>
                      <a:pt x="125592" y="180698"/>
                    </a:moveTo>
                    <a:cubicBezTo>
                      <a:pt x="132000" y="188387"/>
                      <a:pt x="134563" y="189669"/>
                      <a:pt x="134563" y="189669"/>
                    </a:cubicBezTo>
                    <a:cubicBezTo>
                      <a:pt x="134563" y="184542"/>
                      <a:pt x="124311" y="171727"/>
                      <a:pt x="120466" y="169164"/>
                    </a:cubicBezTo>
                    <a:cubicBezTo>
                      <a:pt x="108932" y="152504"/>
                      <a:pt x="97398" y="137125"/>
                      <a:pt x="85864" y="120465"/>
                    </a:cubicBezTo>
                    <a:lnTo>
                      <a:pt x="56388" y="66640"/>
                    </a:lnTo>
                    <a:cubicBezTo>
                      <a:pt x="43573" y="51262"/>
                      <a:pt x="29476" y="34602"/>
                      <a:pt x="16660" y="19223"/>
                    </a:cubicBezTo>
                    <a:cubicBezTo>
                      <a:pt x="14097" y="12815"/>
                      <a:pt x="2563" y="1282"/>
                      <a:pt x="0" y="0"/>
                    </a:cubicBezTo>
                    <a:cubicBezTo>
                      <a:pt x="0" y="3845"/>
                      <a:pt x="12815" y="16660"/>
                      <a:pt x="16660" y="17942"/>
                    </a:cubicBezTo>
                    <a:cubicBezTo>
                      <a:pt x="29476" y="33320"/>
                      <a:pt x="42291" y="47417"/>
                      <a:pt x="55107" y="62796"/>
                    </a:cubicBezTo>
                    <a:lnTo>
                      <a:pt x="83301" y="116621"/>
                    </a:lnTo>
                    <a:cubicBezTo>
                      <a:pt x="96116" y="133281"/>
                      <a:pt x="107650" y="149941"/>
                      <a:pt x="120466" y="166601"/>
                    </a:cubicBezTo>
                    <a:cubicBezTo>
                      <a:pt x="119184" y="170446"/>
                      <a:pt x="121747" y="174290"/>
                      <a:pt x="125592" y="18069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6" name="Freeform: Shape 380064">
                <a:extLst>
                  <a:ext uri="{FF2B5EF4-FFF2-40B4-BE49-F238E27FC236}">
                    <a16:creationId xmlns:a16="http://schemas.microsoft.com/office/drawing/2014/main" id="{88F0E796-C5B8-4F3B-A50A-522EA2C3602A}"/>
                  </a:ext>
                </a:extLst>
              </p:cNvPr>
              <p:cNvSpPr/>
              <p:nvPr/>
            </p:nvSpPr>
            <p:spPr>
              <a:xfrm>
                <a:off x="7287841" y="2451462"/>
                <a:ext cx="157729" cy="219144"/>
              </a:xfrm>
              <a:custGeom>
                <a:avLst/>
                <a:gdLst>
                  <a:gd name="connsiteX0" fmla="*/ 148660 w 157729"/>
                  <a:gd name="connsiteY0" fmla="*/ 210173 h 219144"/>
                  <a:gd name="connsiteX1" fmla="*/ 157631 w 157729"/>
                  <a:gd name="connsiteY1" fmla="*/ 219144 h 219144"/>
                  <a:gd name="connsiteX2" fmla="*/ 144815 w 157729"/>
                  <a:gd name="connsiteY2" fmla="*/ 198640 h 219144"/>
                  <a:gd name="connsiteX3" fmla="*/ 88427 w 157729"/>
                  <a:gd name="connsiteY3" fmla="*/ 119184 h 219144"/>
                  <a:gd name="connsiteX4" fmla="*/ 57670 w 157729"/>
                  <a:gd name="connsiteY4" fmla="*/ 66640 h 219144"/>
                  <a:gd name="connsiteX5" fmla="*/ 16660 w 157729"/>
                  <a:gd name="connsiteY5" fmla="*/ 19223 h 219144"/>
                  <a:gd name="connsiteX6" fmla="*/ 0 w 157729"/>
                  <a:gd name="connsiteY6" fmla="*/ 0 h 219144"/>
                  <a:gd name="connsiteX7" fmla="*/ 16660 w 157729"/>
                  <a:gd name="connsiteY7" fmla="*/ 17942 h 219144"/>
                  <a:gd name="connsiteX8" fmla="*/ 55107 w 157729"/>
                  <a:gd name="connsiteY8" fmla="*/ 62796 h 219144"/>
                  <a:gd name="connsiteX9" fmla="*/ 85864 w 157729"/>
                  <a:gd name="connsiteY9" fmla="*/ 115339 h 219144"/>
                  <a:gd name="connsiteX10" fmla="*/ 143533 w 157729"/>
                  <a:gd name="connsiteY10" fmla="*/ 196076 h 219144"/>
                  <a:gd name="connsiteX11" fmla="*/ 148660 w 157729"/>
                  <a:gd name="connsiteY11" fmla="*/ 210173 h 21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729" h="219144">
                    <a:moveTo>
                      <a:pt x="148660" y="210173"/>
                    </a:moveTo>
                    <a:cubicBezTo>
                      <a:pt x="153786" y="216581"/>
                      <a:pt x="155067" y="217863"/>
                      <a:pt x="157631" y="219144"/>
                    </a:cubicBezTo>
                    <a:cubicBezTo>
                      <a:pt x="158912" y="215300"/>
                      <a:pt x="147378" y="199921"/>
                      <a:pt x="144815" y="198640"/>
                    </a:cubicBezTo>
                    <a:cubicBezTo>
                      <a:pt x="126874" y="171727"/>
                      <a:pt x="107650" y="144815"/>
                      <a:pt x="88427" y="119184"/>
                    </a:cubicBezTo>
                    <a:lnTo>
                      <a:pt x="57670" y="66640"/>
                    </a:lnTo>
                    <a:cubicBezTo>
                      <a:pt x="44855" y="49980"/>
                      <a:pt x="30757" y="34602"/>
                      <a:pt x="16660" y="19223"/>
                    </a:cubicBezTo>
                    <a:cubicBezTo>
                      <a:pt x="14097" y="14097"/>
                      <a:pt x="3845" y="2563"/>
                      <a:pt x="0" y="0"/>
                    </a:cubicBezTo>
                    <a:cubicBezTo>
                      <a:pt x="2563" y="6408"/>
                      <a:pt x="16660" y="17942"/>
                      <a:pt x="16660" y="17942"/>
                    </a:cubicBezTo>
                    <a:cubicBezTo>
                      <a:pt x="29476" y="33320"/>
                      <a:pt x="42291" y="47417"/>
                      <a:pt x="55107" y="62796"/>
                    </a:cubicBezTo>
                    <a:lnTo>
                      <a:pt x="85864" y="115339"/>
                    </a:lnTo>
                    <a:cubicBezTo>
                      <a:pt x="106369" y="142252"/>
                      <a:pt x="125592" y="169164"/>
                      <a:pt x="143533" y="196076"/>
                    </a:cubicBezTo>
                    <a:cubicBezTo>
                      <a:pt x="143533" y="199921"/>
                      <a:pt x="143533" y="202484"/>
                      <a:pt x="148660" y="21017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7" name="Freeform: Shape 380065">
                <a:extLst>
                  <a:ext uri="{FF2B5EF4-FFF2-40B4-BE49-F238E27FC236}">
                    <a16:creationId xmlns:a16="http://schemas.microsoft.com/office/drawing/2014/main" id="{F0235991-34A8-4CDA-9386-DAF8A74BFC75}"/>
                  </a:ext>
                </a:extLst>
              </p:cNvPr>
              <p:cNvSpPr/>
              <p:nvPr/>
            </p:nvSpPr>
            <p:spPr>
              <a:xfrm>
                <a:off x="7292967" y="2454025"/>
                <a:ext cx="140970" cy="188387"/>
              </a:xfrm>
              <a:custGeom>
                <a:avLst/>
                <a:gdLst>
                  <a:gd name="connsiteX0" fmla="*/ 132000 w 140970"/>
                  <a:gd name="connsiteY0" fmla="*/ 179416 h 188387"/>
                  <a:gd name="connsiteX1" fmla="*/ 139689 w 140970"/>
                  <a:gd name="connsiteY1" fmla="*/ 188387 h 188387"/>
                  <a:gd name="connsiteX2" fmla="*/ 140970 w 140970"/>
                  <a:gd name="connsiteY2" fmla="*/ 187106 h 188387"/>
                  <a:gd name="connsiteX3" fmla="*/ 126874 w 140970"/>
                  <a:gd name="connsiteY3" fmla="*/ 167883 h 188387"/>
                  <a:gd name="connsiteX4" fmla="*/ 90990 w 140970"/>
                  <a:gd name="connsiteY4" fmla="*/ 119184 h 188387"/>
                  <a:gd name="connsiteX5" fmla="*/ 57670 w 140970"/>
                  <a:gd name="connsiteY5" fmla="*/ 66640 h 188387"/>
                  <a:gd name="connsiteX6" fmla="*/ 16660 w 140970"/>
                  <a:gd name="connsiteY6" fmla="*/ 19223 h 188387"/>
                  <a:gd name="connsiteX7" fmla="*/ 0 w 140970"/>
                  <a:gd name="connsiteY7" fmla="*/ 0 h 188387"/>
                  <a:gd name="connsiteX8" fmla="*/ 16660 w 140970"/>
                  <a:gd name="connsiteY8" fmla="*/ 17942 h 188387"/>
                  <a:gd name="connsiteX9" fmla="*/ 55107 w 140970"/>
                  <a:gd name="connsiteY9" fmla="*/ 62796 h 188387"/>
                  <a:gd name="connsiteX10" fmla="*/ 88427 w 140970"/>
                  <a:gd name="connsiteY10" fmla="*/ 115339 h 188387"/>
                  <a:gd name="connsiteX11" fmla="*/ 125592 w 140970"/>
                  <a:gd name="connsiteY11" fmla="*/ 165319 h 188387"/>
                  <a:gd name="connsiteX12" fmla="*/ 132000 w 140970"/>
                  <a:gd name="connsiteY12" fmla="*/ 179416 h 18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970" h="188387">
                    <a:moveTo>
                      <a:pt x="132000" y="179416"/>
                    </a:moveTo>
                    <a:cubicBezTo>
                      <a:pt x="135845" y="185824"/>
                      <a:pt x="138407" y="187106"/>
                      <a:pt x="139689" y="188387"/>
                    </a:cubicBezTo>
                    <a:cubicBezTo>
                      <a:pt x="139689" y="188387"/>
                      <a:pt x="139689" y="187106"/>
                      <a:pt x="140970" y="187106"/>
                    </a:cubicBezTo>
                    <a:cubicBezTo>
                      <a:pt x="138407" y="181979"/>
                      <a:pt x="130718" y="171727"/>
                      <a:pt x="126874" y="167883"/>
                    </a:cubicBezTo>
                    <a:cubicBezTo>
                      <a:pt x="115340" y="151222"/>
                      <a:pt x="103806" y="135844"/>
                      <a:pt x="90990" y="119184"/>
                    </a:cubicBezTo>
                    <a:lnTo>
                      <a:pt x="57670" y="66640"/>
                    </a:lnTo>
                    <a:cubicBezTo>
                      <a:pt x="44854" y="49980"/>
                      <a:pt x="30757" y="34602"/>
                      <a:pt x="16660" y="19223"/>
                    </a:cubicBezTo>
                    <a:cubicBezTo>
                      <a:pt x="14097" y="15379"/>
                      <a:pt x="2563" y="2563"/>
                      <a:pt x="0" y="0"/>
                    </a:cubicBezTo>
                    <a:cubicBezTo>
                      <a:pt x="1281" y="3845"/>
                      <a:pt x="14097" y="16660"/>
                      <a:pt x="16660" y="17942"/>
                    </a:cubicBezTo>
                    <a:cubicBezTo>
                      <a:pt x="29476" y="33320"/>
                      <a:pt x="42291" y="47417"/>
                      <a:pt x="55107" y="62796"/>
                    </a:cubicBezTo>
                    <a:lnTo>
                      <a:pt x="88427" y="115339"/>
                    </a:lnTo>
                    <a:cubicBezTo>
                      <a:pt x="101243" y="131999"/>
                      <a:pt x="112777" y="148659"/>
                      <a:pt x="125592" y="165319"/>
                    </a:cubicBezTo>
                    <a:cubicBezTo>
                      <a:pt x="125592" y="169164"/>
                      <a:pt x="126874" y="174290"/>
                      <a:pt x="132000" y="17941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8" name="Freeform: Shape 380066">
                <a:extLst>
                  <a:ext uri="{FF2B5EF4-FFF2-40B4-BE49-F238E27FC236}">
                    <a16:creationId xmlns:a16="http://schemas.microsoft.com/office/drawing/2014/main" id="{329A3CC2-84E4-4CF7-9D2A-0437B67C4B66}"/>
                  </a:ext>
                </a:extLst>
              </p:cNvPr>
              <p:cNvSpPr/>
              <p:nvPr/>
            </p:nvSpPr>
            <p:spPr>
              <a:xfrm>
                <a:off x="7122521" y="2496316"/>
                <a:ext cx="195742" cy="510104"/>
              </a:xfrm>
              <a:custGeom>
                <a:avLst/>
                <a:gdLst>
                  <a:gd name="connsiteX0" fmla="*/ 149942 w 195742"/>
                  <a:gd name="connsiteY0" fmla="*/ 501084 h 510104"/>
                  <a:gd name="connsiteX1" fmla="*/ 165320 w 195742"/>
                  <a:gd name="connsiteY1" fmla="*/ 507492 h 510104"/>
                  <a:gd name="connsiteX2" fmla="*/ 153786 w 195742"/>
                  <a:gd name="connsiteY2" fmla="*/ 485706 h 510104"/>
                  <a:gd name="connsiteX3" fmla="*/ 132000 w 195742"/>
                  <a:gd name="connsiteY3" fmla="*/ 429318 h 510104"/>
                  <a:gd name="connsiteX4" fmla="*/ 142252 w 195742"/>
                  <a:gd name="connsiteY4" fmla="*/ 392153 h 510104"/>
                  <a:gd name="connsiteX5" fmla="*/ 79456 w 195742"/>
                  <a:gd name="connsiteY5" fmla="*/ 258872 h 510104"/>
                  <a:gd name="connsiteX6" fmla="*/ 84582 w 195742"/>
                  <a:gd name="connsiteY6" fmla="*/ 229397 h 510104"/>
                  <a:gd name="connsiteX7" fmla="*/ 161476 w 195742"/>
                  <a:gd name="connsiteY7" fmla="*/ 387027 h 510104"/>
                  <a:gd name="connsiteX8" fmla="*/ 152505 w 195742"/>
                  <a:gd name="connsiteY8" fmla="*/ 422910 h 510104"/>
                  <a:gd name="connsiteX9" fmla="*/ 162757 w 195742"/>
                  <a:gd name="connsiteY9" fmla="*/ 447259 h 510104"/>
                  <a:gd name="connsiteX10" fmla="*/ 175573 w 195742"/>
                  <a:gd name="connsiteY10" fmla="*/ 470327 h 510104"/>
                  <a:gd name="connsiteX11" fmla="*/ 167883 w 195742"/>
                  <a:gd name="connsiteY11" fmla="*/ 447259 h 510104"/>
                  <a:gd name="connsiteX12" fmla="*/ 166602 w 195742"/>
                  <a:gd name="connsiteY12" fmla="*/ 447259 h 510104"/>
                  <a:gd name="connsiteX13" fmla="*/ 157631 w 195742"/>
                  <a:gd name="connsiteY13" fmla="*/ 425473 h 510104"/>
                  <a:gd name="connsiteX14" fmla="*/ 166602 w 195742"/>
                  <a:gd name="connsiteY14" fmla="*/ 389590 h 510104"/>
                  <a:gd name="connsiteX15" fmla="*/ 85864 w 195742"/>
                  <a:gd name="connsiteY15" fmla="*/ 224270 h 510104"/>
                  <a:gd name="connsiteX16" fmla="*/ 89709 w 195742"/>
                  <a:gd name="connsiteY16" fmla="*/ 196076 h 510104"/>
                  <a:gd name="connsiteX17" fmla="*/ 180699 w 195742"/>
                  <a:gd name="connsiteY17" fmla="*/ 375493 h 510104"/>
                  <a:gd name="connsiteX18" fmla="*/ 193514 w 195742"/>
                  <a:gd name="connsiteY18" fmla="*/ 398561 h 510104"/>
                  <a:gd name="connsiteX19" fmla="*/ 183262 w 195742"/>
                  <a:gd name="connsiteY19" fmla="*/ 375493 h 510104"/>
                  <a:gd name="connsiteX20" fmla="*/ 89709 w 195742"/>
                  <a:gd name="connsiteY20" fmla="*/ 192232 h 510104"/>
                  <a:gd name="connsiteX21" fmla="*/ 93554 w 195742"/>
                  <a:gd name="connsiteY21" fmla="*/ 128155 h 510104"/>
                  <a:gd name="connsiteX22" fmla="*/ 19223 w 195742"/>
                  <a:gd name="connsiteY22" fmla="*/ 19223 h 510104"/>
                  <a:gd name="connsiteX23" fmla="*/ 2563 w 195742"/>
                  <a:gd name="connsiteY23" fmla="*/ 0 h 510104"/>
                  <a:gd name="connsiteX24" fmla="*/ 0 w 195742"/>
                  <a:gd name="connsiteY24" fmla="*/ 1282 h 510104"/>
                  <a:gd name="connsiteX25" fmla="*/ 15379 w 195742"/>
                  <a:gd name="connsiteY25" fmla="*/ 19223 h 510104"/>
                  <a:gd name="connsiteX26" fmla="*/ 88427 w 195742"/>
                  <a:gd name="connsiteY26" fmla="*/ 125592 h 510104"/>
                  <a:gd name="connsiteX27" fmla="*/ 84582 w 195742"/>
                  <a:gd name="connsiteY27" fmla="*/ 185824 h 510104"/>
                  <a:gd name="connsiteX28" fmla="*/ 70486 w 195742"/>
                  <a:gd name="connsiteY28" fmla="*/ 161475 h 510104"/>
                  <a:gd name="connsiteX29" fmla="*/ 73049 w 195742"/>
                  <a:gd name="connsiteY29" fmla="*/ 129436 h 510104"/>
                  <a:gd name="connsiteX30" fmla="*/ 39728 w 195742"/>
                  <a:gd name="connsiteY30" fmla="*/ 78174 h 510104"/>
                  <a:gd name="connsiteX31" fmla="*/ 23068 w 195742"/>
                  <a:gd name="connsiteY31" fmla="*/ 58951 h 510104"/>
                  <a:gd name="connsiteX32" fmla="*/ 37165 w 195742"/>
                  <a:gd name="connsiteY32" fmla="*/ 79456 h 510104"/>
                  <a:gd name="connsiteX33" fmla="*/ 69204 w 195742"/>
                  <a:gd name="connsiteY33" fmla="*/ 128155 h 510104"/>
                  <a:gd name="connsiteX34" fmla="*/ 66641 w 195742"/>
                  <a:gd name="connsiteY34" fmla="*/ 160193 h 510104"/>
                  <a:gd name="connsiteX35" fmla="*/ 84582 w 195742"/>
                  <a:gd name="connsiteY35" fmla="*/ 190950 h 510104"/>
                  <a:gd name="connsiteX36" fmla="*/ 80738 w 195742"/>
                  <a:gd name="connsiteY36" fmla="*/ 219144 h 510104"/>
                  <a:gd name="connsiteX37" fmla="*/ 53825 w 195742"/>
                  <a:gd name="connsiteY37" fmla="*/ 173009 h 510104"/>
                  <a:gd name="connsiteX38" fmla="*/ 38447 w 195742"/>
                  <a:gd name="connsiteY38" fmla="*/ 152504 h 510104"/>
                  <a:gd name="connsiteX39" fmla="*/ 51262 w 195742"/>
                  <a:gd name="connsiteY39" fmla="*/ 173009 h 510104"/>
                  <a:gd name="connsiteX40" fmla="*/ 80738 w 195742"/>
                  <a:gd name="connsiteY40" fmla="*/ 224270 h 510104"/>
                  <a:gd name="connsiteX41" fmla="*/ 74330 w 195742"/>
                  <a:gd name="connsiteY41" fmla="*/ 258872 h 510104"/>
                  <a:gd name="connsiteX42" fmla="*/ 137126 w 195742"/>
                  <a:gd name="connsiteY42" fmla="*/ 392153 h 510104"/>
                  <a:gd name="connsiteX43" fmla="*/ 126874 w 195742"/>
                  <a:gd name="connsiteY43" fmla="*/ 426755 h 510104"/>
                  <a:gd name="connsiteX44" fmla="*/ 149942 w 195742"/>
                  <a:gd name="connsiteY44" fmla="*/ 485706 h 510104"/>
                  <a:gd name="connsiteX45" fmla="*/ 149942 w 195742"/>
                  <a:gd name="connsiteY45" fmla="*/ 501084 h 510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5742" h="510104">
                    <a:moveTo>
                      <a:pt x="149942" y="501084"/>
                    </a:moveTo>
                    <a:cubicBezTo>
                      <a:pt x="155068" y="510055"/>
                      <a:pt x="162757" y="512618"/>
                      <a:pt x="165320" y="507492"/>
                    </a:cubicBezTo>
                    <a:cubicBezTo>
                      <a:pt x="167883" y="502366"/>
                      <a:pt x="165320" y="489550"/>
                      <a:pt x="153786" y="485706"/>
                    </a:cubicBezTo>
                    <a:cubicBezTo>
                      <a:pt x="146097" y="466483"/>
                      <a:pt x="139689" y="447259"/>
                      <a:pt x="132000" y="429318"/>
                    </a:cubicBezTo>
                    <a:lnTo>
                      <a:pt x="142252" y="392153"/>
                    </a:lnTo>
                    <a:cubicBezTo>
                      <a:pt x="123029" y="346017"/>
                      <a:pt x="101243" y="302445"/>
                      <a:pt x="79456" y="258872"/>
                    </a:cubicBezTo>
                    <a:lnTo>
                      <a:pt x="84582" y="229397"/>
                    </a:lnTo>
                    <a:cubicBezTo>
                      <a:pt x="112777" y="280659"/>
                      <a:pt x="138408" y="333202"/>
                      <a:pt x="161476" y="387027"/>
                    </a:cubicBezTo>
                    <a:lnTo>
                      <a:pt x="152505" y="422910"/>
                    </a:lnTo>
                    <a:cubicBezTo>
                      <a:pt x="156349" y="430599"/>
                      <a:pt x="158912" y="439570"/>
                      <a:pt x="162757" y="447259"/>
                    </a:cubicBezTo>
                    <a:cubicBezTo>
                      <a:pt x="151223" y="461356"/>
                      <a:pt x="174291" y="471609"/>
                      <a:pt x="175573" y="470327"/>
                    </a:cubicBezTo>
                    <a:cubicBezTo>
                      <a:pt x="181980" y="467764"/>
                      <a:pt x="176854" y="451104"/>
                      <a:pt x="167883" y="447259"/>
                    </a:cubicBezTo>
                    <a:cubicBezTo>
                      <a:pt x="167883" y="447259"/>
                      <a:pt x="166602" y="447259"/>
                      <a:pt x="166602" y="447259"/>
                    </a:cubicBezTo>
                    <a:cubicBezTo>
                      <a:pt x="164039" y="439570"/>
                      <a:pt x="160194" y="433162"/>
                      <a:pt x="157631" y="425473"/>
                    </a:cubicBezTo>
                    <a:lnTo>
                      <a:pt x="166602" y="389590"/>
                    </a:lnTo>
                    <a:cubicBezTo>
                      <a:pt x="142252" y="333202"/>
                      <a:pt x="115340" y="278095"/>
                      <a:pt x="85864" y="224270"/>
                    </a:cubicBezTo>
                    <a:lnTo>
                      <a:pt x="89709" y="196076"/>
                    </a:lnTo>
                    <a:cubicBezTo>
                      <a:pt x="123029" y="253746"/>
                      <a:pt x="152505" y="312697"/>
                      <a:pt x="180699" y="375493"/>
                    </a:cubicBezTo>
                    <a:cubicBezTo>
                      <a:pt x="170446" y="389590"/>
                      <a:pt x="193514" y="398561"/>
                      <a:pt x="193514" y="398561"/>
                    </a:cubicBezTo>
                    <a:cubicBezTo>
                      <a:pt x="198641" y="395998"/>
                      <a:pt x="194796" y="379337"/>
                      <a:pt x="183262" y="375493"/>
                    </a:cubicBezTo>
                    <a:cubicBezTo>
                      <a:pt x="155068" y="311416"/>
                      <a:pt x="124311" y="249901"/>
                      <a:pt x="89709" y="192232"/>
                    </a:cubicBezTo>
                    <a:lnTo>
                      <a:pt x="93554" y="128155"/>
                    </a:lnTo>
                    <a:cubicBezTo>
                      <a:pt x="69204" y="90990"/>
                      <a:pt x="44855" y="55106"/>
                      <a:pt x="19223" y="19223"/>
                    </a:cubicBezTo>
                    <a:cubicBezTo>
                      <a:pt x="21787" y="8971"/>
                      <a:pt x="8971" y="1282"/>
                      <a:pt x="2563" y="0"/>
                    </a:cubicBezTo>
                    <a:cubicBezTo>
                      <a:pt x="1282" y="0"/>
                      <a:pt x="1282" y="1282"/>
                      <a:pt x="0" y="1282"/>
                    </a:cubicBezTo>
                    <a:cubicBezTo>
                      <a:pt x="1282" y="11534"/>
                      <a:pt x="11534" y="17942"/>
                      <a:pt x="15379" y="19223"/>
                    </a:cubicBezTo>
                    <a:cubicBezTo>
                      <a:pt x="41010" y="53825"/>
                      <a:pt x="65359" y="89708"/>
                      <a:pt x="88427" y="125592"/>
                    </a:cubicBezTo>
                    <a:lnTo>
                      <a:pt x="84582" y="185824"/>
                    </a:lnTo>
                    <a:cubicBezTo>
                      <a:pt x="79456" y="178135"/>
                      <a:pt x="75611" y="169164"/>
                      <a:pt x="70486" y="161475"/>
                    </a:cubicBezTo>
                    <a:lnTo>
                      <a:pt x="73049" y="129436"/>
                    </a:lnTo>
                    <a:cubicBezTo>
                      <a:pt x="62796" y="112776"/>
                      <a:pt x="51262" y="94834"/>
                      <a:pt x="39728" y="78174"/>
                    </a:cubicBezTo>
                    <a:cubicBezTo>
                      <a:pt x="43573" y="70485"/>
                      <a:pt x="30757" y="57670"/>
                      <a:pt x="23068" y="58951"/>
                    </a:cubicBezTo>
                    <a:cubicBezTo>
                      <a:pt x="19223" y="66640"/>
                      <a:pt x="29476" y="75611"/>
                      <a:pt x="37165" y="79456"/>
                    </a:cubicBezTo>
                    <a:cubicBezTo>
                      <a:pt x="47418" y="94834"/>
                      <a:pt x="58952" y="111494"/>
                      <a:pt x="69204" y="128155"/>
                    </a:cubicBezTo>
                    <a:lnTo>
                      <a:pt x="66641" y="160193"/>
                    </a:lnTo>
                    <a:cubicBezTo>
                      <a:pt x="73049" y="170446"/>
                      <a:pt x="79456" y="180698"/>
                      <a:pt x="84582" y="190950"/>
                    </a:cubicBezTo>
                    <a:lnTo>
                      <a:pt x="80738" y="219144"/>
                    </a:lnTo>
                    <a:cubicBezTo>
                      <a:pt x="71767" y="203766"/>
                      <a:pt x="62796" y="188387"/>
                      <a:pt x="53825" y="173009"/>
                    </a:cubicBezTo>
                    <a:cubicBezTo>
                      <a:pt x="58952" y="164038"/>
                      <a:pt x="46136" y="151222"/>
                      <a:pt x="38447" y="152504"/>
                    </a:cubicBezTo>
                    <a:cubicBezTo>
                      <a:pt x="33321" y="161475"/>
                      <a:pt x="43573" y="170446"/>
                      <a:pt x="51262" y="173009"/>
                    </a:cubicBezTo>
                    <a:cubicBezTo>
                      <a:pt x="61515" y="189669"/>
                      <a:pt x="70486" y="206329"/>
                      <a:pt x="80738" y="224270"/>
                    </a:cubicBezTo>
                    <a:lnTo>
                      <a:pt x="74330" y="258872"/>
                    </a:lnTo>
                    <a:cubicBezTo>
                      <a:pt x="96116" y="302445"/>
                      <a:pt x="117903" y="346017"/>
                      <a:pt x="137126" y="392153"/>
                    </a:cubicBezTo>
                    <a:lnTo>
                      <a:pt x="126874" y="426755"/>
                    </a:lnTo>
                    <a:cubicBezTo>
                      <a:pt x="134563" y="445978"/>
                      <a:pt x="142252" y="466483"/>
                      <a:pt x="149942" y="485706"/>
                    </a:cubicBezTo>
                    <a:cubicBezTo>
                      <a:pt x="146097" y="489550"/>
                      <a:pt x="146097" y="494677"/>
                      <a:pt x="149942" y="50108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19" name="Freeform: Shape 380067">
                <a:extLst>
                  <a:ext uri="{FF2B5EF4-FFF2-40B4-BE49-F238E27FC236}">
                    <a16:creationId xmlns:a16="http://schemas.microsoft.com/office/drawing/2014/main" id="{0B3636C9-B8F4-4B07-B6EE-1ADB9BC810EC}"/>
                  </a:ext>
                </a:extLst>
              </p:cNvPr>
              <p:cNvSpPr/>
              <p:nvPr/>
            </p:nvSpPr>
            <p:spPr>
              <a:xfrm>
                <a:off x="7282472" y="2907692"/>
                <a:ext cx="34844" cy="135188"/>
              </a:xfrm>
              <a:custGeom>
                <a:avLst/>
                <a:gdLst>
                  <a:gd name="connsiteX0" fmla="*/ 2806 w 34844"/>
                  <a:gd name="connsiteY0" fmla="*/ 125592 h 135188"/>
                  <a:gd name="connsiteX1" fmla="*/ 19466 w 34844"/>
                  <a:gd name="connsiteY1" fmla="*/ 130718 h 135188"/>
                  <a:gd name="connsiteX2" fmla="*/ 15622 w 34844"/>
                  <a:gd name="connsiteY2" fmla="*/ 115339 h 135188"/>
                  <a:gd name="connsiteX3" fmla="*/ 34845 w 34844"/>
                  <a:gd name="connsiteY3" fmla="*/ 47417 h 135188"/>
                  <a:gd name="connsiteX4" fmla="*/ 24593 w 34844"/>
                  <a:gd name="connsiteY4" fmla="*/ 23068 h 135188"/>
                  <a:gd name="connsiteX5" fmla="*/ 14340 w 34844"/>
                  <a:gd name="connsiteY5" fmla="*/ 0 h 135188"/>
                  <a:gd name="connsiteX6" fmla="*/ 13059 w 34844"/>
                  <a:gd name="connsiteY6" fmla="*/ 0 h 135188"/>
                  <a:gd name="connsiteX7" fmla="*/ 18185 w 34844"/>
                  <a:gd name="connsiteY7" fmla="*/ 23068 h 135188"/>
                  <a:gd name="connsiteX8" fmla="*/ 20748 w 34844"/>
                  <a:gd name="connsiteY8" fmla="*/ 24349 h 135188"/>
                  <a:gd name="connsiteX9" fmla="*/ 29719 w 34844"/>
                  <a:gd name="connsiteY9" fmla="*/ 46136 h 135188"/>
                  <a:gd name="connsiteX10" fmla="*/ 10495 w 34844"/>
                  <a:gd name="connsiteY10" fmla="*/ 111494 h 135188"/>
                  <a:gd name="connsiteX11" fmla="*/ 243 w 34844"/>
                  <a:gd name="connsiteY11" fmla="*/ 120465 h 135188"/>
                  <a:gd name="connsiteX12" fmla="*/ 2806 w 34844"/>
                  <a:gd name="connsiteY12" fmla="*/ 125592 h 13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844" h="135188">
                    <a:moveTo>
                      <a:pt x="2806" y="125592"/>
                    </a:moveTo>
                    <a:cubicBezTo>
                      <a:pt x="7932" y="135844"/>
                      <a:pt x="16903" y="138407"/>
                      <a:pt x="19466" y="130718"/>
                    </a:cubicBezTo>
                    <a:cubicBezTo>
                      <a:pt x="20748" y="128155"/>
                      <a:pt x="20748" y="121747"/>
                      <a:pt x="15622" y="115339"/>
                    </a:cubicBezTo>
                    <a:lnTo>
                      <a:pt x="34845" y="47417"/>
                    </a:lnTo>
                    <a:cubicBezTo>
                      <a:pt x="32282" y="39728"/>
                      <a:pt x="28437" y="30757"/>
                      <a:pt x="24593" y="23068"/>
                    </a:cubicBezTo>
                    <a:cubicBezTo>
                      <a:pt x="32282" y="17942"/>
                      <a:pt x="22029" y="1282"/>
                      <a:pt x="14340" y="0"/>
                    </a:cubicBezTo>
                    <a:cubicBezTo>
                      <a:pt x="14340" y="0"/>
                      <a:pt x="13059" y="0"/>
                      <a:pt x="13059" y="0"/>
                    </a:cubicBezTo>
                    <a:cubicBezTo>
                      <a:pt x="4088" y="2563"/>
                      <a:pt x="10495" y="17942"/>
                      <a:pt x="18185" y="23068"/>
                    </a:cubicBezTo>
                    <a:cubicBezTo>
                      <a:pt x="19466" y="23068"/>
                      <a:pt x="20748" y="24349"/>
                      <a:pt x="20748" y="24349"/>
                    </a:cubicBezTo>
                    <a:cubicBezTo>
                      <a:pt x="23311" y="32039"/>
                      <a:pt x="27156" y="38446"/>
                      <a:pt x="29719" y="46136"/>
                    </a:cubicBezTo>
                    <a:cubicBezTo>
                      <a:pt x="23311" y="65359"/>
                      <a:pt x="15622" y="92271"/>
                      <a:pt x="10495" y="111494"/>
                    </a:cubicBezTo>
                    <a:cubicBezTo>
                      <a:pt x="2806" y="106368"/>
                      <a:pt x="-1039" y="112776"/>
                      <a:pt x="243" y="120465"/>
                    </a:cubicBezTo>
                    <a:cubicBezTo>
                      <a:pt x="243" y="121747"/>
                      <a:pt x="1525" y="124310"/>
                      <a:pt x="2806" y="12559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0" name="Freeform: Shape 380068">
                <a:extLst>
                  <a:ext uri="{FF2B5EF4-FFF2-40B4-BE49-F238E27FC236}">
                    <a16:creationId xmlns:a16="http://schemas.microsoft.com/office/drawing/2014/main" id="{8A394C54-83CF-4A70-A3D3-5B322E0BC841}"/>
                  </a:ext>
                </a:extLst>
              </p:cNvPr>
              <p:cNvSpPr/>
              <p:nvPr/>
            </p:nvSpPr>
            <p:spPr>
              <a:xfrm>
                <a:off x="7098073" y="2442491"/>
                <a:ext cx="143712" cy="222518"/>
              </a:xfrm>
              <a:custGeom>
                <a:avLst/>
                <a:gdLst>
                  <a:gd name="connsiteX0" fmla="*/ 129535 w 143712"/>
                  <a:gd name="connsiteY0" fmla="*/ 214018 h 222518"/>
                  <a:gd name="connsiteX1" fmla="*/ 143632 w 143712"/>
                  <a:gd name="connsiteY1" fmla="*/ 220426 h 222518"/>
                  <a:gd name="connsiteX2" fmla="*/ 137224 w 143712"/>
                  <a:gd name="connsiteY2" fmla="*/ 206329 h 222518"/>
                  <a:gd name="connsiteX3" fmla="*/ 137224 w 143712"/>
                  <a:gd name="connsiteY3" fmla="*/ 181979 h 222518"/>
                  <a:gd name="connsiteX4" fmla="*/ 18040 w 143712"/>
                  <a:gd name="connsiteY4" fmla="*/ 17942 h 222518"/>
                  <a:gd name="connsiteX5" fmla="*/ 1380 w 143712"/>
                  <a:gd name="connsiteY5" fmla="*/ 0 h 222518"/>
                  <a:gd name="connsiteX6" fmla="*/ 99 w 143712"/>
                  <a:gd name="connsiteY6" fmla="*/ 1282 h 222518"/>
                  <a:gd name="connsiteX7" fmla="*/ 15477 w 143712"/>
                  <a:gd name="connsiteY7" fmla="*/ 19223 h 222518"/>
                  <a:gd name="connsiteX8" fmla="*/ 133380 w 143712"/>
                  <a:gd name="connsiteY8" fmla="*/ 181979 h 222518"/>
                  <a:gd name="connsiteX9" fmla="*/ 133380 w 143712"/>
                  <a:gd name="connsiteY9" fmla="*/ 205047 h 222518"/>
                  <a:gd name="connsiteX10" fmla="*/ 126972 w 143712"/>
                  <a:gd name="connsiteY10" fmla="*/ 210174 h 222518"/>
                  <a:gd name="connsiteX11" fmla="*/ 129535 w 143712"/>
                  <a:gd name="connsiteY11" fmla="*/ 214018 h 222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712" h="222518">
                    <a:moveTo>
                      <a:pt x="129535" y="214018"/>
                    </a:moveTo>
                    <a:cubicBezTo>
                      <a:pt x="133380" y="220426"/>
                      <a:pt x="141069" y="225552"/>
                      <a:pt x="143632" y="220426"/>
                    </a:cubicBezTo>
                    <a:cubicBezTo>
                      <a:pt x="143632" y="220426"/>
                      <a:pt x="144914" y="215300"/>
                      <a:pt x="137224" y="206329"/>
                    </a:cubicBezTo>
                    <a:lnTo>
                      <a:pt x="137224" y="181979"/>
                    </a:lnTo>
                    <a:cubicBezTo>
                      <a:pt x="100059" y="124310"/>
                      <a:pt x="60332" y="69203"/>
                      <a:pt x="18040" y="17942"/>
                    </a:cubicBezTo>
                    <a:cubicBezTo>
                      <a:pt x="21885" y="12816"/>
                      <a:pt x="9069" y="0"/>
                      <a:pt x="1380" y="0"/>
                    </a:cubicBezTo>
                    <a:cubicBezTo>
                      <a:pt x="1380" y="0"/>
                      <a:pt x="99" y="0"/>
                      <a:pt x="99" y="1282"/>
                    </a:cubicBezTo>
                    <a:cubicBezTo>
                      <a:pt x="-1183" y="8971"/>
                      <a:pt x="10351" y="16660"/>
                      <a:pt x="15477" y="19223"/>
                    </a:cubicBezTo>
                    <a:cubicBezTo>
                      <a:pt x="57768" y="70485"/>
                      <a:pt x="96215" y="124310"/>
                      <a:pt x="133380" y="181979"/>
                    </a:cubicBezTo>
                    <a:cubicBezTo>
                      <a:pt x="133380" y="188387"/>
                      <a:pt x="133380" y="198640"/>
                      <a:pt x="133380" y="205047"/>
                    </a:cubicBezTo>
                    <a:cubicBezTo>
                      <a:pt x="125691" y="199921"/>
                      <a:pt x="125691" y="206329"/>
                      <a:pt x="126972" y="210174"/>
                    </a:cubicBezTo>
                    <a:cubicBezTo>
                      <a:pt x="126972" y="208892"/>
                      <a:pt x="128254" y="211455"/>
                      <a:pt x="129535" y="21401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1" name="Freeform: Shape 380069">
                <a:extLst>
                  <a:ext uri="{FF2B5EF4-FFF2-40B4-BE49-F238E27FC236}">
                    <a16:creationId xmlns:a16="http://schemas.microsoft.com/office/drawing/2014/main" id="{84984B40-032C-482B-83A3-532FD6C9EED8}"/>
                  </a:ext>
                </a:extLst>
              </p:cNvPr>
              <p:cNvSpPr/>
              <p:nvPr/>
            </p:nvSpPr>
            <p:spPr>
              <a:xfrm>
                <a:off x="7069977" y="2387384"/>
                <a:ext cx="246421" cy="371648"/>
              </a:xfrm>
              <a:custGeom>
                <a:avLst/>
                <a:gdLst>
                  <a:gd name="connsiteX0" fmla="*/ 231961 w 246421"/>
                  <a:gd name="connsiteY0" fmla="*/ 362677 h 371648"/>
                  <a:gd name="connsiteX1" fmla="*/ 244776 w 246421"/>
                  <a:gd name="connsiteY1" fmla="*/ 371648 h 371648"/>
                  <a:gd name="connsiteX2" fmla="*/ 233242 w 246421"/>
                  <a:gd name="connsiteY2" fmla="*/ 349862 h 371648"/>
                  <a:gd name="connsiteX3" fmla="*/ 184544 w 246421"/>
                  <a:gd name="connsiteY3" fmla="*/ 266562 h 371648"/>
                  <a:gd name="connsiteX4" fmla="*/ 184544 w 246421"/>
                  <a:gd name="connsiteY4" fmla="*/ 235804 h 371648"/>
                  <a:gd name="connsiteX5" fmla="*/ 19223 w 246421"/>
                  <a:gd name="connsiteY5" fmla="*/ 17942 h 371648"/>
                  <a:gd name="connsiteX6" fmla="*/ 1282 w 246421"/>
                  <a:gd name="connsiteY6" fmla="*/ 0 h 371648"/>
                  <a:gd name="connsiteX7" fmla="*/ 0 w 246421"/>
                  <a:gd name="connsiteY7" fmla="*/ 1282 h 371648"/>
                  <a:gd name="connsiteX8" fmla="*/ 16660 w 246421"/>
                  <a:gd name="connsiteY8" fmla="*/ 17942 h 371648"/>
                  <a:gd name="connsiteX9" fmla="*/ 180699 w 246421"/>
                  <a:gd name="connsiteY9" fmla="*/ 233241 h 371648"/>
                  <a:gd name="connsiteX10" fmla="*/ 180699 w 246421"/>
                  <a:gd name="connsiteY10" fmla="*/ 263998 h 371648"/>
                  <a:gd name="connsiteX11" fmla="*/ 230679 w 246421"/>
                  <a:gd name="connsiteY11" fmla="*/ 348580 h 371648"/>
                  <a:gd name="connsiteX12" fmla="*/ 231961 w 246421"/>
                  <a:gd name="connsiteY12" fmla="*/ 362677 h 371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6421" h="371648">
                    <a:moveTo>
                      <a:pt x="231961" y="362677"/>
                    </a:moveTo>
                    <a:cubicBezTo>
                      <a:pt x="237087" y="371648"/>
                      <a:pt x="242213" y="371648"/>
                      <a:pt x="244776" y="371648"/>
                    </a:cubicBezTo>
                    <a:cubicBezTo>
                      <a:pt x="249902" y="366522"/>
                      <a:pt x="242213" y="353707"/>
                      <a:pt x="233242" y="349862"/>
                    </a:cubicBezTo>
                    <a:cubicBezTo>
                      <a:pt x="217864" y="321668"/>
                      <a:pt x="201203" y="294755"/>
                      <a:pt x="184544" y="266562"/>
                    </a:cubicBezTo>
                    <a:lnTo>
                      <a:pt x="184544" y="235804"/>
                    </a:lnTo>
                    <a:cubicBezTo>
                      <a:pt x="134563" y="157630"/>
                      <a:pt x="78175" y="85864"/>
                      <a:pt x="19223" y="17942"/>
                    </a:cubicBezTo>
                    <a:cubicBezTo>
                      <a:pt x="21787" y="10252"/>
                      <a:pt x="6408" y="1282"/>
                      <a:pt x="1282" y="0"/>
                    </a:cubicBezTo>
                    <a:cubicBezTo>
                      <a:pt x="1282" y="0"/>
                      <a:pt x="0" y="1282"/>
                      <a:pt x="0" y="1282"/>
                    </a:cubicBezTo>
                    <a:cubicBezTo>
                      <a:pt x="2563" y="10252"/>
                      <a:pt x="12816" y="16660"/>
                      <a:pt x="16660" y="17942"/>
                    </a:cubicBezTo>
                    <a:cubicBezTo>
                      <a:pt x="75611" y="84582"/>
                      <a:pt x="130718" y="156349"/>
                      <a:pt x="180699" y="233241"/>
                    </a:cubicBezTo>
                    <a:lnTo>
                      <a:pt x="180699" y="263998"/>
                    </a:lnTo>
                    <a:cubicBezTo>
                      <a:pt x="197359" y="292192"/>
                      <a:pt x="214019" y="320386"/>
                      <a:pt x="230679" y="348580"/>
                    </a:cubicBezTo>
                    <a:cubicBezTo>
                      <a:pt x="229398" y="351144"/>
                      <a:pt x="226834" y="353707"/>
                      <a:pt x="231961" y="36267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2" name="Freeform: Shape 380070">
                <a:extLst>
                  <a:ext uri="{FF2B5EF4-FFF2-40B4-BE49-F238E27FC236}">
                    <a16:creationId xmlns:a16="http://schemas.microsoft.com/office/drawing/2014/main" id="{6F0A0F1F-1F54-4EB7-8D27-12018D0875C9}"/>
                  </a:ext>
                </a:extLst>
              </p:cNvPr>
              <p:cNvSpPr/>
              <p:nvPr/>
            </p:nvSpPr>
            <p:spPr>
              <a:xfrm>
                <a:off x="7254521" y="2548859"/>
                <a:ext cx="97807" cy="240237"/>
              </a:xfrm>
              <a:custGeom>
                <a:avLst/>
                <a:gdLst>
                  <a:gd name="connsiteX0" fmla="*/ 84582 w 97807"/>
                  <a:gd name="connsiteY0" fmla="*/ 231960 h 240237"/>
                  <a:gd name="connsiteX1" fmla="*/ 97398 w 97807"/>
                  <a:gd name="connsiteY1" fmla="*/ 239649 h 240237"/>
                  <a:gd name="connsiteX2" fmla="*/ 92271 w 97807"/>
                  <a:gd name="connsiteY2" fmla="*/ 222989 h 240237"/>
                  <a:gd name="connsiteX3" fmla="*/ 90990 w 97807"/>
                  <a:gd name="connsiteY3" fmla="*/ 133281 h 240237"/>
                  <a:gd name="connsiteX4" fmla="*/ 16660 w 97807"/>
                  <a:gd name="connsiteY4" fmla="*/ 20505 h 240237"/>
                  <a:gd name="connsiteX5" fmla="*/ 1281 w 97807"/>
                  <a:gd name="connsiteY5" fmla="*/ 0 h 240237"/>
                  <a:gd name="connsiteX6" fmla="*/ 0 w 97807"/>
                  <a:gd name="connsiteY6" fmla="*/ 1282 h 240237"/>
                  <a:gd name="connsiteX7" fmla="*/ 15378 w 97807"/>
                  <a:gd name="connsiteY7" fmla="*/ 20505 h 240237"/>
                  <a:gd name="connsiteX8" fmla="*/ 88427 w 97807"/>
                  <a:gd name="connsiteY8" fmla="*/ 130718 h 240237"/>
                  <a:gd name="connsiteX9" fmla="*/ 89709 w 97807"/>
                  <a:gd name="connsiteY9" fmla="*/ 219144 h 240237"/>
                  <a:gd name="connsiteX10" fmla="*/ 82019 w 97807"/>
                  <a:gd name="connsiteY10" fmla="*/ 222989 h 240237"/>
                  <a:gd name="connsiteX11" fmla="*/ 84582 w 97807"/>
                  <a:gd name="connsiteY11" fmla="*/ 231960 h 240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7807" h="240237">
                    <a:moveTo>
                      <a:pt x="84582" y="231960"/>
                    </a:moveTo>
                    <a:cubicBezTo>
                      <a:pt x="87145" y="235804"/>
                      <a:pt x="92271" y="242212"/>
                      <a:pt x="97398" y="239649"/>
                    </a:cubicBezTo>
                    <a:cubicBezTo>
                      <a:pt x="97398" y="237086"/>
                      <a:pt x="99961" y="231960"/>
                      <a:pt x="92271" y="222989"/>
                    </a:cubicBezTo>
                    <a:cubicBezTo>
                      <a:pt x="92271" y="196077"/>
                      <a:pt x="93553" y="160193"/>
                      <a:pt x="90990" y="133281"/>
                    </a:cubicBezTo>
                    <a:cubicBezTo>
                      <a:pt x="67922" y="94834"/>
                      <a:pt x="42291" y="57670"/>
                      <a:pt x="16660" y="20505"/>
                    </a:cubicBezTo>
                    <a:cubicBezTo>
                      <a:pt x="19223" y="15379"/>
                      <a:pt x="6408" y="1282"/>
                      <a:pt x="1281" y="0"/>
                    </a:cubicBezTo>
                    <a:cubicBezTo>
                      <a:pt x="1281" y="0"/>
                      <a:pt x="0" y="0"/>
                      <a:pt x="0" y="1282"/>
                    </a:cubicBezTo>
                    <a:cubicBezTo>
                      <a:pt x="0" y="8971"/>
                      <a:pt x="8971" y="17942"/>
                      <a:pt x="15378" y="20505"/>
                    </a:cubicBezTo>
                    <a:cubicBezTo>
                      <a:pt x="41010" y="56388"/>
                      <a:pt x="65359" y="92271"/>
                      <a:pt x="88427" y="130718"/>
                    </a:cubicBezTo>
                    <a:cubicBezTo>
                      <a:pt x="88427" y="157630"/>
                      <a:pt x="90990" y="192232"/>
                      <a:pt x="89709" y="219144"/>
                    </a:cubicBezTo>
                    <a:cubicBezTo>
                      <a:pt x="82019" y="214018"/>
                      <a:pt x="82019" y="221707"/>
                      <a:pt x="82019" y="222989"/>
                    </a:cubicBezTo>
                    <a:cubicBezTo>
                      <a:pt x="80737" y="224270"/>
                      <a:pt x="82019" y="228115"/>
                      <a:pt x="84582" y="23196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3" name="Freeform: Shape 380071">
                <a:extLst>
                  <a:ext uri="{FF2B5EF4-FFF2-40B4-BE49-F238E27FC236}">
                    <a16:creationId xmlns:a16="http://schemas.microsoft.com/office/drawing/2014/main" id="{AD07517E-9C6B-437C-AC7D-BC4BF62A9E1F}"/>
                  </a:ext>
                </a:extLst>
              </p:cNvPr>
              <p:cNvSpPr/>
              <p:nvPr/>
            </p:nvSpPr>
            <p:spPr>
              <a:xfrm>
                <a:off x="7172502" y="2464277"/>
                <a:ext cx="163955" cy="260153"/>
              </a:xfrm>
              <a:custGeom>
                <a:avLst/>
                <a:gdLst>
                  <a:gd name="connsiteX0" fmla="*/ 151223 w 163955"/>
                  <a:gd name="connsiteY0" fmla="*/ 251183 h 260153"/>
                  <a:gd name="connsiteX1" fmla="*/ 162756 w 163955"/>
                  <a:gd name="connsiteY1" fmla="*/ 260154 h 260153"/>
                  <a:gd name="connsiteX2" fmla="*/ 157631 w 163955"/>
                  <a:gd name="connsiteY2" fmla="*/ 243494 h 260153"/>
                  <a:gd name="connsiteX3" fmla="*/ 156349 w 163955"/>
                  <a:gd name="connsiteY3" fmla="*/ 217863 h 260153"/>
                  <a:gd name="connsiteX4" fmla="*/ 17942 w 163955"/>
                  <a:gd name="connsiteY4" fmla="*/ 19223 h 260153"/>
                  <a:gd name="connsiteX5" fmla="*/ 1281 w 163955"/>
                  <a:gd name="connsiteY5" fmla="*/ 0 h 260153"/>
                  <a:gd name="connsiteX6" fmla="*/ 0 w 163955"/>
                  <a:gd name="connsiteY6" fmla="*/ 1282 h 260153"/>
                  <a:gd name="connsiteX7" fmla="*/ 15378 w 163955"/>
                  <a:gd name="connsiteY7" fmla="*/ 19223 h 260153"/>
                  <a:gd name="connsiteX8" fmla="*/ 152504 w 163955"/>
                  <a:gd name="connsiteY8" fmla="*/ 215300 h 260153"/>
                  <a:gd name="connsiteX9" fmla="*/ 153786 w 163955"/>
                  <a:gd name="connsiteY9" fmla="*/ 238367 h 260153"/>
                  <a:gd name="connsiteX10" fmla="*/ 147378 w 163955"/>
                  <a:gd name="connsiteY10" fmla="*/ 237086 h 260153"/>
                  <a:gd name="connsiteX11" fmla="*/ 151223 w 163955"/>
                  <a:gd name="connsiteY11" fmla="*/ 251183 h 260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3955" h="260153">
                    <a:moveTo>
                      <a:pt x="151223" y="251183"/>
                    </a:moveTo>
                    <a:cubicBezTo>
                      <a:pt x="157631" y="260154"/>
                      <a:pt x="161475" y="260154"/>
                      <a:pt x="162756" y="260154"/>
                    </a:cubicBezTo>
                    <a:cubicBezTo>
                      <a:pt x="166601" y="255028"/>
                      <a:pt x="160194" y="247338"/>
                      <a:pt x="157631" y="243494"/>
                    </a:cubicBezTo>
                    <a:lnTo>
                      <a:pt x="156349" y="217863"/>
                    </a:lnTo>
                    <a:cubicBezTo>
                      <a:pt x="114058" y="148659"/>
                      <a:pt x="67922" y="82019"/>
                      <a:pt x="17942" y="19223"/>
                    </a:cubicBezTo>
                    <a:cubicBezTo>
                      <a:pt x="19223" y="11534"/>
                      <a:pt x="6408" y="1282"/>
                      <a:pt x="1281" y="0"/>
                    </a:cubicBezTo>
                    <a:cubicBezTo>
                      <a:pt x="1281" y="0"/>
                      <a:pt x="0" y="0"/>
                      <a:pt x="0" y="1282"/>
                    </a:cubicBezTo>
                    <a:cubicBezTo>
                      <a:pt x="0" y="8971"/>
                      <a:pt x="10252" y="17942"/>
                      <a:pt x="15378" y="19223"/>
                    </a:cubicBezTo>
                    <a:cubicBezTo>
                      <a:pt x="64078" y="80737"/>
                      <a:pt x="110213" y="146096"/>
                      <a:pt x="152504" y="215300"/>
                    </a:cubicBezTo>
                    <a:cubicBezTo>
                      <a:pt x="152504" y="222989"/>
                      <a:pt x="152504" y="231960"/>
                      <a:pt x="153786" y="238367"/>
                    </a:cubicBezTo>
                    <a:cubicBezTo>
                      <a:pt x="149941" y="235804"/>
                      <a:pt x="149941" y="235804"/>
                      <a:pt x="147378" y="237086"/>
                    </a:cubicBezTo>
                    <a:cubicBezTo>
                      <a:pt x="146097" y="240931"/>
                      <a:pt x="146097" y="244775"/>
                      <a:pt x="151223" y="25118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4" name="Freeform: Shape 380072">
                <a:extLst>
                  <a:ext uri="{FF2B5EF4-FFF2-40B4-BE49-F238E27FC236}">
                    <a16:creationId xmlns:a16="http://schemas.microsoft.com/office/drawing/2014/main" id="{074E3CA5-165B-41C7-B7EF-CAF08D4F4764}"/>
                  </a:ext>
                </a:extLst>
              </p:cNvPr>
              <p:cNvSpPr/>
              <p:nvPr/>
            </p:nvSpPr>
            <p:spPr>
              <a:xfrm>
                <a:off x="7054599" y="2332278"/>
                <a:ext cx="241041" cy="207610"/>
              </a:xfrm>
              <a:custGeom>
                <a:avLst/>
                <a:gdLst>
                  <a:gd name="connsiteX0" fmla="*/ 6408 w 241041"/>
                  <a:gd name="connsiteY0" fmla="*/ 12815 h 207610"/>
                  <a:gd name="connsiteX1" fmla="*/ 19223 w 241041"/>
                  <a:gd name="connsiteY1" fmla="*/ 19223 h 207610"/>
                  <a:gd name="connsiteX2" fmla="*/ 20505 w 241041"/>
                  <a:gd name="connsiteY2" fmla="*/ 17942 h 207610"/>
                  <a:gd name="connsiteX3" fmla="*/ 20505 w 241041"/>
                  <a:gd name="connsiteY3" fmla="*/ 16660 h 207610"/>
                  <a:gd name="connsiteX4" fmla="*/ 164038 w 241041"/>
                  <a:gd name="connsiteY4" fmla="*/ 115339 h 207610"/>
                  <a:gd name="connsiteX5" fmla="*/ 224271 w 241041"/>
                  <a:gd name="connsiteY5" fmla="*/ 188387 h 207610"/>
                  <a:gd name="connsiteX6" fmla="*/ 240932 w 241041"/>
                  <a:gd name="connsiteY6" fmla="*/ 207610 h 207610"/>
                  <a:gd name="connsiteX7" fmla="*/ 225553 w 241041"/>
                  <a:gd name="connsiteY7" fmla="*/ 188387 h 207610"/>
                  <a:gd name="connsiteX8" fmla="*/ 164038 w 241041"/>
                  <a:gd name="connsiteY8" fmla="*/ 112776 h 207610"/>
                  <a:gd name="connsiteX9" fmla="*/ 1282 w 241041"/>
                  <a:gd name="connsiteY9" fmla="*/ 0 h 207610"/>
                  <a:gd name="connsiteX10" fmla="*/ 0 w 241041"/>
                  <a:gd name="connsiteY10" fmla="*/ 1282 h 207610"/>
                  <a:gd name="connsiteX11" fmla="*/ 6408 w 241041"/>
                  <a:gd name="connsiteY11" fmla="*/ 12815 h 207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1041" h="207610">
                    <a:moveTo>
                      <a:pt x="6408" y="12815"/>
                    </a:moveTo>
                    <a:cubicBezTo>
                      <a:pt x="11534" y="16660"/>
                      <a:pt x="15378" y="19223"/>
                      <a:pt x="19223" y="19223"/>
                    </a:cubicBezTo>
                    <a:cubicBezTo>
                      <a:pt x="19223" y="19223"/>
                      <a:pt x="20505" y="19223"/>
                      <a:pt x="20505" y="17942"/>
                    </a:cubicBezTo>
                    <a:cubicBezTo>
                      <a:pt x="20505" y="17942"/>
                      <a:pt x="20505" y="17942"/>
                      <a:pt x="20505" y="16660"/>
                    </a:cubicBezTo>
                    <a:cubicBezTo>
                      <a:pt x="64078" y="46136"/>
                      <a:pt x="121747" y="84582"/>
                      <a:pt x="164038" y="115339"/>
                    </a:cubicBezTo>
                    <a:cubicBezTo>
                      <a:pt x="184543" y="139688"/>
                      <a:pt x="205048" y="164038"/>
                      <a:pt x="224271" y="188387"/>
                    </a:cubicBezTo>
                    <a:cubicBezTo>
                      <a:pt x="222990" y="192232"/>
                      <a:pt x="234524" y="207610"/>
                      <a:pt x="240932" y="207610"/>
                    </a:cubicBezTo>
                    <a:cubicBezTo>
                      <a:pt x="242213" y="202484"/>
                      <a:pt x="231961" y="190950"/>
                      <a:pt x="225553" y="188387"/>
                    </a:cubicBezTo>
                    <a:cubicBezTo>
                      <a:pt x="205048" y="162756"/>
                      <a:pt x="184543" y="137125"/>
                      <a:pt x="164038" y="112776"/>
                    </a:cubicBezTo>
                    <a:cubicBezTo>
                      <a:pt x="71767" y="47417"/>
                      <a:pt x="6408" y="1282"/>
                      <a:pt x="1282" y="0"/>
                    </a:cubicBezTo>
                    <a:cubicBezTo>
                      <a:pt x="1282" y="0"/>
                      <a:pt x="0" y="0"/>
                      <a:pt x="0" y="1282"/>
                    </a:cubicBezTo>
                    <a:cubicBezTo>
                      <a:pt x="0" y="5126"/>
                      <a:pt x="0" y="7689"/>
                      <a:pt x="6408" y="128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5" name="Freeform: Shape 380073">
                <a:extLst>
                  <a:ext uri="{FF2B5EF4-FFF2-40B4-BE49-F238E27FC236}">
                    <a16:creationId xmlns:a16="http://schemas.microsoft.com/office/drawing/2014/main" id="{9430A2C1-86A3-4573-8BB9-8F470E138B47}"/>
                  </a:ext>
                </a:extLst>
              </p:cNvPr>
              <p:cNvSpPr/>
              <p:nvPr/>
            </p:nvSpPr>
            <p:spPr>
              <a:xfrm>
                <a:off x="6783745" y="2156706"/>
                <a:ext cx="281561" cy="221707"/>
              </a:xfrm>
              <a:custGeom>
                <a:avLst/>
                <a:gdLst>
                  <a:gd name="connsiteX0" fmla="*/ 6854 w 281561"/>
                  <a:gd name="connsiteY0" fmla="*/ 10252 h 221707"/>
                  <a:gd name="connsiteX1" fmla="*/ 18388 w 281561"/>
                  <a:gd name="connsiteY1" fmla="*/ 15379 h 221707"/>
                  <a:gd name="connsiteX2" fmla="*/ 188835 w 281561"/>
                  <a:gd name="connsiteY2" fmla="*/ 165319 h 221707"/>
                  <a:gd name="connsiteX3" fmla="*/ 264446 w 281561"/>
                  <a:gd name="connsiteY3" fmla="*/ 210174 h 221707"/>
                  <a:gd name="connsiteX4" fmla="*/ 281106 w 281561"/>
                  <a:gd name="connsiteY4" fmla="*/ 221707 h 221707"/>
                  <a:gd name="connsiteX5" fmla="*/ 263164 w 281561"/>
                  <a:gd name="connsiteY5" fmla="*/ 203766 h 221707"/>
                  <a:gd name="connsiteX6" fmla="*/ 261883 w 281561"/>
                  <a:gd name="connsiteY6" fmla="*/ 205047 h 221707"/>
                  <a:gd name="connsiteX7" fmla="*/ 190116 w 281561"/>
                  <a:gd name="connsiteY7" fmla="*/ 162756 h 221707"/>
                  <a:gd name="connsiteX8" fmla="*/ 20951 w 281561"/>
                  <a:gd name="connsiteY8" fmla="*/ 14097 h 221707"/>
                  <a:gd name="connsiteX9" fmla="*/ 1728 w 281561"/>
                  <a:gd name="connsiteY9" fmla="*/ 0 h 221707"/>
                  <a:gd name="connsiteX10" fmla="*/ 446 w 281561"/>
                  <a:gd name="connsiteY10" fmla="*/ 1282 h 221707"/>
                  <a:gd name="connsiteX11" fmla="*/ 6854 w 281561"/>
                  <a:gd name="connsiteY11" fmla="*/ 10252 h 22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1561" h="221707">
                    <a:moveTo>
                      <a:pt x="6854" y="10252"/>
                    </a:moveTo>
                    <a:cubicBezTo>
                      <a:pt x="9417" y="11534"/>
                      <a:pt x="13262" y="14097"/>
                      <a:pt x="18388" y="15379"/>
                    </a:cubicBezTo>
                    <a:cubicBezTo>
                      <a:pt x="77340" y="61514"/>
                      <a:pt x="135009" y="111495"/>
                      <a:pt x="188835" y="165319"/>
                    </a:cubicBezTo>
                    <a:cubicBezTo>
                      <a:pt x="211902" y="178135"/>
                      <a:pt x="250349" y="187106"/>
                      <a:pt x="264446" y="210174"/>
                    </a:cubicBezTo>
                    <a:cubicBezTo>
                      <a:pt x="264446" y="210174"/>
                      <a:pt x="273417" y="221707"/>
                      <a:pt x="281106" y="221707"/>
                    </a:cubicBezTo>
                    <a:cubicBezTo>
                      <a:pt x="284951" y="214018"/>
                      <a:pt x="263164" y="203766"/>
                      <a:pt x="263164" y="203766"/>
                    </a:cubicBezTo>
                    <a:cubicBezTo>
                      <a:pt x="263164" y="203766"/>
                      <a:pt x="261883" y="205047"/>
                      <a:pt x="261883" y="205047"/>
                    </a:cubicBezTo>
                    <a:lnTo>
                      <a:pt x="190116" y="162756"/>
                    </a:lnTo>
                    <a:cubicBezTo>
                      <a:pt x="136291" y="108931"/>
                      <a:pt x="79903" y="58951"/>
                      <a:pt x="20951" y="14097"/>
                    </a:cubicBezTo>
                    <a:cubicBezTo>
                      <a:pt x="20951" y="8971"/>
                      <a:pt x="6854" y="1282"/>
                      <a:pt x="1728" y="0"/>
                    </a:cubicBezTo>
                    <a:cubicBezTo>
                      <a:pt x="1728" y="0"/>
                      <a:pt x="446" y="0"/>
                      <a:pt x="446" y="1282"/>
                    </a:cubicBezTo>
                    <a:cubicBezTo>
                      <a:pt x="-835" y="3845"/>
                      <a:pt x="446" y="6408"/>
                      <a:pt x="6854" y="102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6" name="Freeform: Shape 380074">
                <a:extLst>
                  <a:ext uri="{FF2B5EF4-FFF2-40B4-BE49-F238E27FC236}">
                    <a16:creationId xmlns:a16="http://schemas.microsoft.com/office/drawing/2014/main" id="{FC45FBC3-38C4-4D3F-AC3D-4C53E3064204}"/>
                  </a:ext>
                </a:extLst>
              </p:cNvPr>
              <p:cNvSpPr/>
              <p:nvPr/>
            </p:nvSpPr>
            <p:spPr>
              <a:xfrm>
                <a:off x="7168657" y="2346375"/>
                <a:ext cx="193514" cy="230678"/>
              </a:xfrm>
              <a:custGeom>
                <a:avLst/>
                <a:gdLst>
                  <a:gd name="connsiteX0" fmla="*/ 184544 w 193514"/>
                  <a:gd name="connsiteY0" fmla="*/ 221707 h 230678"/>
                  <a:gd name="connsiteX1" fmla="*/ 193514 w 193514"/>
                  <a:gd name="connsiteY1" fmla="*/ 230678 h 230678"/>
                  <a:gd name="connsiteX2" fmla="*/ 193514 w 193514"/>
                  <a:gd name="connsiteY2" fmla="*/ 229397 h 230678"/>
                  <a:gd name="connsiteX3" fmla="*/ 184544 w 193514"/>
                  <a:gd name="connsiteY3" fmla="*/ 216581 h 230678"/>
                  <a:gd name="connsiteX4" fmla="*/ 160194 w 193514"/>
                  <a:gd name="connsiteY4" fmla="*/ 169164 h 230678"/>
                  <a:gd name="connsiteX5" fmla="*/ 19223 w 193514"/>
                  <a:gd name="connsiteY5" fmla="*/ 16660 h 230678"/>
                  <a:gd name="connsiteX6" fmla="*/ 0 w 193514"/>
                  <a:gd name="connsiteY6" fmla="*/ 0 h 230678"/>
                  <a:gd name="connsiteX7" fmla="*/ 17942 w 193514"/>
                  <a:gd name="connsiteY7" fmla="*/ 16660 h 230678"/>
                  <a:gd name="connsiteX8" fmla="*/ 157631 w 193514"/>
                  <a:gd name="connsiteY8" fmla="*/ 167882 h 230678"/>
                  <a:gd name="connsiteX9" fmla="*/ 180699 w 193514"/>
                  <a:gd name="connsiteY9" fmla="*/ 215300 h 230678"/>
                  <a:gd name="connsiteX10" fmla="*/ 178135 w 193514"/>
                  <a:gd name="connsiteY10" fmla="*/ 214018 h 230678"/>
                  <a:gd name="connsiteX11" fmla="*/ 176854 w 193514"/>
                  <a:gd name="connsiteY11" fmla="*/ 214018 h 230678"/>
                  <a:gd name="connsiteX12" fmla="*/ 184544 w 193514"/>
                  <a:gd name="connsiteY12" fmla="*/ 221707 h 23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514" h="230678">
                    <a:moveTo>
                      <a:pt x="184544" y="221707"/>
                    </a:moveTo>
                    <a:cubicBezTo>
                      <a:pt x="189669" y="228115"/>
                      <a:pt x="192233" y="229397"/>
                      <a:pt x="193514" y="230678"/>
                    </a:cubicBezTo>
                    <a:cubicBezTo>
                      <a:pt x="193514" y="230678"/>
                      <a:pt x="193514" y="229397"/>
                      <a:pt x="193514" y="229397"/>
                    </a:cubicBezTo>
                    <a:cubicBezTo>
                      <a:pt x="192233" y="226834"/>
                      <a:pt x="190951" y="222989"/>
                      <a:pt x="184544" y="216581"/>
                    </a:cubicBezTo>
                    <a:lnTo>
                      <a:pt x="160194" y="169164"/>
                    </a:lnTo>
                    <a:cubicBezTo>
                      <a:pt x="116621" y="115339"/>
                      <a:pt x="69204" y="64077"/>
                      <a:pt x="19223" y="16660"/>
                    </a:cubicBezTo>
                    <a:cubicBezTo>
                      <a:pt x="16660" y="11534"/>
                      <a:pt x="5126" y="2563"/>
                      <a:pt x="0" y="0"/>
                    </a:cubicBezTo>
                    <a:cubicBezTo>
                      <a:pt x="2563" y="6408"/>
                      <a:pt x="17942" y="16660"/>
                      <a:pt x="17942" y="16660"/>
                    </a:cubicBezTo>
                    <a:cubicBezTo>
                      <a:pt x="66641" y="64077"/>
                      <a:pt x="114058" y="114058"/>
                      <a:pt x="157631" y="167882"/>
                    </a:cubicBezTo>
                    <a:cubicBezTo>
                      <a:pt x="165320" y="181979"/>
                      <a:pt x="174291" y="201203"/>
                      <a:pt x="180699" y="215300"/>
                    </a:cubicBezTo>
                    <a:cubicBezTo>
                      <a:pt x="179417" y="215300"/>
                      <a:pt x="179417" y="214018"/>
                      <a:pt x="178135" y="214018"/>
                    </a:cubicBezTo>
                    <a:cubicBezTo>
                      <a:pt x="178135" y="214018"/>
                      <a:pt x="176854" y="214018"/>
                      <a:pt x="176854" y="214018"/>
                    </a:cubicBezTo>
                    <a:cubicBezTo>
                      <a:pt x="179417" y="211455"/>
                      <a:pt x="179417" y="215300"/>
                      <a:pt x="184544" y="22170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927" name="Graphic 379285">
                <a:extLst>
                  <a:ext uri="{FF2B5EF4-FFF2-40B4-BE49-F238E27FC236}">
                    <a16:creationId xmlns:a16="http://schemas.microsoft.com/office/drawing/2014/main" id="{D973D960-FBCD-4D6F-9AA8-88935B4C1FE3}"/>
                  </a:ext>
                </a:extLst>
              </p:cNvPr>
              <p:cNvGrpSpPr/>
              <p:nvPr/>
            </p:nvGrpSpPr>
            <p:grpSpPr>
              <a:xfrm>
                <a:off x="6793064" y="2248977"/>
                <a:ext cx="178746" cy="251182"/>
                <a:chOff x="6793064" y="2248977"/>
                <a:chExt cx="178746" cy="251182"/>
              </a:xfrm>
              <a:grpFill/>
            </p:grpSpPr>
            <p:sp>
              <p:nvSpPr>
                <p:cNvPr id="967" name="Freeform: Shape 380076">
                  <a:extLst>
                    <a:ext uri="{FF2B5EF4-FFF2-40B4-BE49-F238E27FC236}">
                      <a16:creationId xmlns:a16="http://schemas.microsoft.com/office/drawing/2014/main" id="{4009D748-23F4-4C20-88E2-D7E967D74330}"/>
                    </a:ext>
                  </a:extLst>
                </p:cNvPr>
                <p:cNvSpPr/>
                <p:nvPr/>
              </p:nvSpPr>
              <p:spPr>
                <a:xfrm>
                  <a:off x="6880308" y="2361753"/>
                  <a:ext cx="17941" cy="43572"/>
                </a:xfrm>
                <a:custGeom>
                  <a:avLst/>
                  <a:gdLst>
                    <a:gd name="connsiteX0" fmla="*/ 16660 w 17941"/>
                    <a:gd name="connsiteY0" fmla="*/ 43573 h 43572"/>
                    <a:gd name="connsiteX1" fmla="*/ 0 w 17941"/>
                    <a:gd name="connsiteY1" fmla="*/ 23068 h 43572"/>
                    <a:gd name="connsiteX2" fmla="*/ 0 w 17941"/>
                    <a:gd name="connsiteY2" fmla="*/ 0 h 43572"/>
                    <a:gd name="connsiteX3" fmla="*/ 17942 w 17941"/>
                    <a:gd name="connsiteY3" fmla="*/ 20505 h 43572"/>
                    <a:gd name="connsiteX4" fmla="*/ 16660 w 17941"/>
                    <a:gd name="connsiteY4" fmla="*/ 43573 h 435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41" h="43572">
                      <a:moveTo>
                        <a:pt x="16660" y="43573"/>
                      </a:moveTo>
                      <a:cubicBezTo>
                        <a:pt x="11534" y="37165"/>
                        <a:pt x="5126" y="29476"/>
                        <a:pt x="0" y="23068"/>
                      </a:cubicBezTo>
                      <a:lnTo>
                        <a:pt x="0" y="0"/>
                      </a:lnTo>
                      <a:cubicBezTo>
                        <a:pt x="6408" y="6408"/>
                        <a:pt x="11534" y="12815"/>
                        <a:pt x="17942" y="20505"/>
                      </a:cubicBezTo>
                      <a:lnTo>
                        <a:pt x="16660" y="43573"/>
                      </a:ln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8" name="Freeform: Shape 380077">
                  <a:extLst>
                    <a:ext uri="{FF2B5EF4-FFF2-40B4-BE49-F238E27FC236}">
                      <a16:creationId xmlns:a16="http://schemas.microsoft.com/office/drawing/2014/main" id="{34DDF915-467F-40EE-A549-ADB4844367DC}"/>
                    </a:ext>
                  </a:extLst>
                </p:cNvPr>
                <p:cNvSpPr/>
                <p:nvPr/>
              </p:nvSpPr>
              <p:spPr>
                <a:xfrm>
                  <a:off x="6793064" y="2248977"/>
                  <a:ext cx="178746" cy="251182"/>
                </a:xfrm>
                <a:custGeom>
                  <a:avLst/>
                  <a:gdLst>
                    <a:gd name="connsiteX0" fmla="*/ 73147 w 178746"/>
                    <a:gd name="connsiteY0" fmla="*/ 194795 h 251182"/>
                    <a:gd name="connsiteX1" fmla="*/ 89807 w 178746"/>
                    <a:gd name="connsiteY1" fmla="*/ 196076 h 251182"/>
                    <a:gd name="connsiteX2" fmla="*/ 82118 w 178746"/>
                    <a:gd name="connsiteY2" fmla="*/ 185824 h 251182"/>
                    <a:gd name="connsiteX3" fmla="*/ 85963 w 178746"/>
                    <a:gd name="connsiteY3" fmla="*/ 138407 h 251182"/>
                    <a:gd name="connsiteX4" fmla="*/ 102623 w 178746"/>
                    <a:gd name="connsiteY4" fmla="*/ 158912 h 251182"/>
                    <a:gd name="connsiteX5" fmla="*/ 97497 w 178746"/>
                    <a:gd name="connsiteY5" fmla="*/ 210173 h 251182"/>
                    <a:gd name="connsiteX6" fmla="*/ 89807 w 178746"/>
                    <a:gd name="connsiteY6" fmla="*/ 217863 h 251182"/>
                    <a:gd name="connsiteX7" fmla="*/ 109031 w 178746"/>
                    <a:gd name="connsiteY7" fmla="*/ 226834 h 251182"/>
                    <a:gd name="connsiteX8" fmla="*/ 102623 w 178746"/>
                    <a:gd name="connsiteY8" fmla="*/ 214018 h 251182"/>
                    <a:gd name="connsiteX9" fmla="*/ 107749 w 178746"/>
                    <a:gd name="connsiteY9" fmla="*/ 165319 h 251182"/>
                    <a:gd name="connsiteX10" fmla="*/ 159011 w 178746"/>
                    <a:gd name="connsiteY10" fmla="*/ 231960 h 251182"/>
                    <a:gd name="connsiteX11" fmla="*/ 174389 w 178746"/>
                    <a:gd name="connsiteY11" fmla="*/ 251183 h 251182"/>
                    <a:gd name="connsiteX12" fmla="*/ 170545 w 178746"/>
                    <a:gd name="connsiteY12" fmla="*/ 235804 h 251182"/>
                    <a:gd name="connsiteX13" fmla="*/ 161574 w 178746"/>
                    <a:gd name="connsiteY13" fmla="*/ 231960 h 251182"/>
                    <a:gd name="connsiteX14" fmla="*/ 106467 w 178746"/>
                    <a:gd name="connsiteY14" fmla="*/ 161475 h 251182"/>
                    <a:gd name="connsiteX15" fmla="*/ 107749 w 178746"/>
                    <a:gd name="connsiteY15" fmla="*/ 137125 h 251182"/>
                    <a:gd name="connsiteX16" fmla="*/ 160292 w 178746"/>
                    <a:gd name="connsiteY16" fmla="*/ 202484 h 251182"/>
                    <a:gd name="connsiteX17" fmla="*/ 175671 w 178746"/>
                    <a:gd name="connsiteY17" fmla="*/ 220426 h 251182"/>
                    <a:gd name="connsiteX18" fmla="*/ 171826 w 178746"/>
                    <a:gd name="connsiteY18" fmla="*/ 205047 h 251182"/>
                    <a:gd name="connsiteX19" fmla="*/ 162855 w 178746"/>
                    <a:gd name="connsiteY19" fmla="*/ 201203 h 251182"/>
                    <a:gd name="connsiteX20" fmla="*/ 106467 w 178746"/>
                    <a:gd name="connsiteY20" fmla="*/ 131999 h 251182"/>
                    <a:gd name="connsiteX21" fmla="*/ 106467 w 178746"/>
                    <a:gd name="connsiteY21" fmla="*/ 111494 h 251182"/>
                    <a:gd name="connsiteX22" fmla="*/ 114157 w 178746"/>
                    <a:gd name="connsiteY22" fmla="*/ 110213 h 251182"/>
                    <a:gd name="connsiteX23" fmla="*/ 93652 w 178746"/>
                    <a:gd name="connsiteY23" fmla="*/ 96116 h 251182"/>
                    <a:gd name="connsiteX24" fmla="*/ 101341 w 178746"/>
                    <a:gd name="connsiteY24" fmla="*/ 108931 h 251182"/>
                    <a:gd name="connsiteX25" fmla="*/ 101341 w 178746"/>
                    <a:gd name="connsiteY25" fmla="*/ 126873 h 251182"/>
                    <a:gd name="connsiteX26" fmla="*/ 83399 w 178746"/>
                    <a:gd name="connsiteY26" fmla="*/ 106368 h 251182"/>
                    <a:gd name="connsiteX27" fmla="*/ 82118 w 178746"/>
                    <a:gd name="connsiteY27" fmla="*/ 79456 h 251182"/>
                    <a:gd name="connsiteX28" fmla="*/ 19322 w 178746"/>
                    <a:gd name="connsiteY28" fmla="*/ 15379 h 251182"/>
                    <a:gd name="connsiteX29" fmla="*/ 20603 w 178746"/>
                    <a:gd name="connsiteY29" fmla="*/ 14097 h 251182"/>
                    <a:gd name="connsiteX30" fmla="*/ 1380 w 178746"/>
                    <a:gd name="connsiteY30" fmla="*/ 0 h 251182"/>
                    <a:gd name="connsiteX31" fmla="*/ 98 w 178746"/>
                    <a:gd name="connsiteY31" fmla="*/ 1282 h 251182"/>
                    <a:gd name="connsiteX32" fmla="*/ 16759 w 178746"/>
                    <a:gd name="connsiteY32" fmla="*/ 16660 h 251182"/>
                    <a:gd name="connsiteX33" fmla="*/ 78273 w 178746"/>
                    <a:gd name="connsiteY33" fmla="*/ 79456 h 251182"/>
                    <a:gd name="connsiteX34" fmla="*/ 79555 w 178746"/>
                    <a:gd name="connsiteY34" fmla="*/ 102524 h 251182"/>
                    <a:gd name="connsiteX35" fmla="*/ 23166 w 178746"/>
                    <a:gd name="connsiteY35" fmla="*/ 42291 h 251182"/>
                    <a:gd name="connsiteX36" fmla="*/ 5225 w 178746"/>
                    <a:gd name="connsiteY36" fmla="*/ 26912 h 251182"/>
                    <a:gd name="connsiteX37" fmla="*/ 2662 w 178746"/>
                    <a:gd name="connsiteY37" fmla="*/ 28194 h 251182"/>
                    <a:gd name="connsiteX38" fmla="*/ 19322 w 178746"/>
                    <a:gd name="connsiteY38" fmla="*/ 43573 h 251182"/>
                    <a:gd name="connsiteX39" fmla="*/ 79555 w 178746"/>
                    <a:gd name="connsiteY39" fmla="*/ 107650 h 251182"/>
                    <a:gd name="connsiteX40" fmla="*/ 79555 w 178746"/>
                    <a:gd name="connsiteY40" fmla="*/ 130718 h 251182"/>
                    <a:gd name="connsiteX41" fmla="*/ 27011 w 178746"/>
                    <a:gd name="connsiteY41" fmla="*/ 67922 h 251182"/>
                    <a:gd name="connsiteX42" fmla="*/ 10351 w 178746"/>
                    <a:gd name="connsiteY42" fmla="*/ 51262 h 251182"/>
                    <a:gd name="connsiteX43" fmla="*/ 7788 w 178746"/>
                    <a:gd name="connsiteY43" fmla="*/ 52543 h 251182"/>
                    <a:gd name="connsiteX44" fmla="*/ 24448 w 178746"/>
                    <a:gd name="connsiteY44" fmla="*/ 67922 h 251182"/>
                    <a:gd name="connsiteX45" fmla="*/ 82118 w 178746"/>
                    <a:gd name="connsiteY45" fmla="*/ 133281 h 251182"/>
                    <a:gd name="connsiteX46" fmla="*/ 78273 w 178746"/>
                    <a:gd name="connsiteY46" fmla="*/ 183261 h 251182"/>
                    <a:gd name="connsiteX47" fmla="*/ 69302 w 178746"/>
                    <a:gd name="connsiteY47" fmla="*/ 188387 h 251182"/>
                    <a:gd name="connsiteX48" fmla="*/ 73147 w 178746"/>
                    <a:gd name="connsiteY48" fmla="*/ 194795 h 25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78746" h="251182">
                      <a:moveTo>
                        <a:pt x="73147" y="194795"/>
                      </a:moveTo>
                      <a:cubicBezTo>
                        <a:pt x="79555" y="202484"/>
                        <a:pt x="91089" y="203766"/>
                        <a:pt x="89807" y="196076"/>
                      </a:cubicBezTo>
                      <a:cubicBezTo>
                        <a:pt x="89807" y="194795"/>
                        <a:pt x="88526" y="190950"/>
                        <a:pt x="82118" y="185824"/>
                      </a:cubicBezTo>
                      <a:lnTo>
                        <a:pt x="85963" y="138407"/>
                      </a:lnTo>
                      <a:cubicBezTo>
                        <a:pt x="91089" y="144815"/>
                        <a:pt x="97497" y="152504"/>
                        <a:pt x="102623" y="158912"/>
                      </a:cubicBezTo>
                      <a:cubicBezTo>
                        <a:pt x="101341" y="174290"/>
                        <a:pt x="98778" y="194795"/>
                        <a:pt x="97497" y="210173"/>
                      </a:cubicBezTo>
                      <a:cubicBezTo>
                        <a:pt x="88526" y="206329"/>
                        <a:pt x="87244" y="212737"/>
                        <a:pt x="89807" y="217863"/>
                      </a:cubicBezTo>
                      <a:cubicBezTo>
                        <a:pt x="94933" y="226834"/>
                        <a:pt x="106467" y="231960"/>
                        <a:pt x="109031" y="226834"/>
                      </a:cubicBezTo>
                      <a:cubicBezTo>
                        <a:pt x="109031" y="226834"/>
                        <a:pt x="111594" y="221707"/>
                        <a:pt x="102623" y="214018"/>
                      </a:cubicBezTo>
                      <a:lnTo>
                        <a:pt x="107749" y="165319"/>
                      </a:lnTo>
                      <a:cubicBezTo>
                        <a:pt x="125690" y="187106"/>
                        <a:pt x="142351" y="208892"/>
                        <a:pt x="159011" y="231960"/>
                      </a:cubicBezTo>
                      <a:cubicBezTo>
                        <a:pt x="151321" y="239649"/>
                        <a:pt x="167982" y="251183"/>
                        <a:pt x="174389" y="251183"/>
                      </a:cubicBezTo>
                      <a:cubicBezTo>
                        <a:pt x="180797" y="249901"/>
                        <a:pt x="178234" y="242212"/>
                        <a:pt x="170545" y="235804"/>
                      </a:cubicBezTo>
                      <a:cubicBezTo>
                        <a:pt x="166700" y="233241"/>
                        <a:pt x="164137" y="231960"/>
                        <a:pt x="161574" y="231960"/>
                      </a:cubicBezTo>
                      <a:cubicBezTo>
                        <a:pt x="143632" y="207610"/>
                        <a:pt x="125690" y="184543"/>
                        <a:pt x="106467" y="161475"/>
                      </a:cubicBezTo>
                      <a:lnTo>
                        <a:pt x="107749" y="137125"/>
                      </a:lnTo>
                      <a:cubicBezTo>
                        <a:pt x="125690" y="158912"/>
                        <a:pt x="143632" y="180698"/>
                        <a:pt x="160292" y="202484"/>
                      </a:cubicBezTo>
                      <a:cubicBezTo>
                        <a:pt x="153885" y="208892"/>
                        <a:pt x="170545" y="221707"/>
                        <a:pt x="175671" y="220426"/>
                      </a:cubicBezTo>
                      <a:cubicBezTo>
                        <a:pt x="180797" y="219144"/>
                        <a:pt x="179516" y="211455"/>
                        <a:pt x="171826" y="205047"/>
                      </a:cubicBezTo>
                      <a:cubicBezTo>
                        <a:pt x="167982" y="202484"/>
                        <a:pt x="165419" y="201203"/>
                        <a:pt x="162855" y="201203"/>
                      </a:cubicBezTo>
                      <a:cubicBezTo>
                        <a:pt x="144914" y="176853"/>
                        <a:pt x="125690" y="153785"/>
                        <a:pt x="106467" y="131999"/>
                      </a:cubicBezTo>
                      <a:cubicBezTo>
                        <a:pt x="106467" y="125591"/>
                        <a:pt x="106467" y="117902"/>
                        <a:pt x="106467" y="111494"/>
                      </a:cubicBezTo>
                      <a:cubicBezTo>
                        <a:pt x="111594" y="114058"/>
                        <a:pt x="112875" y="112776"/>
                        <a:pt x="114157" y="110213"/>
                      </a:cubicBezTo>
                      <a:cubicBezTo>
                        <a:pt x="112875" y="102524"/>
                        <a:pt x="100060" y="92271"/>
                        <a:pt x="93652" y="96116"/>
                      </a:cubicBezTo>
                      <a:cubicBezTo>
                        <a:pt x="93652" y="97397"/>
                        <a:pt x="92370" y="102524"/>
                        <a:pt x="101341" y="108931"/>
                      </a:cubicBezTo>
                      <a:lnTo>
                        <a:pt x="101341" y="126873"/>
                      </a:lnTo>
                      <a:cubicBezTo>
                        <a:pt x="94933" y="120465"/>
                        <a:pt x="89807" y="114058"/>
                        <a:pt x="83399" y="106368"/>
                      </a:cubicBezTo>
                      <a:lnTo>
                        <a:pt x="82118" y="79456"/>
                      </a:lnTo>
                      <a:cubicBezTo>
                        <a:pt x="61613" y="57670"/>
                        <a:pt x="39827" y="35883"/>
                        <a:pt x="19322" y="15379"/>
                      </a:cubicBezTo>
                      <a:cubicBezTo>
                        <a:pt x="19322" y="15379"/>
                        <a:pt x="20603" y="14097"/>
                        <a:pt x="20603" y="14097"/>
                      </a:cubicBezTo>
                      <a:cubicBezTo>
                        <a:pt x="19322" y="7689"/>
                        <a:pt x="7788" y="0"/>
                        <a:pt x="1380" y="0"/>
                      </a:cubicBezTo>
                      <a:cubicBezTo>
                        <a:pt x="1380" y="0"/>
                        <a:pt x="98" y="0"/>
                        <a:pt x="98" y="1282"/>
                      </a:cubicBezTo>
                      <a:cubicBezTo>
                        <a:pt x="-1183" y="7689"/>
                        <a:pt x="10351" y="15379"/>
                        <a:pt x="16759" y="16660"/>
                      </a:cubicBezTo>
                      <a:cubicBezTo>
                        <a:pt x="37264" y="37165"/>
                        <a:pt x="57768" y="57670"/>
                        <a:pt x="78273" y="79456"/>
                      </a:cubicBezTo>
                      <a:lnTo>
                        <a:pt x="79555" y="102524"/>
                      </a:lnTo>
                      <a:cubicBezTo>
                        <a:pt x="61613" y="82019"/>
                        <a:pt x="42390" y="61514"/>
                        <a:pt x="23166" y="42291"/>
                      </a:cubicBezTo>
                      <a:cubicBezTo>
                        <a:pt x="29574" y="35883"/>
                        <a:pt x="7788" y="25631"/>
                        <a:pt x="5225" y="26912"/>
                      </a:cubicBezTo>
                      <a:cubicBezTo>
                        <a:pt x="3943" y="26912"/>
                        <a:pt x="3943" y="28194"/>
                        <a:pt x="2662" y="28194"/>
                      </a:cubicBezTo>
                      <a:cubicBezTo>
                        <a:pt x="1380" y="34602"/>
                        <a:pt x="12914" y="42291"/>
                        <a:pt x="19322" y="43573"/>
                      </a:cubicBezTo>
                      <a:cubicBezTo>
                        <a:pt x="39827" y="64077"/>
                        <a:pt x="59050" y="85864"/>
                        <a:pt x="79555" y="107650"/>
                      </a:cubicBezTo>
                      <a:lnTo>
                        <a:pt x="79555" y="130718"/>
                      </a:lnTo>
                      <a:cubicBezTo>
                        <a:pt x="64176" y="108931"/>
                        <a:pt x="46234" y="88427"/>
                        <a:pt x="27011" y="67922"/>
                      </a:cubicBezTo>
                      <a:cubicBezTo>
                        <a:pt x="33419" y="60233"/>
                        <a:pt x="12914" y="51262"/>
                        <a:pt x="10351" y="51262"/>
                      </a:cubicBezTo>
                      <a:cubicBezTo>
                        <a:pt x="9069" y="51262"/>
                        <a:pt x="9069" y="52543"/>
                        <a:pt x="7788" y="52543"/>
                      </a:cubicBezTo>
                      <a:cubicBezTo>
                        <a:pt x="5225" y="58951"/>
                        <a:pt x="16759" y="66640"/>
                        <a:pt x="24448" y="67922"/>
                      </a:cubicBezTo>
                      <a:cubicBezTo>
                        <a:pt x="43671" y="89708"/>
                        <a:pt x="64176" y="111494"/>
                        <a:pt x="82118" y="133281"/>
                      </a:cubicBezTo>
                      <a:cubicBezTo>
                        <a:pt x="80836" y="148659"/>
                        <a:pt x="79555" y="167882"/>
                        <a:pt x="78273" y="183261"/>
                      </a:cubicBezTo>
                      <a:cubicBezTo>
                        <a:pt x="69302" y="180698"/>
                        <a:pt x="68021" y="184543"/>
                        <a:pt x="69302" y="188387"/>
                      </a:cubicBezTo>
                      <a:cubicBezTo>
                        <a:pt x="70584" y="190950"/>
                        <a:pt x="71865" y="193513"/>
                        <a:pt x="73147" y="1947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928" name="Freeform: Shape 380078">
                <a:extLst>
                  <a:ext uri="{FF2B5EF4-FFF2-40B4-BE49-F238E27FC236}">
                    <a16:creationId xmlns:a16="http://schemas.microsoft.com/office/drawing/2014/main" id="{23317E1F-D38A-410A-B1A4-92484D027FA5}"/>
                  </a:ext>
                </a:extLst>
              </p:cNvPr>
              <p:cNvSpPr/>
              <p:nvPr/>
            </p:nvSpPr>
            <p:spPr>
              <a:xfrm>
                <a:off x="7313513" y="2906410"/>
                <a:ext cx="74289" cy="204391"/>
              </a:xfrm>
              <a:custGeom>
                <a:avLst/>
                <a:gdLst>
                  <a:gd name="connsiteX0" fmla="*/ 43532 w 74289"/>
                  <a:gd name="connsiteY0" fmla="*/ 194795 h 204391"/>
                  <a:gd name="connsiteX1" fmla="*/ 58910 w 74289"/>
                  <a:gd name="connsiteY1" fmla="*/ 199921 h 204391"/>
                  <a:gd name="connsiteX2" fmla="*/ 55066 w 74289"/>
                  <a:gd name="connsiteY2" fmla="*/ 184543 h 204391"/>
                  <a:gd name="connsiteX3" fmla="*/ 74289 w 74289"/>
                  <a:gd name="connsiteY3" fmla="*/ 116621 h 204391"/>
                  <a:gd name="connsiteX4" fmla="*/ 60192 w 74289"/>
                  <a:gd name="connsiteY4" fmla="*/ 78174 h 204391"/>
                  <a:gd name="connsiteX5" fmla="*/ 24308 w 74289"/>
                  <a:gd name="connsiteY5" fmla="*/ 44854 h 204391"/>
                  <a:gd name="connsiteX6" fmla="*/ 15338 w 74289"/>
                  <a:gd name="connsiteY6" fmla="*/ 23068 h 204391"/>
                  <a:gd name="connsiteX7" fmla="*/ 5085 w 74289"/>
                  <a:gd name="connsiteY7" fmla="*/ 0 h 204391"/>
                  <a:gd name="connsiteX8" fmla="*/ 3804 w 74289"/>
                  <a:gd name="connsiteY8" fmla="*/ 0 h 204391"/>
                  <a:gd name="connsiteX9" fmla="*/ 8930 w 74289"/>
                  <a:gd name="connsiteY9" fmla="*/ 23068 h 204391"/>
                  <a:gd name="connsiteX10" fmla="*/ 11493 w 74289"/>
                  <a:gd name="connsiteY10" fmla="*/ 24349 h 204391"/>
                  <a:gd name="connsiteX11" fmla="*/ 21745 w 74289"/>
                  <a:gd name="connsiteY11" fmla="*/ 48699 h 204391"/>
                  <a:gd name="connsiteX12" fmla="*/ 57629 w 74289"/>
                  <a:gd name="connsiteY12" fmla="*/ 82019 h 204391"/>
                  <a:gd name="connsiteX13" fmla="*/ 69163 w 74289"/>
                  <a:gd name="connsiteY13" fmla="*/ 115339 h 204391"/>
                  <a:gd name="connsiteX14" fmla="*/ 49939 w 74289"/>
                  <a:gd name="connsiteY14" fmla="*/ 181979 h 204391"/>
                  <a:gd name="connsiteX15" fmla="*/ 40969 w 74289"/>
                  <a:gd name="connsiteY15" fmla="*/ 190950 h 204391"/>
                  <a:gd name="connsiteX16" fmla="*/ 43532 w 74289"/>
                  <a:gd name="connsiteY16" fmla="*/ 194795 h 204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289" h="204391">
                    <a:moveTo>
                      <a:pt x="43532" y="194795"/>
                    </a:moveTo>
                    <a:cubicBezTo>
                      <a:pt x="47376" y="205047"/>
                      <a:pt x="56347" y="207610"/>
                      <a:pt x="58910" y="199921"/>
                    </a:cubicBezTo>
                    <a:cubicBezTo>
                      <a:pt x="58910" y="198640"/>
                      <a:pt x="60192" y="192232"/>
                      <a:pt x="55066" y="184543"/>
                    </a:cubicBezTo>
                    <a:lnTo>
                      <a:pt x="74289" y="116621"/>
                    </a:lnTo>
                    <a:cubicBezTo>
                      <a:pt x="69163" y="103805"/>
                      <a:pt x="65318" y="90990"/>
                      <a:pt x="60192" y="78174"/>
                    </a:cubicBezTo>
                    <a:lnTo>
                      <a:pt x="24308" y="44854"/>
                    </a:lnTo>
                    <a:cubicBezTo>
                      <a:pt x="21745" y="37165"/>
                      <a:pt x="17901" y="30757"/>
                      <a:pt x="15338" y="23068"/>
                    </a:cubicBezTo>
                    <a:cubicBezTo>
                      <a:pt x="23027" y="17942"/>
                      <a:pt x="12774" y="1282"/>
                      <a:pt x="5085" y="0"/>
                    </a:cubicBezTo>
                    <a:cubicBezTo>
                      <a:pt x="5085" y="0"/>
                      <a:pt x="3804" y="0"/>
                      <a:pt x="3804" y="0"/>
                    </a:cubicBezTo>
                    <a:cubicBezTo>
                      <a:pt x="-3885" y="2563"/>
                      <a:pt x="1240" y="17942"/>
                      <a:pt x="8930" y="23068"/>
                    </a:cubicBezTo>
                    <a:cubicBezTo>
                      <a:pt x="10212" y="23068"/>
                      <a:pt x="11493" y="24349"/>
                      <a:pt x="11493" y="24349"/>
                    </a:cubicBezTo>
                    <a:cubicBezTo>
                      <a:pt x="15338" y="32039"/>
                      <a:pt x="17901" y="41010"/>
                      <a:pt x="21745" y="48699"/>
                    </a:cubicBezTo>
                    <a:lnTo>
                      <a:pt x="57629" y="82019"/>
                    </a:lnTo>
                    <a:cubicBezTo>
                      <a:pt x="61473" y="93553"/>
                      <a:pt x="65318" y="103805"/>
                      <a:pt x="69163" y="115339"/>
                    </a:cubicBezTo>
                    <a:cubicBezTo>
                      <a:pt x="64037" y="135844"/>
                      <a:pt x="56347" y="161475"/>
                      <a:pt x="49939" y="181979"/>
                    </a:cubicBezTo>
                    <a:cubicBezTo>
                      <a:pt x="42250" y="176853"/>
                      <a:pt x="39687" y="184543"/>
                      <a:pt x="40969" y="190950"/>
                    </a:cubicBezTo>
                    <a:cubicBezTo>
                      <a:pt x="42250" y="192232"/>
                      <a:pt x="43532" y="193513"/>
                      <a:pt x="43532" y="1947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29" name="Freeform: Shape 380079">
                <a:extLst>
                  <a:ext uri="{FF2B5EF4-FFF2-40B4-BE49-F238E27FC236}">
                    <a16:creationId xmlns:a16="http://schemas.microsoft.com/office/drawing/2014/main" id="{5A161E54-9F76-410A-B4F9-551E15C02843}"/>
                  </a:ext>
                </a:extLst>
              </p:cNvPr>
              <p:cNvSpPr/>
              <p:nvPr/>
            </p:nvSpPr>
            <p:spPr>
              <a:xfrm>
                <a:off x="7762015" y="3872695"/>
                <a:ext cx="7689" cy="58951"/>
              </a:xfrm>
              <a:custGeom>
                <a:avLst/>
                <a:gdLst>
                  <a:gd name="connsiteX0" fmla="*/ 1281 w 7689"/>
                  <a:gd name="connsiteY0" fmla="*/ 47417 h 58951"/>
                  <a:gd name="connsiteX1" fmla="*/ 0 w 7689"/>
                  <a:gd name="connsiteY1" fmla="*/ 58951 h 58951"/>
                  <a:gd name="connsiteX2" fmla="*/ 2563 w 7689"/>
                  <a:gd name="connsiteY2" fmla="*/ 41009 h 58951"/>
                  <a:gd name="connsiteX3" fmla="*/ 5126 w 7689"/>
                  <a:gd name="connsiteY3" fmla="*/ 23068 h 58951"/>
                  <a:gd name="connsiteX4" fmla="*/ 5126 w 7689"/>
                  <a:gd name="connsiteY4" fmla="*/ 25631 h 58951"/>
                  <a:gd name="connsiteX5" fmla="*/ 7689 w 7689"/>
                  <a:gd name="connsiteY5" fmla="*/ 0 h 58951"/>
                  <a:gd name="connsiteX6" fmla="*/ 5126 w 7689"/>
                  <a:gd name="connsiteY6" fmla="*/ 17942 h 58951"/>
                  <a:gd name="connsiteX7" fmla="*/ 2563 w 7689"/>
                  <a:gd name="connsiteY7" fmla="*/ 35883 h 58951"/>
                  <a:gd name="connsiteX8" fmla="*/ 2563 w 7689"/>
                  <a:gd name="connsiteY8" fmla="*/ 32039 h 58951"/>
                  <a:gd name="connsiteX9" fmla="*/ 1281 w 7689"/>
                  <a:gd name="connsiteY9" fmla="*/ 47417 h 58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89" h="58951">
                    <a:moveTo>
                      <a:pt x="1281" y="47417"/>
                    </a:moveTo>
                    <a:cubicBezTo>
                      <a:pt x="1281" y="49980"/>
                      <a:pt x="0" y="56388"/>
                      <a:pt x="0" y="58951"/>
                    </a:cubicBezTo>
                    <a:cubicBezTo>
                      <a:pt x="1281" y="56388"/>
                      <a:pt x="2563" y="41009"/>
                      <a:pt x="2563" y="41009"/>
                    </a:cubicBezTo>
                    <a:cubicBezTo>
                      <a:pt x="3844" y="35883"/>
                      <a:pt x="5126" y="28194"/>
                      <a:pt x="5126" y="23068"/>
                    </a:cubicBezTo>
                    <a:cubicBezTo>
                      <a:pt x="5126" y="24349"/>
                      <a:pt x="5126" y="25631"/>
                      <a:pt x="5126" y="25631"/>
                    </a:cubicBezTo>
                    <a:cubicBezTo>
                      <a:pt x="6408" y="24349"/>
                      <a:pt x="7689" y="1282"/>
                      <a:pt x="7689" y="0"/>
                    </a:cubicBezTo>
                    <a:cubicBezTo>
                      <a:pt x="6408" y="2563"/>
                      <a:pt x="5126" y="17942"/>
                      <a:pt x="5126" y="17942"/>
                    </a:cubicBezTo>
                    <a:cubicBezTo>
                      <a:pt x="3844" y="23068"/>
                      <a:pt x="2563" y="30757"/>
                      <a:pt x="2563" y="35883"/>
                    </a:cubicBezTo>
                    <a:cubicBezTo>
                      <a:pt x="2563" y="33320"/>
                      <a:pt x="2563" y="33320"/>
                      <a:pt x="2563" y="32039"/>
                    </a:cubicBezTo>
                    <a:cubicBezTo>
                      <a:pt x="2563" y="34602"/>
                      <a:pt x="1281" y="43573"/>
                      <a:pt x="1281" y="4741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0" name="Freeform: Shape 380080">
                <a:extLst>
                  <a:ext uri="{FF2B5EF4-FFF2-40B4-BE49-F238E27FC236}">
                    <a16:creationId xmlns:a16="http://schemas.microsoft.com/office/drawing/2014/main" id="{32F2504D-87B0-4F4A-994E-1FCB5B113CF5}"/>
                  </a:ext>
                </a:extLst>
              </p:cNvPr>
              <p:cNvSpPr/>
              <p:nvPr/>
            </p:nvSpPr>
            <p:spPr>
              <a:xfrm>
                <a:off x="4232545" y="3351107"/>
                <a:ext cx="57603" cy="289629"/>
              </a:xfrm>
              <a:custGeom>
                <a:avLst/>
                <a:gdLst>
                  <a:gd name="connsiteX0" fmla="*/ 80 w 57603"/>
                  <a:gd name="connsiteY0" fmla="*/ 281940 h 289629"/>
                  <a:gd name="connsiteX1" fmla="*/ 3925 w 57603"/>
                  <a:gd name="connsiteY1" fmla="*/ 289629 h 289629"/>
                  <a:gd name="connsiteX2" fmla="*/ 7770 w 57603"/>
                  <a:gd name="connsiteY2" fmla="*/ 267843 h 289629"/>
                  <a:gd name="connsiteX3" fmla="*/ 16740 w 57603"/>
                  <a:gd name="connsiteY3" fmla="*/ 239649 h 289629"/>
                  <a:gd name="connsiteX4" fmla="*/ 16740 w 57603"/>
                  <a:gd name="connsiteY4" fmla="*/ 257591 h 289629"/>
                  <a:gd name="connsiteX5" fmla="*/ 18022 w 57603"/>
                  <a:gd name="connsiteY5" fmla="*/ 283222 h 289629"/>
                  <a:gd name="connsiteX6" fmla="*/ 20585 w 57603"/>
                  <a:gd name="connsiteY6" fmla="*/ 257591 h 289629"/>
                  <a:gd name="connsiteX7" fmla="*/ 19304 w 57603"/>
                  <a:gd name="connsiteY7" fmla="*/ 257591 h 289629"/>
                  <a:gd name="connsiteX8" fmla="*/ 19304 w 57603"/>
                  <a:gd name="connsiteY8" fmla="*/ 234523 h 289629"/>
                  <a:gd name="connsiteX9" fmla="*/ 32119 w 57603"/>
                  <a:gd name="connsiteY9" fmla="*/ 197358 h 289629"/>
                  <a:gd name="connsiteX10" fmla="*/ 33400 w 57603"/>
                  <a:gd name="connsiteY10" fmla="*/ 251183 h 289629"/>
                  <a:gd name="connsiteX11" fmla="*/ 34682 w 57603"/>
                  <a:gd name="connsiteY11" fmla="*/ 276814 h 289629"/>
                  <a:gd name="connsiteX12" fmla="*/ 37245 w 57603"/>
                  <a:gd name="connsiteY12" fmla="*/ 251183 h 289629"/>
                  <a:gd name="connsiteX13" fmla="*/ 35964 w 57603"/>
                  <a:gd name="connsiteY13" fmla="*/ 251183 h 289629"/>
                  <a:gd name="connsiteX14" fmla="*/ 34682 w 57603"/>
                  <a:gd name="connsiteY14" fmla="*/ 190950 h 289629"/>
                  <a:gd name="connsiteX15" fmla="*/ 51342 w 57603"/>
                  <a:gd name="connsiteY15" fmla="*/ 147378 h 289629"/>
                  <a:gd name="connsiteX16" fmla="*/ 52624 w 57603"/>
                  <a:gd name="connsiteY16" fmla="*/ 120465 h 289629"/>
                  <a:gd name="connsiteX17" fmla="*/ 53905 w 57603"/>
                  <a:gd name="connsiteY17" fmla="*/ 96116 h 289629"/>
                  <a:gd name="connsiteX18" fmla="*/ 50061 w 57603"/>
                  <a:gd name="connsiteY18" fmla="*/ 121747 h 289629"/>
                  <a:gd name="connsiteX19" fmla="*/ 48779 w 57603"/>
                  <a:gd name="connsiteY19" fmla="*/ 146096 h 289629"/>
                  <a:gd name="connsiteX20" fmla="*/ 34682 w 57603"/>
                  <a:gd name="connsiteY20" fmla="*/ 183261 h 289629"/>
                  <a:gd name="connsiteX21" fmla="*/ 37245 w 57603"/>
                  <a:gd name="connsiteY21" fmla="*/ 90990 h 289629"/>
                  <a:gd name="connsiteX22" fmla="*/ 39808 w 57603"/>
                  <a:gd name="connsiteY22" fmla="*/ 66640 h 289629"/>
                  <a:gd name="connsiteX23" fmla="*/ 33400 w 57603"/>
                  <a:gd name="connsiteY23" fmla="*/ 90990 h 289629"/>
                  <a:gd name="connsiteX24" fmla="*/ 34682 w 57603"/>
                  <a:gd name="connsiteY24" fmla="*/ 92271 h 289629"/>
                  <a:gd name="connsiteX25" fmla="*/ 32119 w 57603"/>
                  <a:gd name="connsiteY25" fmla="*/ 189669 h 289629"/>
                  <a:gd name="connsiteX26" fmla="*/ 19304 w 57603"/>
                  <a:gd name="connsiteY26" fmla="*/ 226834 h 289629"/>
                  <a:gd name="connsiteX27" fmla="*/ 28274 w 57603"/>
                  <a:gd name="connsiteY27" fmla="*/ 24349 h 289629"/>
                  <a:gd name="connsiteX28" fmla="*/ 32119 w 57603"/>
                  <a:gd name="connsiteY28" fmla="*/ 0 h 289629"/>
                  <a:gd name="connsiteX29" fmla="*/ 30837 w 57603"/>
                  <a:gd name="connsiteY29" fmla="*/ 0 h 289629"/>
                  <a:gd name="connsiteX30" fmla="*/ 26993 w 57603"/>
                  <a:gd name="connsiteY30" fmla="*/ 25631 h 289629"/>
                  <a:gd name="connsiteX31" fmla="*/ 18022 w 57603"/>
                  <a:gd name="connsiteY31" fmla="*/ 233241 h 289629"/>
                  <a:gd name="connsiteX32" fmla="*/ 7770 w 57603"/>
                  <a:gd name="connsiteY32" fmla="*/ 266561 h 289629"/>
                  <a:gd name="connsiteX33" fmla="*/ 6488 w 57603"/>
                  <a:gd name="connsiteY33" fmla="*/ 265280 h 289629"/>
                  <a:gd name="connsiteX34" fmla="*/ 80 w 57603"/>
                  <a:gd name="connsiteY34" fmla="*/ 281940 h 289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7603" h="289629">
                    <a:moveTo>
                      <a:pt x="80" y="281940"/>
                    </a:moveTo>
                    <a:cubicBezTo>
                      <a:pt x="1362" y="288348"/>
                      <a:pt x="2643" y="289629"/>
                      <a:pt x="3925" y="289629"/>
                    </a:cubicBezTo>
                    <a:cubicBezTo>
                      <a:pt x="10333" y="285785"/>
                      <a:pt x="9051" y="271688"/>
                      <a:pt x="7770" y="267843"/>
                    </a:cubicBezTo>
                    <a:lnTo>
                      <a:pt x="16740" y="239649"/>
                    </a:lnTo>
                    <a:cubicBezTo>
                      <a:pt x="16740" y="246057"/>
                      <a:pt x="16740" y="251183"/>
                      <a:pt x="16740" y="257591"/>
                    </a:cubicBezTo>
                    <a:cubicBezTo>
                      <a:pt x="11614" y="265280"/>
                      <a:pt x="11614" y="279377"/>
                      <a:pt x="18022" y="283222"/>
                    </a:cubicBezTo>
                    <a:cubicBezTo>
                      <a:pt x="26993" y="279377"/>
                      <a:pt x="23148" y="258872"/>
                      <a:pt x="20585" y="257591"/>
                    </a:cubicBezTo>
                    <a:cubicBezTo>
                      <a:pt x="20585" y="257591"/>
                      <a:pt x="20585" y="257591"/>
                      <a:pt x="19304" y="257591"/>
                    </a:cubicBezTo>
                    <a:cubicBezTo>
                      <a:pt x="19304" y="249901"/>
                      <a:pt x="19304" y="242212"/>
                      <a:pt x="19304" y="234523"/>
                    </a:cubicBezTo>
                    <a:lnTo>
                      <a:pt x="32119" y="197358"/>
                    </a:lnTo>
                    <a:cubicBezTo>
                      <a:pt x="32119" y="215300"/>
                      <a:pt x="32119" y="233241"/>
                      <a:pt x="33400" y="251183"/>
                    </a:cubicBezTo>
                    <a:cubicBezTo>
                      <a:pt x="28274" y="258872"/>
                      <a:pt x="28274" y="272969"/>
                      <a:pt x="34682" y="276814"/>
                    </a:cubicBezTo>
                    <a:cubicBezTo>
                      <a:pt x="43653" y="272969"/>
                      <a:pt x="41090" y="252464"/>
                      <a:pt x="37245" y="251183"/>
                    </a:cubicBezTo>
                    <a:cubicBezTo>
                      <a:pt x="37245" y="251183"/>
                      <a:pt x="37245" y="251183"/>
                      <a:pt x="35964" y="251183"/>
                    </a:cubicBezTo>
                    <a:cubicBezTo>
                      <a:pt x="35964" y="230678"/>
                      <a:pt x="34682" y="211455"/>
                      <a:pt x="34682" y="190950"/>
                    </a:cubicBezTo>
                    <a:lnTo>
                      <a:pt x="51342" y="147378"/>
                    </a:lnTo>
                    <a:cubicBezTo>
                      <a:pt x="51342" y="138407"/>
                      <a:pt x="51342" y="129436"/>
                      <a:pt x="52624" y="120465"/>
                    </a:cubicBezTo>
                    <a:cubicBezTo>
                      <a:pt x="59032" y="112776"/>
                      <a:pt x="59032" y="98679"/>
                      <a:pt x="53905" y="96116"/>
                    </a:cubicBezTo>
                    <a:cubicBezTo>
                      <a:pt x="46216" y="99961"/>
                      <a:pt x="44934" y="119184"/>
                      <a:pt x="50061" y="121747"/>
                    </a:cubicBezTo>
                    <a:cubicBezTo>
                      <a:pt x="50061" y="129436"/>
                      <a:pt x="50061" y="138407"/>
                      <a:pt x="48779" y="146096"/>
                    </a:cubicBezTo>
                    <a:lnTo>
                      <a:pt x="34682" y="183261"/>
                    </a:lnTo>
                    <a:cubicBezTo>
                      <a:pt x="34682" y="152504"/>
                      <a:pt x="35964" y="121747"/>
                      <a:pt x="37245" y="90990"/>
                    </a:cubicBezTo>
                    <a:cubicBezTo>
                      <a:pt x="42371" y="84582"/>
                      <a:pt x="43653" y="71767"/>
                      <a:pt x="39808" y="66640"/>
                    </a:cubicBezTo>
                    <a:cubicBezTo>
                      <a:pt x="30837" y="66640"/>
                      <a:pt x="32119" y="89708"/>
                      <a:pt x="33400" y="90990"/>
                    </a:cubicBezTo>
                    <a:cubicBezTo>
                      <a:pt x="33400" y="90990"/>
                      <a:pt x="34682" y="90990"/>
                      <a:pt x="34682" y="92271"/>
                    </a:cubicBezTo>
                    <a:cubicBezTo>
                      <a:pt x="33400" y="124310"/>
                      <a:pt x="32119" y="157630"/>
                      <a:pt x="32119" y="189669"/>
                    </a:cubicBezTo>
                    <a:lnTo>
                      <a:pt x="19304" y="226834"/>
                    </a:lnTo>
                    <a:cubicBezTo>
                      <a:pt x="18022" y="158912"/>
                      <a:pt x="21866" y="90990"/>
                      <a:pt x="28274" y="24349"/>
                    </a:cubicBezTo>
                    <a:cubicBezTo>
                      <a:pt x="33400" y="17942"/>
                      <a:pt x="35964" y="6408"/>
                      <a:pt x="32119" y="0"/>
                    </a:cubicBezTo>
                    <a:cubicBezTo>
                      <a:pt x="32119" y="0"/>
                      <a:pt x="30837" y="0"/>
                      <a:pt x="30837" y="0"/>
                    </a:cubicBezTo>
                    <a:cubicBezTo>
                      <a:pt x="24430" y="6408"/>
                      <a:pt x="23148" y="21786"/>
                      <a:pt x="26993" y="25631"/>
                    </a:cubicBezTo>
                    <a:cubicBezTo>
                      <a:pt x="20585" y="93553"/>
                      <a:pt x="16740" y="162756"/>
                      <a:pt x="18022" y="233241"/>
                    </a:cubicBezTo>
                    <a:cubicBezTo>
                      <a:pt x="14177" y="243494"/>
                      <a:pt x="10333" y="256309"/>
                      <a:pt x="7770" y="266561"/>
                    </a:cubicBezTo>
                    <a:cubicBezTo>
                      <a:pt x="7770" y="266561"/>
                      <a:pt x="6488" y="265280"/>
                      <a:pt x="6488" y="265280"/>
                    </a:cubicBezTo>
                    <a:cubicBezTo>
                      <a:pt x="-1201" y="266561"/>
                      <a:pt x="80" y="281940"/>
                      <a:pt x="80" y="28194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1" name="Freeform: Shape 380081">
                <a:extLst>
                  <a:ext uri="{FF2B5EF4-FFF2-40B4-BE49-F238E27FC236}">
                    <a16:creationId xmlns:a16="http://schemas.microsoft.com/office/drawing/2014/main" id="{DB76364F-9185-4B64-9661-C2DD33D0DB0A}"/>
                  </a:ext>
                </a:extLst>
              </p:cNvPr>
              <p:cNvSpPr/>
              <p:nvPr/>
            </p:nvSpPr>
            <p:spPr>
              <a:xfrm>
                <a:off x="4182503" y="3479261"/>
                <a:ext cx="32488" cy="228115"/>
              </a:xfrm>
              <a:custGeom>
                <a:avLst/>
                <a:gdLst>
                  <a:gd name="connsiteX0" fmla="*/ 142 w 32488"/>
                  <a:gd name="connsiteY0" fmla="*/ 219144 h 228115"/>
                  <a:gd name="connsiteX1" fmla="*/ 3987 w 32488"/>
                  <a:gd name="connsiteY1" fmla="*/ 228115 h 228115"/>
                  <a:gd name="connsiteX2" fmla="*/ 6550 w 32488"/>
                  <a:gd name="connsiteY2" fmla="*/ 207610 h 228115"/>
                  <a:gd name="connsiteX3" fmla="*/ 27055 w 32488"/>
                  <a:gd name="connsiteY3" fmla="*/ 128155 h 228115"/>
                  <a:gd name="connsiteX4" fmla="*/ 28337 w 32488"/>
                  <a:gd name="connsiteY4" fmla="*/ 25631 h 228115"/>
                  <a:gd name="connsiteX5" fmla="*/ 29618 w 32488"/>
                  <a:gd name="connsiteY5" fmla="*/ 0 h 228115"/>
                  <a:gd name="connsiteX6" fmla="*/ 28337 w 32488"/>
                  <a:gd name="connsiteY6" fmla="*/ 0 h 228115"/>
                  <a:gd name="connsiteX7" fmla="*/ 25774 w 32488"/>
                  <a:gd name="connsiteY7" fmla="*/ 25631 h 228115"/>
                  <a:gd name="connsiteX8" fmla="*/ 24492 w 32488"/>
                  <a:gd name="connsiteY8" fmla="*/ 125591 h 228115"/>
                  <a:gd name="connsiteX9" fmla="*/ 5269 w 32488"/>
                  <a:gd name="connsiteY9" fmla="*/ 202484 h 228115"/>
                  <a:gd name="connsiteX10" fmla="*/ 3987 w 32488"/>
                  <a:gd name="connsiteY10" fmla="*/ 201203 h 228115"/>
                  <a:gd name="connsiteX11" fmla="*/ 142 w 32488"/>
                  <a:gd name="connsiteY11" fmla="*/ 219144 h 228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488" h="228115">
                    <a:moveTo>
                      <a:pt x="142" y="219144"/>
                    </a:moveTo>
                    <a:cubicBezTo>
                      <a:pt x="1424" y="226834"/>
                      <a:pt x="2706" y="226834"/>
                      <a:pt x="3987" y="228115"/>
                    </a:cubicBezTo>
                    <a:cubicBezTo>
                      <a:pt x="9113" y="221707"/>
                      <a:pt x="6550" y="210173"/>
                      <a:pt x="6550" y="207610"/>
                    </a:cubicBezTo>
                    <a:lnTo>
                      <a:pt x="27055" y="128155"/>
                    </a:lnTo>
                    <a:cubicBezTo>
                      <a:pt x="27055" y="93553"/>
                      <a:pt x="27055" y="60233"/>
                      <a:pt x="28337" y="25631"/>
                    </a:cubicBezTo>
                    <a:cubicBezTo>
                      <a:pt x="32181" y="20505"/>
                      <a:pt x="34744" y="5126"/>
                      <a:pt x="29618" y="0"/>
                    </a:cubicBezTo>
                    <a:cubicBezTo>
                      <a:pt x="29618" y="0"/>
                      <a:pt x="29618" y="0"/>
                      <a:pt x="28337" y="0"/>
                    </a:cubicBezTo>
                    <a:cubicBezTo>
                      <a:pt x="24492" y="3845"/>
                      <a:pt x="20647" y="21786"/>
                      <a:pt x="25774" y="25631"/>
                    </a:cubicBezTo>
                    <a:cubicBezTo>
                      <a:pt x="24492" y="58951"/>
                      <a:pt x="23210" y="92271"/>
                      <a:pt x="24492" y="125591"/>
                    </a:cubicBezTo>
                    <a:cubicBezTo>
                      <a:pt x="18084" y="148659"/>
                      <a:pt x="10395" y="179416"/>
                      <a:pt x="5269" y="202484"/>
                    </a:cubicBezTo>
                    <a:cubicBezTo>
                      <a:pt x="5269" y="202484"/>
                      <a:pt x="3987" y="201203"/>
                      <a:pt x="3987" y="201203"/>
                    </a:cubicBezTo>
                    <a:cubicBezTo>
                      <a:pt x="-1139" y="203766"/>
                      <a:pt x="142" y="219144"/>
                      <a:pt x="142" y="21914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2" name="Freeform: Shape 380082">
                <a:extLst>
                  <a:ext uri="{FF2B5EF4-FFF2-40B4-BE49-F238E27FC236}">
                    <a16:creationId xmlns:a16="http://schemas.microsoft.com/office/drawing/2014/main" id="{CB8F743A-20D2-4DF0-A584-ECF997E0B881}"/>
                  </a:ext>
                </a:extLst>
              </p:cNvPr>
              <p:cNvSpPr/>
              <p:nvPr/>
            </p:nvSpPr>
            <p:spPr>
              <a:xfrm>
                <a:off x="4205713" y="3436970"/>
                <a:ext cx="27220" cy="217862"/>
              </a:xfrm>
              <a:custGeom>
                <a:avLst/>
                <a:gdLst>
                  <a:gd name="connsiteX0" fmla="*/ 0 w 27220"/>
                  <a:gd name="connsiteY0" fmla="*/ 210173 h 217862"/>
                  <a:gd name="connsiteX1" fmla="*/ 5126 w 27220"/>
                  <a:gd name="connsiteY1" fmla="*/ 217863 h 217862"/>
                  <a:gd name="connsiteX2" fmla="*/ 8971 w 27220"/>
                  <a:gd name="connsiteY2" fmla="*/ 197358 h 217862"/>
                  <a:gd name="connsiteX3" fmla="*/ 19223 w 27220"/>
                  <a:gd name="connsiteY3" fmla="*/ 162756 h 217862"/>
                  <a:gd name="connsiteX4" fmla="*/ 23068 w 27220"/>
                  <a:gd name="connsiteY4" fmla="*/ 24349 h 217862"/>
                  <a:gd name="connsiteX5" fmla="*/ 24350 w 27220"/>
                  <a:gd name="connsiteY5" fmla="*/ 0 h 217862"/>
                  <a:gd name="connsiteX6" fmla="*/ 23068 w 27220"/>
                  <a:gd name="connsiteY6" fmla="*/ 0 h 217862"/>
                  <a:gd name="connsiteX7" fmla="*/ 20505 w 27220"/>
                  <a:gd name="connsiteY7" fmla="*/ 25631 h 217862"/>
                  <a:gd name="connsiteX8" fmla="*/ 16660 w 27220"/>
                  <a:gd name="connsiteY8" fmla="*/ 161475 h 217862"/>
                  <a:gd name="connsiteX9" fmla="*/ 7689 w 27220"/>
                  <a:gd name="connsiteY9" fmla="*/ 193513 h 217862"/>
                  <a:gd name="connsiteX10" fmla="*/ 1282 w 27220"/>
                  <a:gd name="connsiteY10" fmla="*/ 199921 h 217862"/>
                  <a:gd name="connsiteX11" fmla="*/ 0 w 27220"/>
                  <a:gd name="connsiteY11" fmla="*/ 210173 h 21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220" h="217862">
                    <a:moveTo>
                      <a:pt x="0" y="210173"/>
                    </a:moveTo>
                    <a:cubicBezTo>
                      <a:pt x="1282" y="217863"/>
                      <a:pt x="2563" y="217863"/>
                      <a:pt x="5126" y="217863"/>
                    </a:cubicBezTo>
                    <a:cubicBezTo>
                      <a:pt x="8971" y="214018"/>
                      <a:pt x="8971" y="203766"/>
                      <a:pt x="8971" y="197358"/>
                    </a:cubicBezTo>
                    <a:lnTo>
                      <a:pt x="19223" y="162756"/>
                    </a:lnTo>
                    <a:cubicBezTo>
                      <a:pt x="19223" y="116621"/>
                      <a:pt x="20505" y="70485"/>
                      <a:pt x="23068" y="24349"/>
                    </a:cubicBezTo>
                    <a:cubicBezTo>
                      <a:pt x="26912" y="19223"/>
                      <a:pt x="29476" y="3845"/>
                      <a:pt x="24350" y="0"/>
                    </a:cubicBezTo>
                    <a:cubicBezTo>
                      <a:pt x="24350" y="0"/>
                      <a:pt x="24350" y="0"/>
                      <a:pt x="23068" y="0"/>
                    </a:cubicBezTo>
                    <a:cubicBezTo>
                      <a:pt x="19223" y="3845"/>
                      <a:pt x="15379" y="21786"/>
                      <a:pt x="20505" y="25631"/>
                    </a:cubicBezTo>
                    <a:cubicBezTo>
                      <a:pt x="17942" y="70485"/>
                      <a:pt x="16660" y="116621"/>
                      <a:pt x="16660" y="161475"/>
                    </a:cubicBezTo>
                    <a:cubicBezTo>
                      <a:pt x="14097" y="170446"/>
                      <a:pt x="10252" y="183261"/>
                      <a:pt x="7689" y="193513"/>
                    </a:cubicBezTo>
                    <a:cubicBezTo>
                      <a:pt x="3845" y="187106"/>
                      <a:pt x="1282" y="199921"/>
                      <a:pt x="1282" y="199921"/>
                    </a:cubicBezTo>
                    <a:cubicBezTo>
                      <a:pt x="0" y="202484"/>
                      <a:pt x="0" y="206329"/>
                      <a:pt x="0" y="21017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3" name="Freeform: Shape 380083">
                <a:extLst>
                  <a:ext uri="{FF2B5EF4-FFF2-40B4-BE49-F238E27FC236}">
                    <a16:creationId xmlns:a16="http://schemas.microsoft.com/office/drawing/2014/main" id="{C68F2B41-4022-4D23-A5E5-7571C100E1FE}"/>
                  </a:ext>
                </a:extLst>
              </p:cNvPr>
              <p:cNvSpPr/>
              <p:nvPr/>
            </p:nvSpPr>
            <p:spPr>
              <a:xfrm>
                <a:off x="4217247" y="3394679"/>
                <a:ext cx="30664" cy="255027"/>
              </a:xfrm>
              <a:custGeom>
                <a:avLst/>
                <a:gdLst>
                  <a:gd name="connsiteX0" fmla="*/ 1282 w 30664"/>
                  <a:gd name="connsiteY0" fmla="*/ 246057 h 255027"/>
                  <a:gd name="connsiteX1" fmla="*/ 5126 w 30664"/>
                  <a:gd name="connsiteY1" fmla="*/ 255028 h 255027"/>
                  <a:gd name="connsiteX2" fmla="*/ 8971 w 30664"/>
                  <a:gd name="connsiteY2" fmla="*/ 233241 h 255027"/>
                  <a:gd name="connsiteX3" fmla="*/ 19223 w 30664"/>
                  <a:gd name="connsiteY3" fmla="*/ 199921 h 255027"/>
                  <a:gd name="connsiteX4" fmla="*/ 25631 w 30664"/>
                  <a:gd name="connsiteY4" fmla="*/ 24349 h 255027"/>
                  <a:gd name="connsiteX5" fmla="*/ 28194 w 30664"/>
                  <a:gd name="connsiteY5" fmla="*/ 0 h 255027"/>
                  <a:gd name="connsiteX6" fmla="*/ 26912 w 30664"/>
                  <a:gd name="connsiteY6" fmla="*/ 0 h 255027"/>
                  <a:gd name="connsiteX7" fmla="*/ 23068 w 30664"/>
                  <a:gd name="connsiteY7" fmla="*/ 25631 h 255027"/>
                  <a:gd name="connsiteX8" fmla="*/ 16660 w 30664"/>
                  <a:gd name="connsiteY8" fmla="*/ 198640 h 255027"/>
                  <a:gd name="connsiteX9" fmla="*/ 6408 w 30664"/>
                  <a:gd name="connsiteY9" fmla="*/ 230678 h 255027"/>
                  <a:gd name="connsiteX10" fmla="*/ 0 w 30664"/>
                  <a:gd name="connsiteY10" fmla="*/ 244775 h 255027"/>
                  <a:gd name="connsiteX11" fmla="*/ 1282 w 30664"/>
                  <a:gd name="connsiteY11" fmla="*/ 246057 h 25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664" h="255027">
                    <a:moveTo>
                      <a:pt x="1282" y="246057"/>
                    </a:moveTo>
                    <a:cubicBezTo>
                      <a:pt x="2563" y="252464"/>
                      <a:pt x="3845" y="253746"/>
                      <a:pt x="5126" y="255028"/>
                    </a:cubicBezTo>
                    <a:cubicBezTo>
                      <a:pt x="11534" y="251183"/>
                      <a:pt x="10252" y="235804"/>
                      <a:pt x="8971" y="233241"/>
                    </a:cubicBezTo>
                    <a:lnTo>
                      <a:pt x="19223" y="199921"/>
                    </a:lnTo>
                    <a:cubicBezTo>
                      <a:pt x="17942" y="140970"/>
                      <a:pt x="20505" y="82019"/>
                      <a:pt x="25631" y="24349"/>
                    </a:cubicBezTo>
                    <a:cubicBezTo>
                      <a:pt x="29476" y="19223"/>
                      <a:pt x="33320" y="3845"/>
                      <a:pt x="28194" y="0"/>
                    </a:cubicBezTo>
                    <a:cubicBezTo>
                      <a:pt x="28194" y="0"/>
                      <a:pt x="28194" y="0"/>
                      <a:pt x="26912" y="0"/>
                    </a:cubicBezTo>
                    <a:cubicBezTo>
                      <a:pt x="19223" y="7689"/>
                      <a:pt x="20505" y="24349"/>
                      <a:pt x="23068" y="25631"/>
                    </a:cubicBezTo>
                    <a:cubicBezTo>
                      <a:pt x="17942" y="82019"/>
                      <a:pt x="16660" y="139688"/>
                      <a:pt x="16660" y="198640"/>
                    </a:cubicBezTo>
                    <a:cubicBezTo>
                      <a:pt x="14097" y="207610"/>
                      <a:pt x="8971" y="220426"/>
                      <a:pt x="6408" y="230678"/>
                    </a:cubicBezTo>
                    <a:cubicBezTo>
                      <a:pt x="2563" y="226833"/>
                      <a:pt x="0" y="237086"/>
                      <a:pt x="0" y="244775"/>
                    </a:cubicBezTo>
                    <a:cubicBezTo>
                      <a:pt x="1282" y="243494"/>
                      <a:pt x="1282" y="244775"/>
                      <a:pt x="1282" y="24605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4" name="Freeform: Shape 380084">
                <a:extLst>
                  <a:ext uri="{FF2B5EF4-FFF2-40B4-BE49-F238E27FC236}">
                    <a16:creationId xmlns:a16="http://schemas.microsoft.com/office/drawing/2014/main" id="{BC985DB7-D873-4486-8AF7-41D85A6C677A}"/>
                  </a:ext>
                </a:extLst>
              </p:cNvPr>
              <p:cNvSpPr/>
              <p:nvPr/>
            </p:nvSpPr>
            <p:spPr>
              <a:xfrm>
                <a:off x="4268509" y="3187069"/>
                <a:ext cx="66717" cy="217780"/>
              </a:xfrm>
              <a:custGeom>
                <a:avLst/>
                <a:gdLst>
                  <a:gd name="connsiteX0" fmla="*/ 0 w 66717"/>
                  <a:gd name="connsiteY0" fmla="*/ 210173 h 217780"/>
                  <a:gd name="connsiteX1" fmla="*/ 5126 w 66717"/>
                  <a:gd name="connsiteY1" fmla="*/ 216581 h 217780"/>
                  <a:gd name="connsiteX2" fmla="*/ 7689 w 66717"/>
                  <a:gd name="connsiteY2" fmla="*/ 192232 h 217780"/>
                  <a:gd name="connsiteX3" fmla="*/ 14097 w 66717"/>
                  <a:gd name="connsiteY3" fmla="*/ 134562 h 217780"/>
                  <a:gd name="connsiteX4" fmla="*/ 56388 w 66717"/>
                  <a:gd name="connsiteY4" fmla="*/ 48699 h 217780"/>
                  <a:gd name="connsiteX5" fmla="*/ 60233 w 66717"/>
                  <a:gd name="connsiteY5" fmla="*/ 23068 h 217780"/>
                  <a:gd name="connsiteX6" fmla="*/ 62796 w 66717"/>
                  <a:gd name="connsiteY6" fmla="*/ 0 h 217780"/>
                  <a:gd name="connsiteX7" fmla="*/ 57670 w 66717"/>
                  <a:gd name="connsiteY7" fmla="*/ 24349 h 217780"/>
                  <a:gd name="connsiteX8" fmla="*/ 53825 w 66717"/>
                  <a:gd name="connsiteY8" fmla="*/ 48699 h 217780"/>
                  <a:gd name="connsiteX9" fmla="*/ 11534 w 66717"/>
                  <a:gd name="connsiteY9" fmla="*/ 134562 h 217780"/>
                  <a:gd name="connsiteX10" fmla="*/ 5126 w 66717"/>
                  <a:gd name="connsiteY10" fmla="*/ 194795 h 217780"/>
                  <a:gd name="connsiteX11" fmla="*/ 0 w 66717"/>
                  <a:gd name="connsiteY11" fmla="*/ 210173 h 21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717" h="217780">
                    <a:moveTo>
                      <a:pt x="0" y="210173"/>
                    </a:moveTo>
                    <a:cubicBezTo>
                      <a:pt x="0" y="217863"/>
                      <a:pt x="2563" y="219144"/>
                      <a:pt x="5126" y="216581"/>
                    </a:cubicBezTo>
                    <a:cubicBezTo>
                      <a:pt x="8971" y="212737"/>
                      <a:pt x="14097" y="196076"/>
                      <a:pt x="7689" y="192232"/>
                    </a:cubicBezTo>
                    <a:cubicBezTo>
                      <a:pt x="8971" y="173009"/>
                      <a:pt x="11534" y="153785"/>
                      <a:pt x="14097" y="134562"/>
                    </a:cubicBezTo>
                    <a:lnTo>
                      <a:pt x="56388" y="48699"/>
                    </a:lnTo>
                    <a:cubicBezTo>
                      <a:pt x="57670" y="39728"/>
                      <a:pt x="58951" y="30757"/>
                      <a:pt x="60233" y="23068"/>
                    </a:cubicBezTo>
                    <a:cubicBezTo>
                      <a:pt x="65359" y="17942"/>
                      <a:pt x="70485" y="0"/>
                      <a:pt x="62796" y="0"/>
                    </a:cubicBezTo>
                    <a:cubicBezTo>
                      <a:pt x="57670" y="3845"/>
                      <a:pt x="51262" y="20505"/>
                      <a:pt x="57670" y="24349"/>
                    </a:cubicBezTo>
                    <a:cubicBezTo>
                      <a:pt x="56388" y="32039"/>
                      <a:pt x="55107" y="39728"/>
                      <a:pt x="53825" y="48699"/>
                    </a:cubicBezTo>
                    <a:lnTo>
                      <a:pt x="11534" y="134562"/>
                    </a:lnTo>
                    <a:cubicBezTo>
                      <a:pt x="8971" y="153785"/>
                      <a:pt x="6408" y="174290"/>
                      <a:pt x="5126" y="194795"/>
                    </a:cubicBezTo>
                    <a:cubicBezTo>
                      <a:pt x="0" y="198640"/>
                      <a:pt x="0" y="208892"/>
                      <a:pt x="0" y="21017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5" name="Freeform: Shape 380085">
                <a:extLst>
                  <a:ext uri="{FF2B5EF4-FFF2-40B4-BE49-F238E27FC236}">
                    <a16:creationId xmlns:a16="http://schemas.microsoft.com/office/drawing/2014/main" id="{6D8DAAD4-33B5-4B48-8C1B-A6ECA922421F}"/>
                  </a:ext>
                </a:extLst>
              </p:cNvPr>
              <p:cNvSpPr/>
              <p:nvPr/>
            </p:nvSpPr>
            <p:spPr>
              <a:xfrm>
                <a:off x="4281324" y="3179379"/>
                <a:ext cx="70997" cy="255027"/>
              </a:xfrm>
              <a:custGeom>
                <a:avLst/>
                <a:gdLst>
                  <a:gd name="connsiteX0" fmla="*/ 0 w 70997"/>
                  <a:gd name="connsiteY0" fmla="*/ 247338 h 255027"/>
                  <a:gd name="connsiteX1" fmla="*/ 3845 w 70997"/>
                  <a:gd name="connsiteY1" fmla="*/ 255028 h 255027"/>
                  <a:gd name="connsiteX2" fmla="*/ 8971 w 70997"/>
                  <a:gd name="connsiteY2" fmla="*/ 229397 h 255027"/>
                  <a:gd name="connsiteX3" fmla="*/ 7689 w 70997"/>
                  <a:gd name="connsiteY3" fmla="*/ 229397 h 255027"/>
                  <a:gd name="connsiteX4" fmla="*/ 16660 w 70997"/>
                  <a:gd name="connsiteY4" fmla="*/ 135844 h 255027"/>
                  <a:gd name="connsiteX5" fmla="*/ 60233 w 70997"/>
                  <a:gd name="connsiteY5" fmla="*/ 49980 h 255027"/>
                  <a:gd name="connsiteX6" fmla="*/ 64078 w 70997"/>
                  <a:gd name="connsiteY6" fmla="*/ 24349 h 255027"/>
                  <a:gd name="connsiteX7" fmla="*/ 67922 w 70997"/>
                  <a:gd name="connsiteY7" fmla="*/ 0 h 255027"/>
                  <a:gd name="connsiteX8" fmla="*/ 66641 w 70997"/>
                  <a:gd name="connsiteY8" fmla="*/ 0 h 255027"/>
                  <a:gd name="connsiteX9" fmla="*/ 61514 w 70997"/>
                  <a:gd name="connsiteY9" fmla="*/ 24349 h 255027"/>
                  <a:gd name="connsiteX10" fmla="*/ 57670 w 70997"/>
                  <a:gd name="connsiteY10" fmla="*/ 47417 h 255027"/>
                  <a:gd name="connsiteX11" fmla="*/ 14097 w 70997"/>
                  <a:gd name="connsiteY11" fmla="*/ 133281 h 255027"/>
                  <a:gd name="connsiteX12" fmla="*/ 5126 w 70997"/>
                  <a:gd name="connsiteY12" fmla="*/ 229397 h 255027"/>
                  <a:gd name="connsiteX13" fmla="*/ 0 w 70997"/>
                  <a:gd name="connsiteY13" fmla="*/ 247338 h 255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0997" h="255027">
                    <a:moveTo>
                      <a:pt x="0" y="247338"/>
                    </a:moveTo>
                    <a:cubicBezTo>
                      <a:pt x="0" y="253746"/>
                      <a:pt x="1282" y="253746"/>
                      <a:pt x="3845" y="255028"/>
                    </a:cubicBezTo>
                    <a:cubicBezTo>
                      <a:pt x="12816" y="251183"/>
                      <a:pt x="11534" y="231960"/>
                      <a:pt x="8971" y="229397"/>
                    </a:cubicBezTo>
                    <a:cubicBezTo>
                      <a:pt x="8971" y="229397"/>
                      <a:pt x="8971" y="229397"/>
                      <a:pt x="7689" y="229397"/>
                    </a:cubicBezTo>
                    <a:cubicBezTo>
                      <a:pt x="10252" y="198640"/>
                      <a:pt x="12816" y="166601"/>
                      <a:pt x="16660" y="135844"/>
                    </a:cubicBezTo>
                    <a:lnTo>
                      <a:pt x="60233" y="49980"/>
                    </a:lnTo>
                    <a:cubicBezTo>
                      <a:pt x="61514" y="41009"/>
                      <a:pt x="62796" y="32039"/>
                      <a:pt x="64078" y="24349"/>
                    </a:cubicBezTo>
                    <a:cubicBezTo>
                      <a:pt x="71767" y="16660"/>
                      <a:pt x="73048" y="1282"/>
                      <a:pt x="67922" y="0"/>
                    </a:cubicBezTo>
                    <a:cubicBezTo>
                      <a:pt x="67922" y="0"/>
                      <a:pt x="66641" y="0"/>
                      <a:pt x="66641" y="0"/>
                    </a:cubicBezTo>
                    <a:cubicBezTo>
                      <a:pt x="58951" y="3845"/>
                      <a:pt x="55107" y="23068"/>
                      <a:pt x="61514" y="24349"/>
                    </a:cubicBezTo>
                    <a:cubicBezTo>
                      <a:pt x="60233" y="32039"/>
                      <a:pt x="58951" y="39728"/>
                      <a:pt x="57670" y="47417"/>
                    </a:cubicBezTo>
                    <a:lnTo>
                      <a:pt x="14097" y="133281"/>
                    </a:lnTo>
                    <a:cubicBezTo>
                      <a:pt x="10252" y="165319"/>
                      <a:pt x="7689" y="197358"/>
                      <a:pt x="5126" y="229397"/>
                    </a:cubicBezTo>
                    <a:cubicBezTo>
                      <a:pt x="0" y="235804"/>
                      <a:pt x="0" y="246057"/>
                      <a:pt x="0" y="24733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6" name="Freeform: Shape 380086">
                <a:extLst>
                  <a:ext uri="{FF2B5EF4-FFF2-40B4-BE49-F238E27FC236}">
                    <a16:creationId xmlns:a16="http://schemas.microsoft.com/office/drawing/2014/main" id="{7B030A27-C973-487F-AB76-E2383456C8E6}"/>
                  </a:ext>
                </a:extLst>
              </p:cNvPr>
              <p:cNvSpPr/>
              <p:nvPr/>
            </p:nvSpPr>
            <p:spPr>
              <a:xfrm>
                <a:off x="4300548" y="3138370"/>
                <a:ext cx="74842" cy="251182"/>
              </a:xfrm>
              <a:custGeom>
                <a:avLst/>
                <a:gdLst>
                  <a:gd name="connsiteX0" fmla="*/ 0 w 74842"/>
                  <a:gd name="connsiteY0" fmla="*/ 243494 h 251182"/>
                  <a:gd name="connsiteX1" fmla="*/ 3845 w 74842"/>
                  <a:gd name="connsiteY1" fmla="*/ 251183 h 251182"/>
                  <a:gd name="connsiteX2" fmla="*/ 8971 w 74842"/>
                  <a:gd name="connsiteY2" fmla="*/ 225552 h 251182"/>
                  <a:gd name="connsiteX3" fmla="*/ 7689 w 74842"/>
                  <a:gd name="connsiteY3" fmla="*/ 225552 h 251182"/>
                  <a:gd name="connsiteX4" fmla="*/ 12816 w 74842"/>
                  <a:gd name="connsiteY4" fmla="*/ 169164 h 251182"/>
                  <a:gd name="connsiteX5" fmla="*/ 57670 w 74842"/>
                  <a:gd name="connsiteY5" fmla="*/ 83300 h 251182"/>
                  <a:gd name="connsiteX6" fmla="*/ 67922 w 74842"/>
                  <a:gd name="connsiteY6" fmla="*/ 23068 h 251182"/>
                  <a:gd name="connsiteX7" fmla="*/ 71767 w 74842"/>
                  <a:gd name="connsiteY7" fmla="*/ 0 h 251182"/>
                  <a:gd name="connsiteX8" fmla="*/ 70485 w 74842"/>
                  <a:gd name="connsiteY8" fmla="*/ 0 h 251182"/>
                  <a:gd name="connsiteX9" fmla="*/ 65359 w 74842"/>
                  <a:gd name="connsiteY9" fmla="*/ 24349 h 251182"/>
                  <a:gd name="connsiteX10" fmla="*/ 56388 w 74842"/>
                  <a:gd name="connsiteY10" fmla="*/ 83300 h 251182"/>
                  <a:gd name="connsiteX11" fmla="*/ 11534 w 74842"/>
                  <a:gd name="connsiteY11" fmla="*/ 169164 h 251182"/>
                  <a:gd name="connsiteX12" fmla="*/ 5126 w 74842"/>
                  <a:gd name="connsiteY12" fmla="*/ 228115 h 251182"/>
                  <a:gd name="connsiteX13" fmla="*/ 0 w 74842"/>
                  <a:gd name="connsiteY13" fmla="*/ 243494 h 251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842" h="251182">
                    <a:moveTo>
                      <a:pt x="0" y="243494"/>
                    </a:moveTo>
                    <a:cubicBezTo>
                      <a:pt x="0" y="249901"/>
                      <a:pt x="1282" y="249901"/>
                      <a:pt x="3845" y="251183"/>
                    </a:cubicBezTo>
                    <a:cubicBezTo>
                      <a:pt x="14097" y="247338"/>
                      <a:pt x="12816" y="228115"/>
                      <a:pt x="8971" y="225552"/>
                    </a:cubicBezTo>
                    <a:cubicBezTo>
                      <a:pt x="8971" y="225552"/>
                      <a:pt x="8971" y="225552"/>
                      <a:pt x="7689" y="225552"/>
                    </a:cubicBezTo>
                    <a:cubicBezTo>
                      <a:pt x="8971" y="206329"/>
                      <a:pt x="11534" y="187106"/>
                      <a:pt x="12816" y="169164"/>
                    </a:cubicBezTo>
                    <a:lnTo>
                      <a:pt x="57670" y="83300"/>
                    </a:lnTo>
                    <a:cubicBezTo>
                      <a:pt x="60233" y="62796"/>
                      <a:pt x="64078" y="42291"/>
                      <a:pt x="67922" y="23068"/>
                    </a:cubicBezTo>
                    <a:cubicBezTo>
                      <a:pt x="75611" y="15379"/>
                      <a:pt x="76893" y="0"/>
                      <a:pt x="71767" y="0"/>
                    </a:cubicBezTo>
                    <a:cubicBezTo>
                      <a:pt x="71767" y="0"/>
                      <a:pt x="70485" y="0"/>
                      <a:pt x="70485" y="0"/>
                    </a:cubicBezTo>
                    <a:cubicBezTo>
                      <a:pt x="62796" y="3845"/>
                      <a:pt x="58951" y="23068"/>
                      <a:pt x="65359" y="24349"/>
                    </a:cubicBezTo>
                    <a:cubicBezTo>
                      <a:pt x="61514" y="43573"/>
                      <a:pt x="58951" y="62796"/>
                      <a:pt x="56388" y="83300"/>
                    </a:cubicBezTo>
                    <a:lnTo>
                      <a:pt x="11534" y="169164"/>
                    </a:lnTo>
                    <a:cubicBezTo>
                      <a:pt x="8971" y="188387"/>
                      <a:pt x="7689" y="208892"/>
                      <a:pt x="5126" y="228115"/>
                    </a:cubicBezTo>
                    <a:cubicBezTo>
                      <a:pt x="0" y="233241"/>
                      <a:pt x="0" y="243494"/>
                      <a:pt x="0" y="24349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7" name="Freeform: Shape 380087">
                <a:extLst>
                  <a:ext uri="{FF2B5EF4-FFF2-40B4-BE49-F238E27FC236}">
                    <a16:creationId xmlns:a16="http://schemas.microsoft.com/office/drawing/2014/main" id="{0B3F3C0E-A88A-4C35-AC24-22D4492B0C91}"/>
                  </a:ext>
                </a:extLst>
              </p:cNvPr>
              <p:cNvSpPr/>
              <p:nvPr/>
            </p:nvSpPr>
            <p:spPr>
              <a:xfrm>
                <a:off x="4114220" y="3313942"/>
                <a:ext cx="46979" cy="566442"/>
              </a:xfrm>
              <a:custGeom>
                <a:avLst/>
                <a:gdLst>
                  <a:gd name="connsiteX0" fmla="*/ 503 w 46979"/>
                  <a:gd name="connsiteY0" fmla="*/ 333202 h 566442"/>
                  <a:gd name="connsiteX1" fmla="*/ 503 w 46979"/>
                  <a:gd name="connsiteY1" fmla="*/ 342173 h 566442"/>
                  <a:gd name="connsiteX2" fmla="*/ 3066 w 46979"/>
                  <a:gd name="connsiteY2" fmla="*/ 467764 h 566442"/>
                  <a:gd name="connsiteX3" fmla="*/ 4347 w 46979"/>
                  <a:gd name="connsiteY3" fmla="*/ 492113 h 566442"/>
                  <a:gd name="connsiteX4" fmla="*/ 3066 w 46979"/>
                  <a:gd name="connsiteY4" fmla="*/ 466483 h 566442"/>
                  <a:gd name="connsiteX5" fmla="*/ 503 w 46979"/>
                  <a:gd name="connsiteY5" fmla="*/ 340891 h 566442"/>
                  <a:gd name="connsiteX6" fmla="*/ 1784 w 46979"/>
                  <a:gd name="connsiteY6" fmla="*/ 321668 h 566442"/>
                  <a:gd name="connsiteX7" fmla="*/ 4347 w 46979"/>
                  <a:gd name="connsiteY7" fmla="*/ 294755 h 566442"/>
                  <a:gd name="connsiteX8" fmla="*/ 5629 w 46979"/>
                  <a:gd name="connsiteY8" fmla="*/ 475453 h 566442"/>
                  <a:gd name="connsiteX9" fmla="*/ 6910 w 46979"/>
                  <a:gd name="connsiteY9" fmla="*/ 517744 h 566442"/>
                  <a:gd name="connsiteX10" fmla="*/ 9474 w 46979"/>
                  <a:gd name="connsiteY10" fmla="*/ 542094 h 566442"/>
                  <a:gd name="connsiteX11" fmla="*/ 12037 w 46979"/>
                  <a:gd name="connsiteY11" fmla="*/ 566443 h 566442"/>
                  <a:gd name="connsiteX12" fmla="*/ 9474 w 46979"/>
                  <a:gd name="connsiteY12" fmla="*/ 540812 h 566442"/>
                  <a:gd name="connsiteX13" fmla="*/ 6910 w 46979"/>
                  <a:gd name="connsiteY13" fmla="*/ 519026 h 566442"/>
                  <a:gd name="connsiteX14" fmla="*/ 5629 w 46979"/>
                  <a:gd name="connsiteY14" fmla="*/ 476735 h 566442"/>
                  <a:gd name="connsiteX15" fmla="*/ 4347 w 46979"/>
                  <a:gd name="connsiteY15" fmla="*/ 288348 h 566442"/>
                  <a:gd name="connsiteX16" fmla="*/ 8192 w 46979"/>
                  <a:gd name="connsiteY16" fmla="*/ 252464 h 566442"/>
                  <a:gd name="connsiteX17" fmla="*/ 6910 w 46979"/>
                  <a:gd name="connsiteY17" fmla="*/ 457512 h 566442"/>
                  <a:gd name="connsiteX18" fmla="*/ 8192 w 46979"/>
                  <a:gd name="connsiteY18" fmla="*/ 481861 h 566442"/>
                  <a:gd name="connsiteX19" fmla="*/ 8192 w 46979"/>
                  <a:gd name="connsiteY19" fmla="*/ 456230 h 566442"/>
                  <a:gd name="connsiteX20" fmla="*/ 9474 w 46979"/>
                  <a:gd name="connsiteY20" fmla="*/ 246057 h 566442"/>
                  <a:gd name="connsiteX21" fmla="*/ 23570 w 46979"/>
                  <a:gd name="connsiteY21" fmla="*/ 161475 h 566442"/>
                  <a:gd name="connsiteX22" fmla="*/ 42794 w 46979"/>
                  <a:gd name="connsiteY22" fmla="*/ 24349 h 566442"/>
                  <a:gd name="connsiteX23" fmla="*/ 46638 w 46979"/>
                  <a:gd name="connsiteY23" fmla="*/ 0 h 566442"/>
                  <a:gd name="connsiteX24" fmla="*/ 41512 w 46979"/>
                  <a:gd name="connsiteY24" fmla="*/ 25631 h 566442"/>
                  <a:gd name="connsiteX25" fmla="*/ 22289 w 46979"/>
                  <a:gd name="connsiteY25" fmla="*/ 160193 h 566442"/>
                  <a:gd name="connsiteX26" fmla="*/ 8192 w 46979"/>
                  <a:gd name="connsiteY26" fmla="*/ 238367 h 566442"/>
                  <a:gd name="connsiteX27" fmla="*/ 10755 w 46979"/>
                  <a:gd name="connsiteY27" fmla="*/ 208892 h 566442"/>
                  <a:gd name="connsiteX28" fmla="*/ 18444 w 46979"/>
                  <a:gd name="connsiteY28" fmla="*/ 166601 h 566442"/>
                  <a:gd name="connsiteX29" fmla="*/ 26134 w 46979"/>
                  <a:gd name="connsiteY29" fmla="*/ 102524 h 566442"/>
                  <a:gd name="connsiteX30" fmla="*/ 29978 w 46979"/>
                  <a:gd name="connsiteY30" fmla="*/ 79456 h 566442"/>
                  <a:gd name="connsiteX31" fmla="*/ 26134 w 46979"/>
                  <a:gd name="connsiteY31" fmla="*/ 103805 h 566442"/>
                  <a:gd name="connsiteX32" fmla="*/ 18444 w 46979"/>
                  <a:gd name="connsiteY32" fmla="*/ 165319 h 566442"/>
                  <a:gd name="connsiteX33" fmla="*/ 10755 w 46979"/>
                  <a:gd name="connsiteY33" fmla="*/ 207610 h 566442"/>
                  <a:gd name="connsiteX34" fmla="*/ 8192 w 46979"/>
                  <a:gd name="connsiteY34" fmla="*/ 244775 h 566442"/>
                  <a:gd name="connsiteX35" fmla="*/ 4347 w 46979"/>
                  <a:gd name="connsiteY35" fmla="*/ 280658 h 566442"/>
                  <a:gd name="connsiteX36" fmla="*/ 8192 w 46979"/>
                  <a:gd name="connsiteY36" fmla="*/ 222989 h 566442"/>
                  <a:gd name="connsiteX37" fmla="*/ 10755 w 46979"/>
                  <a:gd name="connsiteY37" fmla="*/ 198640 h 566442"/>
                  <a:gd name="connsiteX38" fmla="*/ 8192 w 46979"/>
                  <a:gd name="connsiteY38" fmla="*/ 222989 h 566442"/>
                  <a:gd name="connsiteX39" fmla="*/ 4347 w 46979"/>
                  <a:gd name="connsiteY39" fmla="*/ 285785 h 566442"/>
                  <a:gd name="connsiteX40" fmla="*/ 503 w 46979"/>
                  <a:gd name="connsiteY40" fmla="*/ 333202 h 56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6979" h="566442">
                    <a:moveTo>
                      <a:pt x="503" y="333202"/>
                    </a:moveTo>
                    <a:cubicBezTo>
                      <a:pt x="503" y="339610"/>
                      <a:pt x="503" y="339610"/>
                      <a:pt x="503" y="342173"/>
                    </a:cubicBezTo>
                    <a:cubicBezTo>
                      <a:pt x="-779" y="384464"/>
                      <a:pt x="503" y="425473"/>
                      <a:pt x="3066" y="467764"/>
                    </a:cubicBezTo>
                    <a:cubicBezTo>
                      <a:pt x="3066" y="478017"/>
                      <a:pt x="4347" y="488269"/>
                      <a:pt x="4347" y="492113"/>
                    </a:cubicBezTo>
                    <a:cubicBezTo>
                      <a:pt x="5629" y="483143"/>
                      <a:pt x="3066" y="467764"/>
                      <a:pt x="3066" y="466483"/>
                    </a:cubicBezTo>
                    <a:cubicBezTo>
                      <a:pt x="503" y="424192"/>
                      <a:pt x="503" y="381901"/>
                      <a:pt x="503" y="340891"/>
                    </a:cubicBezTo>
                    <a:cubicBezTo>
                      <a:pt x="503" y="338328"/>
                      <a:pt x="503" y="331920"/>
                      <a:pt x="1784" y="321668"/>
                    </a:cubicBezTo>
                    <a:lnTo>
                      <a:pt x="4347" y="294755"/>
                    </a:lnTo>
                    <a:cubicBezTo>
                      <a:pt x="1784" y="354988"/>
                      <a:pt x="1784" y="415221"/>
                      <a:pt x="5629" y="475453"/>
                    </a:cubicBezTo>
                    <a:lnTo>
                      <a:pt x="6910" y="517744"/>
                    </a:lnTo>
                    <a:cubicBezTo>
                      <a:pt x="8192" y="525434"/>
                      <a:pt x="8192" y="534404"/>
                      <a:pt x="9474" y="542094"/>
                    </a:cubicBezTo>
                    <a:cubicBezTo>
                      <a:pt x="9474" y="552346"/>
                      <a:pt x="10755" y="562599"/>
                      <a:pt x="12037" y="566443"/>
                    </a:cubicBezTo>
                    <a:cubicBezTo>
                      <a:pt x="13318" y="557472"/>
                      <a:pt x="9474" y="540812"/>
                      <a:pt x="9474" y="540812"/>
                    </a:cubicBezTo>
                    <a:cubicBezTo>
                      <a:pt x="8192" y="533123"/>
                      <a:pt x="8192" y="525434"/>
                      <a:pt x="6910" y="519026"/>
                    </a:cubicBezTo>
                    <a:lnTo>
                      <a:pt x="5629" y="476735"/>
                    </a:lnTo>
                    <a:cubicBezTo>
                      <a:pt x="1784" y="413939"/>
                      <a:pt x="1784" y="349862"/>
                      <a:pt x="4347" y="288348"/>
                    </a:cubicBezTo>
                    <a:lnTo>
                      <a:pt x="8192" y="252464"/>
                    </a:lnTo>
                    <a:cubicBezTo>
                      <a:pt x="4347" y="320386"/>
                      <a:pt x="3066" y="388308"/>
                      <a:pt x="6910" y="457512"/>
                    </a:cubicBezTo>
                    <a:cubicBezTo>
                      <a:pt x="5629" y="467764"/>
                      <a:pt x="6910" y="476735"/>
                      <a:pt x="8192" y="481861"/>
                    </a:cubicBezTo>
                    <a:cubicBezTo>
                      <a:pt x="10755" y="472890"/>
                      <a:pt x="8192" y="456230"/>
                      <a:pt x="8192" y="456230"/>
                    </a:cubicBezTo>
                    <a:cubicBezTo>
                      <a:pt x="4347" y="385745"/>
                      <a:pt x="5629" y="315260"/>
                      <a:pt x="9474" y="246057"/>
                    </a:cubicBezTo>
                    <a:lnTo>
                      <a:pt x="23570" y="161475"/>
                    </a:lnTo>
                    <a:cubicBezTo>
                      <a:pt x="28697" y="115339"/>
                      <a:pt x="35104" y="69203"/>
                      <a:pt x="42794" y="24349"/>
                    </a:cubicBezTo>
                    <a:cubicBezTo>
                      <a:pt x="45357" y="15379"/>
                      <a:pt x="47920" y="2563"/>
                      <a:pt x="46638" y="0"/>
                    </a:cubicBezTo>
                    <a:cubicBezTo>
                      <a:pt x="44075" y="6408"/>
                      <a:pt x="41512" y="19223"/>
                      <a:pt x="41512" y="25631"/>
                    </a:cubicBezTo>
                    <a:cubicBezTo>
                      <a:pt x="33823" y="70485"/>
                      <a:pt x="26134" y="115339"/>
                      <a:pt x="22289" y="160193"/>
                    </a:cubicBezTo>
                    <a:lnTo>
                      <a:pt x="8192" y="238367"/>
                    </a:lnTo>
                    <a:cubicBezTo>
                      <a:pt x="9474" y="228115"/>
                      <a:pt x="9474" y="219144"/>
                      <a:pt x="10755" y="208892"/>
                    </a:cubicBezTo>
                    <a:lnTo>
                      <a:pt x="18444" y="166601"/>
                    </a:lnTo>
                    <a:cubicBezTo>
                      <a:pt x="21008" y="144815"/>
                      <a:pt x="23570" y="124310"/>
                      <a:pt x="26134" y="102524"/>
                    </a:cubicBezTo>
                    <a:cubicBezTo>
                      <a:pt x="28697" y="92271"/>
                      <a:pt x="29978" y="83300"/>
                      <a:pt x="29978" y="79456"/>
                    </a:cubicBezTo>
                    <a:cubicBezTo>
                      <a:pt x="26134" y="88427"/>
                      <a:pt x="24852" y="103805"/>
                      <a:pt x="26134" y="103805"/>
                    </a:cubicBezTo>
                    <a:cubicBezTo>
                      <a:pt x="23570" y="124310"/>
                      <a:pt x="21008" y="144815"/>
                      <a:pt x="18444" y="165319"/>
                    </a:cubicBezTo>
                    <a:lnTo>
                      <a:pt x="10755" y="207610"/>
                    </a:lnTo>
                    <a:cubicBezTo>
                      <a:pt x="9474" y="220426"/>
                      <a:pt x="8192" y="231960"/>
                      <a:pt x="8192" y="244775"/>
                    </a:cubicBezTo>
                    <a:lnTo>
                      <a:pt x="4347" y="280658"/>
                    </a:lnTo>
                    <a:cubicBezTo>
                      <a:pt x="5629" y="261435"/>
                      <a:pt x="6910" y="242212"/>
                      <a:pt x="8192" y="222989"/>
                    </a:cubicBezTo>
                    <a:cubicBezTo>
                      <a:pt x="9474" y="212737"/>
                      <a:pt x="10755" y="202484"/>
                      <a:pt x="10755" y="198640"/>
                    </a:cubicBezTo>
                    <a:cubicBezTo>
                      <a:pt x="8192" y="206329"/>
                      <a:pt x="8192" y="222989"/>
                      <a:pt x="8192" y="222989"/>
                    </a:cubicBezTo>
                    <a:cubicBezTo>
                      <a:pt x="6910" y="243494"/>
                      <a:pt x="5629" y="263998"/>
                      <a:pt x="4347" y="285785"/>
                    </a:cubicBezTo>
                    <a:cubicBezTo>
                      <a:pt x="503" y="330639"/>
                      <a:pt x="503" y="330639"/>
                      <a:pt x="503" y="33320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8" name="Freeform: Shape 380088">
                <a:extLst>
                  <a:ext uri="{FF2B5EF4-FFF2-40B4-BE49-F238E27FC236}">
                    <a16:creationId xmlns:a16="http://schemas.microsoft.com/office/drawing/2014/main" id="{A8D91BE9-FD88-42CA-909D-DF9870015E8A}"/>
                  </a:ext>
                </a:extLst>
              </p:cNvPr>
              <p:cNvSpPr/>
              <p:nvPr/>
            </p:nvSpPr>
            <p:spPr>
              <a:xfrm>
                <a:off x="4132665" y="3237049"/>
                <a:ext cx="52543" cy="285784"/>
              </a:xfrm>
              <a:custGeom>
                <a:avLst/>
                <a:gdLst>
                  <a:gd name="connsiteX0" fmla="*/ 0 w 52543"/>
                  <a:gd name="connsiteY0" fmla="*/ 278095 h 285784"/>
                  <a:gd name="connsiteX1" fmla="*/ 0 w 52543"/>
                  <a:gd name="connsiteY1" fmla="*/ 285785 h 285784"/>
                  <a:gd name="connsiteX2" fmla="*/ 3844 w 52543"/>
                  <a:gd name="connsiteY2" fmla="*/ 266561 h 285784"/>
                  <a:gd name="connsiteX3" fmla="*/ 11534 w 52543"/>
                  <a:gd name="connsiteY3" fmla="*/ 233241 h 285784"/>
                  <a:gd name="connsiteX4" fmla="*/ 46136 w 52543"/>
                  <a:gd name="connsiteY4" fmla="*/ 24349 h 285784"/>
                  <a:gd name="connsiteX5" fmla="*/ 52544 w 52543"/>
                  <a:gd name="connsiteY5" fmla="*/ 0 h 285784"/>
                  <a:gd name="connsiteX6" fmla="*/ 52544 w 52543"/>
                  <a:gd name="connsiteY6" fmla="*/ 0 h 285784"/>
                  <a:gd name="connsiteX7" fmla="*/ 46136 w 52543"/>
                  <a:gd name="connsiteY7" fmla="*/ 24349 h 285784"/>
                  <a:gd name="connsiteX8" fmla="*/ 11534 w 52543"/>
                  <a:gd name="connsiteY8" fmla="*/ 230678 h 285784"/>
                  <a:gd name="connsiteX9" fmla="*/ 5126 w 52543"/>
                  <a:gd name="connsiteY9" fmla="*/ 261435 h 285784"/>
                  <a:gd name="connsiteX10" fmla="*/ 5126 w 52543"/>
                  <a:gd name="connsiteY10" fmla="*/ 260154 h 285784"/>
                  <a:gd name="connsiteX11" fmla="*/ 0 w 52543"/>
                  <a:gd name="connsiteY11" fmla="*/ 278095 h 28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543" h="285784">
                    <a:moveTo>
                      <a:pt x="0" y="278095"/>
                    </a:moveTo>
                    <a:cubicBezTo>
                      <a:pt x="0" y="283222"/>
                      <a:pt x="0" y="284503"/>
                      <a:pt x="0" y="285785"/>
                    </a:cubicBezTo>
                    <a:cubicBezTo>
                      <a:pt x="2563" y="283222"/>
                      <a:pt x="3844" y="272969"/>
                      <a:pt x="3844" y="266561"/>
                    </a:cubicBezTo>
                    <a:lnTo>
                      <a:pt x="11534" y="233241"/>
                    </a:lnTo>
                    <a:cubicBezTo>
                      <a:pt x="19223" y="162756"/>
                      <a:pt x="30757" y="92271"/>
                      <a:pt x="46136" y="24349"/>
                    </a:cubicBezTo>
                    <a:cubicBezTo>
                      <a:pt x="48699" y="17942"/>
                      <a:pt x="51262" y="6408"/>
                      <a:pt x="52544" y="0"/>
                    </a:cubicBezTo>
                    <a:cubicBezTo>
                      <a:pt x="52544" y="0"/>
                      <a:pt x="52544" y="0"/>
                      <a:pt x="52544" y="0"/>
                    </a:cubicBezTo>
                    <a:cubicBezTo>
                      <a:pt x="49980" y="5126"/>
                      <a:pt x="46136" y="21786"/>
                      <a:pt x="46136" y="24349"/>
                    </a:cubicBezTo>
                    <a:cubicBezTo>
                      <a:pt x="30757" y="92271"/>
                      <a:pt x="19223" y="161475"/>
                      <a:pt x="11534" y="230678"/>
                    </a:cubicBezTo>
                    <a:cubicBezTo>
                      <a:pt x="8971" y="239649"/>
                      <a:pt x="6408" y="252464"/>
                      <a:pt x="5126" y="261435"/>
                    </a:cubicBezTo>
                    <a:cubicBezTo>
                      <a:pt x="5126" y="261435"/>
                      <a:pt x="5126" y="260154"/>
                      <a:pt x="5126" y="260154"/>
                    </a:cubicBezTo>
                    <a:cubicBezTo>
                      <a:pt x="2563" y="262717"/>
                      <a:pt x="0" y="263998"/>
                      <a:pt x="0" y="27809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39" name="Freeform: Shape 380089">
                <a:extLst>
                  <a:ext uri="{FF2B5EF4-FFF2-40B4-BE49-F238E27FC236}">
                    <a16:creationId xmlns:a16="http://schemas.microsoft.com/office/drawing/2014/main" id="{89CF8A32-36C5-4332-8BF2-37ABB44E1A21}"/>
                  </a:ext>
                </a:extLst>
              </p:cNvPr>
              <p:cNvSpPr/>
              <p:nvPr/>
            </p:nvSpPr>
            <p:spPr>
              <a:xfrm>
                <a:off x="4136509" y="3358796"/>
                <a:ext cx="47898" cy="302444"/>
              </a:xfrm>
              <a:custGeom>
                <a:avLst/>
                <a:gdLst>
                  <a:gd name="connsiteX0" fmla="*/ 0 w 47898"/>
                  <a:gd name="connsiteY0" fmla="*/ 294755 h 302444"/>
                  <a:gd name="connsiteX1" fmla="*/ 1282 w 47898"/>
                  <a:gd name="connsiteY1" fmla="*/ 302445 h 302444"/>
                  <a:gd name="connsiteX2" fmla="*/ 3845 w 47898"/>
                  <a:gd name="connsiteY2" fmla="*/ 281940 h 302444"/>
                  <a:gd name="connsiteX3" fmla="*/ 30757 w 47898"/>
                  <a:gd name="connsiteY3" fmla="*/ 161475 h 302444"/>
                  <a:gd name="connsiteX4" fmla="*/ 43573 w 47898"/>
                  <a:gd name="connsiteY4" fmla="*/ 24349 h 302444"/>
                  <a:gd name="connsiteX5" fmla="*/ 47417 w 47898"/>
                  <a:gd name="connsiteY5" fmla="*/ 0 h 302444"/>
                  <a:gd name="connsiteX6" fmla="*/ 46136 w 47898"/>
                  <a:gd name="connsiteY6" fmla="*/ 0 h 302444"/>
                  <a:gd name="connsiteX7" fmla="*/ 42291 w 47898"/>
                  <a:gd name="connsiteY7" fmla="*/ 25631 h 302444"/>
                  <a:gd name="connsiteX8" fmla="*/ 29476 w 47898"/>
                  <a:gd name="connsiteY8" fmla="*/ 160193 h 302444"/>
                  <a:gd name="connsiteX9" fmla="*/ 3845 w 47898"/>
                  <a:gd name="connsiteY9" fmla="*/ 278095 h 302444"/>
                  <a:gd name="connsiteX10" fmla="*/ 2563 w 47898"/>
                  <a:gd name="connsiteY10" fmla="*/ 276814 h 302444"/>
                  <a:gd name="connsiteX11" fmla="*/ 0 w 47898"/>
                  <a:gd name="connsiteY11" fmla="*/ 294755 h 30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8" h="302444">
                    <a:moveTo>
                      <a:pt x="0" y="294755"/>
                    </a:moveTo>
                    <a:cubicBezTo>
                      <a:pt x="0" y="299882"/>
                      <a:pt x="0" y="301163"/>
                      <a:pt x="1282" y="302445"/>
                    </a:cubicBezTo>
                    <a:cubicBezTo>
                      <a:pt x="5126" y="299882"/>
                      <a:pt x="5126" y="288348"/>
                      <a:pt x="3845" y="281940"/>
                    </a:cubicBezTo>
                    <a:cubicBezTo>
                      <a:pt x="11534" y="246057"/>
                      <a:pt x="20505" y="197358"/>
                      <a:pt x="30757" y="161475"/>
                    </a:cubicBezTo>
                    <a:cubicBezTo>
                      <a:pt x="33320" y="115339"/>
                      <a:pt x="38447" y="69203"/>
                      <a:pt x="43573" y="24349"/>
                    </a:cubicBezTo>
                    <a:cubicBezTo>
                      <a:pt x="47417" y="17942"/>
                      <a:pt x="48699" y="6408"/>
                      <a:pt x="47417" y="0"/>
                    </a:cubicBezTo>
                    <a:cubicBezTo>
                      <a:pt x="47417" y="0"/>
                      <a:pt x="46136" y="0"/>
                      <a:pt x="46136" y="0"/>
                    </a:cubicBezTo>
                    <a:cubicBezTo>
                      <a:pt x="42291" y="6408"/>
                      <a:pt x="39728" y="21786"/>
                      <a:pt x="42291" y="25631"/>
                    </a:cubicBezTo>
                    <a:cubicBezTo>
                      <a:pt x="35883" y="70485"/>
                      <a:pt x="32039" y="115339"/>
                      <a:pt x="29476" y="160193"/>
                    </a:cubicBezTo>
                    <a:cubicBezTo>
                      <a:pt x="21786" y="196076"/>
                      <a:pt x="10253" y="242212"/>
                      <a:pt x="3845" y="278095"/>
                    </a:cubicBezTo>
                    <a:cubicBezTo>
                      <a:pt x="3845" y="278095"/>
                      <a:pt x="3845" y="276814"/>
                      <a:pt x="2563" y="276814"/>
                    </a:cubicBezTo>
                    <a:cubicBezTo>
                      <a:pt x="2563" y="279377"/>
                      <a:pt x="0" y="281940"/>
                      <a:pt x="0" y="29475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0" name="Freeform: Shape 380090">
                <a:extLst>
                  <a:ext uri="{FF2B5EF4-FFF2-40B4-BE49-F238E27FC236}">
                    <a16:creationId xmlns:a16="http://schemas.microsoft.com/office/drawing/2014/main" id="{F3FD5AD4-501F-41AA-8D00-B90C8BCA4925}"/>
                  </a:ext>
                </a:extLst>
              </p:cNvPr>
              <p:cNvSpPr/>
              <p:nvPr/>
            </p:nvSpPr>
            <p:spPr>
              <a:xfrm>
                <a:off x="4145480" y="3257554"/>
                <a:ext cx="50313" cy="324230"/>
              </a:xfrm>
              <a:custGeom>
                <a:avLst/>
                <a:gdLst>
                  <a:gd name="connsiteX0" fmla="*/ 0 w 50313"/>
                  <a:gd name="connsiteY0" fmla="*/ 316542 h 324230"/>
                  <a:gd name="connsiteX1" fmla="*/ 1282 w 50313"/>
                  <a:gd name="connsiteY1" fmla="*/ 324231 h 324230"/>
                  <a:gd name="connsiteX2" fmla="*/ 5126 w 50313"/>
                  <a:gd name="connsiteY2" fmla="*/ 303726 h 324230"/>
                  <a:gd name="connsiteX3" fmla="*/ 12815 w 50313"/>
                  <a:gd name="connsiteY3" fmla="*/ 270406 h 324230"/>
                  <a:gd name="connsiteX4" fmla="*/ 44854 w 50313"/>
                  <a:gd name="connsiteY4" fmla="*/ 24349 h 324230"/>
                  <a:gd name="connsiteX5" fmla="*/ 49980 w 50313"/>
                  <a:gd name="connsiteY5" fmla="*/ 0 h 324230"/>
                  <a:gd name="connsiteX6" fmla="*/ 48699 w 50313"/>
                  <a:gd name="connsiteY6" fmla="*/ 0 h 324230"/>
                  <a:gd name="connsiteX7" fmla="*/ 43573 w 50313"/>
                  <a:gd name="connsiteY7" fmla="*/ 24349 h 324230"/>
                  <a:gd name="connsiteX8" fmla="*/ 11534 w 50313"/>
                  <a:gd name="connsiteY8" fmla="*/ 267843 h 324230"/>
                  <a:gd name="connsiteX9" fmla="*/ 3844 w 50313"/>
                  <a:gd name="connsiteY9" fmla="*/ 298600 h 324230"/>
                  <a:gd name="connsiteX10" fmla="*/ 2563 w 50313"/>
                  <a:gd name="connsiteY10" fmla="*/ 297319 h 324230"/>
                  <a:gd name="connsiteX11" fmla="*/ 0 w 50313"/>
                  <a:gd name="connsiteY11" fmla="*/ 316542 h 324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313" h="324230">
                    <a:moveTo>
                      <a:pt x="0" y="316542"/>
                    </a:moveTo>
                    <a:cubicBezTo>
                      <a:pt x="0" y="321668"/>
                      <a:pt x="0" y="322949"/>
                      <a:pt x="1282" y="324231"/>
                    </a:cubicBezTo>
                    <a:cubicBezTo>
                      <a:pt x="5126" y="321668"/>
                      <a:pt x="5126" y="310134"/>
                      <a:pt x="5126" y="303726"/>
                    </a:cubicBezTo>
                    <a:lnTo>
                      <a:pt x="12815" y="270406"/>
                    </a:lnTo>
                    <a:cubicBezTo>
                      <a:pt x="17942" y="187106"/>
                      <a:pt x="28194" y="105087"/>
                      <a:pt x="44854" y="24349"/>
                    </a:cubicBezTo>
                    <a:cubicBezTo>
                      <a:pt x="48699" y="17942"/>
                      <a:pt x="51262" y="6408"/>
                      <a:pt x="49980" y="0"/>
                    </a:cubicBezTo>
                    <a:cubicBezTo>
                      <a:pt x="49980" y="0"/>
                      <a:pt x="49980" y="0"/>
                      <a:pt x="48699" y="0"/>
                    </a:cubicBezTo>
                    <a:cubicBezTo>
                      <a:pt x="43573" y="6408"/>
                      <a:pt x="41010" y="23068"/>
                      <a:pt x="43573" y="24349"/>
                    </a:cubicBezTo>
                    <a:cubicBezTo>
                      <a:pt x="28194" y="103805"/>
                      <a:pt x="16660" y="185824"/>
                      <a:pt x="11534" y="267843"/>
                    </a:cubicBezTo>
                    <a:cubicBezTo>
                      <a:pt x="8971" y="276814"/>
                      <a:pt x="6408" y="289629"/>
                      <a:pt x="3844" y="298600"/>
                    </a:cubicBezTo>
                    <a:cubicBezTo>
                      <a:pt x="3844" y="298600"/>
                      <a:pt x="3844" y="297319"/>
                      <a:pt x="2563" y="297319"/>
                    </a:cubicBezTo>
                    <a:cubicBezTo>
                      <a:pt x="2563" y="299882"/>
                      <a:pt x="0" y="302445"/>
                      <a:pt x="0" y="3165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1" name="Freeform: Shape 380091">
                <a:extLst>
                  <a:ext uri="{FF2B5EF4-FFF2-40B4-BE49-F238E27FC236}">
                    <a16:creationId xmlns:a16="http://schemas.microsoft.com/office/drawing/2014/main" id="{00E2B00F-6F06-4720-9834-776D129372C4}"/>
                  </a:ext>
                </a:extLst>
              </p:cNvPr>
              <p:cNvSpPr/>
              <p:nvPr/>
            </p:nvSpPr>
            <p:spPr>
              <a:xfrm>
                <a:off x="4518411" y="2966567"/>
                <a:ext cx="64641" cy="200521"/>
              </a:xfrm>
              <a:custGeom>
                <a:avLst/>
                <a:gdLst>
                  <a:gd name="connsiteX0" fmla="*/ 0 w 64641"/>
                  <a:gd name="connsiteY0" fmla="*/ 193589 h 200521"/>
                  <a:gd name="connsiteX1" fmla="*/ 10252 w 64641"/>
                  <a:gd name="connsiteY1" fmla="*/ 198715 h 200521"/>
                  <a:gd name="connsiteX2" fmla="*/ 11534 w 64641"/>
                  <a:gd name="connsiteY2" fmla="*/ 176929 h 200521"/>
                  <a:gd name="connsiteX3" fmla="*/ 14097 w 64641"/>
                  <a:gd name="connsiteY3" fmla="*/ 156424 h 200521"/>
                  <a:gd name="connsiteX4" fmla="*/ 42291 w 64641"/>
                  <a:gd name="connsiteY4" fmla="*/ 114133 h 200521"/>
                  <a:gd name="connsiteX5" fmla="*/ 56388 w 64641"/>
                  <a:gd name="connsiteY5" fmla="*/ 21862 h 200521"/>
                  <a:gd name="connsiteX6" fmla="*/ 60233 w 64641"/>
                  <a:gd name="connsiteY6" fmla="*/ 75 h 200521"/>
                  <a:gd name="connsiteX7" fmla="*/ 58951 w 64641"/>
                  <a:gd name="connsiteY7" fmla="*/ 75 h 200521"/>
                  <a:gd name="connsiteX8" fmla="*/ 51262 w 64641"/>
                  <a:gd name="connsiteY8" fmla="*/ 23143 h 200521"/>
                  <a:gd name="connsiteX9" fmla="*/ 52544 w 64641"/>
                  <a:gd name="connsiteY9" fmla="*/ 23143 h 200521"/>
                  <a:gd name="connsiteX10" fmla="*/ 38446 w 64641"/>
                  <a:gd name="connsiteY10" fmla="*/ 112851 h 200521"/>
                  <a:gd name="connsiteX11" fmla="*/ 10252 w 64641"/>
                  <a:gd name="connsiteY11" fmla="*/ 155142 h 200521"/>
                  <a:gd name="connsiteX12" fmla="*/ 7689 w 64641"/>
                  <a:gd name="connsiteY12" fmla="*/ 176929 h 200521"/>
                  <a:gd name="connsiteX13" fmla="*/ 0 w 64641"/>
                  <a:gd name="connsiteY13" fmla="*/ 193589 h 2005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641" h="200521">
                    <a:moveTo>
                      <a:pt x="0" y="193589"/>
                    </a:moveTo>
                    <a:cubicBezTo>
                      <a:pt x="0" y="199997"/>
                      <a:pt x="5126" y="202560"/>
                      <a:pt x="10252" y="198715"/>
                    </a:cubicBezTo>
                    <a:cubicBezTo>
                      <a:pt x="16660" y="192307"/>
                      <a:pt x="19223" y="176929"/>
                      <a:pt x="11534" y="176929"/>
                    </a:cubicBezTo>
                    <a:cubicBezTo>
                      <a:pt x="12816" y="170521"/>
                      <a:pt x="12816" y="164113"/>
                      <a:pt x="14097" y="156424"/>
                    </a:cubicBezTo>
                    <a:lnTo>
                      <a:pt x="42291" y="114133"/>
                    </a:lnTo>
                    <a:cubicBezTo>
                      <a:pt x="46136" y="83376"/>
                      <a:pt x="51262" y="52619"/>
                      <a:pt x="56388" y="21862"/>
                    </a:cubicBezTo>
                    <a:cubicBezTo>
                      <a:pt x="66640" y="14172"/>
                      <a:pt x="66640" y="-1206"/>
                      <a:pt x="60233" y="75"/>
                    </a:cubicBezTo>
                    <a:cubicBezTo>
                      <a:pt x="60233" y="75"/>
                      <a:pt x="58951" y="75"/>
                      <a:pt x="58951" y="75"/>
                    </a:cubicBezTo>
                    <a:cubicBezTo>
                      <a:pt x="48699" y="5202"/>
                      <a:pt x="46136" y="21862"/>
                      <a:pt x="51262" y="23143"/>
                    </a:cubicBezTo>
                    <a:cubicBezTo>
                      <a:pt x="51262" y="23143"/>
                      <a:pt x="52544" y="23143"/>
                      <a:pt x="52544" y="23143"/>
                    </a:cubicBezTo>
                    <a:cubicBezTo>
                      <a:pt x="47417" y="52619"/>
                      <a:pt x="42291" y="82094"/>
                      <a:pt x="38446" y="112851"/>
                    </a:cubicBezTo>
                    <a:lnTo>
                      <a:pt x="10252" y="155142"/>
                    </a:lnTo>
                    <a:cubicBezTo>
                      <a:pt x="8971" y="162832"/>
                      <a:pt x="8971" y="170521"/>
                      <a:pt x="7689" y="176929"/>
                    </a:cubicBezTo>
                    <a:cubicBezTo>
                      <a:pt x="0" y="183336"/>
                      <a:pt x="0" y="192307"/>
                      <a:pt x="0" y="19358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2" name="Freeform: Shape 380092">
                <a:extLst>
                  <a:ext uri="{FF2B5EF4-FFF2-40B4-BE49-F238E27FC236}">
                    <a16:creationId xmlns:a16="http://schemas.microsoft.com/office/drawing/2014/main" id="{DF93D9CE-8798-4EB2-AED4-7973ADEAB7DD}"/>
                  </a:ext>
                </a:extLst>
              </p:cNvPr>
              <p:cNvSpPr/>
              <p:nvPr/>
            </p:nvSpPr>
            <p:spPr>
              <a:xfrm>
                <a:off x="4492717" y="2971769"/>
                <a:ext cx="69831" cy="237903"/>
              </a:xfrm>
              <a:custGeom>
                <a:avLst/>
                <a:gdLst>
                  <a:gd name="connsiteX0" fmla="*/ 63 w 69831"/>
                  <a:gd name="connsiteY0" fmla="*/ 230678 h 237903"/>
                  <a:gd name="connsiteX1" fmla="*/ 10316 w 69831"/>
                  <a:gd name="connsiteY1" fmla="*/ 235804 h 237903"/>
                  <a:gd name="connsiteX2" fmla="*/ 11597 w 69831"/>
                  <a:gd name="connsiteY2" fmla="*/ 212737 h 237903"/>
                  <a:gd name="connsiteX3" fmla="*/ 18005 w 69831"/>
                  <a:gd name="connsiteY3" fmla="*/ 157630 h 237903"/>
                  <a:gd name="connsiteX4" fmla="*/ 46199 w 69831"/>
                  <a:gd name="connsiteY4" fmla="*/ 115339 h 237903"/>
                  <a:gd name="connsiteX5" fmla="*/ 61578 w 69831"/>
                  <a:gd name="connsiteY5" fmla="*/ 23068 h 237903"/>
                  <a:gd name="connsiteX6" fmla="*/ 65422 w 69831"/>
                  <a:gd name="connsiteY6" fmla="*/ 0 h 237903"/>
                  <a:gd name="connsiteX7" fmla="*/ 64141 w 69831"/>
                  <a:gd name="connsiteY7" fmla="*/ 0 h 237903"/>
                  <a:gd name="connsiteX8" fmla="*/ 56452 w 69831"/>
                  <a:gd name="connsiteY8" fmla="*/ 23068 h 237903"/>
                  <a:gd name="connsiteX9" fmla="*/ 57733 w 69831"/>
                  <a:gd name="connsiteY9" fmla="*/ 23068 h 237903"/>
                  <a:gd name="connsiteX10" fmla="*/ 42354 w 69831"/>
                  <a:gd name="connsiteY10" fmla="*/ 112776 h 237903"/>
                  <a:gd name="connsiteX11" fmla="*/ 14160 w 69831"/>
                  <a:gd name="connsiteY11" fmla="*/ 155067 h 237903"/>
                  <a:gd name="connsiteX12" fmla="*/ 7753 w 69831"/>
                  <a:gd name="connsiteY12" fmla="*/ 212737 h 237903"/>
                  <a:gd name="connsiteX13" fmla="*/ 63 w 69831"/>
                  <a:gd name="connsiteY13" fmla="*/ 230678 h 23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831" h="237903">
                    <a:moveTo>
                      <a:pt x="63" y="230678"/>
                    </a:moveTo>
                    <a:cubicBezTo>
                      <a:pt x="63" y="238367"/>
                      <a:pt x="5190" y="239649"/>
                      <a:pt x="10316" y="235804"/>
                    </a:cubicBezTo>
                    <a:cubicBezTo>
                      <a:pt x="16724" y="229397"/>
                      <a:pt x="19286" y="214018"/>
                      <a:pt x="11597" y="212737"/>
                    </a:cubicBezTo>
                    <a:cubicBezTo>
                      <a:pt x="12879" y="194795"/>
                      <a:pt x="15442" y="175572"/>
                      <a:pt x="18005" y="157630"/>
                    </a:cubicBezTo>
                    <a:lnTo>
                      <a:pt x="46199" y="115339"/>
                    </a:lnTo>
                    <a:cubicBezTo>
                      <a:pt x="50044" y="84582"/>
                      <a:pt x="55170" y="53825"/>
                      <a:pt x="61578" y="23068"/>
                    </a:cubicBezTo>
                    <a:cubicBezTo>
                      <a:pt x="71830" y="15379"/>
                      <a:pt x="71830" y="0"/>
                      <a:pt x="65422" y="0"/>
                    </a:cubicBezTo>
                    <a:cubicBezTo>
                      <a:pt x="65422" y="0"/>
                      <a:pt x="64141" y="0"/>
                      <a:pt x="64141" y="0"/>
                    </a:cubicBezTo>
                    <a:cubicBezTo>
                      <a:pt x="55170" y="5126"/>
                      <a:pt x="51325" y="20505"/>
                      <a:pt x="56452" y="23068"/>
                    </a:cubicBezTo>
                    <a:cubicBezTo>
                      <a:pt x="56452" y="23068"/>
                      <a:pt x="57733" y="23068"/>
                      <a:pt x="57733" y="23068"/>
                    </a:cubicBezTo>
                    <a:cubicBezTo>
                      <a:pt x="52607" y="52543"/>
                      <a:pt x="47481" y="83300"/>
                      <a:pt x="42354" y="112776"/>
                    </a:cubicBezTo>
                    <a:lnTo>
                      <a:pt x="14160" y="155067"/>
                    </a:lnTo>
                    <a:cubicBezTo>
                      <a:pt x="11597" y="174290"/>
                      <a:pt x="9034" y="193513"/>
                      <a:pt x="7753" y="212737"/>
                    </a:cubicBezTo>
                    <a:cubicBezTo>
                      <a:pt x="-1218" y="220426"/>
                      <a:pt x="63" y="230678"/>
                      <a:pt x="63" y="2306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3" name="Freeform: Shape 380093">
                <a:extLst>
                  <a:ext uri="{FF2B5EF4-FFF2-40B4-BE49-F238E27FC236}">
                    <a16:creationId xmlns:a16="http://schemas.microsoft.com/office/drawing/2014/main" id="{26C3B70E-B884-4053-808D-ECE6D195FE20}"/>
                  </a:ext>
                </a:extLst>
              </p:cNvPr>
              <p:cNvSpPr/>
              <p:nvPr/>
            </p:nvSpPr>
            <p:spPr>
              <a:xfrm>
                <a:off x="4465868" y="3081662"/>
                <a:ext cx="52400" cy="171583"/>
              </a:xfrm>
              <a:custGeom>
                <a:avLst/>
                <a:gdLst>
                  <a:gd name="connsiteX0" fmla="*/ 0 w 52400"/>
                  <a:gd name="connsiteY0" fmla="*/ 164358 h 171583"/>
                  <a:gd name="connsiteX1" fmla="*/ 8971 w 52400"/>
                  <a:gd name="connsiteY1" fmla="*/ 169484 h 171583"/>
                  <a:gd name="connsiteX2" fmla="*/ 8971 w 52400"/>
                  <a:gd name="connsiteY2" fmla="*/ 146417 h 171583"/>
                  <a:gd name="connsiteX3" fmla="*/ 19223 w 52400"/>
                  <a:gd name="connsiteY3" fmla="*/ 56708 h 171583"/>
                  <a:gd name="connsiteX4" fmla="*/ 39728 w 52400"/>
                  <a:gd name="connsiteY4" fmla="*/ 23388 h 171583"/>
                  <a:gd name="connsiteX5" fmla="*/ 51262 w 52400"/>
                  <a:gd name="connsiteY5" fmla="*/ 1602 h 171583"/>
                  <a:gd name="connsiteX6" fmla="*/ 46136 w 52400"/>
                  <a:gd name="connsiteY6" fmla="*/ 320 h 171583"/>
                  <a:gd name="connsiteX7" fmla="*/ 37165 w 52400"/>
                  <a:gd name="connsiteY7" fmla="*/ 20825 h 171583"/>
                  <a:gd name="connsiteX8" fmla="*/ 15378 w 52400"/>
                  <a:gd name="connsiteY8" fmla="*/ 55427 h 171583"/>
                  <a:gd name="connsiteX9" fmla="*/ 5126 w 52400"/>
                  <a:gd name="connsiteY9" fmla="*/ 147698 h 171583"/>
                  <a:gd name="connsiteX10" fmla="*/ 0 w 52400"/>
                  <a:gd name="connsiteY10" fmla="*/ 164358 h 171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400" h="171583">
                    <a:moveTo>
                      <a:pt x="0" y="164358"/>
                    </a:moveTo>
                    <a:cubicBezTo>
                      <a:pt x="0" y="172047"/>
                      <a:pt x="5126" y="173329"/>
                      <a:pt x="8971" y="169484"/>
                    </a:cubicBezTo>
                    <a:cubicBezTo>
                      <a:pt x="15378" y="163077"/>
                      <a:pt x="17942" y="147698"/>
                      <a:pt x="8971" y="146417"/>
                    </a:cubicBezTo>
                    <a:cubicBezTo>
                      <a:pt x="11534" y="115660"/>
                      <a:pt x="15378" y="86184"/>
                      <a:pt x="19223" y="56708"/>
                    </a:cubicBezTo>
                    <a:cubicBezTo>
                      <a:pt x="25631" y="46456"/>
                      <a:pt x="33320" y="33641"/>
                      <a:pt x="39728" y="23388"/>
                    </a:cubicBezTo>
                    <a:cubicBezTo>
                      <a:pt x="48699" y="25951"/>
                      <a:pt x="55106" y="6728"/>
                      <a:pt x="51262" y="1602"/>
                    </a:cubicBezTo>
                    <a:cubicBezTo>
                      <a:pt x="49980" y="-961"/>
                      <a:pt x="48699" y="320"/>
                      <a:pt x="46136" y="320"/>
                    </a:cubicBezTo>
                    <a:cubicBezTo>
                      <a:pt x="39728" y="4165"/>
                      <a:pt x="35883" y="14417"/>
                      <a:pt x="37165" y="20825"/>
                    </a:cubicBezTo>
                    <a:lnTo>
                      <a:pt x="15378" y="55427"/>
                    </a:lnTo>
                    <a:cubicBezTo>
                      <a:pt x="11534" y="86184"/>
                      <a:pt x="7689" y="116941"/>
                      <a:pt x="5126" y="147698"/>
                    </a:cubicBezTo>
                    <a:cubicBezTo>
                      <a:pt x="0" y="154106"/>
                      <a:pt x="0" y="164358"/>
                      <a:pt x="0" y="16435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4" name="Freeform: Shape 380094">
                <a:extLst>
                  <a:ext uri="{FF2B5EF4-FFF2-40B4-BE49-F238E27FC236}">
                    <a16:creationId xmlns:a16="http://schemas.microsoft.com/office/drawing/2014/main" id="{C3A3614D-9552-4A74-B10D-49B1786E30E0}"/>
                  </a:ext>
                </a:extLst>
              </p:cNvPr>
              <p:cNvSpPr/>
              <p:nvPr/>
            </p:nvSpPr>
            <p:spPr>
              <a:xfrm>
                <a:off x="4745000" y="2639528"/>
                <a:ext cx="49347" cy="57589"/>
              </a:xfrm>
              <a:custGeom>
                <a:avLst/>
                <a:gdLst>
                  <a:gd name="connsiteX0" fmla="*/ 245 w 49347"/>
                  <a:gd name="connsiteY0" fmla="*/ 51582 h 57589"/>
                  <a:gd name="connsiteX1" fmla="*/ 9216 w 49347"/>
                  <a:gd name="connsiteY1" fmla="*/ 55427 h 57589"/>
                  <a:gd name="connsiteX2" fmla="*/ 16906 w 49347"/>
                  <a:gd name="connsiteY2" fmla="*/ 40048 h 57589"/>
                  <a:gd name="connsiteX3" fmla="*/ 34847 w 49347"/>
                  <a:gd name="connsiteY3" fmla="*/ 19544 h 57589"/>
                  <a:gd name="connsiteX4" fmla="*/ 48945 w 49347"/>
                  <a:gd name="connsiteY4" fmla="*/ 1602 h 57589"/>
                  <a:gd name="connsiteX5" fmla="*/ 43818 w 49347"/>
                  <a:gd name="connsiteY5" fmla="*/ 320 h 57589"/>
                  <a:gd name="connsiteX6" fmla="*/ 32284 w 49347"/>
                  <a:gd name="connsiteY6" fmla="*/ 18262 h 57589"/>
                  <a:gd name="connsiteX7" fmla="*/ 15624 w 49347"/>
                  <a:gd name="connsiteY7" fmla="*/ 37485 h 57589"/>
                  <a:gd name="connsiteX8" fmla="*/ 245 w 49347"/>
                  <a:gd name="connsiteY8" fmla="*/ 51582 h 57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347" h="57589">
                    <a:moveTo>
                      <a:pt x="245" y="51582"/>
                    </a:moveTo>
                    <a:cubicBezTo>
                      <a:pt x="-1036" y="57990"/>
                      <a:pt x="2809" y="59271"/>
                      <a:pt x="9216" y="55427"/>
                    </a:cubicBezTo>
                    <a:cubicBezTo>
                      <a:pt x="13061" y="52864"/>
                      <a:pt x="16906" y="46456"/>
                      <a:pt x="16906" y="40048"/>
                    </a:cubicBezTo>
                    <a:cubicBezTo>
                      <a:pt x="22032" y="33641"/>
                      <a:pt x="29721" y="25951"/>
                      <a:pt x="34847" y="19544"/>
                    </a:cubicBezTo>
                    <a:cubicBezTo>
                      <a:pt x="41255" y="22107"/>
                      <a:pt x="51508" y="8010"/>
                      <a:pt x="48945" y="1602"/>
                    </a:cubicBezTo>
                    <a:cubicBezTo>
                      <a:pt x="47663" y="-961"/>
                      <a:pt x="45100" y="320"/>
                      <a:pt x="43818" y="320"/>
                    </a:cubicBezTo>
                    <a:cubicBezTo>
                      <a:pt x="36129" y="4165"/>
                      <a:pt x="31003" y="13136"/>
                      <a:pt x="32284" y="18262"/>
                    </a:cubicBezTo>
                    <a:cubicBezTo>
                      <a:pt x="27158" y="24670"/>
                      <a:pt x="20750" y="32359"/>
                      <a:pt x="15624" y="37485"/>
                    </a:cubicBezTo>
                    <a:cubicBezTo>
                      <a:pt x="10498" y="33641"/>
                      <a:pt x="1527" y="43893"/>
                      <a:pt x="245" y="5158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5" name="Freeform: Shape 380095">
                <a:extLst>
                  <a:ext uri="{FF2B5EF4-FFF2-40B4-BE49-F238E27FC236}">
                    <a16:creationId xmlns:a16="http://schemas.microsoft.com/office/drawing/2014/main" id="{665A27A0-2222-48F4-A47B-21A723A16E67}"/>
                  </a:ext>
                </a:extLst>
              </p:cNvPr>
              <p:cNvSpPr/>
              <p:nvPr/>
            </p:nvSpPr>
            <p:spPr>
              <a:xfrm>
                <a:off x="4395321" y="2751343"/>
                <a:ext cx="88630" cy="274250"/>
              </a:xfrm>
              <a:custGeom>
                <a:avLst/>
                <a:gdLst>
                  <a:gd name="connsiteX0" fmla="*/ 75672 w 88630"/>
                  <a:gd name="connsiteY0" fmla="*/ 14097 h 274250"/>
                  <a:gd name="connsiteX1" fmla="*/ 74391 w 88630"/>
                  <a:gd name="connsiteY1" fmla="*/ 20505 h 274250"/>
                  <a:gd name="connsiteX2" fmla="*/ 75672 w 88630"/>
                  <a:gd name="connsiteY2" fmla="*/ 21786 h 274250"/>
                  <a:gd name="connsiteX3" fmla="*/ 28255 w 88630"/>
                  <a:gd name="connsiteY3" fmla="*/ 139688 h 274250"/>
                  <a:gd name="connsiteX4" fmla="*/ 33381 w 88630"/>
                  <a:gd name="connsiteY4" fmla="*/ 165319 h 274250"/>
                  <a:gd name="connsiteX5" fmla="*/ 7750 w 88630"/>
                  <a:gd name="connsiteY5" fmla="*/ 251183 h 274250"/>
                  <a:gd name="connsiteX6" fmla="*/ 1342 w 88630"/>
                  <a:gd name="connsiteY6" fmla="*/ 274251 h 274250"/>
                  <a:gd name="connsiteX7" fmla="*/ 11595 w 88630"/>
                  <a:gd name="connsiteY7" fmla="*/ 251183 h 274250"/>
                  <a:gd name="connsiteX8" fmla="*/ 10313 w 88630"/>
                  <a:gd name="connsiteY8" fmla="*/ 249901 h 274250"/>
                  <a:gd name="connsiteX9" fmla="*/ 37226 w 88630"/>
                  <a:gd name="connsiteY9" fmla="*/ 162756 h 274250"/>
                  <a:gd name="connsiteX10" fmla="*/ 32100 w 88630"/>
                  <a:gd name="connsiteY10" fmla="*/ 137125 h 274250"/>
                  <a:gd name="connsiteX11" fmla="*/ 78235 w 88630"/>
                  <a:gd name="connsiteY11" fmla="*/ 20505 h 274250"/>
                  <a:gd name="connsiteX12" fmla="*/ 88488 w 88630"/>
                  <a:gd name="connsiteY12" fmla="*/ 0 h 274250"/>
                  <a:gd name="connsiteX13" fmla="*/ 87206 w 88630"/>
                  <a:gd name="connsiteY13" fmla="*/ 0 h 274250"/>
                  <a:gd name="connsiteX14" fmla="*/ 75672 w 88630"/>
                  <a:gd name="connsiteY14" fmla="*/ 14097 h 274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630" h="274250">
                    <a:moveTo>
                      <a:pt x="75672" y="14097"/>
                    </a:moveTo>
                    <a:cubicBezTo>
                      <a:pt x="74391" y="17942"/>
                      <a:pt x="74391" y="17942"/>
                      <a:pt x="74391" y="20505"/>
                    </a:cubicBezTo>
                    <a:cubicBezTo>
                      <a:pt x="74391" y="20505"/>
                      <a:pt x="74391" y="20505"/>
                      <a:pt x="75672" y="21786"/>
                    </a:cubicBezTo>
                    <a:cubicBezTo>
                      <a:pt x="59012" y="60233"/>
                      <a:pt x="42352" y="99961"/>
                      <a:pt x="28255" y="139688"/>
                    </a:cubicBezTo>
                    <a:lnTo>
                      <a:pt x="33381" y="165319"/>
                    </a:lnTo>
                    <a:cubicBezTo>
                      <a:pt x="24410" y="193513"/>
                      <a:pt x="15439" y="221707"/>
                      <a:pt x="7750" y="251183"/>
                    </a:cubicBezTo>
                    <a:cubicBezTo>
                      <a:pt x="2624" y="255028"/>
                      <a:pt x="-2502" y="267843"/>
                      <a:pt x="1342" y="274251"/>
                    </a:cubicBezTo>
                    <a:cubicBezTo>
                      <a:pt x="10313" y="274251"/>
                      <a:pt x="12876" y="252464"/>
                      <a:pt x="11595" y="251183"/>
                    </a:cubicBezTo>
                    <a:cubicBezTo>
                      <a:pt x="11595" y="251183"/>
                      <a:pt x="10313" y="251183"/>
                      <a:pt x="10313" y="249901"/>
                    </a:cubicBezTo>
                    <a:cubicBezTo>
                      <a:pt x="18003" y="220426"/>
                      <a:pt x="26973" y="190950"/>
                      <a:pt x="37226" y="162756"/>
                    </a:cubicBezTo>
                    <a:lnTo>
                      <a:pt x="32100" y="137125"/>
                    </a:lnTo>
                    <a:cubicBezTo>
                      <a:pt x="46197" y="97397"/>
                      <a:pt x="61575" y="58951"/>
                      <a:pt x="78235" y="20505"/>
                    </a:cubicBezTo>
                    <a:cubicBezTo>
                      <a:pt x="82080" y="16660"/>
                      <a:pt x="89769" y="5126"/>
                      <a:pt x="88488" y="0"/>
                    </a:cubicBezTo>
                    <a:cubicBezTo>
                      <a:pt x="88488" y="0"/>
                      <a:pt x="87206" y="0"/>
                      <a:pt x="87206" y="0"/>
                    </a:cubicBezTo>
                    <a:cubicBezTo>
                      <a:pt x="80799" y="3845"/>
                      <a:pt x="76954" y="10252"/>
                      <a:pt x="75672" y="14097"/>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6" name="Freeform: Shape 380096">
                <a:extLst>
                  <a:ext uri="{FF2B5EF4-FFF2-40B4-BE49-F238E27FC236}">
                    <a16:creationId xmlns:a16="http://schemas.microsoft.com/office/drawing/2014/main" id="{63D125B2-3064-47BE-9126-B0E0029CBF42}"/>
                  </a:ext>
                </a:extLst>
              </p:cNvPr>
              <p:cNvSpPr/>
              <p:nvPr/>
            </p:nvSpPr>
            <p:spPr>
              <a:xfrm>
                <a:off x="4362062" y="3114021"/>
                <a:ext cx="71059" cy="180801"/>
              </a:xfrm>
              <a:custGeom>
                <a:avLst/>
                <a:gdLst>
                  <a:gd name="connsiteX0" fmla="*/ 0 w 71059"/>
                  <a:gd name="connsiteY0" fmla="*/ 173009 h 180801"/>
                  <a:gd name="connsiteX1" fmla="*/ 7689 w 71059"/>
                  <a:gd name="connsiteY1" fmla="*/ 178135 h 180801"/>
                  <a:gd name="connsiteX2" fmla="*/ 8971 w 71059"/>
                  <a:gd name="connsiteY2" fmla="*/ 155067 h 180801"/>
                  <a:gd name="connsiteX3" fmla="*/ 15379 w 71059"/>
                  <a:gd name="connsiteY3" fmla="*/ 98679 h 180801"/>
                  <a:gd name="connsiteX4" fmla="*/ 58951 w 71059"/>
                  <a:gd name="connsiteY4" fmla="*/ 23068 h 180801"/>
                  <a:gd name="connsiteX5" fmla="*/ 70485 w 71059"/>
                  <a:gd name="connsiteY5" fmla="*/ 1282 h 180801"/>
                  <a:gd name="connsiteX6" fmla="*/ 66641 w 71059"/>
                  <a:gd name="connsiteY6" fmla="*/ 0 h 180801"/>
                  <a:gd name="connsiteX7" fmla="*/ 57670 w 71059"/>
                  <a:gd name="connsiteY7" fmla="*/ 20505 h 180801"/>
                  <a:gd name="connsiteX8" fmla="*/ 12816 w 71059"/>
                  <a:gd name="connsiteY8" fmla="*/ 97397 h 180801"/>
                  <a:gd name="connsiteX9" fmla="*/ 5126 w 71059"/>
                  <a:gd name="connsiteY9" fmla="*/ 156349 h 180801"/>
                  <a:gd name="connsiteX10" fmla="*/ 0 w 71059"/>
                  <a:gd name="connsiteY10" fmla="*/ 173009 h 18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059" h="180801">
                    <a:moveTo>
                      <a:pt x="0" y="173009"/>
                    </a:moveTo>
                    <a:cubicBezTo>
                      <a:pt x="0" y="180698"/>
                      <a:pt x="3845" y="183261"/>
                      <a:pt x="7689" y="178135"/>
                    </a:cubicBezTo>
                    <a:cubicBezTo>
                      <a:pt x="12816" y="171727"/>
                      <a:pt x="15379" y="156349"/>
                      <a:pt x="8971" y="155067"/>
                    </a:cubicBezTo>
                    <a:cubicBezTo>
                      <a:pt x="11534" y="135844"/>
                      <a:pt x="12816" y="117902"/>
                      <a:pt x="15379" y="98679"/>
                    </a:cubicBezTo>
                    <a:cubicBezTo>
                      <a:pt x="28194" y="75611"/>
                      <a:pt x="46136" y="46136"/>
                      <a:pt x="58951" y="23068"/>
                    </a:cubicBezTo>
                    <a:cubicBezTo>
                      <a:pt x="66641" y="26912"/>
                      <a:pt x="73049" y="6408"/>
                      <a:pt x="70485" y="1282"/>
                    </a:cubicBezTo>
                    <a:cubicBezTo>
                      <a:pt x="69204" y="0"/>
                      <a:pt x="67922" y="0"/>
                      <a:pt x="66641" y="0"/>
                    </a:cubicBezTo>
                    <a:cubicBezTo>
                      <a:pt x="60233" y="3845"/>
                      <a:pt x="56388" y="14097"/>
                      <a:pt x="57670" y="20505"/>
                    </a:cubicBezTo>
                    <a:lnTo>
                      <a:pt x="12816" y="97397"/>
                    </a:lnTo>
                    <a:cubicBezTo>
                      <a:pt x="10252" y="116621"/>
                      <a:pt x="7689" y="135844"/>
                      <a:pt x="5126" y="156349"/>
                    </a:cubicBezTo>
                    <a:cubicBezTo>
                      <a:pt x="0" y="162756"/>
                      <a:pt x="0" y="173009"/>
                      <a:pt x="0" y="173009"/>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7" name="Freeform: Shape 380097">
                <a:extLst>
                  <a:ext uri="{FF2B5EF4-FFF2-40B4-BE49-F238E27FC236}">
                    <a16:creationId xmlns:a16="http://schemas.microsoft.com/office/drawing/2014/main" id="{167D51D3-ECC4-4B82-925C-F309FBAD63D5}"/>
                  </a:ext>
                </a:extLst>
              </p:cNvPr>
              <p:cNvSpPr/>
              <p:nvPr/>
            </p:nvSpPr>
            <p:spPr>
              <a:xfrm>
                <a:off x="4386071" y="3033174"/>
                <a:ext cx="29816" cy="112885"/>
              </a:xfrm>
              <a:custGeom>
                <a:avLst/>
                <a:gdLst>
                  <a:gd name="connsiteX0" fmla="*/ 341 w 29816"/>
                  <a:gd name="connsiteY0" fmla="*/ 18051 h 112885"/>
                  <a:gd name="connsiteX1" fmla="*/ 4186 w 29816"/>
                  <a:gd name="connsiteY1" fmla="*/ 24459 h 112885"/>
                  <a:gd name="connsiteX2" fmla="*/ 6749 w 29816"/>
                  <a:gd name="connsiteY2" fmla="*/ 21896 h 112885"/>
                  <a:gd name="connsiteX3" fmla="*/ 25972 w 29816"/>
                  <a:gd name="connsiteY3" fmla="*/ 69313 h 112885"/>
                  <a:gd name="connsiteX4" fmla="*/ 22127 w 29816"/>
                  <a:gd name="connsiteY4" fmla="*/ 89818 h 112885"/>
                  <a:gd name="connsiteX5" fmla="*/ 18283 w 29816"/>
                  <a:gd name="connsiteY5" fmla="*/ 112885 h 112885"/>
                  <a:gd name="connsiteX6" fmla="*/ 27254 w 29816"/>
                  <a:gd name="connsiteY6" fmla="*/ 88536 h 112885"/>
                  <a:gd name="connsiteX7" fmla="*/ 25972 w 29816"/>
                  <a:gd name="connsiteY7" fmla="*/ 87254 h 112885"/>
                  <a:gd name="connsiteX8" fmla="*/ 29816 w 29816"/>
                  <a:gd name="connsiteY8" fmla="*/ 65468 h 112885"/>
                  <a:gd name="connsiteX9" fmla="*/ 10593 w 29816"/>
                  <a:gd name="connsiteY9" fmla="*/ 16769 h 112885"/>
                  <a:gd name="connsiteX10" fmla="*/ 10593 w 29816"/>
                  <a:gd name="connsiteY10" fmla="*/ 109 h 112885"/>
                  <a:gd name="connsiteX11" fmla="*/ 341 w 29816"/>
                  <a:gd name="connsiteY11" fmla="*/ 18051 h 112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16" h="112885">
                    <a:moveTo>
                      <a:pt x="341" y="18051"/>
                    </a:moveTo>
                    <a:cubicBezTo>
                      <a:pt x="-941" y="24459"/>
                      <a:pt x="1622" y="27022"/>
                      <a:pt x="4186" y="24459"/>
                    </a:cubicBezTo>
                    <a:cubicBezTo>
                      <a:pt x="4186" y="24459"/>
                      <a:pt x="5467" y="23177"/>
                      <a:pt x="6749" y="21896"/>
                    </a:cubicBezTo>
                    <a:lnTo>
                      <a:pt x="25972" y="69313"/>
                    </a:lnTo>
                    <a:cubicBezTo>
                      <a:pt x="24690" y="75720"/>
                      <a:pt x="23409" y="82128"/>
                      <a:pt x="22127" y="89818"/>
                    </a:cubicBezTo>
                    <a:cubicBezTo>
                      <a:pt x="13156" y="97507"/>
                      <a:pt x="13156" y="112885"/>
                      <a:pt x="18283" y="112885"/>
                    </a:cubicBezTo>
                    <a:cubicBezTo>
                      <a:pt x="24690" y="112885"/>
                      <a:pt x="31098" y="93662"/>
                      <a:pt x="27254" y="88536"/>
                    </a:cubicBezTo>
                    <a:cubicBezTo>
                      <a:pt x="27254" y="88536"/>
                      <a:pt x="25972" y="88536"/>
                      <a:pt x="25972" y="87254"/>
                    </a:cubicBezTo>
                    <a:cubicBezTo>
                      <a:pt x="27254" y="79565"/>
                      <a:pt x="28535" y="71876"/>
                      <a:pt x="29816" y="65468"/>
                    </a:cubicBezTo>
                    <a:cubicBezTo>
                      <a:pt x="23409" y="51371"/>
                      <a:pt x="15720" y="32148"/>
                      <a:pt x="10593" y="16769"/>
                    </a:cubicBezTo>
                    <a:cubicBezTo>
                      <a:pt x="14438" y="9080"/>
                      <a:pt x="15720" y="-1172"/>
                      <a:pt x="10593" y="109"/>
                    </a:cubicBezTo>
                    <a:cubicBezTo>
                      <a:pt x="2904" y="5236"/>
                      <a:pt x="341" y="15488"/>
                      <a:pt x="341" y="1805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8" name="Freeform: Shape 380098">
                <a:extLst>
                  <a:ext uri="{FF2B5EF4-FFF2-40B4-BE49-F238E27FC236}">
                    <a16:creationId xmlns:a16="http://schemas.microsoft.com/office/drawing/2014/main" id="{987D8E77-444E-47CC-9C85-61DB5856D081}"/>
                  </a:ext>
                </a:extLst>
              </p:cNvPr>
              <p:cNvSpPr/>
              <p:nvPr/>
            </p:nvSpPr>
            <p:spPr>
              <a:xfrm>
                <a:off x="4682028" y="4369733"/>
                <a:ext cx="46557" cy="132691"/>
              </a:xfrm>
              <a:custGeom>
                <a:avLst/>
                <a:gdLst>
                  <a:gd name="connsiteX0" fmla="*/ 31178 w 46557"/>
                  <a:gd name="connsiteY0" fmla="*/ 125794 h 132691"/>
                  <a:gd name="connsiteX1" fmla="*/ 46557 w 46557"/>
                  <a:gd name="connsiteY1" fmla="*/ 127075 h 132691"/>
                  <a:gd name="connsiteX2" fmla="*/ 32460 w 46557"/>
                  <a:gd name="connsiteY2" fmla="*/ 109133 h 132691"/>
                  <a:gd name="connsiteX3" fmla="*/ 5547 w 46557"/>
                  <a:gd name="connsiteY3" fmla="*/ 56590 h 132691"/>
                  <a:gd name="connsiteX4" fmla="*/ 10674 w 46557"/>
                  <a:gd name="connsiteY4" fmla="*/ 23270 h 132691"/>
                  <a:gd name="connsiteX5" fmla="*/ 15800 w 46557"/>
                  <a:gd name="connsiteY5" fmla="*/ 6610 h 132691"/>
                  <a:gd name="connsiteX6" fmla="*/ 4266 w 46557"/>
                  <a:gd name="connsiteY6" fmla="*/ 202 h 132691"/>
                  <a:gd name="connsiteX7" fmla="*/ 6829 w 46557"/>
                  <a:gd name="connsiteY7" fmla="*/ 20707 h 132691"/>
                  <a:gd name="connsiteX8" fmla="*/ 1703 w 46557"/>
                  <a:gd name="connsiteY8" fmla="*/ 55309 h 132691"/>
                  <a:gd name="connsiteX9" fmla="*/ 29897 w 46557"/>
                  <a:gd name="connsiteY9" fmla="*/ 110415 h 132691"/>
                  <a:gd name="connsiteX10" fmla="*/ 31178 w 46557"/>
                  <a:gd name="connsiteY10" fmla="*/ 125794 h 13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57" h="132691">
                    <a:moveTo>
                      <a:pt x="31178" y="125794"/>
                    </a:moveTo>
                    <a:cubicBezTo>
                      <a:pt x="37586" y="134764"/>
                      <a:pt x="46557" y="134764"/>
                      <a:pt x="46557" y="127075"/>
                    </a:cubicBezTo>
                    <a:cubicBezTo>
                      <a:pt x="46557" y="120667"/>
                      <a:pt x="41431" y="110415"/>
                      <a:pt x="32460" y="109133"/>
                    </a:cubicBezTo>
                    <a:cubicBezTo>
                      <a:pt x="23489" y="91192"/>
                      <a:pt x="14519" y="74532"/>
                      <a:pt x="5547" y="56590"/>
                    </a:cubicBezTo>
                    <a:cubicBezTo>
                      <a:pt x="6829" y="46338"/>
                      <a:pt x="9392" y="33522"/>
                      <a:pt x="10674" y="23270"/>
                    </a:cubicBezTo>
                    <a:cubicBezTo>
                      <a:pt x="19644" y="25833"/>
                      <a:pt x="20926" y="14299"/>
                      <a:pt x="15800" y="6610"/>
                    </a:cubicBezTo>
                    <a:cubicBezTo>
                      <a:pt x="14519" y="4047"/>
                      <a:pt x="9392" y="-1079"/>
                      <a:pt x="4266" y="202"/>
                    </a:cubicBezTo>
                    <a:cubicBezTo>
                      <a:pt x="-3423" y="4047"/>
                      <a:pt x="421" y="15581"/>
                      <a:pt x="6829" y="20707"/>
                    </a:cubicBezTo>
                    <a:lnTo>
                      <a:pt x="1703" y="55309"/>
                    </a:lnTo>
                    <a:cubicBezTo>
                      <a:pt x="10674" y="73250"/>
                      <a:pt x="20926" y="92474"/>
                      <a:pt x="29897" y="110415"/>
                    </a:cubicBezTo>
                    <a:cubicBezTo>
                      <a:pt x="24771" y="115541"/>
                      <a:pt x="31178" y="124512"/>
                      <a:pt x="31178" y="12579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49" name="Freeform: Shape 380099">
                <a:extLst>
                  <a:ext uri="{FF2B5EF4-FFF2-40B4-BE49-F238E27FC236}">
                    <a16:creationId xmlns:a16="http://schemas.microsoft.com/office/drawing/2014/main" id="{40962E62-43F4-42AB-B2EF-11EFB6224300}"/>
                  </a:ext>
                </a:extLst>
              </p:cNvPr>
              <p:cNvSpPr/>
              <p:nvPr/>
            </p:nvSpPr>
            <p:spPr>
              <a:xfrm>
                <a:off x="4973028" y="4754255"/>
                <a:ext cx="199987" cy="209158"/>
              </a:xfrm>
              <a:custGeom>
                <a:avLst/>
                <a:gdLst>
                  <a:gd name="connsiteX0" fmla="*/ 5459 w 199987"/>
                  <a:gd name="connsiteY0" fmla="*/ 60376 h 209158"/>
                  <a:gd name="connsiteX1" fmla="*/ 20838 w 199987"/>
                  <a:gd name="connsiteY1" fmla="*/ 62939 h 209158"/>
                  <a:gd name="connsiteX2" fmla="*/ 54158 w 199987"/>
                  <a:gd name="connsiteY2" fmla="*/ 78318 h 209158"/>
                  <a:gd name="connsiteX3" fmla="*/ 90042 w 199987"/>
                  <a:gd name="connsiteY3" fmla="*/ 121890 h 209158"/>
                  <a:gd name="connsiteX4" fmla="*/ 106702 w 199987"/>
                  <a:gd name="connsiteY4" fmla="*/ 139832 h 209158"/>
                  <a:gd name="connsiteX5" fmla="*/ 97731 w 199987"/>
                  <a:gd name="connsiteY5" fmla="*/ 121890 h 209158"/>
                  <a:gd name="connsiteX6" fmla="*/ 92605 w 199987"/>
                  <a:gd name="connsiteY6" fmla="*/ 120609 h 209158"/>
                  <a:gd name="connsiteX7" fmla="*/ 60566 w 199987"/>
                  <a:gd name="connsiteY7" fmla="*/ 80881 h 209158"/>
                  <a:gd name="connsiteX8" fmla="*/ 97731 w 199987"/>
                  <a:gd name="connsiteY8" fmla="*/ 97541 h 209158"/>
                  <a:gd name="connsiteX9" fmla="*/ 179750 w 199987"/>
                  <a:gd name="connsiteY9" fmla="*/ 192375 h 209158"/>
                  <a:gd name="connsiteX10" fmla="*/ 197692 w 199987"/>
                  <a:gd name="connsiteY10" fmla="*/ 209035 h 209158"/>
                  <a:gd name="connsiteX11" fmla="*/ 190003 w 199987"/>
                  <a:gd name="connsiteY11" fmla="*/ 192375 h 209158"/>
                  <a:gd name="connsiteX12" fmla="*/ 183595 w 199987"/>
                  <a:gd name="connsiteY12" fmla="*/ 191094 h 209158"/>
                  <a:gd name="connsiteX13" fmla="*/ 100294 w 199987"/>
                  <a:gd name="connsiteY13" fmla="*/ 93696 h 209158"/>
                  <a:gd name="connsiteX14" fmla="*/ 56722 w 199987"/>
                  <a:gd name="connsiteY14" fmla="*/ 74473 h 209158"/>
                  <a:gd name="connsiteX15" fmla="*/ 36217 w 199987"/>
                  <a:gd name="connsiteY15" fmla="*/ 48842 h 209158"/>
                  <a:gd name="connsiteX16" fmla="*/ 37498 w 199987"/>
                  <a:gd name="connsiteY16" fmla="*/ 20648 h 209158"/>
                  <a:gd name="connsiteX17" fmla="*/ 42624 w 199987"/>
                  <a:gd name="connsiteY17" fmla="*/ 7833 h 209158"/>
                  <a:gd name="connsiteX18" fmla="*/ 27246 w 199987"/>
                  <a:gd name="connsiteY18" fmla="*/ 144 h 209158"/>
                  <a:gd name="connsiteX19" fmla="*/ 32372 w 199987"/>
                  <a:gd name="connsiteY19" fmla="*/ 18085 h 209158"/>
                  <a:gd name="connsiteX20" fmla="*/ 31090 w 199987"/>
                  <a:gd name="connsiteY20" fmla="*/ 47561 h 209158"/>
                  <a:gd name="connsiteX21" fmla="*/ 50314 w 199987"/>
                  <a:gd name="connsiteY21" fmla="*/ 71910 h 209158"/>
                  <a:gd name="connsiteX22" fmla="*/ 20838 w 199987"/>
                  <a:gd name="connsiteY22" fmla="*/ 59094 h 209158"/>
                  <a:gd name="connsiteX23" fmla="*/ 333 w 199987"/>
                  <a:gd name="connsiteY23" fmla="*/ 47561 h 209158"/>
                  <a:gd name="connsiteX24" fmla="*/ 5459 w 199987"/>
                  <a:gd name="connsiteY24" fmla="*/ 60376 h 209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9987" h="209158">
                    <a:moveTo>
                      <a:pt x="5459" y="60376"/>
                    </a:moveTo>
                    <a:cubicBezTo>
                      <a:pt x="10586" y="65502"/>
                      <a:pt x="18275" y="68065"/>
                      <a:pt x="20838" y="62939"/>
                    </a:cubicBezTo>
                    <a:lnTo>
                      <a:pt x="54158" y="78318"/>
                    </a:lnTo>
                    <a:cubicBezTo>
                      <a:pt x="65692" y="92415"/>
                      <a:pt x="77226" y="107793"/>
                      <a:pt x="90042" y="121890"/>
                    </a:cubicBezTo>
                    <a:cubicBezTo>
                      <a:pt x="83634" y="132143"/>
                      <a:pt x="102857" y="141113"/>
                      <a:pt x="106702" y="139832"/>
                    </a:cubicBezTo>
                    <a:cubicBezTo>
                      <a:pt x="113110" y="137269"/>
                      <a:pt x="106702" y="125735"/>
                      <a:pt x="97731" y="121890"/>
                    </a:cubicBezTo>
                    <a:cubicBezTo>
                      <a:pt x="95168" y="120609"/>
                      <a:pt x="93887" y="120609"/>
                      <a:pt x="92605" y="120609"/>
                    </a:cubicBezTo>
                    <a:cubicBezTo>
                      <a:pt x="82353" y="107793"/>
                      <a:pt x="70819" y="94978"/>
                      <a:pt x="60566" y="80881"/>
                    </a:cubicBezTo>
                    <a:lnTo>
                      <a:pt x="97731" y="97541"/>
                    </a:lnTo>
                    <a:cubicBezTo>
                      <a:pt x="124644" y="130861"/>
                      <a:pt x="151556" y="161618"/>
                      <a:pt x="179750" y="192375"/>
                    </a:cubicBezTo>
                    <a:cubicBezTo>
                      <a:pt x="174624" y="201346"/>
                      <a:pt x="192566" y="210317"/>
                      <a:pt x="197692" y="209035"/>
                    </a:cubicBezTo>
                    <a:cubicBezTo>
                      <a:pt x="202818" y="206472"/>
                      <a:pt x="198974" y="197501"/>
                      <a:pt x="190003" y="192375"/>
                    </a:cubicBezTo>
                    <a:cubicBezTo>
                      <a:pt x="187440" y="191094"/>
                      <a:pt x="184877" y="191094"/>
                      <a:pt x="183595" y="191094"/>
                    </a:cubicBezTo>
                    <a:cubicBezTo>
                      <a:pt x="155401" y="160337"/>
                      <a:pt x="127207" y="128298"/>
                      <a:pt x="100294" y="93696"/>
                    </a:cubicBezTo>
                    <a:lnTo>
                      <a:pt x="56722" y="74473"/>
                    </a:lnTo>
                    <a:cubicBezTo>
                      <a:pt x="50314" y="65502"/>
                      <a:pt x="42624" y="56531"/>
                      <a:pt x="36217" y="48842"/>
                    </a:cubicBezTo>
                    <a:cubicBezTo>
                      <a:pt x="36217" y="39871"/>
                      <a:pt x="36217" y="29619"/>
                      <a:pt x="37498" y="20648"/>
                    </a:cubicBezTo>
                    <a:cubicBezTo>
                      <a:pt x="46469" y="21930"/>
                      <a:pt x="46469" y="14240"/>
                      <a:pt x="42624" y="7833"/>
                    </a:cubicBezTo>
                    <a:cubicBezTo>
                      <a:pt x="41343" y="6551"/>
                      <a:pt x="36217" y="-1138"/>
                      <a:pt x="27246" y="144"/>
                    </a:cubicBezTo>
                    <a:cubicBezTo>
                      <a:pt x="20838" y="3988"/>
                      <a:pt x="24683" y="12959"/>
                      <a:pt x="32372" y="18085"/>
                    </a:cubicBezTo>
                    <a:lnTo>
                      <a:pt x="31090" y="47561"/>
                    </a:lnTo>
                    <a:cubicBezTo>
                      <a:pt x="37498" y="55250"/>
                      <a:pt x="43906" y="64221"/>
                      <a:pt x="50314" y="71910"/>
                    </a:cubicBezTo>
                    <a:cubicBezTo>
                      <a:pt x="41343" y="68065"/>
                      <a:pt x="29809" y="62939"/>
                      <a:pt x="20838" y="59094"/>
                    </a:cubicBezTo>
                    <a:cubicBezTo>
                      <a:pt x="16993" y="47561"/>
                      <a:pt x="4178" y="42435"/>
                      <a:pt x="333" y="47561"/>
                    </a:cubicBezTo>
                    <a:cubicBezTo>
                      <a:pt x="-948" y="50124"/>
                      <a:pt x="1615" y="55250"/>
                      <a:pt x="5459" y="6037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0" name="Freeform: Shape 380100">
                <a:extLst>
                  <a:ext uri="{FF2B5EF4-FFF2-40B4-BE49-F238E27FC236}">
                    <a16:creationId xmlns:a16="http://schemas.microsoft.com/office/drawing/2014/main" id="{39AFB046-AF88-4505-B9FC-2A456BFF736A}"/>
                  </a:ext>
                </a:extLst>
              </p:cNvPr>
              <p:cNvSpPr/>
              <p:nvPr/>
            </p:nvSpPr>
            <p:spPr>
              <a:xfrm>
                <a:off x="5122858" y="2312485"/>
                <a:ext cx="61958" cy="243778"/>
              </a:xfrm>
              <a:custGeom>
                <a:avLst/>
                <a:gdLst>
                  <a:gd name="connsiteX0" fmla="*/ 40173 w 61958"/>
                  <a:gd name="connsiteY0" fmla="*/ 13385 h 243778"/>
                  <a:gd name="connsiteX1" fmla="*/ 45299 w 61958"/>
                  <a:gd name="connsiteY1" fmla="*/ 18511 h 243778"/>
                  <a:gd name="connsiteX2" fmla="*/ 36328 w 61958"/>
                  <a:gd name="connsiteY2" fmla="*/ 58239 h 243778"/>
                  <a:gd name="connsiteX3" fmla="*/ 58114 w 61958"/>
                  <a:gd name="connsiteY3" fmla="*/ 74899 h 243778"/>
                  <a:gd name="connsiteX4" fmla="*/ 40173 w 61958"/>
                  <a:gd name="connsiteY4" fmla="*/ 200491 h 243778"/>
                  <a:gd name="connsiteX5" fmla="*/ 15823 w 61958"/>
                  <a:gd name="connsiteY5" fmla="*/ 224840 h 243778"/>
                  <a:gd name="connsiteX6" fmla="*/ 445 w 61958"/>
                  <a:gd name="connsiteY6" fmla="*/ 240219 h 243778"/>
                  <a:gd name="connsiteX7" fmla="*/ 18386 w 61958"/>
                  <a:gd name="connsiteY7" fmla="*/ 235092 h 243778"/>
                  <a:gd name="connsiteX8" fmla="*/ 18386 w 61958"/>
                  <a:gd name="connsiteY8" fmla="*/ 227403 h 243778"/>
                  <a:gd name="connsiteX9" fmla="*/ 44017 w 61958"/>
                  <a:gd name="connsiteY9" fmla="*/ 200491 h 243778"/>
                  <a:gd name="connsiteX10" fmla="*/ 61959 w 61958"/>
                  <a:gd name="connsiteY10" fmla="*/ 71055 h 243778"/>
                  <a:gd name="connsiteX11" fmla="*/ 40173 w 61958"/>
                  <a:gd name="connsiteY11" fmla="*/ 54395 h 243778"/>
                  <a:gd name="connsiteX12" fmla="*/ 49144 w 61958"/>
                  <a:gd name="connsiteY12" fmla="*/ 15948 h 243778"/>
                  <a:gd name="connsiteX13" fmla="*/ 55551 w 61958"/>
                  <a:gd name="connsiteY13" fmla="*/ 570 h 243778"/>
                  <a:gd name="connsiteX14" fmla="*/ 51707 w 61958"/>
                  <a:gd name="connsiteY14" fmla="*/ 570 h 243778"/>
                  <a:gd name="connsiteX15" fmla="*/ 40173 w 61958"/>
                  <a:gd name="connsiteY15" fmla="*/ 13385 h 24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958" h="243778">
                    <a:moveTo>
                      <a:pt x="40173" y="13385"/>
                    </a:moveTo>
                    <a:cubicBezTo>
                      <a:pt x="40173" y="17230"/>
                      <a:pt x="42736" y="17230"/>
                      <a:pt x="45299" y="18511"/>
                    </a:cubicBezTo>
                    <a:cubicBezTo>
                      <a:pt x="41454" y="31327"/>
                      <a:pt x="38891" y="44142"/>
                      <a:pt x="36328" y="58239"/>
                    </a:cubicBezTo>
                    <a:lnTo>
                      <a:pt x="58114" y="74899"/>
                    </a:lnTo>
                    <a:cubicBezTo>
                      <a:pt x="50425" y="114627"/>
                      <a:pt x="45299" y="156918"/>
                      <a:pt x="40173" y="200491"/>
                    </a:cubicBezTo>
                    <a:cubicBezTo>
                      <a:pt x="32483" y="208180"/>
                      <a:pt x="23512" y="218432"/>
                      <a:pt x="15823" y="224840"/>
                    </a:cubicBezTo>
                    <a:cubicBezTo>
                      <a:pt x="6852" y="222277"/>
                      <a:pt x="-2119" y="233811"/>
                      <a:pt x="445" y="240219"/>
                    </a:cubicBezTo>
                    <a:cubicBezTo>
                      <a:pt x="3008" y="246626"/>
                      <a:pt x="14542" y="244063"/>
                      <a:pt x="18386" y="235092"/>
                    </a:cubicBezTo>
                    <a:cubicBezTo>
                      <a:pt x="20949" y="231248"/>
                      <a:pt x="19668" y="228685"/>
                      <a:pt x="18386" y="227403"/>
                    </a:cubicBezTo>
                    <a:lnTo>
                      <a:pt x="44017" y="200491"/>
                    </a:lnTo>
                    <a:cubicBezTo>
                      <a:pt x="49144" y="155637"/>
                      <a:pt x="54270" y="112064"/>
                      <a:pt x="61959" y="71055"/>
                    </a:cubicBezTo>
                    <a:lnTo>
                      <a:pt x="40173" y="54395"/>
                    </a:lnTo>
                    <a:cubicBezTo>
                      <a:pt x="42736" y="41579"/>
                      <a:pt x="45299" y="28764"/>
                      <a:pt x="49144" y="15948"/>
                    </a:cubicBezTo>
                    <a:cubicBezTo>
                      <a:pt x="56833" y="10822"/>
                      <a:pt x="59396" y="3133"/>
                      <a:pt x="55551" y="570"/>
                    </a:cubicBezTo>
                    <a:cubicBezTo>
                      <a:pt x="54270" y="-712"/>
                      <a:pt x="52988" y="570"/>
                      <a:pt x="51707" y="570"/>
                    </a:cubicBezTo>
                    <a:cubicBezTo>
                      <a:pt x="41454" y="4414"/>
                      <a:pt x="40173" y="12103"/>
                      <a:pt x="40173" y="1338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1" name="Freeform: Shape 380101">
                <a:extLst>
                  <a:ext uri="{FF2B5EF4-FFF2-40B4-BE49-F238E27FC236}">
                    <a16:creationId xmlns:a16="http://schemas.microsoft.com/office/drawing/2014/main" id="{5AFE0E98-3DAA-4B75-8427-A8D5A904B892}"/>
                  </a:ext>
                </a:extLst>
              </p:cNvPr>
              <p:cNvSpPr/>
              <p:nvPr/>
            </p:nvSpPr>
            <p:spPr>
              <a:xfrm>
                <a:off x="5314131" y="2266714"/>
                <a:ext cx="46705" cy="44145"/>
              </a:xfrm>
              <a:custGeom>
                <a:avLst/>
                <a:gdLst>
                  <a:gd name="connsiteX0" fmla="*/ 124 w 46705"/>
                  <a:gd name="connsiteY0" fmla="*/ 39933 h 44145"/>
                  <a:gd name="connsiteX1" fmla="*/ 15502 w 46705"/>
                  <a:gd name="connsiteY1" fmla="*/ 38651 h 44145"/>
                  <a:gd name="connsiteX2" fmla="*/ 16783 w 46705"/>
                  <a:gd name="connsiteY2" fmla="*/ 30962 h 44145"/>
                  <a:gd name="connsiteX3" fmla="*/ 32162 w 46705"/>
                  <a:gd name="connsiteY3" fmla="*/ 15584 h 44145"/>
                  <a:gd name="connsiteX4" fmla="*/ 46259 w 46705"/>
                  <a:gd name="connsiteY4" fmla="*/ 2768 h 44145"/>
                  <a:gd name="connsiteX5" fmla="*/ 38570 w 46705"/>
                  <a:gd name="connsiteY5" fmla="*/ 205 h 44145"/>
                  <a:gd name="connsiteX6" fmla="*/ 29599 w 46705"/>
                  <a:gd name="connsiteY6" fmla="*/ 13020 h 44145"/>
                  <a:gd name="connsiteX7" fmla="*/ 14220 w 46705"/>
                  <a:gd name="connsiteY7" fmla="*/ 28399 h 44145"/>
                  <a:gd name="connsiteX8" fmla="*/ 124 w 46705"/>
                  <a:gd name="connsiteY8" fmla="*/ 39933 h 44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705" h="44145">
                    <a:moveTo>
                      <a:pt x="124" y="39933"/>
                    </a:moveTo>
                    <a:cubicBezTo>
                      <a:pt x="1405" y="46341"/>
                      <a:pt x="11657" y="45059"/>
                      <a:pt x="15502" y="38651"/>
                    </a:cubicBezTo>
                    <a:cubicBezTo>
                      <a:pt x="16783" y="37370"/>
                      <a:pt x="18065" y="33525"/>
                      <a:pt x="16783" y="30962"/>
                    </a:cubicBezTo>
                    <a:cubicBezTo>
                      <a:pt x="21910" y="25836"/>
                      <a:pt x="27036" y="20710"/>
                      <a:pt x="32162" y="15584"/>
                    </a:cubicBezTo>
                    <a:cubicBezTo>
                      <a:pt x="39851" y="18147"/>
                      <a:pt x="48822" y="7894"/>
                      <a:pt x="46259" y="2768"/>
                    </a:cubicBezTo>
                    <a:cubicBezTo>
                      <a:pt x="44978" y="-1076"/>
                      <a:pt x="39851" y="205"/>
                      <a:pt x="38570" y="205"/>
                    </a:cubicBezTo>
                    <a:cubicBezTo>
                      <a:pt x="29599" y="2768"/>
                      <a:pt x="28317" y="10457"/>
                      <a:pt x="29599" y="13020"/>
                    </a:cubicBezTo>
                    <a:cubicBezTo>
                      <a:pt x="24473" y="18147"/>
                      <a:pt x="19346" y="23273"/>
                      <a:pt x="14220" y="28399"/>
                    </a:cubicBezTo>
                    <a:cubicBezTo>
                      <a:pt x="7813" y="25836"/>
                      <a:pt x="-1158" y="33525"/>
                      <a:pt x="124" y="3993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2" name="Freeform: Shape 380102">
                <a:extLst>
                  <a:ext uri="{FF2B5EF4-FFF2-40B4-BE49-F238E27FC236}">
                    <a16:creationId xmlns:a16="http://schemas.microsoft.com/office/drawing/2014/main" id="{15094384-919E-44B2-9C31-F1DAF7ADE415}"/>
                  </a:ext>
                </a:extLst>
              </p:cNvPr>
              <p:cNvSpPr/>
              <p:nvPr/>
            </p:nvSpPr>
            <p:spPr>
              <a:xfrm>
                <a:off x="5480353" y="2226986"/>
                <a:ext cx="42650" cy="41472"/>
              </a:xfrm>
              <a:custGeom>
                <a:avLst/>
                <a:gdLst>
                  <a:gd name="connsiteX0" fmla="*/ 503 w 42650"/>
                  <a:gd name="connsiteY0" fmla="*/ 37370 h 41472"/>
                  <a:gd name="connsiteX1" fmla="*/ 18444 w 42650"/>
                  <a:gd name="connsiteY1" fmla="*/ 34807 h 41472"/>
                  <a:gd name="connsiteX2" fmla="*/ 17163 w 42650"/>
                  <a:gd name="connsiteY2" fmla="*/ 28399 h 41472"/>
                  <a:gd name="connsiteX3" fmla="*/ 29978 w 42650"/>
                  <a:gd name="connsiteY3" fmla="*/ 14302 h 41472"/>
                  <a:gd name="connsiteX4" fmla="*/ 41512 w 42650"/>
                  <a:gd name="connsiteY4" fmla="*/ 2768 h 41472"/>
                  <a:gd name="connsiteX5" fmla="*/ 32542 w 42650"/>
                  <a:gd name="connsiteY5" fmla="*/ 205 h 41472"/>
                  <a:gd name="connsiteX6" fmla="*/ 26134 w 42650"/>
                  <a:gd name="connsiteY6" fmla="*/ 13020 h 41472"/>
                  <a:gd name="connsiteX7" fmla="*/ 13318 w 42650"/>
                  <a:gd name="connsiteY7" fmla="*/ 27118 h 41472"/>
                  <a:gd name="connsiteX8" fmla="*/ 503 w 42650"/>
                  <a:gd name="connsiteY8" fmla="*/ 37370 h 41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650" h="41472">
                    <a:moveTo>
                      <a:pt x="503" y="37370"/>
                    </a:moveTo>
                    <a:cubicBezTo>
                      <a:pt x="3066" y="43778"/>
                      <a:pt x="14600" y="42496"/>
                      <a:pt x="18444" y="34807"/>
                    </a:cubicBezTo>
                    <a:cubicBezTo>
                      <a:pt x="19726" y="32244"/>
                      <a:pt x="18444" y="29681"/>
                      <a:pt x="17163" y="28399"/>
                    </a:cubicBezTo>
                    <a:cubicBezTo>
                      <a:pt x="21008" y="24554"/>
                      <a:pt x="26134" y="18147"/>
                      <a:pt x="29978" y="14302"/>
                    </a:cubicBezTo>
                    <a:cubicBezTo>
                      <a:pt x="38949" y="16865"/>
                      <a:pt x="45357" y="7894"/>
                      <a:pt x="41512" y="2768"/>
                    </a:cubicBezTo>
                    <a:cubicBezTo>
                      <a:pt x="38949" y="-1077"/>
                      <a:pt x="35105" y="205"/>
                      <a:pt x="32542" y="205"/>
                    </a:cubicBezTo>
                    <a:cubicBezTo>
                      <a:pt x="23571" y="2768"/>
                      <a:pt x="23571" y="9176"/>
                      <a:pt x="26134" y="13020"/>
                    </a:cubicBezTo>
                    <a:cubicBezTo>
                      <a:pt x="22289" y="16865"/>
                      <a:pt x="17163" y="23273"/>
                      <a:pt x="13318" y="27118"/>
                    </a:cubicBezTo>
                    <a:cubicBezTo>
                      <a:pt x="5629" y="24554"/>
                      <a:pt x="-2060" y="32244"/>
                      <a:pt x="503" y="37370"/>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3" name="Freeform: Shape 380103">
                <a:extLst>
                  <a:ext uri="{FF2B5EF4-FFF2-40B4-BE49-F238E27FC236}">
                    <a16:creationId xmlns:a16="http://schemas.microsoft.com/office/drawing/2014/main" id="{9C95E702-0634-4CEA-B62C-8E644C6BA557}"/>
                  </a:ext>
                </a:extLst>
              </p:cNvPr>
              <p:cNvSpPr/>
              <p:nvPr/>
            </p:nvSpPr>
            <p:spPr>
              <a:xfrm>
                <a:off x="5507605" y="2220525"/>
                <a:ext cx="42957" cy="41525"/>
              </a:xfrm>
              <a:custGeom>
                <a:avLst/>
                <a:gdLst>
                  <a:gd name="connsiteX0" fmla="*/ 163 w 42957"/>
                  <a:gd name="connsiteY0" fmla="*/ 37423 h 41525"/>
                  <a:gd name="connsiteX1" fmla="*/ 18105 w 42957"/>
                  <a:gd name="connsiteY1" fmla="*/ 34860 h 41525"/>
                  <a:gd name="connsiteX2" fmla="*/ 16824 w 42957"/>
                  <a:gd name="connsiteY2" fmla="*/ 28452 h 41525"/>
                  <a:gd name="connsiteX3" fmla="*/ 29639 w 42957"/>
                  <a:gd name="connsiteY3" fmla="*/ 14355 h 41525"/>
                  <a:gd name="connsiteX4" fmla="*/ 42455 w 42957"/>
                  <a:gd name="connsiteY4" fmla="*/ 4103 h 41525"/>
                  <a:gd name="connsiteX5" fmla="*/ 33483 w 42957"/>
                  <a:gd name="connsiteY5" fmla="*/ 258 h 41525"/>
                  <a:gd name="connsiteX6" fmla="*/ 27076 w 42957"/>
                  <a:gd name="connsiteY6" fmla="*/ 13073 h 41525"/>
                  <a:gd name="connsiteX7" fmla="*/ 14260 w 42957"/>
                  <a:gd name="connsiteY7" fmla="*/ 27170 h 41525"/>
                  <a:gd name="connsiteX8" fmla="*/ 163 w 42957"/>
                  <a:gd name="connsiteY8" fmla="*/ 37423 h 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957" h="41525">
                    <a:moveTo>
                      <a:pt x="163" y="37423"/>
                    </a:moveTo>
                    <a:cubicBezTo>
                      <a:pt x="2726" y="43830"/>
                      <a:pt x="15542" y="42549"/>
                      <a:pt x="18105" y="34860"/>
                    </a:cubicBezTo>
                    <a:cubicBezTo>
                      <a:pt x="19387" y="32297"/>
                      <a:pt x="18105" y="29733"/>
                      <a:pt x="16824" y="28452"/>
                    </a:cubicBezTo>
                    <a:cubicBezTo>
                      <a:pt x="20668" y="24607"/>
                      <a:pt x="25794" y="18200"/>
                      <a:pt x="29639" y="14355"/>
                    </a:cubicBezTo>
                    <a:cubicBezTo>
                      <a:pt x="37328" y="15637"/>
                      <a:pt x="45017" y="9229"/>
                      <a:pt x="42455" y="4103"/>
                    </a:cubicBezTo>
                    <a:cubicBezTo>
                      <a:pt x="41173" y="2821"/>
                      <a:pt x="39891" y="-1024"/>
                      <a:pt x="33483" y="258"/>
                    </a:cubicBezTo>
                    <a:cubicBezTo>
                      <a:pt x="24513" y="2821"/>
                      <a:pt x="24513" y="9229"/>
                      <a:pt x="27076" y="13073"/>
                    </a:cubicBezTo>
                    <a:cubicBezTo>
                      <a:pt x="23231" y="16918"/>
                      <a:pt x="18105" y="23326"/>
                      <a:pt x="14260" y="27170"/>
                    </a:cubicBezTo>
                    <a:cubicBezTo>
                      <a:pt x="5290" y="24607"/>
                      <a:pt x="-1118" y="31015"/>
                      <a:pt x="163" y="374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4" name="Freeform: Shape 380104">
                <a:extLst>
                  <a:ext uri="{FF2B5EF4-FFF2-40B4-BE49-F238E27FC236}">
                    <a16:creationId xmlns:a16="http://schemas.microsoft.com/office/drawing/2014/main" id="{35F67282-FE27-4868-B836-3ED0CB71585E}"/>
                  </a:ext>
                </a:extLst>
              </p:cNvPr>
              <p:cNvSpPr/>
              <p:nvPr/>
            </p:nvSpPr>
            <p:spPr>
              <a:xfrm>
                <a:off x="5407522" y="2454540"/>
                <a:ext cx="50470" cy="80262"/>
              </a:xfrm>
              <a:custGeom>
                <a:avLst/>
                <a:gdLst>
                  <a:gd name="connsiteX0" fmla="*/ 285 w 50470"/>
                  <a:gd name="connsiteY0" fmla="*/ 75096 h 80262"/>
                  <a:gd name="connsiteX1" fmla="*/ 20790 w 50470"/>
                  <a:gd name="connsiteY1" fmla="*/ 73815 h 80262"/>
                  <a:gd name="connsiteX2" fmla="*/ 13100 w 50470"/>
                  <a:gd name="connsiteY2" fmla="*/ 60999 h 80262"/>
                  <a:gd name="connsiteX3" fmla="*/ 11819 w 50470"/>
                  <a:gd name="connsiteY3" fmla="*/ 44339 h 80262"/>
                  <a:gd name="connsiteX4" fmla="*/ 34887 w 50470"/>
                  <a:gd name="connsiteY4" fmla="*/ 18708 h 80262"/>
                  <a:gd name="connsiteX5" fmla="*/ 48983 w 50470"/>
                  <a:gd name="connsiteY5" fmla="*/ 3330 h 80262"/>
                  <a:gd name="connsiteX6" fmla="*/ 38731 w 50470"/>
                  <a:gd name="connsiteY6" fmla="*/ 766 h 80262"/>
                  <a:gd name="connsiteX7" fmla="*/ 31042 w 50470"/>
                  <a:gd name="connsiteY7" fmla="*/ 16145 h 80262"/>
                  <a:gd name="connsiteX8" fmla="*/ 6692 w 50470"/>
                  <a:gd name="connsiteY8" fmla="*/ 43057 h 80262"/>
                  <a:gd name="connsiteX9" fmla="*/ 7974 w 50470"/>
                  <a:gd name="connsiteY9" fmla="*/ 60999 h 80262"/>
                  <a:gd name="connsiteX10" fmla="*/ 285 w 50470"/>
                  <a:gd name="connsiteY10" fmla="*/ 75096 h 80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470" h="80262">
                    <a:moveTo>
                      <a:pt x="285" y="75096"/>
                    </a:moveTo>
                    <a:cubicBezTo>
                      <a:pt x="2848" y="82785"/>
                      <a:pt x="15663" y="81504"/>
                      <a:pt x="20790" y="73815"/>
                    </a:cubicBezTo>
                    <a:cubicBezTo>
                      <a:pt x="23353" y="69970"/>
                      <a:pt x="23353" y="60999"/>
                      <a:pt x="13100" y="60999"/>
                    </a:cubicBezTo>
                    <a:cubicBezTo>
                      <a:pt x="13100" y="55873"/>
                      <a:pt x="11819" y="49465"/>
                      <a:pt x="11819" y="44339"/>
                    </a:cubicBezTo>
                    <a:cubicBezTo>
                      <a:pt x="18226" y="36650"/>
                      <a:pt x="27197" y="26397"/>
                      <a:pt x="34887" y="18708"/>
                    </a:cubicBezTo>
                    <a:cubicBezTo>
                      <a:pt x="45139" y="21271"/>
                      <a:pt x="54110" y="9737"/>
                      <a:pt x="48983" y="3330"/>
                    </a:cubicBezTo>
                    <a:cubicBezTo>
                      <a:pt x="46421" y="-515"/>
                      <a:pt x="41294" y="-515"/>
                      <a:pt x="38731" y="766"/>
                    </a:cubicBezTo>
                    <a:cubicBezTo>
                      <a:pt x="28479" y="4611"/>
                      <a:pt x="27197" y="12300"/>
                      <a:pt x="31042" y="16145"/>
                    </a:cubicBezTo>
                    <a:lnTo>
                      <a:pt x="6692" y="43057"/>
                    </a:lnTo>
                    <a:cubicBezTo>
                      <a:pt x="6692" y="49465"/>
                      <a:pt x="7974" y="55873"/>
                      <a:pt x="7974" y="60999"/>
                    </a:cubicBezTo>
                    <a:cubicBezTo>
                      <a:pt x="-2278" y="67407"/>
                      <a:pt x="285" y="73815"/>
                      <a:pt x="285" y="7509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5" name="Freeform: Shape 380105">
                <a:extLst>
                  <a:ext uri="{FF2B5EF4-FFF2-40B4-BE49-F238E27FC236}">
                    <a16:creationId xmlns:a16="http://schemas.microsoft.com/office/drawing/2014/main" id="{53942DB9-8D8D-4537-8735-1C0AC46B21DB}"/>
                  </a:ext>
                </a:extLst>
              </p:cNvPr>
              <p:cNvSpPr/>
              <p:nvPr/>
            </p:nvSpPr>
            <p:spPr>
              <a:xfrm>
                <a:off x="4444081" y="4090454"/>
                <a:ext cx="62992" cy="215191"/>
              </a:xfrm>
              <a:custGeom>
                <a:avLst/>
                <a:gdLst>
                  <a:gd name="connsiteX0" fmla="*/ 49980 w 62992"/>
                  <a:gd name="connsiteY0" fmla="*/ 207715 h 215191"/>
                  <a:gd name="connsiteX1" fmla="*/ 62796 w 62992"/>
                  <a:gd name="connsiteY1" fmla="*/ 211560 h 215191"/>
                  <a:gd name="connsiteX2" fmla="*/ 51262 w 62992"/>
                  <a:gd name="connsiteY2" fmla="*/ 189773 h 215191"/>
                  <a:gd name="connsiteX3" fmla="*/ 3844 w 62992"/>
                  <a:gd name="connsiteY3" fmla="*/ 60337 h 215191"/>
                  <a:gd name="connsiteX4" fmla="*/ 10252 w 62992"/>
                  <a:gd name="connsiteY4" fmla="*/ 25735 h 215191"/>
                  <a:gd name="connsiteX5" fmla="*/ 14097 w 62992"/>
                  <a:gd name="connsiteY5" fmla="*/ 5231 h 215191"/>
                  <a:gd name="connsiteX6" fmla="*/ 5126 w 62992"/>
                  <a:gd name="connsiteY6" fmla="*/ 105 h 215191"/>
                  <a:gd name="connsiteX7" fmla="*/ 6408 w 62992"/>
                  <a:gd name="connsiteY7" fmla="*/ 23172 h 215191"/>
                  <a:gd name="connsiteX8" fmla="*/ 0 w 62992"/>
                  <a:gd name="connsiteY8" fmla="*/ 60337 h 215191"/>
                  <a:gd name="connsiteX9" fmla="*/ 48699 w 62992"/>
                  <a:gd name="connsiteY9" fmla="*/ 192336 h 215191"/>
                  <a:gd name="connsiteX10" fmla="*/ 49980 w 62992"/>
                  <a:gd name="connsiteY10" fmla="*/ 207715 h 21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992" h="215191">
                    <a:moveTo>
                      <a:pt x="49980" y="207715"/>
                    </a:moveTo>
                    <a:cubicBezTo>
                      <a:pt x="53825" y="215404"/>
                      <a:pt x="61514" y="217967"/>
                      <a:pt x="62796" y="211560"/>
                    </a:cubicBezTo>
                    <a:cubicBezTo>
                      <a:pt x="64078" y="205152"/>
                      <a:pt x="58951" y="191055"/>
                      <a:pt x="51262" y="189773"/>
                    </a:cubicBezTo>
                    <a:cubicBezTo>
                      <a:pt x="34602" y="147482"/>
                      <a:pt x="17942" y="103910"/>
                      <a:pt x="3844" y="60337"/>
                    </a:cubicBezTo>
                    <a:cubicBezTo>
                      <a:pt x="5126" y="50085"/>
                      <a:pt x="7689" y="35988"/>
                      <a:pt x="10252" y="25735"/>
                    </a:cubicBezTo>
                    <a:cubicBezTo>
                      <a:pt x="19223" y="28299"/>
                      <a:pt x="19223" y="14201"/>
                      <a:pt x="14097" y="5231"/>
                    </a:cubicBezTo>
                    <a:cubicBezTo>
                      <a:pt x="10252" y="-1177"/>
                      <a:pt x="6408" y="105"/>
                      <a:pt x="5126" y="105"/>
                    </a:cubicBezTo>
                    <a:cubicBezTo>
                      <a:pt x="-1282" y="3949"/>
                      <a:pt x="1282" y="15483"/>
                      <a:pt x="6408" y="23172"/>
                    </a:cubicBezTo>
                    <a:lnTo>
                      <a:pt x="0" y="60337"/>
                    </a:lnTo>
                    <a:cubicBezTo>
                      <a:pt x="15378" y="105191"/>
                      <a:pt x="30757" y="148764"/>
                      <a:pt x="48699" y="192336"/>
                    </a:cubicBezTo>
                    <a:cubicBezTo>
                      <a:pt x="44854" y="197463"/>
                      <a:pt x="49980" y="206433"/>
                      <a:pt x="49980" y="20771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6" name="Freeform: Shape 380106">
                <a:extLst>
                  <a:ext uri="{FF2B5EF4-FFF2-40B4-BE49-F238E27FC236}">
                    <a16:creationId xmlns:a16="http://schemas.microsoft.com/office/drawing/2014/main" id="{AA87B0C4-5679-4AA6-84B6-3919A1D10B96}"/>
                  </a:ext>
                </a:extLst>
              </p:cNvPr>
              <p:cNvSpPr/>
              <p:nvPr/>
            </p:nvSpPr>
            <p:spPr>
              <a:xfrm>
                <a:off x="4422295" y="4099405"/>
                <a:ext cx="51502" cy="179327"/>
              </a:xfrm>
              <a:custGeom>
                <a:avLst/>
                <a:gdLst>
                  <a:gd name="connsiteX0" fmla="*/ 38446 w 51502"/>
                  <a:gd name="connsiteY0" fmla="*/ 171852 h 179327"/>
                  <a:gd name="connsiteX1" fmla="*/ 51262 w 51502"/>
                  <a:gd name="connsiteY1" fmla="*/ 175696 h 179327"/>
                  <a:gd name="connsiteX2" fmla="*/ 39728 w 51502"/>
                  <a:gd name="connsiteY2" fmla="*/ 153910 h 179327"/>
                  <a:gd name="connsiteX3" fmla="*/ 5126 w 51502"/>
                  <a:gd name="connsiteY3" fmla="*/ 59076 h 179327"/>
                  <a:gd name="connsiteX4" fmla="*/ 10252 w 51502"/>
                  <a:gd name="connsiteY4" fmla="*/ 25756 h 179327"/>
                  <a:gd name="connsiteX5" fmla="*/ 16660 w 51502"/>
                  <a:gd name="connsiteY5" fmla="*/ 10377 h 179327"/>
                  <a:gd name="connsiteX6" fmla="*/ 6408 w 51502"/>
                  <a:gd name="connsiteY6" fmla="*/ 125 h 179327"/>
                  <a:gd name="connsiteX7" fmla="*/ 6408 w 51502"/>
                  <a:gd name="connsiteY7" fmla="*/ 21911 h 179327"/>
                  <a:gd name="connsiteX8" fmla="*/ 0 w 51502"/>
                  <a:gd name="connsiteY8" fmla="*/ 57794 h 179327"/>
                  <a:gd name="connsiteX9" fmla="*/ 34602 w 51502"/>
                  <a:gd name="connsiteY9" fmla="*/ 155191 h 179327"/>
                  <a:gd name="connsiteX10" fmla="*/ 38446 w 51502"/>
                  <a:gd name="connsiteY10" fmla="*/ 171852 h 17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502" h="179327">
                    <a:moveTo>
                      <a:pt x="38446" y="171852"/>
                    </a:moveTo>
                    <a:cubicBezTo>
                      <a:pt x="42291" y="179541"/>
                      <a:pt x="48699" y="182104"/>
                      <a:pt x="51262" y="175696"/>
                    </a:cubicBezTo>
                    <a:cubicBezTo>
                      <a:pt x="52544" y="169289"/>
                      <a:pt x="48699" y="155191"/>
                      <a:pt x="39728" y="153910"/>
                    </a:cubicBezTo>
                    <a:cubicBezTo>
                      <a:pt x="28194" y="123153"/>
                      <a:pt x="16660" y="91114"/>
                      <a:pt x="5126" y="59076"/>
                    </a:cubicBezTo>
                    <a:cubicBezTo>
                      <a:pt x="6408" y="48823"/>
                      <a:pt x="8971" y="36008"/>
                      <a:pt x="10252" y="25756"/>
                    </a:cubicBezTo>
                    <a:cubicBezTo>
                      <a:pt x="17942" y="29600"/>
                      <a:pt x="19223" y="19348"/>
                      <a:pt x="16660" y="10377"/>
                    </a:cubicBezTo>
                    <a:cubicBezTo>
                      <a:pt x="16660" y="7814"/>
                      <a:pt x="12816" y="-1157"/>
                      <a:pt x="6408" y="125"/>
                    </a:cubicBezTo>
                    <a:cubicBezTo>
                      <a:pt x="0" y="3969"/>
                      <a:pt x="2563" y="15503"/>
                      <a:pt x="6408" y="21911"/>
                    </a:cubicBezTo>
                    <a:lnTo>
                      <a:pt x="0" y="57794"/>
                    </a:lnTo>
                    <a:cubicBezTo>
                      <a:pt x="11534" y="91114"/>
                      <a:pt x="23068" y="123153"/>
                      <a:pt x="34602" y="155191"/>
                    </a:cubicBezTo>
                    <a:cubicBezTo>
                      <a:pt x="33320" y="161599"/>
                      <a:pt x="38446" y="170570"/>
                      <a:pt x="38446" y="17185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7" name="Freeform: Shape 380107">
                <a:extLst>
                  <a:ext uri="{FF2B5EF4-FFF2-40B4-BE49-F238E27FC236}">
                    <a16:creationId xmlns:a16="http://schemas.microsoft.com/office/drawing/2014/main" id="{8F034658-670B-45EA-8DA0-8C3D35B8986C}"/>
                  </a:ext>
                </a:extLst>
              </p:cNvPr>
              <p:cNvSpPr/>
              <p:nvPr/>
            </p:nvSpPr>
            <p:spPr>
              <a:xfrm>
                <a:off x="4504137" y="4191800"/>
                <a:ext cx="218100" cy="391232"/>
              </a:xfrm>
              <a:custGeom>
                <a:avLst/>
                <a:gdLst>
                  <a:gd name="connsiteX0" fmla="*/ 2740 w 218100"/>
                  <a:gd name="connsiteY0" fmla="*/ 17942 h 391232"/>
                  <a:gd name="connsiteX1" fmla="*/ 11711 w 218100"/>
                  <a:gd name="connsiteY1" fmla="*/ 25631 h 391232"/>
                  <a:gd name="connsiteX2" fmla="*/ 50157 w 218100"/>
                  <a:gd name="connsiteY2" fmla="*/ 121747 h 391232"/>
                  <a:gd name="connsiteX3" fmla="*/ 87322 w 218100"/>
                  <a:gd name="connsiteY3" fmla="*/ 149941 h 391232"/>
                  <a:gd name="connsiteX4" fmla="*/ 200099 w 218100"/>
                  <a:gd name="connsiteY4" fmla="*/ 370367 h 391232"/>
                  <a:gd name="connsiteX5" fmla="*/ 215477 w 218100"/>
                  <a:gd name="connsiteY5" fmla="*/ 390872 h 391232"/>
                  <a:gd name="connsiteX6" fmla="*/ 207788 w 218100"/>
                  <a:gd name="connsiteY6" fmla="*/ 369085 h 391232"/>
                  <a:gd name="connsiteX7" fmla="*/ 202662 w 218100"/>
                  <a:gd name="connsiteY7" fmla="*/ 367804 h 391232"/>
                  <a:gd name="connsiteX8" fmla="*/ 88604 w 218100"/>
                  <a:gd name="connsiteY8" fmla="*/ 146096 h 391232"/>
                  <a:gd name="connsiteX9" fmla="*/ 51439 w 218100"/>
                  <a:gd name="connsiteY9" fmla="*/ 117902 h 391232"/>
                  <a:gd name="connsiteX10" fmla="*/ 14274 w 218100"/>
                  <a:gd name="connsiteY10" fmla="*/ 24349 h 391232"/>
                  <a:gd name="connsiteX11" fmla="*/ 4022 w 218100"/>
                  <a:gd name="connsiteY11" fmla="*/ 0 h 391232"/>
                  <a:gd name="connsiteX12" fmla="*/ 2740 w 218100"/>
                  <a:gd name="connsiteY12" fmla="*/ 17942 h 391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100" h="391232">
                    <a:moveTo>
                      <a:pt x="2740" y="17942"/>
                    </a:moveTo>
                    <a:cubicBezTo>
                      <a:pt x="5303" y="24349"/>
                      <a:pt x="9148" y="25631"/>
                      <a:pt x="11711" y="25631"/>
                    </a:cubicBezTo>
                    <a:cubicBezTo>
                      <a:pt x="23245" y="57670"/>
                      <a:pt x="36060" y="89708"/>
                      <a:pt x="50157" y="121747"/>
                    </a:cubicBezTo>
                    <a:lnTo>
                      <a:pt x="87322" y="149941"/>
                    </a:lnTo>
                    <a:cubicBezTo>
                      <a:pt x="119361" y="216581"/>
                      <a:pt x="164215" y="305008"/>
                      <a:pt x="200099" y="370367"/>
                    </a:cubicBezTo>
                    <a:cubicBezTo>
                      <a:pt x="196254" y="381901"/>
                      <a:pt x="210351" y="393434"/>
                      <a:pt x="215477" y="390872"/>
                    </a:cubicBezTo>
                    <a:cubicBezTo>
                      <a:pt x="221885" y="388308"/>
                      <a:pt x="215477" y="372930"/>
                      <a:pt x="207788" y="369085"/>
                    </a:cubicBezTo>
                    <a:cubicBezTo>
                      <a:pt x="206506" y="367804"/>
                      <a:pt x="203943" y="367804"/>
                      <a:pt x="202662" y="367804"/>
                    </a:cubicBezTo>
                    <a:cubicBezTo>
                      <a:pt x="166778" y="302445"/>
                      <a:pt x="120643" y="214018"/>
                      <a:pt x="88604" y="146096"/>
                    </a:cubicBezTo>
                    <a:lnTo>
                      <a:pt x="51439" y="117902"/>
                    </a:lnTo>
                    <a:cubicBezTo>
                      <a:pt x="38623" y="87145"/>
                      <a:pt x="25808" y="56388"/>
                      <a:pt x="14274" y="24349"/>
                    </a:cubicBezTo>
                    <a:cubicBezTo>
                      <a:pt x="19400" y="15379"/>
                      <a:pt x="12993" y="0"/>
                      <a:pt x="4022" y="0"/>
                    </a:cubicBezTo>
                    <a:cubicBezTo>
                      <a:pt x="-2386" y="6408"/>
                      <a:pt x="177" y="14097"/>
                      <a:pt x="2740" y="17942"/>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8" name="Freeform: Shape 380108">
                <a:extLst>
                  <a:ext uri="{FF2B5EF4-FFF2-40B4-BE49-F238E27FC236}">
                    <a16:creationId xmlns:a16="http://schemas.microsoft.com/office/drawing/2014/main" id="{24F0BBE3-FF1A-4A84-BB97-DB2149F5ED32}"/>
                  </a:ext>
                </a:extLst>
              </p:cNvPr>
              <p:cNvSpPr/>
              <p:nvPr/>
            </p:nvSpPr>
            <p:spPr>
              <a:xfrm>
                <a:off x="4744430" y="4613347"/>
                <a:ext cx="165112" cy="164208"/>
              </a:xfrm>
              <a:custGeom>
                <a:avLst/>
                <a:gdLst>
                  <a:gd name="connsiteX0" fmla="*/ 2098 w 165112"/>
                  <a:gd name="connsiteY0" fmla="*/ 25713 h 164208"/>
                  <a:gd name="connsiteX1" fmla="*/ 16195 w 165112"/>
                  <a:gd name="connsiteY1" fmla="*/ 28276 h 164208"/>
                  <a:gd name="connsiteX2" fmla="*/ 46952 w 165112"/>
                  <a:gd name="connsiteY2" fmla="*/ 44936 h 164208"/>
                  <a:gd name="connsiteX3" fmla="*/ 102058 w 165112"/>
                  <a:gd name="connsiteY3" fmla="*/ 124392 h 164208"/>
                  <a:gd name="connsiteX4" fmla="*/ 117437 w 165112"/>
                  <a:gd name="connsiteY4" fmla="*/ 143615 h 164208"/>
                  <a:gd name="connsiteX5" fmla="*/ 114874 w 165112"/>
                  <a:gd name="connsiteY5" fmla="*/ 126955 h 164208"/>
                  <a:gd name="connsiteX6" fmla="*/ 105903 w 165112"/>
                  <a:gd name="connsiteY6" fmla="*/ 121828 h 164208"/>
                  <a:gd name="connsiteX7" fmla="*/ 54641 w 165112"/>
                  <a:gd name="connsiteY7" fmla="*/ 47499 h 164208"/>
                  <a:gd name="connsiteX8" fmla="*/ 90524 w 165112"/>
                  <a:gd name="connsiteY8" fmla="*/ 66722 h 164208"/>
                  <a:gd name="connsiteX9" fmla="*/ 145631 w 165112"/>
                  <a:gd name="connsiteY9" fmla="*/ 144896 h 164208"/>
                  <a:gd name="connsiteX10" fmla="*/ 161010 w 165112"/>
                  <a:gd name="connsiteY10" fmla="*/ 164119 h 164208"/>
                  <a:gd name="connsiteX11" fmla="*/ 158446 w 165112"/>
                  <a:gd name="connsiteY11" fmla="*/ 147459 h 164208"/>
                  <a:gd name="connsiteX12" fmla="*/ 148194 w 165112"/>
                  <a:gd name="connsiteY12" fmla="*/ 142333 h 164208"/>
                  <a:gd name="connsiteX13" fmla="*/ 91806 w 165112"/>
                  <a:gd name="connsiteY13" fmla="*/ 62877 h 164208"/>
                  <a:gd name="connsiteX14" fmla="*/ 50796 w 165112"/>
                  <a:gd name="connsiteY14" fmla="*/ 39810 h 164208"/>
                  <a:gd name="connsiteX15" fmla="*/ 37981 w 165112"/>
                  <a:gd name="connsiteY15" fmla="*/ 20586 h 164208"/>
                  <a:gd name="connsiteX16" fmla="*/ 23884 w 165112"/>
                  <a:gd name="connsiteY16" fmla="*/ 82 h 164208"/>
                  <a:gd name="connsiteX17" fmla="*/ 22602 w 165112"/>
                  <a:gd name="connsiteY17" fmla="*/ 82 h 164208"/>
                  <a:gd name="connsiteX18" fmla="*/ 32855 w 165112"/>
                  <a:gd name="connsiteY18" fmla="*/ 21868 h 164208"/>
                  <a:gd name="connsiteX19" fmla="*/ 34136 w 165112"/>
                  <a:gd name="connsiteY19" fmla="*/ 21868 h 164208"/>
                  <a:gd name="connsiteX20" fmla="*/ 44389 w 165112"/>
                  <a:gd name="connsiteY20" fmla="*/ 37246 h 164208"/>
                  <a:gd name="connsiteX21" fmla="*/ 17476 w 165112"/>
                  <a:gd name="connsiteY21" fmla="*/ 20586 h 164208"/>
                  <a:gd name="connsiteX22" fmla="*/ 7223 w 165112"/>
                  <a:gd name="connsiteY22" fmla="*/ 7771 h 164208"/>
                  <a:gd name="connsiteX23" fmla="*/ 816 w 165112"/>
                  <a:gd name="connsiteY23" fmla="*/ 16742 h 164208"/>
                  <a:gd name="connsiteX24" fmla="*/ 2098 w 165112"/>
                  <a:gd name="connsiteY24" fmla="*/ 25713 h 16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5112" h="164208">
                    <a:moveTo>
                      <a:pt x="2098" y="25713"/>
                    </a:moveTo>
                    <a:cubicBezTo>
                      <a:pt x="7223" y="30839"/>
                      <a:pt x="14913" y="34684"/>
                      <a:pt x="16195" y="28276"/>
                    </a:cubicBezTo>
                    <a:lnTo>
                      <a:pt x="46952" y="44936"/>
                    </a:lnTo>
                    <a:cubicBezTo>
                      <a:pt x="64893" y="71848"/>
                      <a:pt x="82835" y="97479"/>
                      <a:pt x="102058" y="124392"/>
                    </a:cubicBezTo>
                    <a:cubicBezTo>
                      <a:pt x="96932" y="130799"/>
                      <a:pt x="109748" y="144896"/>
                      <a:pt x="117437" y="143615"/>
                    </a:cubicBezTo>
                    <a:cubicBezTo>
                      <a:pt x="123845" y="143615"/>
                      <a:pt x="122563" y="134644"/>
                      <a:pt x="114874" y="126955"/>
                    </a:cubicBezTo>
                    <a:cubicBezTo>
                      <a:pt x="109748" y="123110"/>
                      <a:pt x="107185" y="121828"/>
                      <a:pt x="105903" y="121828"/>
                    </a:cubicBezTo>
                    <a:cubicBezTo>
                      <a:pt x="87961" y="97479"/>
                      <a:pt x="71301" y="73130"/>
                      <a:pt x="54641" y="47499"/>
                    </a:cubicBezTo>
                    <a:lnTo>
                      <a:pt x="90524" y="66722"/>
                    </a:lnTo>
                    <a:cubicBezTo>
                      <a:pt x="108466" y="93635"/>
                      <a:pt x="126408" y="119266"/>
                      <a:pt x="145631" y="144896"/>
                    </a:cubicBezTo>
                    <a:cubicBezTo>
                      <a:pt x="140505" y="152586"/>
                      <a:pt x="153321" y="165401"/>
                      <a:pt x="161010" y="164119"/>
                    </a:cubicBezTo>
                    <a:cubicBezTo>
                      <a:pt x="167417" y="164119"/>
                      <a:pt x="166136" y="155149"/>
                      <a:pt x="158446" y="147459"/>
                    </a:cubicBezTo>
                    <a:cubicBezTo>
                      <a:pt x="153321" y="143615"/>
                      <a:pt x="150757" y="143615"/>
                      <a:pt x="148194" y="142333"/>
                    </a:cubicBezTo>
                    <a:cubicBezTo>
                      <a:pt x="128971" y="116702"/>
                      <a:pt x="109748" y="89790"/>
                      <a:pt x="91806" y="62877"/>
                    </a:cubicBezTo>
                    <a:lnTo>
                      <a:pt x="50796" y="39810"/>
                    </a:lnTo>
                    <a:cubicBezTo>
                      <a:pt x="46952" y="33402"/>
                      <a:pt x="41825" y="26994"/>
                      <a:pt x="37981" y="20586"/>
                    </a:cubicBezTo>
                    <a:cubicBezTo>
                      <a:pt x="44389" y="12897"/>
                      <a:pt x="31573" y="-1200"/>
                      <a:pt x="23884" y="82"/>
                    </a:cubicBezTo>
                    <a:cubicBezTo>
                      <a:pt x="23884" y="82"/>
                      <a:pt x="22602" y="82"/>
                      <a:pt x="22602" y="82"/>
                    </a:cubicBezTo>
                    <a:cubicBezTo>
                      <a:pt x="14913" y="5208"/>
                      <a:pt x="25166" y="20586"/>
                      <a:pt x="32855" y="21868"/>
                    </a:cubicBezTo>
                    <a:cubicBezTo>
                      <a:pt x="32855" y="21868"/>
                      <a:pt x="34136" y="21868"/>
                      <a:pt x="34136" y="21868"/>
                    </a:cubicBezTo>
                    <a:cubicBezTo>
                      <a:pt x="37981" y="26994"/>
                      <a:pt x="40544" y="32120"/>
                      <a:pt x="44389" y="37246"/>
                    </a:cubicBezTo>
                    <a:cubicBezTo>
                      <a:pt x="36700" y="32120"/>
                      <a:pt x="20039" y="29557"/>
                      <a:pt x="17476" y="20586"/>
                    </a:cubicBezTo>
                    <a:cubicBezTo>
                      <a:pt x="16195" y="18023"/>
                      <a:pt x="12350" y="11616"/>
                      <a:pt x="7223" y="7771"/>
                    </a:cubicBezTo>
                    <a:cubicBezTo>
                      <a:pt x="2098" y="5208"/>
                      <a:pt x="-1747" y="9053"/>
                      <a:pt x="816" y="16742"/>
                    </a:cubicBezTo>
                    <a:cubicBezTo>
                      <a:pt x="-466" y="20586"/>
                      <a:pt x="816" y="24431"/>
                      <a:pt x="2098" y="2571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59" name="Freeform: Shape 380109">
                <a:extLst>
                  <a:ext uri="{FF2B5EF4-FFF2-40B4-BE49-F238E27FC236}">
                    <a16:creationId xmlns:a16="http://schemas.microsoft.com/office/drawing/2014/main" id="{53563F0B-2938-480D-8975-F0CD4329EDFC}"/>
                  </a:ext>
                </a:extLst>
              </p:cNvPr>
              <p:cNvSpPr/>
              <p:nvPr/>
            </p:nvSpPr>
            <p:spPr>
              <a:xfrm>
                <a:off x="4906996" y="4251910"/>
                <a:ext cx="158369" cy="174522"/>
              </a:xfrm>
              <a:custGeom>
                <a:avLst/>
                <a:gdLst>
                  <a:gd name="connsiteX0" fmla="*/ 2288 w 158369"/>
                  <a:gd name="connsiteY0" fmla="*/ 16783 h 174522"/>
                  <a:gd name="connsiteX1" fmla="*/ 20229 w 158369"/>
                  <a:gd name="connsiteY1" fmla="*/ 20627 h 174522"/>
                  <a:gd name="connsiteX2" fmla="*/ 99685 w 158369"/>
                  <a:gd name="connsiteY2" fmla="*/ 62918 h 174522"/>
                  <a:gd name="connsiteX3" fmla="*/ 139414 w 158369"/>
                  <a:gd name="connsiteY3" fmla="*/ 151345 h 174522"/>
                  <a:gd name="connsiteX4" fmla="*/ 148385 w 158369"/>
                  <a:gd name="connsiteY4" fmla="*/ 174413 h 174522"/>
                  <a:gd name="connsiteX5" fmla="*/ 156074 w 158369"/>
                  <a:gd name="connsiteY5" fmla="*/ 157753 h 174522"/>
                  <a:gd name="connsiteX6" fmla="*/ 144540 w 158369"/>
                  <a:gd name="connsiteY6" fmla="*/ 151345 h 174522"/>
                  <a:gd name="connsiteX7" fmla="*/ 103530 w 158369"/>
                  <a:gd name="connsiteY7" fmla="*/ 60355 h 174522"/>
                  <a:gd name="connsiteX8" fmla="*/ 22793 w 158369"/>
                  <a:gd name="connsiteY8" fmla="*/ 16783 h 174522"/>
                  <a:gd name="connsiteX9" fmla="*/ 7414 w 158369"/>
                  <a:gd name="connsiteY9" fmla="*/ 123 h 174522"/>
                  <a:gd name="connsiteX10" fmla="*/ 2288 w 158369"/>
                  <a:gd name="connsiteY10" fmla="*/ 16783 h 17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8369" h="174522">
                    <a:moveTo>
                      <a:pt x="2288" y="16783"/>
                    </a:moveTo>
                    <a:cubicBezTo>
                      <a:pt x="6132" y="23190"/>
                      <a:pt x="13822" y="27035"/>
                      <a:pt x="20229" y="20627"/>
                    </a:cubicBezTo>
                    <a:lnTo>
                      <a:pt x="99685" y="62918"/>
                    </a:lnTo>
                    <a:cubicBezTo>
                      <a:pt x="112501" y="92394"/>
                      <a:pt x="126598" y="123151"/>
                      <a:pt x="139414" y="151345"/>
                    </a:cubicBezTo>
                    <a:cubicBezTo>
                      <a:pt x="130443" y="159034"/>
                      <a:pt x="139414" y="173131"/>
                      <a:pt x="148385" y="174413"/>
                    </a:cubicBezTo>
                    <a:cubicBezTo>
                      <a:pt x="157355" y="175694"/>
                      <a:pt x="161200" y="165442"/>
                      <a:pt x="156074" y="157753"/>
                    </a:cubicBezTo>
                    <a:cubicBezTo>
                      <a:pt x="153510" y="155190"/>
                      <a:pt x="150948" y="151345"/>
                      <a:pt x="144540" y="151345"/>
                    </a:cubicBezTo>
                    <a:cubicBezTo>
                      <a:pt x="130443" y="121869"/>
                      <a:pt x="116346" y="91112"/>
                      <a:pt x="103530" y="60355"/>
                    </a:cubicBezTo>
                    <a:cubicBezTo>
                      <a:pt x="79181" y="47540"/>
                      <a:pt x="47142" y="29598"/>
                      <a:pt x="22793" y="16783"/>
                    </a:cubicBezTo>
                    <a:cubicBezTo>
                      <a:pt x="24074" y="7812"/>
                      <a:pt x="16385" y="-1159"/>
                      <a:pt x="7414" y="123"/>
                    </a:cubicBezTo>
                    <a:cubicBezTo>
                      <a:pt x="-5402" y="5249"/>
                      <a:pt x="2288" y="16783"/>
                      <a:pt x="2288" y="1678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0" name="Freeform: Shape 380110">
                <a:extLst>
                  <a:ext uri="{FF2B5EF4-FFF2-40B4-BE49-F238E27FC236}">
                    <a16:creationId xmlns:a16="http://schemas.microsoft.com/office/drawing/2014/main" id="{5FCB34F0-2192-4D1F-9D11-C3423C4C0322}"/>
                  </a:ext>
                </a:extLst>
              </p:cNvPr>
              <p:cNvSpPr/>
              <p:nvPr/>
            </p:nvSpPr>
            <p:spPr>
              <a:xfrm>
                <a:off x="4783164" y="4334052"/>
                <a:ext cx="151913" cy="323761"/>
              </a:xfrm>
              <a:custGeom>
                <a:avLst/>
                <a:gdLst>
                  <a:gd name="connsiteX0" fmla="*/ 135091 w 151913"/>
                  <a:gd name="connsiteY0" fmla="*/ 317823 h 323761"/>
                  <a:gd name="connsiteX1" fmla="*/ 151750 w 151913"/>
                  <a:gd name="connsiteY1" fmla="*/ 319105 h 323761"/>
                  <a:gd name="connsiteX2" fmla="*/ 136372 w 151913"/>
                  <a:gd name="connsiteY2" fmla="*/ 302445 h 323761"/>
                  <a:gd name="connsiteX3" fmla="*/ 33848 w 151913"/>
                  <a:gd name="connsiteY3" fmla="*/ 123028 h 323761"/>
                  <a:gd name="connsiteX4" fmla="*/ 42819 w 151913"/>
                  <a:gd name="connsiteY4" fmla="*/ 80737 h 323761"/>
                  <a:gd name="connsiteX5" fmla="*/ 15906 w 151913"/>
                  <a:gd name="connsiteY5" fmla="*/ 23068 h 323761"/>
                  <a:gd name="connsiteX6" fmla="*/ 5654 w 151913"/>
                  <a:gd name="connsiteY6" fmla="*/ 0 h 323761"/>
                  <a:gd name="connsiteX7" fmla="*/ 4372 w 151913"/>
                  <a:gd name="connsiteY7" fmla="*/ 0 h 323761"/>
                  <a:gd name="connsiteX8" fmla="*/ 9499 w 151913"/>
                  <a:gd name="connsiteY8" fmla="*/ 23068 h 323761"/>
                  <a:gd name="connsiteX9" fmla="*/ 13343 w 151913"/>
                  <a:gd name="connsiteY9" fmla="*/ 23068 h 323761"/>
                  <a:gd name="connsiteX10" fmla="*/ 38974 w 151913"/>
                  <a:gd name="connsiteY10" fmla="*/ 78174 h 323761"/>
                  <a:gd name="connsiteX11" fmla="*/ 30004 w 151913"/>
                  <a:gd name="connsiteY11" fmla="*/ 120465 h 323761"/>
                  <a:gd name="connsiteX12" fmla="*/ 133809 w 151913"/>
                  <a:gd name="connsiteY12" fmla="*/ 302445 h 323761"/>
                  <a:gd name="connsiteX13" fmla="*/ 135091 w 151913"/>
                  <a:gd name="connsiteY13" fmla="*/ 317823 h 32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1913" h="323761">
                    <a:moveTo>
                      <a:pt x="135091" y="317823"/>
                    </a:moveTo>
                    <a:cubicBezTo>
                      <a:pt x="141498" y="325512"/>
                      <a:pt x="150469" y="325512"/>
                      <a:pt x="151750" y="319105"/>
                    </a:cubicBezTo>
                    <a:cubicBezTo>
                      <a:pt x="153032" y="315260"/>
                      <a:pt x="146625" y="303726"/>
                      <a:pt x="136372" y="302445"/>
                    </a:cubicBezTo>
                    <a:cubicBezTo>
                      <a:pt x="100489" y="244775"/>
                      <a:pt x="65887" y="184543"/>
                      <a:pt x="33848" y="123028"/>
                    </a:cubicBezTo>
                    <a:lnTo>
                      <a:pt x="42819" y="80737"/>
                    </a:lnTo>
                    <a:cubicBezTo>
                      <a:pt x="33848" y="61514"/>
                      <a:pt x="24877" y="42291"/>
                      <a:pt x="15906" y="23068"/>
                    </a:cubicBezTo>
                    <a:cubicBezTo>
                      <a:pt x="24877" y="12816"/>
                      <a:pt x="12061" y="0"/>
                      <a:pt x="5654" y="0"/>
                    </a:cubicBezTo>
                    <a:cubicBezTo>
                      <a:pt x="5654" y="0"/>
                      <a:pt x="4372" y="0"/>
                      <a:pt x="4372" y="0"/>
                    </a:cubicBezTo>
                    <a:cubicBezTo>
                      <a:pt x="-4598" y="5126"/>
                      <a:pt x="1809" y="20505"/>
                      <a:pt x="9499" y="23068"/>
                    </a:cubicBezTo>
                    <a:cubicBezTo>
                      <a:pt x="10780" y="23068"/>
                      <a:pt x="12061" y="23068"/>
                      <a:pt x="13343" y="23068"/>
                    </a:cubicBezTo>
                    <a:cubicBezTo>
                      <a:pt x="22314" y="41009"/>
                      <a:pt x="30004" y="60233"/>
                      <a:pt x="38974" y="78174"/>
                    </a:cubicBezTo>
                    <a:lnTo>
                      <a:pt x="30004" y="120465"/>
                    </a:lnTo>
                    <a:cubicBezTo>
                      <a:pt x="62042" y="183261"/>
                      <a:pt x="96644" y="243494"/>
                      <a:pt x="133809" y="302445"/>
                    </a:cubicBezTo>
                    <a:cubicBezTo>
                      <a:pt x="129964" y="308852"/>
                      <a:pt x="132528" y="313979"/>
                      <a:pt x="135091" y="317823"/>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1" name="Freeform: Shape 380111">
                <a:extLst>
                  <a:ext uri="{FF2B5EF4-FFF2-40B4-BE49-F238E27FC236}">
                    <a16:creationId xmlns:a16="http://schemas.microsoft.com/office/drawing/2014/main" id="{A7960749-B0BD-4377-A674-95D74F3A582F}"/>
                  </a:ext>
                </a:extLst>
              </p:cNvPr>
              <p:cNvSpPr/>
              <p:nvPr/>
            </p:nvSpPr>
            <p:spPr>
              <a:xfrm>
                <a:off x="4890488" y="4491558"/>
                <a:ext cx="138469" cy="171932"/>
              </a:xfrm>
              <a:custGeom>
                <a:avLst/>
                <a:gdLst>
                  <a:gd name="connsiteX0" fmla="*/ 3417 w 138469"/>
                  <a:gd name="connsiteY0" fmla="*/ 16784 h 171932"/>
                  <a:gd name="connsiteX1" fmla="*/ 20078 w 138469"/>
                  <a:gd name="connsiteY1" fmla="*/ 19347 h 171932"/>
                  <a:gd name="connsiteX2" fmla="*/ 52116 w 138469"/>
                  <a:gd name="connsiteY2" fmla="*/ 34725 h 171932"/>
                  <a:gd name="connsiteX3" fmla="*/ 120038 w 138469"/>
                  <a:gd name="connsiteY3" fmla="*/ 151346 h 171932"/>
                  <a:gd name="connsiteX4" fmla="*/ 132854 w 138469"/>
                  <a:gd name="connsiteY4" fmla="*/ 171851 h 171932"/>
                  <a:gd name="connsiteX5" fmla="*/ 131572 w 138469"/>
                  <a:gd name="connsiteY5" fmla="*/ 152627 h 171932"/>
                  <a:gd name="connsiteX6" fmla="*/ 122602 w 138469"/>
                  <a:gd name="connsiteY6" fmla="*/ 148783 h 171932"/>
                  <a:gd name="connsiteX7" fmla="*/ 53398 w 138469"/>
                  <a:gd name="connsiteY7" fmla="*/ 30881 h 171932"/>
                  <a:gd name="connsiteX8" fmla="*/ 20078 w 138469"/>
                  <a:gd name="connsiteY8" fmla="*/ 14221 h 171932"/>
                  <a:gd name="connsiteX9" fmla="*/ 3417 w 138469"/>
                  <a:gd name="connsiteY9" fmla="*/ 123 h 171932"/>
                  <a:gd name="connsiteX10" fmla="*/ 3417 w 138469"/>
                  <a:gd name="connsiteY10" fmla="*/ 16784 h 17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469" h="171932">
                    <a:moveTo>
                      <a:pt x="3417" y="16784"/>
                    </a:moveTo>
                    <a:cubicBezTo>
                      <a:pt x="7262" y="21910"/>
                      <a:pt x="16233" y="27036"/>
                      <a:pt x="20078" y="19347"/>
                    </a:cubicBezTo>
                    <a:lnTo>
                      <a:pt x="52116" y="34725"/>
                    </a:lnTo>
                    <a:cubicBezTo>
                      <a:pt x="73902" y="74453"/>
                      <a:pt x="96970" y="112900"/>
                      <a:pt x="120038" y="151346"/>
                    </a:cubicBezTo>
                    <a:cubicBezTo>
                      <a:pt x="112349" y="159035"/>
                      <a:pt x="125165" y="173132"/>
                      <a:pt x="132854" y="171851"/>
                    </a:cubicBezTo>
                    <a:cubicBezTo>
                      <a:pt x="140543" y="171851"/>
                      <a:pt x="140543" y="160317"/>
                      <a:pt x="131572" y="152627"/>
                    </a:cubicBezTo>
                    <a:cubicBezTo>
                      <a:pt x="127728" y="150064"/>
                      <a:pt x="123883" y="148783"/>
                      <a:pt x="122602" y="148783"/>
                    </a:cubicBezTo>
                    <a:cubicBezTo>
                      <a:pt x="98252" y="110336"/>
                      <a:pt x="75184" y="70609"/>
                      <a:pt x="53398" y="30881"/>
                    </a:cubicBezTo>
                    <a:cubicBezTo>
                      <a:pt x="43146" y="25754"/>
                      <a:pt x="30330" y="19347"/>
                      <a:pt x="20078" y="14221"/>
                    </a:cubicBezTo>
                    <a:cubicBezTo>
                      <a:pt x="18796" y="7813"/>
                      <a:pt x="12388" y="-1158"/>
                      <a:pt x="3417" y="123"/>
                    </a:cubicBezTo>
                    <a:cubicBezTo>
                      <a:pt x="-4272" y="5250"/>
                      <a:pt x="3417" y="16784"/>
                      <a:pt x="3417" y="16784"/>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2" name="Freeform: Shape 380112">
                <a:extLst>
                  <a:ext uri="{FF2B5EF4-FFF2-40B4-BE49-F238E27FC236}">
                    <a16:creationId xmlns:a16="http://schemas.microsoft.com/office/drawing/2014/main" id="{A88CF6EE-5B4B-4583-B130-2A58B849E7C2}"/>
                  </a:ext>
                </a:extLst>
              </p:cNvPr>
              <p:cNvSpPr/>
              <p:nvPr/>
            </p:nvSpPr>
            <p:spPr>
              <a:xfrm>
                <a:off x="4891215" y="4373780"/>
                <a:ext cx="47544" cy="132039"/>
              </a:xfrm>
              <a:custGeom>
                <a:avLst/>
                <a:gdLst>
                  <a:gd name="connsiteX0" fmla="*/ 28321 w 47544"/>
                  <a:gd name="connsiteY0" fmla="*/ 125591 h 132039"/>
                  <a:gd name="connsiteX1" fmla="*/ 46263 w 47544"/>
                  <a:gd name="connsiteY1" fmla="*/ 126873 h 132039"/>
                  <a:gd name="connsiteX2" fmla="*/ 39855 w 47544"/>
                  <a:gd name="connsiteY2" fmla="*/ 112776 h 132039"/>
                  <a:gd name="connsiteX3" fmla="*/ 47545 w 47544"/>
                  <a:gd name="connsiteY3" fmla="*/ 79456 h 132039"/>
                  <a:gd name="connsiteX4" fmla="*/ 19350 w 47544"/>
                  <a:gd name="connsiteY4" fmla="*/ 23068 h 132039"/>
                  <a:gd name="connsiteX5" fmla="*/ 7816 w 47544"/>
                  <a:gd name="connsiteY5" fmla="*/ 0 h 132039"/>
                  <a:gd name="connsiteX6" fmla="*/ 5253 w 47544"/>
                  <a:gd name="connsiteY6" fmla="*/ 0 h 132039"/>
                  <a:gd name="connsiteX7" fmla="*/ 10379 w 47544"/>
                  <a:gd name="connsiteY7" fmla="*/ 23068 h 132039"/>
                  <a:gd name="connsiteX8" fmla="*/ 14224 w 47544"/>
                  <a:gd name="connsiteY8" fmla="*/ 23068 h 132039"/>
                  <a:gd name="connsiteX9" fmla="*/ 41136 w 47544"/>
                  <a:gd name="connsiteY9" fmla="*/ 76893 h 132039"/>
                  <a:gd name="connsiteX10" fmla="*/ 33447 w 47544"/>
                  <a:gd name="connsiteY10" fmla="*/ 107650 h 132039"/>
                  <a:gd name="connsiteX11" fmla="*/ 24477 w 47544"/>
                  <a:gd name="connsiteY11" fmla="*/ 121747 h 132039"/>
                  <a:gd name="connsiteX12" fmla="*/ 28321 w 47544"/>
                  <a:gd name="connsiteY12" fmla="*/ 125591 h 13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544" h="132039">
                    <a:moveTo>
                      <a:pt x="28321" y="125591"/>
                    </a:moveTo>
                    <a:cubicBezTo>
                      <a:pt x="34729" y="133281"/>
                      <a:pt x="44981" y="134562"/>
                      <a:pt x="46263" y="126873"/>
                    </a:cubicBezTo>
                    <a:cubicBezTo>
                      <a:pt x="46263" y="124310"/>
                      <a:pt x="46263" y="117902"/>
                      <a:pt x="39855" y="112776"/>
                    </a:cubicBezTo>
                    <a:lnTo>
                      <a:pt x="47545" y="79456"/>
                    </a:lnTo>
                    <a:cubicBezTo>
                      <a:pt x="38574" y="60233"/>
                      <a:pt x="28321" y="42291"/>
                      <a:pt x="19350" y="23068"/>
                    </a:cubicBezTo>
                    <a:cubicBezTo>
                      <a:pt x="28321" y="14097"/>
                      <a:pt x="16787" y="0"/>
                      <a:pt x="7816" y="0"/>
                    </a:cubicBezTo>
                    <a:cubicBezTo>
                      <a:pt x="7816" y="0"/>
                      <a:pt x="6535" y="0"/>
                      <a:pt x="5253" y="0"/>
                    </a:cubicBezTo>
                    <a:cubicBezTo>
                      <a:pt x="-4999" y="5126"/>
                      <a:pt x="1409" y="20505"/>
                      <a:pt x="10379" y="23068"/>
                    </a:cubicBezTo>
                    <a:cubicBezTo>
                      <a:pt x="11661" y="23068"/>
                      <a:pt x="12943" y="23068"/>
                      <a:pt x="14224" y="23068"/>
                    </a:cubicBezTo>
                    <a:cubicBezTo>
                      <a:pt x="23195" y="41009"/>
                      <a:pt x="32166" y="58951"/>
                      <a:pt x="41136" y="76893"/>
                    </a:cubicBezTo>
                    <a:cubicBezTo>
                      <a:pt x="38574" y="85864"/>
                      <a:pt x="36011" y="98679"/>
                      <a:pt x="33447" y="107650"/>
                    </a:cubicBezTo>
                    <a:cubicBezTo>
                      <a:pt x="24477" y="105087"/>
                      <a:pt x="20632" y="114058"/>
                      <a:pt x="24477" y="121747"/>
                    </a:cubicBezTo>
                    <a:cubicBezTo>
                      <a:pt x="28321" y="124310"/>
                      <a:pt x="28321" y="124310"/>
                      <a:pt x="28321" y="12559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3" name="Freeform: Shape 380113">
                <a:extLst>
                  <a:ext uri="{FF2B5EF4-FFF2-40B4-BE49-F238E27FC236}">
                    <a16:creationId xmlns:a16="http://schemas.microsoft.com/office/drawing/2014/main" id="{3F496FAA-99D2-4CBB-9480-F1D1C9156084}"/>
                  </a:ext>
                </a:extLst>
              </p:cNvPr>
              <p:cNvSpPr/>
              <p:nvPr/>
            </p:nvSpPr>
            <p:spPr>
              <a:xfrm>
                <a:off x="5134948" y="4372498"/>
                <a:ext cx="110102" cy="258586"/>
              </a:xfrm>
              <a:custGeom>
                <a:avLst/>
                <a:gdLst>
                  <a:gd name="connsiteX0" fmla="*/ 87034 w 110102"/>
                  <a:gd name="connsiteY0" fmla="*/ 252465 h 258586"/>
                  <a:gd name="connsiteX1" fmla="*/ 106258 w 110102"/>
                  <a:gd name="connsiteY1" fmla="*/ 251183 h 258586"/>
                  <a:gd name="connsiteX2" fmla="*/ 99850 w 110102"/>
                  <a:gd name="connsiteY2" fmla="*/ 239649 h 258586"/>
                  <a:gd name="connsiteX3" fmla="*/ 110102 w 110102"/>
                  <a:gd name="connsiteY3" fmla="*/ 208892 h 258586"/>
                  <a:gd name="connsiteX4" fmla="*/ 17831 w 110102"/>
                  <a:gd name="connsiteY4" fmla="*/ 23068 h 258586"/>
                  <a:gd name="connsiteX5" fmla="*/ 10142 w 110102"/>
                  <a:gd name="connsiteY5" fmla="*/ 0 h 258586"/>
                  <a:gd name="connsiteX6" fmla="*/ 6297 w 110102"/>
                  <a:gd name="connsiteY6" fmla="*/ 0 h 258586"/>
                  <a:gd name="connsiteX7" fmla="*/ 8860 w 110102"/>
                  <a:gd name="connsiteY7" fmla="*/ 23068 h 258586"/>
                  <a:gd name="connsiteX8" fmla="*/ 15267 w 110102"/>
                  <a:gd name="connsiteY8" fmla="*/ 24349 h 258586"/>
                  <a:gd name="connsiteX9" fmla="*/ 106258 w 110102"/>
                  <a:gd name="connsiteY9" fmla="*/ 207610 h 258586"/>
                  <a:gd name="connsiteX10" fmla="*/ 96005 w 110102"/>
                  <a:gd name="connsiteY10" fmla="*/ 235804 h 258586"/>
                  <a:gd name="connsiteX11" fmla="*/ 85753 w 110102"/>
                  <a:gd name="connsiteY11" fmla="*/ 248620 h 258586"/>
                  <a:gd name="connsiteX12" fmla="*/ 87034 w 110102"/>
                  <a:gd name="connsiteY12" fmla="*/ 252465 h 258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02" h="258586">
                    <a:moveTo>
                      <a:pt x="87034" y="252465"/>
                    </a:moveTo>
                    <a:cubicBezTo>
                      <a:pt x="93442" y="261435"/>
                      <a:pt x="106258" y="260154"/>
                      <a:pt x="106258" y="251183"/>
                    </a:cubicBezTo>
                    <a:cubicBezTo>
                      <a:pt x="106258" y="248620"/>
                      <a:pt x="104976" y="244775"/>
                      <a:pt x="99850" y="239649"/>
                    </a:cubicBezTo>
                    <a:lnTo>
                      <a:pt x="110102" y="208892"/>
                    </a:lnTo>
                    <a:cubicBezTo>
                      <a:pt x="78064" y="148659"/>
                      <a:pt x="47306" y="87145"/>
                      <a:pt x="17831" y="23068"/>
                    </a:cubicBezTo>
                    <a:cubicBezTo>
                      <a:pt x="28083" y="15379"/>
                      <a:pt x="19112" y="1282"/>
                      <a:pt x="10142" y="0"/>
                    </a:cubicBezTo>
                    <a:cubicBezTo>
                      <a:pt x="8860" y="0"/>
                      <a:pt x="7578" y="0"/>
                      <a:pt x="6297" y="0"/>
                    </a:cubicBezTo>
                    <a:cubicBezTo>
                      <a:pt x="-5237" y="5126"/>
                      <a:pt x="1170" y="19223"/>
                      <a:pt x="8860" y="23068"/>
                    </a:cubicBezTo>
                    <a:cubicBezTo>
                      <a:pt x="11423" y="24349"/>
                      <a:pt x="12704" y="24349"/>
                      <a:pt x="15267" y="24349"/>
                    </a:cubicBezTo>
                    <a:cubicBezTo>
                      <a:pt x="44743" y="87145"/>
                      <a:pt x="74219" y="148659"/>
                      <a:pt x="106258" y="207610"/>
                    </a:cubicBezTo>
                    <a:cubicBezTo>
                      <a:pt x="103695" y="216581"/>
                      <a:pt x="99850" y="228115"/>
                      <a:pt x="96005" y="235804"/>
                    </a:cubicBezTo>
                    <a:cubicBezTo>
                      <a:pt x="84471" y="233241"/>
                      <a:pt x="81908" y="242212"/>
                      <a:pt x="85753" y="248620"/>
                    </a:cubicBezTo>
                    <a:cubicBezTo>
                      <a:pt x="85753" y="251183"/>
                      <a:pt x="87034" y="252465"/>
                      <a:pt x="87034" y="252465"/>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4" name="Freeform: Shape 380114">
                <a:extLst>
                  <a:ext uri="{FF2B5EF4-FFF2-40B4-BE49-F238E27FC236}">
                    <a16:creationId xmlns:a16="http://schemas.microsoft.com/office/drawing/2014/main" id="{F0AED878-5564-417D-A6B5-49021A1856D1}"/>
                  </a:ext>
                </a:extLst>
              </p:cNvPr>
              <p:cNvSpPr/>
              <p:nvPr/>
            </p:nvSpPr>
            <p:spPr>
              <a:xfrm>
                <a:off x="5332104" y="5047706"/>
                <a:ext cx="25845" cy="45514"/>
              </a:xfrm>
              <a:custGeom>
                <a:avLst/>
                <a:gdLst>
                  <a:gd name="connsiteX0" fmla="*/ 10343 w 25845"/>
                  <a:gd name="connsiteY0" fmla="*/ 41176 h 45514"/>
                  <a:gd name="connsiteX1" fmla="*/ 25722 w 25845"/>
                  <a:gd name="connsiteY1" fmla="*/ 41176 h 45514"/>
                  <a:gd name="connsiteX2" fmla="*/ 16751 w 25845"/>
                  <a:gd name="connsiteY2" fmla="*/ 30924 h 45514"/>
                  <a:gd name="connsiteX3" fmla="*/ 14188 w 25845"/>
                  <a:gd name="connsiteY3" fmla="*/ 15545 h 45514"/>
                  <a:gd name="connsiteX4" fmla="*/ 20596 w 25845"/>
                  <a:gd name="connsiteY4" fmla="*/ 9137 h 45514"/>
                  <a:gd name="connsiteX5" fmla="*/ 2654 w 25845"/>
                  <a:gd name="connsiteY5" fmla="*/ 167 h 45514"/>
                  <a:gd name="connsiteX6" fmla="*/ 9062 w 25845"/>
                  <a:gd name="connsiteY6" fmla="*/ 14264 h 45514"/>
                  <a:gd name="connsiteX7" fmla="*/ 11625 w 25845"/>
                  <a:gd name="connsiteY7" fmla="*/ 29642 h 45514"/>
                  <a:gd name="connsiteX8" fmla="*/ 5218 w 25845"/>
                  <a:gd name="connsiteY8" fmla="*/ 36050 h 45514"/>
                  <a:gd name="connsiteX9" fmla="*/ 10343 w 25845"/>
                  <a:gd name="connsiteY9" fmla="*/ 41176 h 4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45" h="45514">
                    <a:moveTo>
                      <a:pt x="10343" y="41176"/>
                    </a:moveTo>
                    <a:cubicBezTo>
                      <a:pt x="18033" y="46302"/>
                      <a:pt x="27004" y="47584"/>
                      <a:pt x="25722" y="41176"/>
                    </a:cubicBezTo>
                    <a:cubicBezTo>
                      <a:pt x="25722" y="38613"/>
                      <a:pt x="23159" y="34768"/>
                      <a:pt x="16751" y="30924"/>
                    </a:cubicBezTo>
                    <a:cubicBezTo>
                      <a:pt x="15470" y="25798"/>
                      <a:pt x="15470" y="19390"/>
                      <a:pt x="14188" y="15545"/>
                    </a:cubicBezTo>
                    <a:cubicBezTo>
                      <a:pt x="21877" y="16827"/>
                      <a:pt x="23159" y="12982"/>
                      <a:pt x="20596" y="9137"/>
                    </a:cubicBezTo>
                    <a:cubicBezTo>
                      <a:pt x="18033" y="5293"/>
                      <a:pt x="10343" y="-1115"/>
                      <a:pt x="2654" y="167"/>
                    </a:cubicBezTo>
                    <a:cubicBezTo>
                      <a:pt x="-3754" y="2730"/>
                      <a:pt x="2654" y="10419"/>
                      <a:pt x="9062" y="14264"/>
                    </a:cubicBezTo>
                    <a:cubicBezTo>
                      <a:pt x="9062" y="19390"/>
                      <a:pt x="10343" y="25798"/>
                      <a:pt x="11625" y="29642"/>
                    </a:cubicBezTo>
                    <a:cubicBezTo>
                      <a:pt x="3936" y="28361"/>
                      <a:pt x="2654" y="32205"/>
                      <a:pt x="5218" y="36050"/>
                    </a:cubicBezTo>
                    <a:cubicBezTo>
                      <a:pt x="6499" y="38613"/>
                      <a:pt x="7780" y="39895"/>
                      <a:pt x="10343" y="41176"/>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5" name="Freeform: Shape 380115">
                <a:extLst>
                  <a:ext uri="{FF2B5EF4-FFF2-40B4-BE49-F238E27FC236}">
                    <a16:creationId xmlns:a16="http://schemas.microsoft.com/office/drawing/2014/main" id="{B2A2D6D2-AD25-4BB7-A778-BB54B2C37C2E}"/>
                  </a:ext>
                </a:extLst>
              </p:cNvPr>
              <p:cNvSpPr/>
              <p:nvPr/>
            </p:nvSpPr>
            <p:spPr>
              <a:xfrm>
                <a:off x="5248175" y="5045200"/>
                <a:ext cx="104525" cy="110500"/>
              </a:xfrm>
              <a:custGeom>
                <a:avLst/>
                <a:gdLst>
                  <a:gd name="connsiteX0" fmla="*/ 90428 w 104525"/>
                  <a:gd name="connsiteY0" fmla="*/ 106478 h 110500"/>
                  <a:gd name="connsiteX1" fmla="*/ 104525 w 104525"/>
                  <a:gd name="connsiteY1" fmla="*/ 107759 h 110500"/>
                  <a:gd name="connsiteX2" fmla="*/ 94273 w 104525"/>
                  <a:gd name="connsiteY2" fmla="*/ 97507 h 110500"/>
                  <a:gd name="connsiteX3" fmla="*/ 87865 w 104525"/>
                  <a:gd name="connsiteY3" fmla="*/ 75721 h 110500"/>
                  <a:gd name="connsiteX4" fmla="*/ 19943 w 104525"/>
                  <a:gd name="connsiteY4" fmla="*/ 15488 h 110500"/>
                  <a:gd name="connsiteX5" fmla="*/ 3283 w 104525"/>
                  <a:gd name="connsiteY5" fmla="*/ 110 h 110500"/>
                  <a:gd name="connsiteX6" fmla="*/ 2001 w 104525"/>
                  <a:gd name="connsiteY6" fmla="*/ 110 h 110500"/>
                  <a:gd name="connsiteX7" fmla="*/ 14817 w 104525"/>
                  <a:gd name="connsiteY7" fmla="*/ 16770 h 110500"/>
                  <a:gd name="connsiteX8" fmla="*/ 17380 w 104525"/>
                  <a:gd name="connsiteY8" fmla="*/ 16770 h 110500"/>
                  <a:gd name="connsiteX9" fmla="*/ 82739 w 104525"/>
                  <a:gd name="connsiteY9" fmla="*/ 75721 h 110500"/>
                  <a:gd name="connsiteX10" fmla="*/ 87865 w 104525"/>
                  <a:gd name="connsiteY10" fmla="*/ 96226 h 110500"/>
                  <a:gd name="connsiteX11" fmla="*/ 82739 w 104525"/>
                  <a:gd name="connsiteY11" fmla="*/ 101352 h 110500"/>
                  <a:gd name="connsiteX12" fmla="*/ 90428 w 104525"/>
                  <a:gd name="connsiteY12" fmla="*/ 106478 h 11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525" h="110500">
                    <a:moveTo>
                      <a:pt x="90428" y="106478"/>
                    </a:moveTo>
                    <a:cubicBezTo>
                      <a:pt x="98118" y="111604"/>
                      <a:pt x="104525" y="111604"/>
                      <a:pt x="104525" y="107759"/>
                    </a:cubicBezTo>
                    <a:cubicBezTo>
                      <a:pt x="104525" y="105197"/>
                      <a:pt x="101962" y="101352"/>
                      <a:pt x="94273" y="97507"/>
                    </a:cubicBezTo>
                    <a:lnTo>
                      <a:pt x="87865" y="75721"/>
                    </a:lnTo>
                    <a:cubicBezTo>
                      <a:pt x="64797" y="56498"/>
                      <a:pt x="43011" y="35993"/>
                      <a:pt x="19943" y="15488"/>
                    </a:cubicBezTo>
                    <a:cubicBezTo>
                      <a:pt x="23788" y="9081"/>
                      <a:pt x="9690" y="-1172"/>
                      <a:pt x="3283" y="110"/>
                    </a:cubicBezTo>
                    <a:cubicBezTo>
                      <a:pt x="3283" y="110"/>
                      <a:pt x="2001" y="110"/>
                      <a:pt x="2001" y="110"/>
                    </a:cubicBezTo>
                    <a:cubicBezTo>
                      <a:pt x="-4407" y="3954"/>
                      <a:pt x="5846" y="14207"/>
                      <a:pt x="14817" y="16770"/>
                    </a:cubicBezTo>
                    <a:cubicBezTo>
                      <a:pt x="16098" y="16770"/>
                      <a:pt x="17380" y="16770"/>
                      <a:pt x="17380" y="16770"/>
                    </a:cubicBezTo>
                    <a:cubicBezTo>
                      <a:pt x="39166" y="37275"/>
                      <a:pt x="60953" y="56498"/>
                      <a:pt x="82739" y="75721"/>
                    </a:cubicBezTo>
                    <a:cubicBezTo>
                      <a:pt x="84021" y="82129"/>
                      <a:pt x="86584" y="89818"/>
                      <a:pt x="87865" y="96226"/>
                    </a:cubicBezTo>
                    <a:cubicBezTo>
                      <a:pt x="81457" y="94944"/>
                      <a:pt x="80176" y="97507"/>
                      <a:pt x="82739" y="101352"/>
                    </a:cubicBezTo>
                    <a:cubicBezTo>
                      <a:pt x="84021" y="101352"/>
                      <a:pt x="85302" y="103915"/>
                      <a:pt x="90428" y="106478"/>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sp>
            <p:nvSpPr>
              <p:cNvPr id="966" name="Freeform: Shape 380116">
                <a:extLst>
                  <a:ext uri="{FF2B5EF4-FFF2-40B4-BE49-F238E27FC236}">
                    <a16:creationId xmlns:a16="http://schemas.microsoft.com/office/drawing/2014/main" id="{A1E9D156-21DE-4745-9993-55FD68B9B5C7}"/>
                  </a:ext>
                </a:extLst>
              </p:cNvPr>
              <p:cNvSpPr/>
              <p:nvPr/>
            </p:nvSpPr>
            <p:spPr>
              <a:xfrm>
                <a:off x="4312722" y="3773927"/>
                <a:ext cx="48426" cy="132088"/>
              </a:xfrm>
              <a:custGeom>
                <a:avLst/>
                <a:gdLst>
                  <a:gd name="connsiteX0" fmla="*/ 641 w 48426"/>
                  <a:gd name="connsiteY0" fmla="*/ 18031 h 132088"/>
                  <a:gd name="connsiteX1" fmla="*/ 9612 w 48426"/>
                  <a:gd name="connsiteY1" fmla="*/ 23157 h 132088"/>
                  <a:gd name="connsiteX2" fmla="*/ 9612 w 48426"/>
                  <a:gd name="connsiteY2" fmla="*/ 21876 h 132088"/>
                  <a:gd name="connsiteX3" fmla="*/ 27553 w 48426"/>
                  <a:gd name="connsiteY3" fmla="*/ 46225 h 132088"/>
                  <a:gd name="connsiteX4" fmla="*/ 37806 w 48426"/>
                  <a:gd name="connsiteY4" fmla="*/ 106458 h 132088"/>
                  <a:gd name="connsiteX5" fmla="*/ 42932 w 48426"/>
                  <a:gd name="connsiteY5" fmla="*/ 132089 h 132088"/>
                  <a:gd name="connsiteX6" fmla="*/ 44214 w 48426"/>
                  <a:gd name="connsiteY6" fmla="*/ 106458 h 132088"/>
                  <a:gd name="connsiteX7" fmla="*/ 40369 w 48426"/>
                  <a:gd name="connsiteY7" fmla="*/ 105176 h 132088"/>
                  <a:gd name="connsiteX8" fmla="*/ 30116 w 48426"/>
                  <a:gd name="connsiteY8" fmla="*/ 42381 h 132088"/>
                  <a:gd name="connsiteX9" fmla="*/ 10893 w 48426"/>
                  <a:gd name="connsiteY9" fmla="*/ 16750 h 132088"/>
                  <a:gd name="connsiteX10" fmla="*/ 3204 w 48426"/>
                  <a:gd name="connsiteY10" fmla="*/ 90 h 132088"/>
                  <a:gd name="connsiteX11" fmla="*/ 641 w 48426"/>
                  <a:gd name="connsiteY11" fmla="*/ 18031 h 13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426" h="132088">
                    <a:moveTo>
                      <a:pt x="641" y="18031"/>
                    </a:moveTo>
                    <a:cubicBezTo>
                      <a:pt x="1922" y="25721"/>
                      <a:pt x="7048" y="28284"/>
                      <a:pt x="9612" y="23157"/>
                    </a:cubicBezTo>
                    <a:cubicBezTo>
                      <a:pt x="9612" y="23157"/>
                      <a:pt x="9612" y="21876"/>
                      <a:pt x="9612" y="21876"/>
                    </a:cubicBezTo>
                    <a:lnTo>
                      <a:pt x="27553" y="46225"/>
                    </a:lnTo>
                    <a:cubicBezTo>
                      <a:pt x="30116" y="66730"/>
                      <a:pt x="33961" y="85953"/>
                      <a:pt x="37806" y="106458"/>
                    </a:cubicBezTo>
                    <a:cubicBezTo>
                      <a:pt x="31398" y="115429"/>
                      <a:pt x="36524" y="132089"/>
                      <a:pt x="42932" y="132089"/>
                    </a:cubicBezTo>
                    <a:cubicBezTo>
                      <a:pt x="49340" y="132089"/>
                      <a:pt x="50621" y="114147"/>
                      <a:pt x="44214" y="106458"/>
                    </a:cubicBezTo>
                    <a:cubicBezTo>
                      <a:pt x="42932" y="105176"/>
                      <a:pt x="41650" y="105176"/>
                      <a:pt x="40369" y="105176"/>
                    </a:cubicBezTo>
                    <a:cubicBezTo>
                      <a:pt x="36524" y="84671"/>
                      <a:pt x="32680" y="62885"/>
                      <a:pt x="30116" y="42381"/>
                    </a:cubicBezTo>
                    <a:cubicBezTo>
                      <a:pt x="23709" y="34691"/>
                      <a:pt x="9612" y="25721"/>
                      <a:pt x="10893" y="16750"/>
                    </a:cubicBezTo>
                    <a:cubicBezTo>
                      <a:pt x="10893" y="11623"/>
                      <a:pt x="9612" y="-1192"/>
                      <a:pt x="3204" y="90"/>
                    </a:cubicBezTo>
                    <a:cubicBezTo>
                      <a:pt x="-1922" y="3934"/>
                      <a:pt x="641" y="18031"/>
                      <a:pt x="641" y="18031"/>
                    </a:cubicBezTo>
                  </a:path>
                </a:pathLst>
              </a:custGeom>
              <a:grpFill/>
              <a:ln w="128144" cap="flat">
                <a:noFill/>
                <a:prstDash val="solid"/>
                <a:miter/>
              </a:ln>
            </p:spPr>
            <p:txBody>
              <a:bodyPr rtlCol="0" anchor="ctr"/>
              <a:lstStyle/>
              <a:p>
                <a:pPr defTabSz="685758"/>
                <a:endParaRPr lang="en-IN" sz="1350">
                  <a:solidFill>
                    <a:srgbClr val="1A1A1A"/>
                  </a:solidFill>
                  <a:latin typeface="Segoe UI"/>
                </a:endParaRPr>
              </a:p>
            </p:txBody>
          </p:sp>
        </p:grpSp>
      </p:grpSp>
      <p:pic>
        <p:nvPicPr>
          <p:cNvPr id="1039" name="Picture 1038">
            <a:extLst>
              <a:ext uri="{FF2B5EF4-FFF2-40B4-BE49-F238E27FC236}">
                <a16:creationId xmlns:a16="http://schemas.microsoft.com/office/drawing/2014/main" id="{58128C5E-2FD6-471F-8A6F-ABAE7D6FA52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520363" y="1919468"/>
            <a:ext cx="756000" cy="756000"/>
          </a:xfrm>
          <a:prstGeom prst="rect">
            <a:avLst/>
          </a:prstGeom>
        </p:spPr>
      </p:pic>
      <p:sp>
        <p:nvSpPr>
          <p:cNvPr id="58" name="Freeform: Shape 2617">
            <a:extLst>
              <a:ext uri="{FF2B5EF4-FFF2-40B4-BE49-F238E27FC236}">
                <a16:creationId xmlns:a16="http://schemas.microsoft.com/office/drawing/2014/main" id="{8AB62882-6E77-4769-A46B-F2984491D39F}"/>
              </a:ext>
            </a:extLst>
          </p:cNvPr>
          <p:cNvSpPr/>
          <p:nvPr/>
        </p:nvSpPr>
        <p:spPr bwMode="auto">
          <a:xfrm flipH="1">
            <a:off x="1502363" y="2207468"/>
            <a:ext cx="792000" cy="180000"/>
          </a:xfrm>
          <a:custGeom>
            <a:avLst/>
            <a:gdLst>
              <a:gd name="connsiteX0" fmla="*/ 1088747 w 1103538"/>
              <a:gd name="connsiteY0" fmla="*/ 0 h 245475"/>
              <a:gd name="connsiteX1" fmla="*/ 14791 w 1103538"/>
              <a:gd name="connsiteY1" fmla="*/ 0 h 245475"/>
              <a:gd name="connsiteX2" fmla="*/ 11210 w 1103538"/>
              <a:gd name="connsiteY2" fmla="*/ 11536 h 245475"/>
              <a:gd name="connsiteX3" fmla="*/ 0 w 1103538"/>
              <a:gd name="connsiteY3" fmla="*/ 122737 h 245475"/>
              <a:gd name="connsiteX4" fmla="*/ 11210 w 1103538"/>
              <a:gd name="connsiteY4" fmla="*/ 233938 h 245475"/>
              <a:gd name="connsiteX5" fmla="*/ 14791 w 1103538"/>
              <a:gd name="connsiteY5" fmla="*/ 245475 h 245475"/>
              <a:gd name="connsiteX6" fmla="*/ 1088747 w 1103538"/>
              <a:gd name="connsiteY6" fmla="*/ 245475 h 245475"/>
              <a:gd name="connsiteX7" fmla="*/ 1092328 w 1103538"/>
              <a:gd name="connsiteY7" fmla="*/ 233938 h 245475"/>
              <a:gd name="connsiteX8" fmla="*/ 1103538 w 1103538"/>
              <a:gd name="connsiteY8" fmla="*/ 122737 h 245475"/>
              <a:gd name="connsiteX9" fmla="*/ 1092328 w 1103538"/>
              <a:gd name="connsiteY9" fmla="*/ 11536 h 24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538" h="245475">
                <a:moveTo>
                  <a:pt x="1088747" y="0"/>
                </a:moveTo>
                <a:lnTo>
                  <a:pt x="14791" y="0"/>
                </a:lnTo>
                <a:lnTo>
                  <a:pt x="11210" y="11536"/>
                </a:lnTo>
                <a:cubicBezTo>
                  <a:pt x="3860" y="47455"/>
                  <a:pt x="0" y="84645"/>
                  <a:pt x="0" y="122737"/>
                </a:cubicBezTo>
                <a:cubicBezTo>
                  <a:pt x="0" y="160829"/>
                  <a:pt x="3860" y="198019"/>
                  <a:pt x="11210" y="233938"/>
                </a:cubicBezTo>
                <a:lnTo>
                  <a:pt x="14791" y="245475"/>
                </a:lnTo>
                <a:lnTo>
                  <a:pt x="1088747" y="245475"/>
                </a:lnTo>
                <a:lnTo>
                  <a:pt x="1092328" y="233938"/>
                </a:lnTo>
                <a:cubicBezTo>
                  <a:pt x="1099678" y="198019"/>
                  <a:pt x="1103538" y="160829"/>
                  <a:pt x="1103538" y="122737"/>
                </a:cubicBezTo>
                <a:cubicBezTo>
                  <a:pt x="1103538" y="84645"/>
                  <a:pt x="1099678" y="47455"/>
                  <a:pt x="1092328" y="11536"/>
                </a:cubicBezTo>
                <a:close/>
              </a:path>
            </a:pathLst>
          </a:cu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 tIns="6858" rIns="20574" bIns="6858" numCol="1" spcCol="0" rtlCol="0" fromWordArt="0" anchor="ctr" anchorCtr="0" forceAA="0" compatLnSpc="1">
            <a:prstTxWarp prst="textNoShape">
              <a:avLst/>
            </a:prstTxWarp>
            <a:noAutofit/>
          </a:bodyPr>
          <a:lstStyle/>
          <a:p>
            <a:pPr algn="ctr" defTabSz="685758"/>
            <a:r>
              <a:rPr lang="en-GB" sz="900" b="1" dirty="0" err="1">
                <a:solidFill>
                  <a:srgbClr val="1A1A1A"/>
                </a:solidFill>
                <a:latin typeface="Calibri" panose="020F0502020204030204" pitchFamily="34" charset="0"/>
                <a:cs typeface="Calibri" panose="020F0502020204030204" pitchFamily="34" charset="0"/>
              </a:rPr>
              <a:t>Agricultor</a:t>
            </a:r>
            <a:endParaRPr lang="en-GB" sz="900" b="1" dirty="0">
              <a:solidFill>
                <a:srgbClr val="1A1A1A"/>
              </a:solidFill>
              <a:latin typeface="Calibri" panose="020F0502020204030204" pitchFamily="34" charset="0"/>
              <a:cs typeface="Calibri" panose="020F0502020204030204" pitchFamily="34" charset="0"/>
            </a:endParaRPr>
          </a:p>
        </p:txBody>
      </p:sp>
      <p:sp>
        <p:nvSpPr>
          <p:cNvPr id="1010" name="Oval 1009">
            <a:extLst>
              <a:ext uri="{FF2B5EF4-FFF2-40B4-BE49-F238E27FC236}">
                <a16:creationId xmlns:a16="http://schemas.microsoft.com/office/drawing/2014/main" id="{1268AF5C-5B91-42D2-987E-C56F01DACC67}"/>
              </a:ext>
            </a:extLst>
          </p:cNvPr>
          <p:cNvSpPr/>
          <p:nvPr/>
        </p:nvSpPr>
        <p:spPr bwMode="auto">
          <a:xfrm>
            <a:off x="1448363" y="1847468"/>
            <a:ext cx="900000" cy="90000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37" fontAlgn="base">
              <a:spcBef>
                <a:spcPct val="0"/>
              </a:spcBef>
              <a:spcAft>
                <a:spcPct val="0"/>
              </a:spcAft>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8" name="Group 17"/>
          <p:cNvGrpSpPr/>
          <p:nvPr/>
        </p:nvGrpSpPr>
        <p:grpSpPr>
          <a:xfrm>
            <a:off x="7209165" y="1836439"/>
            <a:ext cx="900000" cy="900000"/>
            <a:chOff x="7101375" y="1676473"/>
            <a:chExt cx="900000" cy="900000"/>
          </a:xfrm>
        </p:grpSpPr>
        <p:pic>
          <p:nvPicPr>
            <p:cNvPr id="1038" name="Picture 1037">
              <a:extLst>
                <a:ext uri="{FF2B5EF4-FFF2-40B4-BE49-F238E27FC236}">
                  <a16:creationId xmlns:a16="http://schemas.microsoft.com/office/drawing/2014/main" id="{D0668C0A-D379-4D22-862C-CF9D7EC4B5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173375" y="1748473"/>
              <a:ext cx="756000" cy="756000"/>
            </a:xfrm>
            <a:prstGeom prst="rect">
              <a:avLst/>
            </a:prstGeom>
          </p:spPr>
        </p:pic>
        <p:sp>
          <p:nvSpPr>
            <p:cNvPr id="61" name="Freeform: Shape 2621">
              <a:extLst>
                <a:ext uri="{FF2B5EF4-FFF2-40B4-BE49-F238E27FC236}">
                  <a16:creationId xmlns:a16="http://schemas.microsoft.com/office/drawing/2014/main" id="{26E61961-3FAF-4F9D-9AA3-01F5199F58F6}"/>
                </a:ext>
              </a:extLst>
            </p:cNvPr>
            <p:cNvSpPr/>
            <p:nvPr/>
          </p:nvSpPr>
          <p:spPr bwMode="auto">
            <a:xfrm>
              <a:off x="7155375" y="2036473"/>
              <a:ext cx="792000" cy="180000"/>
            </a:xfrm>
            <a:custGeom>
              <a:avLst/>
              <a:gdLst>
                <a:gd name="connsiteX0" fmla="*/ 1088747 w 1103538"/>
                <a:gd name="connsiteY0" fmla="*/ 0 h 245475"/>
                <a:gd name="connsiteX1" fmla="*/ 14791 w 1103538"/>
                <a:gd name="connsiteY1" fmla="*/ 0 h 245475"/>
                <a:gd name="connsiteX2" fmla="*/ 11210 w 1103538"/>
                <a:gd name="connsiteY2" fmla="*/ 11536 h 245475"/>
                <a:gd name="connsiteX3" fmla="*/ 0 w 1103538"/>
                <a:gd name="connsiteY3" fmla="*/ 122737 h 245475"/>
                <a:gd name="connsiteX4" fmla="*/ 11210 w 1103538"/>
                <a:gd name="connsiteY4" fmla="*/ 233938 h 245475"/>
                <a:gd name="connsiteX5" fmla="*/ 14791 w 1103538"/>
                <a:gd name="connsiteY5" fmla="*/ 245475 h 245475"/>
                <a:gd name="connsiteX6" fmla="*/ 1088747 w 1103538"/>
                <a:gd name="connsiteY6" fmla="*/ 245475 h 245475"/>
                <a:gd name="connsiteX7" fmla="*/ 1092328 w 1103538"/>
                <a:gd name="connsiteY7" fmla="*/ 233938 h 245475"/>
                <a:gd name="connsiteX8" fmla="*/ 1103538 w 1103538"/>
                <a:gd name="connsiteY8" fmla="*/ 122737 h 245475"/>
                <a:gd name="connsiteX9" fmla="*/ 1092328 w 1103538"/>
                <a:gd name="connsiteY9" fmla="*/ 11536 h 24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538" h="245475">
                  <a:moveTo>
                    <a:pt x="1088747" y="0"/>
                  </a:moveTo>
                  <a:lnTo>
                    <a:pt x="14791" y="0"/>
                  </a:lnTo>
                  <a:lnTo>
                    <a:pt x="11210" y="11536"/>
                  </a:lnTo>
                  <a:cubicBezTo>
                    <a:pt x="3860" y="47455"/>
                    <a:pt x="0" y="84645"/>
                    <a:pt x="0" y="122737"/>
                  </a:cubicBezTo>
                  <a:cubicBezTo>
                    <a:pt x="0" y="160829"/>
                    <a:pt x="3860" y="198019"/>
                    <a:pt x="11210" y="233938"/>
                  </a:cubicBezTo>
                  <a:lnTo>
                    <a:pt x="14791" y="245475"/>
                  </a:lnTo>
                  <a:lnTo>
                    <a:pt x="1088747" y="245475"/>
                  </a:lnTo>
                  <a:lnTo>
                    <a:pt x="1092328" y="233938"/>
                  </a:lnTo>
                  <a:cubicBezTo>
                    <a:pt x="1099678" y="198019"/>
                    <a:pt x="1103538" y="160829"/>
                    <a:pt x="1103538" y="122737"/>
                  </a:cubicBezTo>
                  <a:cubicBezTo>
                    <a:pt x="1103538" y="84645"/>
                    <a:pt x="1099678" y="47455"/>
                    <a:pt x="1092328" y="11536"/>
                  </a:cubicBezTo>
                  <a:close/>
                </a:path>
              </a:pathLst>
            </a:cu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 tIns="6858" rIns="20574" bIns="6858" numCol="1" spcCol="0" rtlCol="0" fromWordArt="0" anchor="ctr" anchorCtr="0" forceAA="0" compatLnSpc="1">
              <a:prstTxWarp prst="textNoShape">
                <a:avLst/>
              </a:prstTxWarp>
              <a:noAutofit/>
            </a:bodyPr>
            <a:lstStyle/>
            <a:p>
              <a:pPr algn="ctr" defTabSz="685758"/>
              <a:r>
                <a:rPr lang="en-GB" sz="900" b="1" dirty="0" err="1">
                  <a:solidFill>
                    <a:srgbClr val="1A1A1A"/>
                  </a:solidFill>
                  <a:latin typeface="Calibri" panose="020F0502020204030204" pitchFamily="34" charset="0"/>
                  <a:cs typeface="Calibri" panose="020F0502020204030204" pitchFamily="34" charset="0"/>
                </a:rPr>
                <a:t>Corporativa</a:t>
              </a:r>
              <a:endParaRPr lang="en-GB" sz="900" b="1" dirty="0">
                <a:solidFill>
                  <a:srgbClr val="1A1A1A"/>
                </a:solidFill>
                <a:latin typeface="Calibri" panose="020F0502020204030204" pitchFamily="34" charset="0"/>
                <a:cs typeface="Calibri" panose="020F0502020204030204" pitchFamily="34" charset="0"/>
              </a:endParaRPr>
            </a:p>
          </p:txBody>
        </p:sp>
        <p:sp>
          <p:nvSpPr>
            <p:cNvPr id="1011" name="Oval 1010">
              <a:extLst>
                <a:ext uri="{FF2B5EF4-FFF2-40B4-BE49-F238E27FC236}">
                  <a16:creationId xmlns:a16="http://schemas.microsoft.com/office/drawing/2014/main" id="{D9F896A9-E1B6-429D-B352-6A9A2ACF599A}"/>
                </a:ext>
              </a:extLst>
            </p:cNvPr>
            <p:cNvSpPr/>
            <p:nvPr/>
          </p:nvSpPr>
          <p:spPr bwMode="auto">
            <a:xfrm>
              <a:off x="7101375" y="1676473"/>
              <a:ext cx="900000" cy="90000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37" fontAlgn="base">
                <a:spcBef>
                  <a:spcPct val="0"/>
                </a:spcBef>
                <a:spcAft>
                  <a:spcPct val="0"/>
                </a:spcAft>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07" name="Freeform 1006">
            <a:extLst>
              <a:ext uri="{FF2B5EF4-FFF2-40B4-BE49-F238E27FC236}">
                <a16:creationId xmlns:a16="http://schemas.microsoft.com/office/drawing/2014/main" id="{0DF36752-FAFE-4915-89BC-B73F8BC7E87B}"/>
              </a:ext>
            </a:extLst>
          </p:cNvPr>
          <p:cNvSpPr/>
          <p:nvPr/>
        </p:nvSpPr>
        <p:spPr bwMode="auto">
          <a:xfrm>
            <a:off x="-2695" y="1479287"/>
            <a:ext cx="3189211" cy="323166"/>
          </a:xfrm>
          <a:custGeom>
            <a:avLst/>
            <a:gdLst>
              <a:gd name="connsiteX0" fmla="*/ 0 w 3189211"/>
              <a:gd name="connsiteY0" fmla="*/ 0 h 323166"/>
              <a:gd name="connsiteX1" fmla="*/ 2866045 w 3189211"/>
              <a:gd name="connsiteY1" fmla="*/ 0 h 323166"/>
              <a:gd name="connsiteX2" fmla="*/ 2880000 w 3189211"/>
              <a:gd name="connsiteY2" fmla="*/ 0 h 323166"/>
              <a:gd name="connsiteX3" fmla="*/ 3027628 w 3189211"/>
              <a:gd name="connsiteY3" fmla="*/ 0 h 323166"/>
              <a:gd name="connsiteX4" fmla="*/ 3189211 w 3189211"/>
              <a:gd name="connsiteY4" fmla="*/ 161583 h 323166"/>
              <a:gd name="connsiteX5" fmla="*/ 3027628 w 3189211"/>
              <a:gd name="connsiteY5" fmla="*/ 323166 h 323166"/>
              <a:gd name="connsiteX6" fmla="*/ 2866045 w 3189211"/>
              <a:gd name="connsiteY6" fmla="*/ 323166 h 323166"/>
              <a:gd name="connsiteX7" fmla="*/ 2866045 w 3189211"/>
              <a:gd name="connsiteY7" fmla="*/ 323165 h 323166"/>
              <a:gd name="connsiteX8" fmla="*/ 0 w 3189211"/>
              <a:gd name="connsiteY8" fmla="*/ 323165 h 32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89211" h="323166">
                <a:moveTo>
                  <a:pt x="0" y="0"/>
                </a:moveTo>
                <a:lnTo>
                  <a:pt x="2866045" y="0"/>
                </a:lnTo>
                <a:lnTo>
                  <a:pt x="2880000" y="0"/>
                </a:lnTo>
                <a:lnTo>
                  <a:pt x="3027628" y="0"/>
                </a:lnTo>
                <a:cubicBezTo>
                  <a:pt x="3116868" y="0"/>
                  <a:pt x="3189211" y="72343"/>
                  <a:pt x="3189211" y="161583"/>
                </a:cubicBezTo>
                <a:cubicBezTo>
                  <a:pt x="3189211" y="250823"/>
                  <a:pt x="3116868" y="323166"/>
                  <a:pt x="3027628" y="323166"/>
                </a:cubicBezTo>
                <a:lnTo>
                  <a:pt x="2866045" y="323166"/>
                </a:lnTo>
                <a:lnTo>
                  <a:pt x="2866045" y="323165"/>
                </a:lnTo>
                <a:lnTo>
                  <a:pt x="0" y="323165"/>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8000" tIns="36000" rIns="36000" bIns="36000" numCol="1" spcCol="0" rtlCol="0" fromWordArt="0" anchor="ctr" anchorCtr="0" forceAA="0" compatLnSpc="1">
            <a:prstTxWarp prst="textNoShape">
              <a:avLst/>
            </a:prstTxWarp>
            <a:noAutofit/>
          </a:bodyPr>
          <a:lstStyle/>
          <a:p>
            <a:pPr defTabSz="685758"/>
            <a:r>
              <a:rPr lang="en-US" sz="1600" b="1" dirty="0" err="1">
                <a:solidFill>
                  <a:srgbClr val="FFFFFF"/>
                </a:solidFill>
                <a:latin typeface="Calibri" panose="020F0502020204030204" pitchFamily="34" charset="0"/>
                <a:ea typeface="Times New Roman" panose="02020603050405020304" pitchFamily="18" charset="0"/>
                <a:cs typeface="Calibri" panose="020F0502020204030204" pitchFamily="34" charset="0"/>
              </a:rPr>
              <a:t>Oferta</a:t>
            </a:r>
            <a:r>
              <a:rPr lang="en-US" sz="1600" b="1" dirty="0">
                <a:solidFill>
                  <a:srgbClr val="FFFFFF"/>
                </a:solidFill>
                <a:latin typeface="Calibri" panose="020F0502020204030204" pitchFamily="34" charset="0"/>
                <a:ea typeface="Times New Roman" panose="02020603050405020304" pitchFamily="18" charset="0"/>
                <a:cs typeface="Calibri" panose="020F0502020204030204" pitchFamily="34" charset="0"/>
              </a:rPr>
              <a:t> – </a:t>
            </a:r>
            <a:r>
              <a:rPr lang="en-US" sz="1600" b="1" dirty="0" err="1">
                <a:solidFill>
                  <a:srgbClr val="FFFFFF"/>
                </a:solidFill>
                <a:latin typeface="Calibri" panose="020F0502020204030204" pitchFamily="34" charset="0"/>
                <a:ea typeface="Times New Roman" panose="02020603050405020304" pitchFamily="18" charset="0"/>
                <a:cs typeface="Calibri" panose="020F0502020204030204" pitchFamily="34" charset="0"/>
              </a:rPr>
              <a:t>compensadores</a:t>
            </a:r>
            <a:endParaRPr lang="en-US" sz="1600" b="1"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1008" name="Freeform 1007">
            <a:extLst>
              <a:ext uri="{FF2B5EF4-FFF2-40B4-BE49-F238E27FC236}">
                <a16:creationId xmlns:a16="http://schemas.microsoft.com/office/drawing/2014/main" id="{91480E7C-0582-432C-8F32-2E1BE65C24C9}"/>
              </a:ext>
            </a:extLst>
          </p:cNvPr>
          <p:cNvSpPr/>
          <p:nvPr/>
        </p:nvSpPr>
        <p:spPr bwMode="auto">
          <a:xfrm>
            <a:off x="5972007" y="1479287"/>
            <a:ext cx="3179118" cy="323166"/>
          </a:xfrm>
          <a:custGeom>
            <a:avLst/>
            <a:gdLst>
              <a:gd name="connsiteX0" fmla="*/ 161583 w 3179118"/>
              <a:gd name="connsiteY0" fmla="*/ 0 h 323166"/>
              <a:gd name="connsiteX1" fmla="*/ 299118 w 3179118"/>
              <a:gd name="connsiteY1" fmla="*/ 0 h 323166"/>
              <a:gd name="connsiteX2" fmla="*/ 323166 w 3179118"/>
              <a:gd name="connsiteY2" fmla="*/ 0 h 323166"/>
              <a:gd name="connsiteX3" fmla="*/ 3179118 w 3179118"/>
              <a:gd name="connsiteY3" fmla="*/ 0 h 323166"/>
              <a:gd name="connsiteX4" fmla="*/ 3179118 w 3179118"/>
              <a:gd name="connsiteY4" fmla="*/ 323165 h 323166"/>
              <a:gd name="connsiteX5" fmla="*/ 323166 w 3179118"/>
              <a:gd name="connsiteY5" fmla="*/ 323165 h 323166"/>
              <a:gd name="connsiteX6" fmla="*/ 323166 w 3179118"/>
              <a:gd name="connsiteY6" fmla="*/ 323166 h 323166"/>
              <a:gd name="connsiteX7" fmla="*/ 161583 w 3179118"/>
              <a:gd name="connsiteY7" fmla="*/ 323166 h 323166"/>
              <a:gd name="connsiteX8" fmla="*/ 0 w 3179118"/>
              <a:gd name="connsiteY8" fmla="*/ 161583 h 323166"/>
              <a:gd name="connsiteX9" fmla="*/ 161583 w 3179118"/>
              <a:gd name="connsiteY9" fmla="*/ 0 h 32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79118" h="323166">
                <a:moveTo>
                  <a:pt x="161583" y="0"/>
                </a:moveTo>
                <a:lnTo>
                  <a:pt x="299118" y="0"/>
                </a:lnTo>
                <a:lnTo>
                  <a:pt x="323166" y="0"/>
                </a:lnTo>
                <a:lnTo>
                  <a:pt x="3179118" y="0"/>
                </a:lnTo>
                <a:lnTo>
                  <a:pt x="3179118" y="323165"/>
                </a:lnTo>
                <a:lnTo>
                  <a:pt x="323166" y="323165"/>
                </a:lnTo>
                <a:lnTo>
                  <a:pt x="323166" y="323166"/>
                </a:lnTo>
                <a:lnTo>
                  <a:pt x="161583" y="323166"/>
                </a:lnTo>
                <a:cubicBezTo>
                  <a:pt x="72343" y="323166"/>
                  <a:pt x="0" y="250823"/>
                  <a:pt x="0" y="161583"/>
                </a:cubicBezTo>
                <a:cubicBezTo>
                  <a:pt x="0" y="72343"/>
                  <a:pt x="72343" y="0"/>
                  <a:pt x="161583"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000" tIns="36000" rIns="468000" bIns="36000" numCol="1" spcCol="0" rtlCol="0" fromWordArt="0" anchor="ctr" anchorCtr="0" forceAA="0" compatLnSpc="1">
            <a:prstTxWarp prst="textNoShape">
              <a:avLst/>
            </a:prstTxWarp>
            <a:noAutofit/>
          </a:bodyPr>
          <a:lstStyle/>
          <a:p>
            <a:pPr algn="r" defTabSz="685758"/>
            <a:r>
              <a:rPr lang="en-US" sz="1600" b="1" dirty="0" err="1">
                <a:solidFill>
                  <a:srgbClr val="FFFFFF"/>
                </a:solidFill>
                <a:latin typeface="Calibri" panose="020F0502020204030204" pitchFamily="34" charset="0"/>
                <a:ea typeface="Times New Roman" panose="02020603050405020304" pitchFamily="18" charset="0"/>
                <a:cs typeface="Calibri" panose="020F0502020204030204" pitchFamily="34" charset="0"/>
              </a:rPr>
              <a:t>Demanda</a:t>
            </a:r>
            <a:r>
              <a:rPr lang="en-US" sz="1600" b="1" dirty="0">
                <a:solidFill>
                  <a:srgbClr val="FFFFFF"/>
                </a:solidFill>
                <a:latin typeface="Calibri" panose="020F0502020204030204" pitchFamily="34" charset="0"/>
                <a:ea typeface="Times New Roman" panose="02020603050405020304" pitchFamily="18" charset="0"/>
                <a:cs typeface="Calibri" panose="020F0502020204030204" pitchFamily="34" charset="0"/>
              </a:rPr>
              <a:t> – </a:t>
            </a:r>
            <a:r>
              <a:rPr lang="en-US" sz="1600" b="1" dirty="0" err="1">
                <a:solidFill>
                  <a:srgbClr val="FFFFFF"/>
                </a:solidFill>
                <a:latin typeface="Calibri" panose="020F0502020204030204" pitchFamily="34" charset="0"/>
                <a:ea typeface="Times New Roman" panose="02020603050405020304" pitchFamily="18" charset="0"/>
                <a:cs typeface="Calibri" panose="020F0502020204030204" pitchFamily="34" charset="0"/>
              </a:rPr>
              <a:t>emisores</a:t>
            </a:r>
            <a:endParaRPr lang="en-US" sz="1600" b="1" dirty="0">
              <a:solidFill>
                <a:srgbClr val="FFFFFF"/>
              </a:solidFill>
              <a:latin typeface="Calibri" panose="020F0502020204030204" pitchFamily="34" charset="0"/>
              <a:ea typeface="Calibri" panose="020F0502020204030204" pitchFamily="34" charset="0"/>
              <a:cs typeface="Calibri" panose="020F0502020204030204" pitchFamily="34" charset="0"/>
            </a:endParaRPr>
          </a:p>
        </p:txBody>
      </p:sp>
      <p:sp>
        <p:nvSpPr>
          <p:cNvPr id="7" name="Left Arrow 5">
            <a:extLst>
              <a:ext uri="{FF2B5EF4-FFF2-40B4-BE49-F238E27FC236}">
                <a16:creationId xmlns:a16="http://schemas.microsoft.com/office/drawing/2014/main" id="{4A72F5B6-F865-49D8-961A-DB3E81B3BE56}"/>
              </a:ext>
            </a:extLst>
          </p:cNvPr>
          <p:cNvSpPr/>
          <p:nvPr/>
        </p:nvSpPr>
        <p:spPr>
          <a:xfrm>
            <a:off x="3374993" y="3250127"/>
            <a:ext cx="2412000" cy="462064"/>
          </a:xfrm>
          <a:prstGeom prst="leftArrow">
            <a:avLst/>
          </a:prstGeom>
          <a:solidFill>
            <a:schemeClr val="tx2"/>
          </a:solidFill>
          <a:ln w="12700" cap="rnd" cmpd="sng" algn="ctr">
            <a:noFill/>
            <a:prstDash val="solid"/>
          </a:ln>
          <a:effectLst/>
        </p:spPr>
        <p:txBody>
          <a:bodyPr rtlCol="0" anchor="ctr"/>
          <a:lstStyle/>
          <a:p>
            <a:pPr algn="ctr" defTabSz="685758"/>
            <a:r>
              <a:rPr lang="nl-NL" sz="1200" dirty="0">
                <a:solidFill>
                  <a:srgbClr val="FFFFFF"/>
                </a:solidFill>
                <a:latin typeface="Calibri" panose="020F0502020204030204" pitchFamily="34" charset="0"/>
                <a:cs typeface="Calibri" panose="020F0502020204030204" pitchFamily="34" charset="0"/>
              </a:rPr>
              <a:t>Pago</a:t>
            </a:r>
            <a:endParaRPr lang="en-GB" sz="1200" dirty="0">
              <a:solidFill>
                <a:srgbClr val="FFFFFF"/>
              </a:solidFill>
              <a:latin typeface="Calibri" panose="020F0502020204030204" pitchFamily="34" charset="0"/>
              <a:cs typeface="Calibri" panose="020F0502020204030204" pitchFamily="34" charset="0"/>
            </a:endParaRPr>
          </a:p>
        </p:txBody>
      </p:sp>
      <p:sp>
        <p:nvSpPr>
          <p:cNvPr id="8" name="Left Arrow 6">
            <a:extLst>
              <a:ext uri="{FF2B5EF4-FFF2-40B4-BE49-F238E27FC236}">
                <a16:creationId xmlns:a16="http://schemas.microsoft.com/office/drawing/2014/main" id="{DBB6386A-0AD8-4B4E-A21D-345107C1688C}"/>
              </a:ext>
            </a:extLst>
          </p:cNvPr>
          <p:cNvSpPr/>
          <p:nvPr/>
        </p:nvSpPr>
        <p:spPr>
          <a:xfrm flipH="1">
            <a:off x="3374993" y="2832296"/>
            <a:ext cx="2412000" cy="462064"/>
          </a:xfrm>
          <a:prstGeom prst="leftArrow">
            <a:avLst/>
          </a:prstGeom>
          <a:solidFill>
            <a:schemeClr val="tx2"/>
          </a:solidFill>
          <a:ln w="12700" cap="rnd" cmpd="sng" algn="ctr">
            <a:noFill/>
            <a:prstDash val="solid"/>
          </a:ln>
          <a:effectLst/>
        </p:spPr>
        <p:txBody>
          <a:bodyPr rtlCol="0" anchor="ctr"/>
          <a:lstStyle/>
          <a:p>
            <a:pPr algn="ctr" defTabSz="685758"/>
            <a:r>
              <a:rPr lang="nl-NL" sz="1200" dirty="0">
                <a:solidFill>
                  <a:srgbClr val="FFFFFF"/>
                </a:solidFill>
                <a:latin typeface="Calibri" panose="020F0502020204030204" pitchFamily="34" charset="0"/>
                <a:cs typeface="Calibri" panose="020F0502020204030204" pitchFamily="34" charset="0"/>
              </a:rPr>
              <a:t>Carbon </a:t>
            </a:r>
            <a:r>
              <a:rPr lang="nl-NL" sz="1200" dirty="0" err="1">
                <a:solidFill>
                  <a:srgbClr val="FFFFFF"/>
                </a:solidFill>
                <a:latin typeface="Calibri" panose="020F0502020204030204" pitchFamily="34" charset="0"/>
                <a:cs typeface="Calibri" panose="020F0502020204030204" pitchFamily="34" charset="0"/>
              </a:rPr>
              <a:t>Removal</a:t>
            </a:r>
            <a:r>
              <a:rPr lang="nl-NL" sz="1200" dirty="0">
                <a:solidFill>
                  <a:srgbClr val="FFFFFF"/>
                </a:solidFill>
                <a:latin typeface="Calibri" panose="020F0502020204030204" pitchFamily="34" charset="0"/>
                <a:cs typeface="Calibri" panose="020F0502020204030204" pitchFamily="34" charset="0"/>
              </a:rPr>
              <a:t> Unit (CRU)</a:t>
            </a:r>
            <a:endParaRPr lang="en-GB" sz="1200" dirty="0">
              <a:solidFill>
                <a:srgbClr val="FFFFFF"/>
              </a:solidFill>
              <a:latin typeface="Calibri" panose="020F0502020204030204" pitchFamily="34" charset="0"/>
              <a:cs typeface="Calibri" panose="020F0502020204030204" pitchFamily="34" charset="0"/>
            </a:endParaRPr>
          </a:p>
        </p:txBody>
      </p:sp>
      <p:sp>
        <p:nvSpPr>
          <p:cNvPr id="12" name="Freeform 103">
            <a:extLst>
              <a:ext uri="{FF2B5EF4-FFF2-40B4-BE49-F238E27FC236}">
                <a16:creationId xmlns:a16="http://schemas.microsoft.com/office/drawing/2014/main" id="{75A60722-BFC9-4823-BF44-7F97EB3481CD}"/>
              </a:ext>
            </a:extLst>
          </p:cNvPr>
          <p:cNvSpPr>
            <a:spLocks noEditPoints="1"/>
          </p:cNvSpPr>
          <p:nvPr/>
        </p:nvSpPr>
        <p:spPr bwMode="auto">
          <a:xfrm>
            <a:off x="5381812" y="3381489"/>
            <a:ext cx="245258" cy="178484"/>
          </a:xfrm>
          <a:custGeom>
            <a:avLst/>
            <a:gdLst>
              <a:gd name="T0" fmla="*/ 466 w 675"/>
              <a:gd name="T1" fmla="*/ 403 h 557"/>
              <a:gd name="T2" fmla="*/ 270 w 675"/>
              <a:gd name="T3" fmla="*/ 403 h 557"/>
              <a:gd name="T4" fmla="*/ 368 w 675"/>
              <a:gd name="T5" fmla="*/ 304 h 557"/>
              <a:gd name="T6" fmla="*/ 368 w 675"/>
              <a:gd name="T7" fmla="*/ 502 h 557"/>
              <a:gd name="T8" fmla="*/ 368 w 675"/>
              <a:gd name="T9" fmla="*/ 304 h 557"/>
              <a:gd name="T10" fmla="*/ 598 w 675"/>
              <a:gd name="T11" fmla="*/ 406 h 557"/>
              <a:gd name="T12" fmla="*/ 514 w 675"/>
              <a:gd name="T13" fmla="*/ 406 h 557"/>
              <a:gd name="T14" fmla="*/ 556 w 675"/>
              <a:gd name="T15" fmla="*/ 378 h 557"/>
              <a:gd name="T16" fmla="*/ 556 w 675"/>
              <a:gd name="T17" fmla="*/ 435 h 557"/>
              <a:gd name="T18" fmla="*/ 556 w 675"/>
              <a:gd name="T19" fmla="*/ 378 h 557"/>
              <a:gd name="T20" fmla="*/ 226 w 675"/>
              <a:gd name="T21" fmla="*/ 406 h 557"/>
              <a:gd name="T22" fmla="*/ 142 w 675"/>
              <a:gd name="T23" fmla="*/ 406 h 557"/>
              <a:gd name="T24" fmla="*/ 184 w 675"/>
              <a:gd name="T25" fmla="*/ 378 h 557"/>
              <a:gd name="T26" fmla="*/ 184 w 675"/>
              <a:gd name="T27" fmla="*/ 435 h 557"/>
              <a:gd name="T28" fmla="*/ 184 w 675"/>
              <a:gd name="T29" fmla="*/ 378 h 557"/>
              <a:gd name="T30" fmla="*/ 659 w 675"/>
              <a:gd name="T31" fmla="*/ 249 h 557"/>
              <a:gd name="T32" fmla="*/ 613 w 675"/>
              <a:gd name="T33" fmla="*/ 93 h 557"/>
              <a:gd name="T34" fmla="*/ 587 w 675"/>
              <a:gd name="T35" fmla="*/ 6 h 557"/>
              <a:gd name="T36" fmla="*/ 579 w 675"/>
              <a:gd name="T37" fmla="*/ 1 h 557"/>
              <a:gd name="T38" fmla="*/ 492 w 675"/>
              <a:gd name="T39" fmla="*/ 26 h 557"/>
              <a:gd name="T40" fmla="*/ 93 w 675"/>
              <a:gd name="T41" fmla="*/ 143 h 557"/>
              <a:gd name="T42" fmla="*/ 93 w 675"/>
              <a:gd name="T43" fmla="*/ 143 h 557"/>
              <a:gd name="T44" fmla="*/ 1 w 675"/>
              <a:gd name="T45" fmla="*/ 177 h 557"/>
              <a:gd name="T46" fmla="*/ 64 w 675"/>
              <a:gd name="T47" fmla="*/ 550 h 557"/>
              <a:gd name="T48" fmla="*/ 668 w 675"/>
              <a:gd name="T49" fmla="*/ 557 h 557"/>
              <a:gd name="T50" fmla="*/ 675 w 675"/>
              <a:gd name="T51" fmla="*/ 256 h 557"/>
              <a:gd name="T52" fmla="*/ 64 w 675"/>
              <a:gd name="T53" fmla="*/ 344 h 557"/>
              <a:gd name="T54" fmla="*/ 64 w 675"/>
              <a:gd name="T55" fmla="*/ 255 h 557"/>
              <a:gd name="T56" fmla="*/ 64 w 675"/>
              <a:gd name="T57" fmla="*/ 344 h 557"/>
              <a:gd name="T58" fmla="*/ 169 w 675"/>
              <a:gd name="T59" fmla="*/ 263 h 557"/>
              <a:gd name="T60" fmla="*/ 661 w 675"/>
              <a:gd name="T61" fmla="*/ 354 h 557"/>
              <a:gd name="T62" fmla="*/ 593 w 675"/>
              <a:gd name="T63" fmla="*/ 543 h 557"/>
              <a:gd name="T64" fmla="*/ 78 w 675"/>
              <a:gd name="T65" fmla="*/ 475 h 557"/>
              <a:gd name="T66" fmla="*/ 78 w 675"/>
              <a:gd name="T67" fmla="*/ 340 h 557"/>
              <a:gd name="T68" fmla="*/ 155 w 675"/>
              <a:gd name="T69" fmla="*/ 263 h 557"/>
              <a:gd name="T70" fmla="*/ 306 w 675"/>
              <a:gd name="T71" fmla="*/ 138 h 557"/>
              <a:gd name="T72" fmla="*/ 419 w 675"/>
              <a:gd name="T73" fmla="*/ 249 h 557"/>
              <a:gd name="T74" fmla="*/ 306 w 675"/>
              <a:gd name="T75" fmla="*/ 138 h 557"/>
              <a:gd name="T76" fmla="*/ 585 w 675"/>
              <a:gd name="T77" fmla="*/ 263 h 557"/>
              <a:gd name="T78" fmla="*/ 654 w 675"/>
              <a:gd name="T79" fmla="*/ 263 h 557"/>
              <a:gd name="T80" fmla="*/ 661 w 675"/>
              <a:gd name="T81" fmla="*/ 340 h 557"/>
              <a:gd name="T82" fmla="*/ 428 w 675"/>
              <a:gd name="T83" fmla="*/ 206 h 557"/>
              <a:gd name="T84" fmla="*/ 237 w 675"/>
              <a:gd name="T85" fmla="*/ 249 h 557"/>
              <a:gd name="T86" fmla="*/ 103 w 675"/>
              <a:gd name="T87" fmla="*/ 155 h 557"/>
              <a:gd name="T88" fmla="*/ 534 w 675"/>
              <a:gd name="T89" fmla="*/ 93 h 557"/>
              <a:gd name="T90" fmla="*/ 601 w 675"/>
              <a:gd name="T91" fmla="*/ 103 h 557"/>
              <a:gd name="T92" fmla="*/ 433 w 675"/>
              <a:gd name="T93" fmla="*/ 249 h 557"/>
              <a:gd name="T94" fmla="*/ 541 w 675"/>
              <a:gd name="T95" fmla="*/ 81 h 557"/>
              <a:gd name="T96" fmla="*/ 576 w 675"/>
              <a:gd name="T97" fmla="*/ 16 h 557"/>
              <a:gd name="T98" fmla="*/ 90 w 675"/>
              <a:gd name="T99" fmla="*/ 159 h 557"/>
              <a:gd name="T100" fmla="*/ 16 w 675"/>
              <a:gd name="T101" fmla="*/ 180 h 557"/>
              <a:gd name="T102" fmla="*/ 78 w 675"/>
              <a:gd name="T103" fmla="*/ 489 h 557"/>
              <a:gd name="T104" fmla="*/ 78 w 675"/>
              <a:gd name="T105" fmla="*/ 543 h 557"/>
              <a:gd name="T106" fmla="*/ 607 w 675"/>
              <a:gd name="T107" fmla="*/ 543 h 557"/>
              <a:gd name="T108" fmla="*/ 661 w 675"/>
              <a:gd name="T109" fmla="*/ 543 h 557"/>
              <a:gd name="T110" fmla="*/ 515 w 675"/>
              <a:gd name="T111" fmla="*/ 141 h 557"/>
              <a:gd name="T112" fmla="*/ 478 w 675"/>
              <a:gd name="T113" fmla="*/ 163 h 557"/>
              <a:gd name="T114" fmla="*/ 515 w 675"/>
              <a:gd name="T115" fmla="*/ 226 h 557"/>
              <a:gd name="T116" fmla="*/ 555 w 675"/>
              <a:gd name="T117" fmla="*/ 172 h 557"/>
              <a:gd name="T118" fmla="*/ 523 w 675"/>
              <a:gd name="T119" fmla="*/ 210 h 557"/>
              <a:gd name="T120" fmla="*/ 488 w 675"/>
              <a:gd name="T121" fmla="*/ 191 h 557"/>
              <a:gd name="T122" fmla="*/ 507 w 675"/>
              <a:gd name="T123" fmla="*/ 157 h 557"/>
              <a:gd name="T124" fmla="*/ 542 w 675"/>
              <a:gd name="T125" fmla="*/ 176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75" h="557">
                <a:moveTo>
                  <a:pt x="368" y="516"/>
                </a:moveTo>
                <a:cubicBezTo>
                  <a:pt x="422" y="516"/>
                  <a:pt x="466" y="465"/>
                  <a:pt x="466" y="403"/>
                </a:cubicBezTo>
                <a:cubicBezTo>
                  <a:pt x="466" y="341"/>
                  <a:pt x="422" y="290"/>
                  <a:pt x="368" y="290"/>
                </a:cubicBezTo>
                <a:cubicBezTo>
                  <a:pt x="314" y="290"/>
                  <a:pt x="270" y="341"/>
                  <a:pt x="270" y="403"/>
                </a:cubicBezTo>
                <a:cubicBezTo>
                  <a:pt x="270" y="465"/>
                  <a:pt x="314" y="516"/>
                  <a:pt x="368" y="516"/>
                </a:cubicBezTo>
                <a:close/>
                <a:moveTo>
                  <a:pt x="368" y="304"/>
                </a:moveTo>
                <a:cubicBezTo>
                  <a:pt x="414" y="304"/>
                  <a:pt x="452" y="349"/>
                  <a:pt x="452" y="403"/>
                </a:cubicBezTo>
                <a:cubicBezTo>
                  <a:pt x="452" y="458"/>
                  <a:pt x="414" y="502"/>
                  <a:pt x="368" y="502"/>
                </a:cubicBezTo>
                <a:cubicBezTo>
                  <a:pt x="322" y="502"/>
                  <a:pt x="284" y="458"/>
                  <a:pt x="284" y="403"/>
                </a:cubicBezTo>
                <a:cubicBezTo>
                  <a:pt x="284" y="349"/>
                  <a:pt x="322" y="304"/>
                  <a:pt x="368" y="304"/>
                </a:cubicBezTo>
                <a:close/>
                <a:moveTo>
                  <a:pt x="556" y="449"/>
                </a:moveTo>
                <a:cubicBezTo>
                  <a:pt x="579" y="449"/>
                  <a:pt x="598" y="430"/>
                  <a:pt x="598" y="406"/>
                </a:cubicBezTo>
                <a:cubicBezTo>
                  <a:pt x="598" y="383"/>
                  <a:pt x="579" y="364"/>
                  <a:pt x="556" y="364"/>
                </a:cubicBezTo>
                <a:cubicBezTo>
                  <a:pt x="533" y="364"/>
                  <a:pt x="514" y="383"/>
                  <a:pt x="514" y="406"/>
                </a:cubicBezTo>
                <a:cubicBezTo>
                  <a:pt x="514" y="430"/>
                  <a:pt x="533" y="449"/>
                  <a:pt x="556" y="449"/>
                </a:cubicBezTo>
                <a:close/>
                <a:moveTo>
                  <a:pt x="556" y="378"/>
                </a:moveTo>
                <a:cubicBezTo>
                  <a:pt x="571" y="378"/>
                  <a:pt x="584" y="391"/>
                  <a:pt x="584" y="406"/>
                </a:cubicBezTo>
                <a:cubicBezTo>
                  <a:pt x="584" y="422"/>
                  <a:pt x="571" y="435"/>
                  <a:pt x="556" y="435"/>
                </a:cubicBezTo>
                <a:cubicBezTo>
                  <a:pt x="540" y="435"/>
                  <a:pt x="528" y="422"/>
                  <a:pt x="528" y="406"/>
                </a:cubicBezTo>
                <a:cubicBezTo>
                  <a:pt x="528" y="391"/>
                  <a:pt x="540" y="378"/>
                  <a:pt x="556" y="378"/>
                </a:cubicBezTo>
                <a:close/>
                <a:moveTo>
                  <a:pt x="184" y="449"/>
                </a:moveTo>
                <a:cubicBezTo>
                  <a:pt x="207" y="449"/>
                  <a:pt x="226" y="430"/>
                  <a:pt x="226" y="406"/>
                </a:cubicBezTo>
                <a:cubicBezTo>
                  <a:pt x="226" y="383"/>
                  <a:pt x="207" y="364"/>
                  <a:pt x="184" y="364"/>
                </a:cubicBezTo>
                <a:cubicBezTo>
                  <a:pt x="161" y="364"/>
                  <a:pt x="142" y="383"/>
                  <a:pt x="142" y="406"/>
                </a:cubicBezTo>
                <a:cubicBezTo>
                  <a:pt x="142" y="430"/>
                  <a:pt x="161" y="449"/>
                  <a:pt x="184" y="449"/>
                </a:cubicBezTo>
                <a:close/>
                <a:moveTo>
                  <a:pt x="184" y="378"/>
                </a:moveTo>
                <a:cubicBezTo>
                  <a:pt x="199" y="378"/>
                  <a:pt x="212" y="391"/>
                  <a:pt x="212" y="406"/>
                </a:cubicBezTo>
                <a:cubicBezTo>
                  <a:pt x="212" y="422"/>
                  <a:pt x="199" y="435"/>
                  <a:pt x="184" y="435"/>
                </a:cubicBezTo>
                <a:cubicBezTo>
                  <a:pt x="168" y="435"/>
                  <a:pt x="156" y="422"/>
                  <a:pt x="156" y="406"/>
                </a:cubicBezTo>
                <a:cubicBezTo>
                  <a:pt x="156" y="391"/>
                  <a:pt x="168" y="378"/>
                  <a:pt x="184" y="378"/>
                </a:cubicBezTo>
                <a:close/>
                <a:moveTo>
                  <a:pt x="668" y="249"/>
                </a:moveTo>
                <a:cubicBezTo>
                  <a:pt x="659" y="249"/>
                  <a:pt x="659" y="249"/>
                  <a:pt x="659" y="249"/>
                </a:cubicBezTo>
                <a:cubicBezTo>
                  <a:pt x="613" y="93"/>
                  <a:pt x="613" y="93"/>
                  <a:pt x="613" y="93"/>
                </a:cubicBezTo>
                <a:cubicBezTo>
                  <a:pt x="613" y="93"/>
                  <a:pt x="613" y="93"/>
                  <a:pt x="613" y="93"/>
                </a:cubicBezTo>
                <a:cubicBezTo>
                  <a:pt x="613" y="93"/>
                  <a:pt x="613" y="93"/>
                  <a:pt x="613" y="93"/>
                </a:cubicBezTo>
                <a:cubicBezTo>
                  <a:pt x="587" y="6"/>
                  <a:pt x="587" y="6"/>
                  <a:pt x="587" y="6"/>
                </a:cubicBezTo>
                <a:cubicBezTo>
                  <a:pt x="587" y="4"/>
                  <a:pt x="586" y="2"/>
                  <a:pt x="584" y="1"/>
                </a:cubicBezTo>
                <a:cubicBezTo>
                  <a:pt x="582" y="1"/>
                  <a:pt x="581" y="0"/>
                  <a:pt x="579" y="1"/>
                </a:cubicBezTo>
                <a:cubicBezTo>
                  <a:pt x="492" y="26"/>
                  <a:pt x="492" y="26"/>
                  <a:pt x="492" y="26"/>
                </a:cubicBezTo>
                <a:cubicBezTo>
                  <a:pt x="492" y="26"/>
                  <a:pt x="492" y="26"/>
                  <a:pt x="492" y="26"/>
                </a:cubicBezTo>
                <a:cubicBezTo>
                  <a:pt x="492" y="26"/>
                  <a:pt x="492" y="26"/>
                  <a:pt x="492" y="26"/>
                </a:cubicBezTo>
                <a:cubicBezTo>
                  <a:pt x="93" y="143"/>
                  <a:pt x="93" y="143"/>
                  <a:pt x="93" y="143"/>
                </a:cubicBezTo>
                <a:cubicBezTo>
                  <a:pt x="93" y="143"/>
                  <a:pt x="93" y="143"/>
                  <a:pt x="93" y="143"/>
                </a:cubicBezTo>
                <a:cubicBezTo>
                  <a:pt x="93" y="143"/>
                  <a:pt x="93" y="143"/>
                  <a:pt x="93" y="143"/>
                </a:cubicBezTo>
                <a:cubicBezTo>
                  <a:pt x="6" y="169"/>
                  <a:pt x="6" y="169"/>
                  <a:pt x="6" y="169"/>
                </a:cubicBezTo>
                <a:cubicBezTo>
                  <a:pt x="2" y="170"/>
                  <a:pt x="0" y="173"/>
                  <a:pt x="1" y="177"/>
                </a:cubicBezTo>
                <a:cubicBezTo>
                  <a:pt x="64" y="394"/>
                  <a:pt x="64" y="394"/>
                  <a:pt x="64" y="394"/>
                </a:cubicBezTo>
                <a:cubicBezTo>
                  <a:pt x="64" y="550"/>
                  <a:pt x="64" y="550"/>
                  <a:pt x="64" y="550"/>
                </a:cubicBezTo>
                <a:cubicBezTo>
                  <a:pt x="64" y="554"/>
                  <a:pt x="67" y="557"/>
                  <a:pt x="71" y="557"/>
                </a:cubicBezTo>
                <a:cubicBezTo>
                  <a:pt x="668" y="557"/>
                  <a:pt x="668" y="557"/>
                  <a:pt x="668" y="557"/>
                </a:cubicBezTo>
                <a:cubicBezTo>
                  <a:pt x="672" y="557"/>
                  <a:pt x="675" y="554"/>
                  <a:pt x="675" y="550"/>
                </a:cubicBezTo>
                <a:cubicBezTo>
                  <a:pt x="675" y="256"/>
                  <a:pt x="675" y="256"/>
                  <a:pt x="675" y="256"/>
                </a:cubicBezTo>
                <a:cubicBezTo>
                  <a:pt x="675" y="252"/>
                  <a:pt x="672" y="249"/>
                  <a:pt x="668" y="249"/>
                </a:cubicBezTo>
                <a:close/>
                <a:moveTo>
                  <a:pt x="64" y="344"/>
                </a:moveTo>
                <a:cubicBezTo>
                  <a:pt x="42" y="267"/>
                  <a:pt x="42" y="267"/>
                  <a:pt x="42" y="267"/>
                </a:cubicBezTo>
                <a:cubicBezTo>
                  <a:pt x="50" y="264"/>
                  <a:pt x="58" y="260"/>
                  <a:pt x="64" y="255"/>
                </a:cubicBezTo>
                <a:cubicBezTo>
                  <a:pt x="64" y="255"/>
                  <a:pt x="64" y="256"/>
                  <a:pt x="64" y="256"/>
                </a:cubicBezTo>
                <a:lnTo>
                  <a:pt x="64" y="344"/>
                </a:lnTo>
                <a:close/>
                <a:moveTo>
                  <a:pt x="78" y="354"/>
                </a:moveTo>
                <a:cubicBezTo>
                  <a:pt x="127" y="350"/>
                  <a:pt x="165" y="311"/>
                  <a:pt x="169" y="263"/>
                </a:cubicBezTo>
                <a:cubicBezTo>
                  <a:pt x="571" y="263"/>
                  <a:pt x="571" y="263"/>
                  <a:pt x="571" y="263"/>
                </a:cubicBezTo>
                <a:cubicBezTo>
                  <a:pt x="574" y="311"/>
                  <a:pt x="613" y="350"/>
                  <a:pt x="661" y="354"/>
                </a:cubicBezTo>
                <a:cubicBezTo>
                  <a:pt x="661" y="475"/>
                  <a:pt x="661" y="475"/>
                  <a:pt x="661" y="475"/>
                </a:cubicBezTo>
                <a:cubicBezTo>
                  <a:pt x="625" y="478"/>
                  <a:pt x="596" y="507"/>
                  <a:pt x="593" y="543"/>
                </a:cubicBezTo>
                <a:cubicBezTo>
                  <a:pt x="147" y="543"/>
                  <a:pt x="147" y="543"/>
                  <a:pt x="147" y="543"/>
                </a:cubicBezTo>
                <a:cubicBezTo>
                  <a:pt x="143" y="507"/>
                  <a:pt x="114" y="478"/>
                  <a:pt x="78" y="475"/>
                </a:cubicBezTo>
                <a:lnTo>
                  <a:pt x="78" y="354"/>
                </a:lnTo>
                <a:close/>
                <a:moveTo>
                  <a:pt x="78" y="340"/>
                </a:moveTo>
                <a:cubicBezTo>
                  <a:pt x="78" y="263"/>
                  <a:pt x="78" y="263"/>
                  <a:pt x="78" y="263"/>
                </a:cubicBezTo>
                <a:cubicBezTo>
                  <a:pt x="155" y="263"/>
                  <a:pt x="155" y="263"/>
                  <a:pt x="155" y="263"/>
                </a:cubicBezTo>
                <a:cubicBezTo>
                  <a:pt x="151" y="304"/>
                  <a:pt x="119" y="336"/>
                  <a:pt x="78" y="340"/>
                </a:cubicBezTo>
                <a:close/>
                <a:moveTo>
                  <a:pt x="306" y="138"/>
                </a:moveTo>
                <a:cubicBezTo>
                  <a:pt x="351" y="125"/>
                  <a:pt x="399" y="157"/>
                  <a:pt x="414" y="210"/>
                </a:cubicBezTo>
                <a:cubicBezTo>
                  <a:pt x="418" y="223"/>
                  <a:pt x="420" y="236"/>
                  <a:pt x="419" y="249"/>
                </a:cubicBezTo>
                <a:cubicBezTo>
                  <a:pt x="252" y="249"/>
                  <a:pt x="252" y="249"/>
                  <a:pt x="252" y="249"/>
                </a:cubicBezTo>
                <a:cubicBezTo>
                  <a:pt x="241" y="200"/>
                  <a:pt x="264" y="150"/>
                  <a:pt x="306" y="138"/>
                </a:cubicBezTo>
                <a:close/>
                <a:moveTo>
                  <a:pt x="661" y="340"/>
                </a:moveTo>
                <a:cubicBezTo>
                  <a:pt x="621" y="336"/>
                  <a:pt x="588" y="304"/>
                  <a:pt x="585" y="263"/>
                </a:cubicBezTo>
                <a:cubicBezTo>
                  <a:pt x="654" y="263"/>
                  <a:pt x="654" y="263"/>
                  <a:pt x="654" y="263"/>
                </a:cubicBezTo>
                <a:cubicBezTo>
                  <a:pt x="654" y="263"/>
                  <a:pt x="654" y="263"/>
                  <a:pt x="654" y="263"/>
                </a:cubicBezTo>
                <a:cubicBezTo>
                  <a:pt x="661" y="263"/>
                  <a:pt x="661" y="263"/>
                  <a:pt x="661" y="263"/>
                </a:cubicBezTo>
                <a:lnTo>
                  <a:pt x="661" y="340"/>
                </a:lnTo>
                <a:close/>
                <a:moveTo>
                  <a:pt x="433" y="249"/>
                </a:moveTo>
                <a:cubicBezTo>
                  <a:pt x="434" y="235"/>
                  <a:pt x="432" y="220"/>
                  <a:pt x="428" y="206"/>
                </a:cubicBezTo>
                <a:cubicBezTo>
                  <a:pt x="410" y="146"/>
                  <a:pt x="354" y="110"/>
                  <a:pt x="302" y="125"/>
                </a:cubicBezTo>
                <a:cubicBezTo>
                  <a:pt x="253" y="139"/>
                  <a:pt x="226" y="193"/>
                  <a:pt x="237" y="249"/>
                </a:cubicBezTo>
                <a:cubicBezTo>
                  <a:pt x="72" y="249"/>
                  <a:pt x="72" y="249"/>
                  <a:pt x="72" y="249"/>
                </a:cubicBezTo>
                <a:cubicBezTo>
                  <a:pt x="98" y="226"/>
                  <a:pt x="111" y="190"/>
                  <a:pt x="103" y="155"/>
                </a:cubicBezTo>
                <a:cubicBezTo>
                  <a:pt x="489" y="42"/>
                  <a:pt x="489" y="42"/>
                  <a:pt x="489" y="42"/>
                </a:cubicBezTo>
                <a:cubicBezTo>
                  <a:pt x="497" y="64"/>
                  <a:pt x="513" y="82"/>
                  <a:pt x="534" y="93"/>
                </a:cubicBezTo>
                <a:cubicBezTo>
                  <a:pt x="548" y="101"/>
                  <a:pt x="564" y="105"/>
                  <a:pt x="581" y="105"/>
                </a:cubicBezTo>
                <a:cubicBezTo>
                  <a:pt x="588" y="105"/>
                  <a:pt x="595" y="105"/>
                  <a:pt x="601" y="103"/>
                </a:cubicBezTo>
                <a:cubicBezTo>
                  <a:pt x="644" y="249"/>
                  <a:pt x="644" y="249"/>
                  <a:pt x="644" y="249"/>
                </a:cubicBezTo>
                <a:lnTo>
                  <a:pt x="433" y="249"/>
                </a:lnTo>
                <a:close/>
                <a:moveTo>
                  <a:pt x="597" y="90"/>
                </a:moveTo>
                <a:cubicBezTo>
                  <a:pt x="578" y="94"/>
                  <a:pt x="558" y="91"/>
                  <a:pt x="541" y="81"/>
                </a:cubicBezTo>
                <a:cubicBezTo>
                  <a:pt x="523" y="71"/>
                  <a:pt x="510" y="56"/>
                  <a:pt x="503" y="38"/>
                </a:cubicBezTo>
                <a:cubicBezTo>
                  <a:pt x="576" y="16"/>
                  <a:pt x="576" y="16"/>
                  <a:pt x="576" y="16"/>
                </a:cubicBezTo>
                <a:lnTo>
                  <a:pt x="597" y="90"/>
                </a:lnTo>
                <a:close/>
                <a:moveTo>
                  <a:pt x="90" y="159"/>
                </a:moveTo>
                <a:cubicBezTo>
                  <a:pt x="98" y="198"/>
                  <a:pt x="76" y="239"/>
                  <a:pt x="38" y="253"/>
                </a:cubicBezTo>
                <a:cubicBezTo>
                  <a:pt x="16" y="180"/>
                  <a:pt x="16" y="180"/>
                  <a:pt x="16" y="180"/>
                </a:cubicBezTo>
                <a:lnTo>
                  <a:pt x="90" y="159"/>
                </a:lnTo>
                <a:close/>
                <a:moveTo>
                  <a:pt x="78" y="489"/>
                </a:moveTo>
                <a:cubicBezTo>
                  <a:pt x="107" y="492"/>
                  <a:pt x="129" y="515"/>
                  <a:pt x="133" y="543"/>
                </a:cubicBezTo>
                <a:cubicBezTo>
                  <a:pt x="78" y="543"/>
                  <a:pt x="78" y="543"/>
                  <a:pt x="78" y="543"/>
                </a:cubicBezTo>
                <a:lnTo>
                  <a:pt x="78" y="489"/>
                </a:lnTo>
                <a:close/>
                <a:moveTo>
                  <a:pt x="607" y="543"/>
                </a:moveTo>
                <a:cubicBezTo>
                  <a:pt x="610" y="515"/>
                  <a:pt x="633" y="492"/>
                  <a:pt x="661" y="489"/>
                </a:cubicBezTo>
                <a:cubicBezTo>
                  <a:pt x="661" y="543"/>
                  <a:pt x="661" y="543"/>
                  <a:pt x="661" y="543"/>
                </a:cubicBezTo>
                <a:lnTo>
                  <a:pt x="607" y="543"/>
                </a:lnTo>
                <a:close/>
                <a:moveTo>
                  <a:pt x="515" y="141"/>
                </a:moveTo>
                <a:cubicBezTo>
                  <a:pt x="511" y="141"/>
                  <a:pt x="507" y="142"/>
                  <a:pt x="503" y="143"/>
                </a:cubicBezTo>
                <a:cubicBezTo>
                  <a:pt x="492" y="146"/>
                  <a:pt x="484" y="153"/>
                  <a:pt x="478" y="163"/>
                </a:cubicBezTo>
                <a:cubicBezTo>
                  <a:pt x="473" y="173"/>
                  <a:pt x="471" y="185"/>
                  <a:pt x="475" y="195"/>
                </a:cubicBezTo>
                <a:cubicBezTo>
                  <a:pt x="480" y="213"/>
                  <a:pt x="496" y="226"/>
                  <a:pt x="515" y="226"/>
                </a:cubicBezTo>
                <a:cubicBezTo>
                  <a:pt x="519" y="226"/>
                  <a:pt x="523" y="225"/>
                  <a:pt x="527" y="224"/>
                </a:cubicBezTo>
                <a:cubicBezTo>
                  <a:pt x="549" y="217"/>
                  <a:pt x="562" y="194"/>
                  <a:pt x="555" y="172"/>
                </a:cubicBezTo>
                <a:cubicBezTo>
                  <a:pt x="550" y="154"/>
                  <a:pt x="534" y="141"/>
                  <a:pt x="515" y="141"/>
                </a:cubicBezTo>
                <a:close/>
                <a:moveTo>
                  <a:pt x="523" y="210"/>
                </a:moveTo>
                <a:cubicBezTo>
                  <a:pt x="520" y="211"/>
                  <a:pt x="518" y="212"/>
                  <a:pt x="515" y="212"/>
                </a:cubicBezTo>
                <a:cubicBezTo>
                  <a:pt x="503" y="212"/>
                  <a:pt x="492" y="203"/>
                  <a:pt x="488" y="191"/>
                </a:cubicBezTo>
                <a:cubicBezTo>
                  <a:pt x="486" y="184"/>
                  <a:pt x="487" y="177"/>
                  <a:pt x="490" y="170"/>
                </a:cubicBezTo>
                <a:cubicBezTo>
                  <a:pt x="494" y="163"/>
                  <a:pt x="500" y="159"/>
                  <a:pt x="507" y="157"/>
                </a:cubicBezTo>
                <a:cubicBezTo>
                  <a:pt x="510" y="156"/>
                  <a:pt x="512" y="155"/>
                  <a:pt x="515" y="155"/>
                </a:cubicBezTo>
                <a:cubicBezTo>
                  <a:pt x="527" y="155"/>
                  <a:pt x="538" y="164"/>
                  <a:pt x="542" y="176"/>
                </a:cubicBezTo>
                <a:cubicBezTo>
                  <a:pt x="546" y="190"/>
                  <a:pt x="538" y="206"/>
                  <a:pt x="523" y="210"/>
                </a:cubicBezTo>
                <a:close/>
              </a:path>
            </a:pathLst>
          </a:custGeom>
          <a:solidFill>
            <a:schemeClr val="bg1"/>
          </a:solidFill>
          <a:ln>
            <a:solidFill>
              <a:schemeClr val="bg1"/>
            </a:solidFill>
          </a:ln>
        </p:spPr>
        <p:txBody>
          <a:bodyPr vert="horz" wrap="square" lIns="55721" tIns="27861" rIns="55721" bIns="27861" numCol="1" anchor="t" anchorCtr="0" compatLnSpc="1">
            <a:prstTxWarp prst="textNoShape">
              <a:avLst/>
            </a:prstTxWarp>
          </a:bodyPr>
          <a:lstStyle/>
          <a:p>
            <a:pPr defTabSz="742913">
              <a:defRPr/>
            </a:pPr>
            <a:endParaRPr lang="en-US" sz="1463" kern="0">
              <a:solidFill>
                <a:srgbClr val="57565A"/>
              </a:solidFill>
              <a:latin typeface="Open Sans Light"/>
              <a:cs typeface="Arial" charset="0"/>
            </a:endParaRPr>
          </a:p>
        </p:txBody>
      </p:sp>
      <p:sp>
        <p:nvSpPr>
          <p:cNvPr id="15" name="Freeform 20">
            <a:extLst>
              <a:ext uri="{FF2B5EF4-FFF2-40B4-BE49-F238E27FC236}">
                <a16:creationId xmlns:a16="http://schemas.microsoft.com/office/drawing/2014/main" id="{5B142DB5-2C14-4EC0-A205-BBBD721B4C19}"/>
              </a:ext>
            </a:extLst>
          </p:cNvPr>
          <p:cNvSpPr>
            <a:spLocks noChangeAspect="1" noEditPoints="1"/>
          </p:cNvSpPr>
          <p:nvPr/>
        </p:nvSpPr>
        <p:spPr bwMode="auto">
          <a:xfrm>
            <a:off x="3414532" y="2967719"/>
            <a:ext cx="178255" cy="176051"/>
          </a:xfrm>
          <a:custGeom>
            <a:avLst/>
            <a:gdLst>
              <a:gd name="T0" fmla="*/ 180 w 633"/>
              <a:gd name="T1" fmla="*/ 597 h 624"/>
              <a:gd name="T2" fmla="*/ 150 w 633"/>
              <a:gd name="T3" fmla="*/ 493 h 624"/>
              <a:gd name="T4" fmla="*/ 38 w 633"/>
              <a:gd name="T5" fmla="*/ 462 h 624"/>
              <a:gd name="T6" fmla="*/ 75 w 633"/>
              <a:gd name="T7" fmla="*/ 361 h 624"/>
              <a:gd name="T8" fmla="*/ 0 w 633"/>
              <a:gd name="T9" fmla="*/ 312 h 624"/>
              <a:gd name="T10" fmla="*/ 75 w 633"/>
              <a:gd name="T11" fmla="*/ 262 h 624"/>
              <a:gd name="T12" fmla="*/ 38 w 633"/>
              <a:gd name="T13" fmla="*/ 161 h 624"/>
              <a:gd name="T14" fmla="*/ 150 w 633"/>
              <a:gd name="T15" fmla="*/ 130 h 624"/>
              <a:gd name="T16" fmla="*/ 180 w 633"/>
              <a:gd name="T17" fmla="*/ 26 h 624"/>
              <a:gd name="T18" fmla="*/ 288 w 633"/>
              <a:gd name="T19" fmla="*/ 67 h 624"/>
              <a:gd name="T20" fmla="*/ 374 w 633"/>
              <a:gd name="T21" fmla="*/ 0 h 624"/>
              <a:gd name="T22" fmla="*/ 438 w 633"/>
              <a:gd name="T23" fmla="*/ 97 h 624"/>
              <a:gd name="T24" fmla="*/ 546 w 633"/>
              <a:gd name="T25" fmla="*/ 93 h 624"/>
              <a:gd name="T26" fmla="*/ 540 w 633"/>
              <a:gd name="T27" fmla="*/ 210 h 624"/>
              <a:gd name="T28" fmla="*/ 630 w 633"/>
              <a:gd name="T29" fmla="*/ 270 h 624"/>
              <a:gd name="T30" fmla="*/ 623 w 633"/>
              <a:gd name="T31" fmla="*/ 359 h 624"/>
              <a:gd name="T32" fmla="*/ 593 w 633"/>
              <a:gd name="T33" fmla="*/ 454 h 624"/>
              <a:gd name="T34" fmla="*/ 537 w 633"/>
              <a:gd name="T35" fmla="*/ 531 h 624"/>
              <a:gd name="T36" fmla="*/ 457 w 633"/>
              <a:gd name="T37" fmla="*/ 589 h 624"/>
              <a:gd name="T38" fmla="*/ 366 w 633"/>
              <a:gd name="T39" fmla="*/ 618 h 624"/>
              <a:gd name="T40" fmla="*/ 267 w 633"/>
              <a:gd name="T41" fmla="*/ 618 h 624"/>
              <a:gd name="T42" fmla="*/ 355 w 633"/>
              <a:gd name="T43" fmla="*/ 546 h 624"/>
              <a:gd name="T44" fmla="*/ 423 w 633"/>
              <a:gd name="T45" fmla="*/ 525 h 624"/>
              <a:gd name="T46" fmla="*/ 486 w 633"/>
              <a:gd name="T47" fmla="*/ 478 h 624"/>
              <a:gd name="T48" fmla="*/ 527 w 633"/>
              <a:gd name="T49" fmla="*/ 421 h 624"/>
              <a:gd name="T50" fmla="*/ 552 w 633"/>
              <a:gd name="T51" fmla="*/ 347 h 624"/>
              <a:gd name="T52" fmla="*/ 617 w 633"/>
              <a:gd name="T53" fmla="*/ 278 h 624"/>
              <a:gd name="T54" fmla="*/ 525 w 633"/>
              <a:gd name="T55" fmla="*/ 210 h 624"/>
              <a:gd name="T56" fmla="*/ 540 w 633"/>
              <a:gd name="T57" fmla="*/ 108 h 624"/>
              <a:gd name="T58" fmla="*/ 426 w 633"/>
              <a:gd name="T59" fmla="*/ 107 h 624"/>
              <a:gd name="T60" fmla="*/ 377 w 633"/>
              <a:gd name="T61" fmla="*/ 15 h 624"/>
              <a:gd name="T62" fmla="*/ 285 w 633"/>
              <a:gd name="T63" fmla="*/ 82 h 624"/>
              <a:gd name="T64" fmla="*/ 191 w 633"/>
              <a:gd name="T65" fmla="*/ 36 h 624"/>
              <a:gd name="T66" fmla="*/ 156 w 633"/>
              <a:gd name="T67" fmla="*/ 144 h 624"/>
              <a:gd name="T68" fmla="*/ 53 w 633"/>
              <a:gd name="T69" fmla="*/ 162 h 624"/>
              <a:gd name="T70" fmla="*/ 88 w 633"/>
              <a:gd name="T71" fmla="*/ 271 h 624"/>
              <a:gd name="T72" fmla="*/ 14 w 633"/>
              <a:gd name="T73" fmla="*/ 312 h 624"/>
              <a:gd name="T74" fmla="*/ 88 w 633"/>
              <a:gd name="T75" fmla="*/ 353 h 624"/>
              <a:gd name="T76" fmla="*/ 53 w 633"/>
              <a:gd name="T77" fmla="*/ 461 h 624"/>
              <a:gd name="T78" fmla="*/ 156 w 633"/>
              <a:gd name="T79" fmla="*/ 479 h 624"/>
              <a:gd name="T80" fmla="*/ 191 w 633"/>
              <a:gd name="T81" fmla="*/ 587 h 624"/>
              <a:gd name="T82" fmla="*/ 285 w 633"/>
              <a:gd name="T83" fmla="*/ 542 h 624"/>
              <a:gd name="T84" fmla="*/ 316 w 633"/>
              <a:gd name="T85" fmla="*/ 409 h 624"/>
              <a:gd name="T86" fmla="*/ 414 w 633"/>
              <a:gd name="T87" fmla="*/ 312 h 624"/>
              <a:gd name="T88" fmla="*/ 233 w 633"/>
              <a:gd name="T89" fmla="*/ 312 h 624"/>
              <a:gd name="T90" fmla="*/ 316 w 633"/>
              <a:gd name="T91" fmla="*/ 22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33" h="624">
                <a:moveTo>
                  <a:pt x="260" y="623"/>
                </a:moveTo>
                <a:cubicBezTo>
                  <a:pt x="260" y="623"/>
                  <a:pt x="259" y="623"/>
                  <a:pt x="259" y="623"/>
                </a:cubicBezTo>
                <a:cubicBezTo>
                  <a:pt x="232" y="618"/>
                  <a:pt x="205" y="609"/>
                  <a:pt x="180" y="597"/>
                </a:cubicBezTo>
                <a:cubicBezTo>
                  <a:pt x="177" y="596"/>
                  <a:pt x="175" y="592"/>
                  <a:pt x="176" y="589"/>
                </a:cubicBezTo>
                <a:cubicBezTo>
                  <a:pt x="195" y="526"/>
                  <a:pt x="195" y="526"/>
                  <a:pt x="195" y="526"/>
                </a:cubicBezTo>
                <a:cubicBezTo>
                  <a:pt x="179" y="517"/>
                  <a:pt x="164" y="506"/>
                  <a:pt x="150" y="493"/>
                </a:cubicBezTo>
                <a:cubicBezTo>
                  <a:pt x="96" y="531"/>
                  <a:pt x="96" y="531"/>
                  <a:pt x="96" y="531"/>
                </a:cubicBezTo>
                <a:cubicBezTo>
                  <a:pt x="93" y="533"/>
                  <a:pt x="89" y="532"/>
                  <a:pt x="87" y="530"/>
                </a:cubicBezTo>
                <a:cubicBezTo>
                  <a:pt x="68" y="510"/>
                  <a:pt x="51" y="487"/>
                  <a:pt x="38" y="462"/>
                </a:cubicBezTo>
                <a:cubicBezTo>
                  <a:pt x="36" y="459"/>
                  <a:pt x="37" y="456"/>
                  <a:pt x="40" y="454"/>
                </a:cubicBezTo>
                <a:cubicBezTo>
                  <a:pt x="92" y="414"/>
                  <a:pt x="92" y="414"/>
                  <a:pt x="92" y="414"/>
                </a:cubicBezTo>
                <a:cubicBezTo>
                  <a:pt x="84" y="397"/>
                  <a:pt x="79" y="379"/>
                  <a:pt x="75" y="361"/>
                </a:cubicBezTo>
                <a:cubicBezTo>
                  <a:pt x="9" y="359"/>
                  <a:pt x="9" y="359"/>
                  <a:pt x="9" y="359"/>
                </a:cubicBezTo>
                <a:cubicBezTo>
                  <a:pt x="6" y="359"/>
                  <a:pt x="3" y="357"/>
                  <a:pt x="2" y="353"/>
                </a:cubicBezTo>
                <a:cubicBezTo>
                  <a:pt x="1" y="339"/>
                  <a:pt x="0" y="325"/>
                  <a:pt x="0" y="312"/>
                </a:cubicBezTo>
                <a:cubicBezTo>
                  <a:pt x="0" y="298"/>
                  <a:pt x="1" y="284"/>
                  <a:pt x="2" y="270"/>
                </a:cubicBezTo>
                <a:cubicBezTo>
                  <a:pt x="3" y="267"/>
                  <a:pt x="6" y="264"/>
                  <a:pt x="9" y="264"/>
                </a:cubicBezTo>
                <a:cubicBezTo>
                  <a:pt x="75" y="262"/>
                  <a:pt x="75" y="262"/>
                  <a:pt x="75" y="262"/>
                </a:cubicBezTo>
                <a:cubicBezTo>
                  <a:pt x="79" y="244"/>
                  <a:pt x="84" y="226"/>
                  <a:pt x="92" y="210"/>
                </a:cubicBezTo>
                <a:cubicBezTo>
                  <a:pt x="40" y="170"/>
                  <a:pt x="40" y="170"/>
                  <a:pt x="40" y="170"/>
                </a:cubicBezTo>
                <a:cubicBezTo>
                  <a:pt x="37" y="168"/>
                  <a:pt x="36" y="164"/>
                  <a:pt x="38" y="161"/>
                </a:cubicBezTo>
                <a:cubicBezTo>
                  <a:pt x="51" y="136"/>
                  <a:pt x="68" y="114"/>
                  <a:pt x="87" y="93"/>
                </a:cubicBezTo>
                <a:cubicBezTo>
                  <a:pt x="89" y="91"/>
                  <a:pt x="93" y="91"/>
                  <a:pt x="96" y="93"/>
                </a:cubicBezTo>
                <a:cubicBezTo>
                  <a:pt x="150" y="130"/>
                  <a:pt x="150" y="130"/>
                  <a:pt x="150" y="130"/>
                </a:cubicBezTo>
                <a:cubicBezTo>
                  <a:pt x="164" y="117"/>
                  <a:pt x="179" y="106"/>
                  <a:pt x="195" y="97"/>
                </a:cubicBezTo>
                <a:cubicBezTo>
                  <a:pt x="176" y="34"/>
                  <a:pt x="176" y="34"/>
                  <a:pt x="176" y="34"/>
                </a:cubicBezTo>
                <a:cubicBezTo>
                  <a:pt x="175" y="31"/>
                  <a:pt x="177" y="27"/>
                  <a:pt x="180" y="26"/>
                </a:cubicBezTo>
                <a:cubicBezTo>
                  <a:pt x="205" y="14"/>
                  <a:pt x="231" y="5"/>
                  <a:pt x="259" y="0"/>
                </a:cubicBezTo>
                <a:cubicBezTo>
                  <a:pt x="262" y="0"/>
                  <a:pt x="266" y="2"/>
                  <a:pt x="267" y="5"/>
                </a:cubicBezTo>
                <a:cubicBezTo>
                  <a:pt x="288" y="67"/>
                  <a:pt x="288" y="67"/>
                  <a:pt x="288" y="67"/>
                </a:cubicBezTo>
                <a:cubicBezTo>
                  <a:pt x="307" y="65"/>
                  <a:pt x="326" y="65"/>
                  <a:pt x="344" y="67"/>
                </a:cubicBezTo>
                <a:cubicBezTo>
                  <a:pt x="366" y="5"/>
                  <a:pt x="366" y="5"/>
                  <a:pt x="366" y="5"/>
                </a:cubicBezTo>
                <a:cubicBezTo>
                  <a:pt x="367" y="2"/>
                  <a:pt x="370" y="0"/>
                  <a:pt x="374" y="0"/>
                </a:cubicBezTo>
                <a:cubicBezTo>
                  <a:pt x="401" y="5"/>
                  <a:pt x="428" y="14"/>
                  <a:pt x="453" y="26"/>
                </a:cubicBezTo>
                <a:cubicBezTo>
                  <a:pt x="456" y="27"/>
                  <a:pt x="458" y="31"/>
                  <a:pt x="457" y="34"/>
                </a:cubicBezTo>
                <a:cubicBezTo>
                  <a:pt x="438" y="97"/>
                  <a:pt x="438" y="97"/>
                  <a:pt x="438" y="97"/>
                </a:cubicBezTo>
                <a:cubicBezTo>
                  <a:pt x="454" y="106"/>
                  <a:pt x="469" y="117"/>
                  <a:pt x="483" y="130"/>
                </a:cubicBezTo>
                <a:cubicBezTo>
                  <a:pt x="537" y="93"/>
                  <a:pt x="537" y="93"/>
                  <a:pt x="537" y="93"/>
                </a:cubicBezTo>
                <a:cubicBezTo>
                  <a:pt x="539" y="91"/>
                  <a:pt x="543" y="91"/>
                  <a:pt x="546" y="93"/>
                </a:cubicBezTo>
                <a:cubicBezTo>
                  <a:pt x="565" y="114"/>
                  <a:pt x="581" y="136"/>
                  <a:pt x="595" y="161"/>
                </a:cubicBezTo>
                <a:cubicBezTo>
                  <a:pt x="596" y="164"/>
                  <a:pt x="596" y="168"/>
                  <a:pt x="593" y="170"/>
                </a:cubicBezTo>
                <a:cubicBezTo>
                  <a:pt x="540" y="210"/>
                  <a:pt x="540" y="210"/>
                  <a:pt x="540" y="210"/>
                </a:cubicBezTo>
                <a:cubicBezTo>
                  <a:pt x="548" y="226"/>
                  <a:pt x="554" y="244"/>
                  <a:pt x="558" y="262"/>
                </a:cubicBezTo>
                <a:cubicBezTo>
                  <a:pt x="623" y="264"/>
                  <a:pt x="623" y="264"/>
                  <a:pt x="623" y="264"/>
                </a:cubicBezTo>
                <a:cubicBezTo>
                  <a:pt x="627" y="264"/>
                  <a:pt x="630" y="267"/>
                  <a:pt x="630" y="270"/>
                </a:cubicBezTo>
                <a:cubicBezTo>
                  <a:pt x="632" y="284"/>
                  <a:pt x="633" y="298"/>
                  <a:pt x="633" y="312"/>
                </a:cubicBezTo>
                <a:cubicBezTo>
                  <a:pt x="633" y="325"/>
                  <a:pt x="632" y="339"/>
                  <a:pt x="630" y="353"/>
                </a:cubicBezTo>
                <a:cubicBezTo>
                  <a:pt x="630" y="357"/>
                  <a:pt x="627" y="359"/>
                  <a:pt x="623" y="359"/>
                </a:cubicBezTo>
                <a:cubicBezTo>
                  <a:pt x="558" y="361"/>
                  <a:pt x="558" y="361"/>
                  <a:pt x="558" y="361"/>
                </a:cubicBezTo>
                <a:cubicBezTo>
                  <a:pt x="554" y="379"/>
                  <a:pt x="548" y="397"/>
                  <a:pt x="540" y="414"/>
                </a:cubicBezTo>
                <a:cubicBezTo>
                  <a:pt x="593" y="454"/>
                  <a:pt x="593" y="454"/>
                  <a:pt x="593" y="454"/>
                </a:cubicBezTo>
                <a:cubicBezTo>
                  <a:pt x="596" y="456"/>
                  <a:pt x="596" y="459"/>
                  <a:pt x="595" y="462"/>
                </a:cubicBezTo>
                <a:cubicBezTo>
                  <a:pt x="581" y="487"/>
                  <a:pt x="565" y="509"/>
                  <a:pt x="546" y="530"/>
                </a:cubicBezTo>
                <a:cubicBezTo>
                  <a:pt x="543" y="532"/>
                  <a:pt x="539" y="533"/>
                  <a:pt x="537" y="531"/>
                </a:cubicBezTo>
                <a:cubicBezTo>
                  <a:pt x="483" y="493"/>
                  <a:pt x="483" y="493"/>
                  <a:pt x="483" y="493"/>
                </a:cubicBezTo>
                <a:cubicBezTo>
                  <a:pt x="469" y="506"/>
                  <a:pt x="454" y="517"/>
                  <a:pt x="438" y="526"/>
                </a:cubicBezTo>
                <a:cubicBezTo>
                  <a:pt x="457" y="589"/>
                  <a:pt x="457" y="589"/>
                  <a:pt x="457" y="589"/>
                </a:cubicBezTo>
                <a:cubicBezTo>
                  <a:pt x="458" y="592"/>
                  <a:pt x="456" y="596"/>
                  <a:pt x="453" y="597"/>
                </a:cubicBezTo>
                <a:cubicBezTo>
                  <a:pt x="428" y="609"/>
                  <a:pt x="401" y="618"/>
                  <a:pt x="374" y="623"/>
                </a:cubicBezTo>
                <a:cubicBezTo>
                  <a:pt x="370" y="624"/>
                  <a:pt x="367" y="622"/>
                  <a:pt x="366" y="618"/>
                </a:cubicBezTo>
                <a:cubicBezTo>
                  <a:pt x="344" y="556"/>
                  <a:pt x="344" y="556"/>
                  <a:pt x="344" y="556"/>
                </a:cubicBezTo>
                <a:cubicBezTo>
                  <a:pt x="326" y="558"/>
                  <a:pt x="307" y="558"/>
                  <a:pt x="288" y="556"/>
                </a:cubicBezTo>
                <a:cubicBezTo>
                  <a:pt x="267" y="618"/>
                  <a:pt x="267" y="618"/>
                  <a:pt x="267" y="618"/>
                </a:cubicBezTo>
                <a:cubicBezTo>
                  <a:pt x="266" y="621"/>
                  <a:pt x="263" y="623"/>
                  <a:pt x="260" y="623"/>
                </a:cubicBezTo>
                <a:close/>
                <a:moveTo>
                  <a:pt x="349" y="542"/>
                </a:moveTo>
                <a:cubicBezTo>
                  <a:pt x="352" y="542"/>
                  <a:pt x="354" y="543"/>
                  <a:pt x="355" y="546"/>
                </a:cubicBezTo>
                <a:cubicBezTo>
                  <a:pt x="377" y="608"/>
                  <a:pt x="377" y="608"/>
                  <a:pt x="377" y="608"/>
                </a:cubicBezTo>
                <a:cubicBezTo>
                  <a:pt x="399" y="604"/>
                  <a:pt x="421" y="597"/>
                  <a:pt x="441" y="587"/>
                </a:cubicBezTo>
                <a:cubicBezTo>
                  <a:pt x="423" y="525"/>
                  <a:pt x="423" y="525"/>
                  <a:pt x="423" y="525"/>
                </a:cubicBezTo>
                <a:cubicBezTo>
                  <a:pt x="422" y="521"/>
                  <a:pt x="423" y="518"/>
                  <a:pt x="426" y="516"/>
                </a:cubicBezTo>
                <a:cubicBezTo>
                  <a:pt x="445" y="506"/>
                  <a:pt x="462" y="494"/>
                  <a:pt x="477" y="479"/>
                </a:cubicBezTo>
                <a:cubicBezTo>
                  <a:pt x="479" y="477"/>
                  <a:pt x="483" y="477"/>
                  <a:pt x="486" y="478"/>
                </a:cubicBezTo>
                <a:cubicBezTo>
                  <a:pt x="540" y="516"/>
                  <a:pt x="540" y="516"/>
                  <a:pt x="540" y="516"/>
                </a:cubicBezTo>
                <a:cubicBezTo>
                  <a:pt x="555" y="499"/>
                  <a:pt x="568" y="481"/>
                  <a:pt x="579" y="461"/>
                </a:cubicBezTo>
                <a:cubicBezTo>
                  <a:pt x="527" y="421"/>
                  <a:pt x="527" y="421"/>
                  <a:pt x="527" y="421"/>
                </a:cubicBezTo>
                <a:cubicBezTo>
                  <a:pt x="525" y="419"/>
                  <a:pt x="524" y="416"/>
                  <a:pt x="525" y="413"/>
                </a:cubicBezTo>
                <a:cubicBezTo>
                  <a:pt x="535" y="394"/>
                  <a:pt x="541" y="373"/>
                  <a:pt x="545" y="353"/>
                </a:cubicBezTo>
                <a:cubicBezTo>
                  <a:pt x="545" y="349"/>
                  <a:pt x="548" y="347"/>
                  <a:pt x="552" y="347"/>
                </a:cubicBezTo>
                <a:cubicBezTo>
                  <a:pt x="617" y="345"/>
                  <a:pt x="617" y="345"/>
                  <a:pt x="617" y="345"/>
                </a:cubicBezTo>
                <a:cubicBezTo>
                  <a:pt x="618" y="334"/>
                  <a:pt x="619" y="323"/>
                  <a:pt x="619" y="312"/>
                </a:cubicBezTo>
                <a:cubicBezTo>
                  <a:pt x="619" y="300"/>
                  <a:pt x="618" y="289"/>
                  <a:pt x="617" y="278"/>
                </a:cubicBezTo>
                <a:cubicBezTo>
                  <a:pt x="552" y="276"/>
                  <a:pt x="552" y="276"/>
                  <a:pt x="552" y="276"/>
                </a:cubicBezTo>
                <a:cubicBezTo>
                  <a:pt x="548" y="276"/>
                  <a:pt x="545" y="274"/>
                  <a:pt x="545" y="271"/>
                </a:cubicBezTo>
                <a:cubicBezTo>
                  <a:pt x="541" y="250"/>
                  <a:pt x="535" y="229"/>
                  <a:pt x="525" y="210"/>
                </a:cubicBezTo>
                <a:cubicBezTo>
                  <a:pt x="524" y="207"/>
                  <a:pt x="525" y="204"/>
                  <a:pt x="527" y="202"/>
                </a:cubicBezTo>
                <a:cubicBezTo>
                  <a:pt x="579" y="162"/>
                  <a:pt x="579" y="162"/>
                  <a:pt x="579" y="162"/>
                </a:cubicBezTo>
                <a:cubicBezTo>
                  <a:pt x="568" y="143"/>
                  <a:pt x="555" y="124"/>
                  <a:pt x="540" y="108"/>
                </a:cubicBezTo>
                <a:cubicBezTo>
                  <a:pt x="486" y="145"/>
                  <a:pt x="486" y="145"/>
                  <a:pt x="486" y="145"/>
                </a:cubicBezTo>
                <a:cubicBezTo>
                  <a:pt x="483" y="147"/>
                  <a:pt x="479" y="146"/>
                  <a:pt x="477" y="144"/>
                </a:cubicBezTo>
                <a:cubicBezTo>
                  <a:pt x="462" y="129"/>
                  <a:pt x="445" y="117"/>
                  <a:pt x="426" y="107"/>
                </a:cubicBezTo>
                <a:cubicBezTo>
                  <a:pt x="423" y="105"/>
                  <a:pt x="422" y="102"/>
                  <a:pt x="423" y="99"/>
                </a:cubicBezTo>
                <a:cubicBezTo>
                  <a:pt x="441" y="36"/>
                  <a:pt x="441" y="36"/>
                  <a:pt x="441" y="36"/>
                </a:cubicBezTo>
                <a:cubicBezTo>
                  <a:pt x="421" y="27"/>
                  <a:pt x="399" y="20"/>
                  <a:pt x="377" y="15"/>
                </a:cubicBezTo>
                <a:cubicBezTo>
                  <a:pt x="355" y="77"/>
                  <a:pt x="355" y="77"/>
                  <a:pt x="355" y="77"/>
                </a:cubicBezTo>
                <a:cubicBezTo>
                  <a:pt x="354" y="80"/>
                  <a:pt x="351" y="82"/>
                  <a:pt x="348" y="82"/>
                </a:cubicBezTo>
                <a:cubicBezTo>
                  <a:pt x="327" y="79"/>
                  <a:pt x="306" y="79"/>
                  <a:pt x="285" y="82"/>
                </a:cubicBezTo>
                <a:cubicBezTo>
                  <a:pt x="281" y="82"/>
                  <a:pt x="278" y="80"/>
                  <a:pt x="277" y="77"/>
                </a:cubicBezTo>
                <a:cubicBezTo>
                  <a:pt x="256" y="15"/>
                  <a:pt x="256" y="15"/>
                  <a:pt x="256" y="15"/>
                </a:cubicBezTo>
                <a:cubicBezTo>
                  <a:pt x="233" y="20"/>
                  <a:pt x="212" y="27"/>
                  <a:pt x="191" y="36"/>
                </a:cubicBezTo>
                <a:cubicBezTo>
                  <a:pt x="210" y="99"/>
                  <a:pt x="210" y="99"/>
                  <a:pt x="210" y="99"/>
                </a:cubicBezTo>
                <a:cubicBezTo>
                  <a:pt x="211" y="102"/>
                  <a:pt x="210" y="105"/>
                  <a:pt x="207" y="107"/>
                </a:cubicBezTo>
                <a:cubicBezTo>
                  <a:pt x="188" y="117"/>
                  <a:pt x="171" y="129"/>
                  <a:pt x="156" y="144"/>
                </a:cubicBezTo>
                <a:cubicBezTo>
                  <a:pt x="153" y="146"/>
                  <a:pt x="149" y="147"/>
                  <a:pt x="147" y="145"/>
                </a:cubicBezTo>
                <a:cubicBezTo>
                  <a:pt x="93" y="108"/>
                  <a:pt x="93" y="108"/>
                  <a:pt x="93" y="108"/>
                </a:cubicBezTo>
                <a:cubicBezTo>
                  <a:pt x="78" y="124"/>
                  <a:pt x="64" y="143"/>
                  <a:pt x="53" y="162"/>
                </a:cubicBezTo>
                <a:cubicBezTo>
                  <a:pt x="105" y="202"/>
                  <a:pt x="105" y="202"/>
                  <a:pt x="105" y="202"/>
                </a:cubicBezTo>
                <a:cubicBezTo>
                  <a:pt x="108" y="204"/>
                  <a:pt x="109" y="207"/>
                  <a:pt x="107" y="210"/>
                </a:cubicBezTo>
                <a:cubicBezTo>
                  <a:pt x="98" y="230"/>
                  <a:pt x="91" y="250"/>
                  <a:pt x="88" y="271"/>
                </a:cubicBezTo>
                <a:cubicBezTo>
                  <a:pt x="87" y="274"/>
                  <a:pt x="84" y="276"/>
                  <a:pt x="81" y="276"/>
                </a:cubicBezTo>
                <a:cubicBezTo>
                  <a:pt x="16" y="278"/>
                  <a:pt x="16" y="278"/>
                  <a:pt x="16" y="278"/>
                </a:cubicBezTo>
                <a:cubicBezTo>
                  <a:pt x="14" y="289"/>
                  <a:pt x="14" y="300"/>
                  <a:pt x="14" y="312"/>
                </a:cubicBezTo>
                <a:cubicBezTo>
                  <a:pt x="14" y="323"/>
                  <a:pt x="14" y="334"/>
                  <a:pt x="16" y="345"/>
                </a:cubicBezTo>
                <a:cubicBezTo>
                  <a:pt x="81" y="347"/>
                  <a:pt x="81" y="347"/>
                  <a:pt x="81" y="347"/>
                </a:cubicBezTo>
                <a:cubicBezTo>
                  <a:pt x="84" y="347"/>
                  <a:pt x="87" y="349"/>
                  <a:pt x="88" y="353"/>
                </a:cubicBezTo>
                <a:cubicBezTo>
                  <a:pt x="91" y="373"/>
                  <a:pt x="98" y="394"/>
                  <a:pt x="107" y="413"/>
                </a:cubicBezTo>
                <a:cubicBezTo>
                  <a:pt x="109" y="416"/>
                  <a:pt x="108" y="419"/>
                  <a:pt x="105" y="421"/>
                </a:cubicBezTo>
                <a:cubicBezTo>
                  <a:pt x="53" y="461"/>
                  <a:pt x="53" y="461"/>
                  <a:pt x="53" y="461"/>
                </a:cubicBezTo>
                <a:cubicBezTo>
                  <a:pt x="64" y="481"/>
                  <a:pt x="78" y="499"/>
                  <a:pt x="93" y="516"/>
                </a:cubicBezTo>
                <a:cubicBezTo>
                  <a:pt x="147" y="478"/>
                  <a:pt x="147" y="478"/>
                  <a:pt x="147" y="478"/>
                </a:cubicBezTo>
                <a:cubicBezTo>
                  <a:pt x="149" y="477"/>
                  <a:pt x="153" y="477"/>
                  <a:pt x="156" y="479"/>
                </a:cubicBezTo>
                <a:cubicBezTo>
                  <a:pt x="171" y="494"/>
                  <a:pt x="188" y="506"/>
                  <a:pt x="207" y="516"/>
                </a:cubicBezTo>
                <a:cubicBezTo>
                  <a:pt x="210" y="518"/>
                  <a:pt x="211" y="521"/>
                  <a:pt x="210" y="525"/>
                </a:cubicBezTo>
                <a:cubicBezTo>
                  <a:pt x="191" y="587"/>
                  <a:pt x="191" y="587"/>
                  <a:pt x="191" y="587"/>
                </a:cubicBezTo>
                <a:cubicBezTo>
                  <a:pt x="212" y="597"/>
                  <a:pt x="233" y="604"/>
                  <a:pt x="256" y="608"/>
                </a:cubicBezTo>
                <a:cubicBezTo>
                  <a:pt x="277" y="546"/>
                  <a:pt x="277" y="546"/>
                  <a:pt x="277" y="546"/>
                </a:cubicBezTo>
                <a:cubicBezTo>
                  <a:pt x="278" y="543"/>
                  <a:pt x="281" y="541"/>
                  <a:pt x="285" y="542"/>
                </a:cubicBezTo>
                <a:cubicBezTo>
                  <a:pt x="306" y="545"/>
                  <a:pt x="327" y="545"/>
                  <a:pt x="348" y="542"/>
                </a:cubicBezTo>
                <a:cubicBezTo>
                  <a:pt x="348" y="542"/>
                  <a:pt x="348" y="542"/>
                  <a:pt x="349" y="542"/>
                </a:cubicBezTo>
                <a:close/>
                <a:moveTo>
                  <a:pt x="316" y="409"/>
                </a:moveTo>
                <a:cubicBezTo>
                  <a:pt x="263" y="409"/>
                  <a:pt x="219" y="365"/>
                  <a:pt x="219" y="312"/>
                </a:cubicBezTo>
                <a:cubicBezTo>
                  <a:pt x="219" y="258"/>
                  <a:pt x="263" y="214"/>
                  <a:pt x="316" y="214"/>
                </a:cubicBezTo>
                <a:cubicBezTo>
                  <a:pt x="370" y="214"/>
                  <a:pt x="414" y="258"/>
                  <a:pt x="414" y="312"/>
                </a:cubicBezTo>
                <a:cubicBezTo>
                  <a:pt x="414" y="365"/>
                  <a:pt x="370" y="409"/>
                  <a:pt x="316" y="409"/>
                </a:cubicBezTo>
                <a:close/>
                <a:moveTo>
                  <a:pt x="316" y="228"/>
                </a:moveTo>
                <a:cubicBezTo>
                  <a:pt x="270" y="228"/>
                  <a:pt x="233" y="266"/>
                  <a:pt x="233" y="312"/>
                </a:cubicBezTo>
                <a:cubicBezTo>
                  <a:pt x="233" y="358"/>
                  <a:pt x="270" y="395"/>
                  <a:pt x="316" y="395"/>
                </a:cubicBezTo>
                <a:cubicBezTo>
                  <a:pt x="362" y="395"/>
                  <a:pt x="400" y="358"/>
                  <a:pt x="400" y="312"/>
                </a:cubicBezTo>
                <a:cubicBezTo>
                  <a:pt x="400" y="266"/>
                  <a:pt x="362" y="228"/>
                  <a:pt x="316" y="228"/>
                </a:cubicBezTo>
                <a:close/>
              </a:path>
            </a:pathLst>
          </a:custGeom>
          <a:solidFill>
            <a:srgbClr val="F8981D"/>
          </a:solidFill>
          <a:ln>
            <a:solidFill>
              <a:schemeClr val="bg1"/>
            </a:solidFill>
          </a:ln>
        </p:spPr>
        <p:txBody>
          <a:bodyPr vert="horz" wrap="square" lIns="55721" tIns="27861" rIns="55721" bIns="27861" numCol="1" anchor="t" anchorCtr="0" compatLnSpc="1">
            <a:prstTxWarp prst="textNoShape">
              <a:avLst/>
            </a:prstTxWarp>
          </a:bodyPr>
          <a:lstStyle/>
          <a:p>
            <a:pPr defTabSz="742913">
              <a:defRPr/>
            </a:pPr>
            <a:endParaRPr lang="en-US" sz="1463" kern="0">
              <a:solidFill>
                <a:srgbClr val="57565A"/>
              </a:solidFill>
              <a:latin typeface="Open Sans Light"/>
              <a:cs typeface="Arial" charset="0"/>
            </a:endParaRPr>
          </a:p>
        </p:txBody>
      </p:sp>
      <p:sp>
        <p:nvSpPr>
          <p:cNvPr id="1102" name="Rectangle 1101">
            <a:extLst>
              <a:ext uri="{FF2B5EF4-FFF2-40B4-BE49-F238E27FC236}">
                <a16:creationId xmlns:a16="http://schemas.microsoft.com/office/drawing/2014/main" id="{E6ADA07A-B79C-46C7-94CC-F872E4A9B779}"/>
              </a:ext>
            </a:extLst>
          </p:cNvPr>
          <p:cNvSpPr/>
          <p:nvPr/>
        </p:nvSpPr>
        <p:spPr>
          <a:xfrm>
            <a:off x="3553914" y="1933236"/>
            <a:ext cx="2084886" cy="634167"/>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a:noAutofit/>
          </a:bodyPr>
          <a:lstStyle/>
          <a:p>
            <a:pPr algn="ctr" defTabSz="685758"/>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Los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datos</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del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satélite</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calculan</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el</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CO2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secuestrado</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y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generan</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1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ficha</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CRU.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Mecanismo</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de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creación</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de mercado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desarrollado</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por</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Rabobank</a:t>
            </a:r>
          </a:p>
        </p:txBody>
      </p:sp>
      <p:sp>
        <p:nvSpPr>
          <p:cNvPr id="1103" name="Rectangle 1102">
            <a:extLst>
              <a:ext uri="{FF2B5EF4-FFF2-40B4-BE49-F238E27FC236}">
                <a16:creationId xmlns:a16="http://schemas.microsoft.com/office/drawing/2014/main" id="{DF9BA3E4-B7B9-4640-8230-76112DAA120D}"/>
              </a:ext>
            </a:extLst>
          </p:cNvPr>
          <p:cNvSpPr/>
          <p:nvPr/>
        </p:nvSpPr>
        <p:spPr>
          <a:xfrm>
            <a:off x="209863" y="1881580"/>
            <a:ext cx="1036308" cy="439528"/>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a:noAutofit/>
          </a:bodyPr>
          <a:lstStyle/>
          <a:p>
            <a:pPr defTabSz="685758"/>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Secuestro</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CRUs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en</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el</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último</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año</a:t>
            </a:r>
            <a:endParaRPr lang="en-US" sz="1000" dirty="0">
              <a:solidFill>
                <a:schemeClr val="tx1"/>
              </a:solidFill>
              <a:latin typeface="Calibri Light" panose="020F0302020204030204" pitchFamily="34" charset="0"/>
              <a:cs typeface="Calibri Light" panose="020F0302020204030204" pitchFamily="34" charset="0"/>
            </a:endParaRPr>
          </a:p>
        </p:txBody>
      </p:sp>
      <p:sp>
        <p:nvSpPr>
          <p:cNvPr id="1104" name="Rectangle 1103">
            <a:extLst>
              <a:ext uri="{FF2B5EF4-FFF2-40B4-BE49-F238E27FC236}">
                <a16:creationId xmlns:a16="http://schemas.microsoft.com/office/drawing/2014/main" id="{9DD64CFE-7A35-4574-ABDB-43E0BBA52993}"/>
              </a:ext>
            </a:extLst>
          </p:cNvPr>
          <p:cNvSpPr/>
          <p:nvPr/>
        </p:nvSpPr>
        <p:spPr>
          <a:xfrm>
            <a:off x="6020177" y="1855420"/>
            <a:ext cx="1116988" cy="627936"/>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a:noAutofit/>
          </a:bodyPr>
          <a:lstStyle/>
          <a:p>
            <a:pPr defTabSz="685758"/>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El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emisor</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tiene</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una</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huella</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de carbono de 1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tonelada</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de CO₂ eq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en</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el</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último</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año</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y </a:t>
            </a:r>
            <a:r>
              <a:rPr lang="en-US" sz="1000" dirty="0" err="1">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compra</a:t>
            </a:r>
            <a:r>
              <a:rPr lang="en-US" sz="1000" dirty="0">
                <a:solidFill>
                  <a:schemeClr val="tx1"/>
                </a:solidFill>
                <a:latin typeface="Calibri Light" panose="020F0302020204030204" pitchFamily="34" charset="0"/>
                <a:ea typeface="Times New Roman" panose="02020603050405020304" pitchFamily="18" charset="0"/>
                <a:cs typeface="Calibri Light" panose="020F0302020204030204" pitchFamily="34" charset="0"/>
              </a:rPr>
              <a:t> CRU</a:t>
            </a:r>
          </a:p>
        </p:txBody>
      </p:sp>
      <p:sp>
        <p:nvSpPr>
          <p:cNvPr id="1002" name="Freeform: Shape 3">
            <a:extLst>
              <a:ext uri="{FF2B5EF4-FFF2-40B4-BE49-F238E27FC236}">
                <a16:creationId xmlns:a16="http://schemas.microsoft.com/office/drawing/2014/main" id="{07E837FE-900E-49EE-900D-9DC020D2BEBE}"/>
              </a:ext>
            </a:extLst>
          </p:cNvPr>
          <p:cNvSpPr>
            <a:spLocks noChangeAspect="1"/>
          </p:cNvSpPr>
          <p:nvPr/>
        </p:nvSpPr>
        <p:spPr>
          <a:xfrm>
            <a:off x="2840033" y="1509251"/>
            <a:ext cx="235769" cy="243212"/>
          </a:xfrm>
          <a:custGeom>
            <a:avLst/>
            <a:gdLst>
              <a:gd name="connsiteX0" fmla="*/ 659165 w 2314251"/>
              <a:gd name="connsiteY0" fmla="*/ 1364616 h 2387301"/>
              <a:gd name="connsiteX1" fmla="*/ 607677 w 2314251"/>
              <a:gd name="connsiteY1" fmla="*/ 1370889 h 2387301"/>
              <a:gd name="connsiteX2" fmla="*/ 441289 w 2314251"/>
              <a:gd name="connsiteY2" fmla="*/ 1403443 h 2387301"/>
              <a:gd name="connsiteX3" fmla="*/ 441289 w 2314251"/>
              <a:gd name="connsiteY3" fmla="*/ 1996651 h 2387301"/>
              <a:gd name="connsiteX4" fmla="*/ 462992 w 2314251"/>
              <a:gd name="connsiteY4" fmla="*/ 1989417 h 2387301"/>
              <a:gd name="connsiteX5" fmla="*/ 473843 w 2314251"/>
              <a:gd name="connsiteY5" fmla="*/ 1989417 h 2387301"/>
              <a:gd name="connsiteX6" fmla="*/ 491929 w 2314251"/>
              <a:gd name="connsiteY6" fmla="*/ 1993034 h 2387301"/>
              <a:gd name="connsiteX7" fmla="*/ 1027264 w 2314251"/>
              <a:gd name="connsiteY7" fmla="*/ 2282404 h 2387301"/>
              <a:gd name="connsiteX8" fmla="*/ 1273228 w 2314251"/>
              <a:gd name="connsiteY8" fmla="*/ 2286021 h 2387301"/>
              <a:gd name="connsiteX9" fmla="*/ 2181126 w 2314251"/>
              <a:gd name="connsiteY9" fmla="*/ 1830264 h 2387301"/>
              <a:gd name="connsiteX10" fmla="*/ 2213680 w 2314251"/>
              <a:gd name="connsiteY10" fmla="*/ 1656642 h 2387301"/>
              <a:gd name="connsiteX11" fmla="*/ 2090698 w 2314251"/>
              <a:gd name="connsiteY11" fmla="*/ 1627705 h 2387301"/>
              <a:gd name="connsiteX12" fmla="*/ 1454084 w 2314251"/>
              <a:gd name="connsiteY12" fmla="*/ 1833881 h 2387301"/>
              <a:gd name="connsiteX13" fmla="*/ 1367273 w 2314251"/>
              <a:gd name="connsiteY13" fmla="*/ 1859201 h 2387301"/>
              <a:gd name="connsiteX14" fmla="*/ 777682 w 2314251"/>
              <a:gd name="connsiteY14" fmla="*/ 1859201 h 2387301"/>
              <a:gd name="connsiteX15" fmla="*/ 741510 w 2314251"/>
              <a:gd name="connsiteY15" fmla="*/ 1823030 h 2387301"/>
              <a:gd name="connsiteX16" fmla="*/ 777682 w 2314251"/>
              <a:gd name="connsiteY16" fmla="*/ 1786858 h 2387301"/>
              <a:gd name="connsiteX17" fmla="*/ 1370890 w 2314251"/>
              <a:gd name="connsiteY17" fmla="*/ 1786858 h 2387301"/>
              <a:gd name="connsiteX18" fmla="*/ 1421530 w 2314251"/>
              <a:gd name="connsiteY18" fmla="*/ 1772390 h 2387301"/>
              <a:gd name="connsiteX19" fmla="*/ 1454084 w 2314251"/>
              <a:gd name="connsiteY19" fmla="*/ 1696430 h 2387301"/>
              <a:gd name="connsiteX20" fmla="*/ 1425147 w 2314251"/>
              <a:gd name="connsiteY20" fmla="*/ 1642174 h 2387301"/>
              <a:gd name="connsiteX21" fmla="*/ 1367273 w 2314251"/>
              <a:gd name="connsiteY21" fmla="*/ 1620471 h 2387301"/>
              <a:gd name="connsiteX22" fmla="*/ 1139395 w 2314251"/>
              <a:gd name="connsiteY22" fmla="*/ 1620471 h 2387301"/>
              <a:gd name="connsiteX23" fmla="*/ 1117692 w 2314251"/>
              <a:gd name="connsiteY23" fmla="*/ 1613236 h 2387301"/>
              <a:gd name="connsiteX24" fmla="*/ 810237 w 2314251"/>
              <a:gd name="connsiteY24" fmla="*/ 1392592 h 2387301"/>
              <a:gd name="connsiteX25" fmla="*/ 659165 w 2314251"/>
              <a:gd name="connsiteY25" fmla="*/ 1364616 h 2387301"/>
              <a:gd name="connsiteX26" fmla="*/ 115748 w 2314251"/>
              <a:gd name="connsiteY26" fmla="*/ 1291313 h 2387301"/>
              <a:gd name="connsiteX27" fmla="*/ 72343 w 2314251"/>
              <a:gd name="connsiteY27" fmla="*/ 1334718 h 2387301"/>
              <a:gd name="connsiteX28" fmla="*/ 72343 w 2314251"/>
              <a:gd name="connsiteY28" fmla="*/ 2181125 h 2387301"/>
              <a:gd name="connsiteX29" fmla="*/ 115748 w 2314251"/>
              <a:gd name="connsiteY29" fmla="*/ 2224530 h 2387301"/>
              <a:gd name="connsiteX30" fmla="*/ 325541 w 2314251"/>
              <a:gd name="connsiteY30" fmla="*/ 2224530 h 2387301"/>
              <a:gd name="connsiteX31" fmla="*/ 368947 w 2314251"/>
              <a:gd name="connsiteY31" fmla="*/ 2181125 h 2387301"/>
              <a:gd name="connsiteX32" fmla="*/ 368947 w 2314251"/>
              <a:gd name="connsiteY32" fmla="*/ 1334718 h 2387301"/>
              <a:gd name="connsiteX33" fmla="*/ 325541 w 2314251"/>
              <a:gd name="connsiteY33" fmla="*/ 1291313 h 2387301"/>
              <a:gd name="connsiteX34" fmla="*/ 1931544 w 2314251"/>
              <a:gd name="connsiteY34" fmla="*/ 1175565 h 2387301"/>
              <a:gd name="connsiteX35" fmla="*/ 1569832 w 2314251"/>
              <a:gd name="connsiteY35" fmla="*/ 1537277 h 2387301"/>
              <a:gd name="connsiteX36" fmla="*/ 1931544 w 2314251"/>
              <a:gd name="connsiteY36" fmla="*/ 1175565 h 2387301"/>
              <a:gd name="connsiteX37" fmla="*/ 1135778 w 2314251"/>
              <a:gd name="connsiteY37" fmla="*/ 929601 h 2387301"/>
              <a:gd name="connsiteX38" fmla="*/ 1497490 w 2314251"/>
              <a:gd name="connsiteY38" fmla="*/ 1291313 h 2387301"/>
              <a:gd name="connsiteX39" fmla="*/ 1135778 w 2314251"/>
              <a:gd name="connsiteY39" fmla="*/ 929601 h 2387301"/>
              <a:gd name="connsiteX40" fmla="*/ 1533661 w 2314251"/>
              <a:gd name="connsiteY40" fmla="*/ 162770 h 2387301"/>
              <a:gd name="connsiteX41" fmla="*/ 1569832 w 2314251"/>
              <a:gd name="connsiteY41" fmla="*/ 198942 h 2387301"/>
              <a:gd name="connsiteX42" fmla="*/ 1569832 w 2314251"/>
              <a:gd name="connsiteY42" fmla="*/ 220644 h 2387301"/>
              <a:gd name="connsiteX43" fmla="*/ 1660260 w 2314251"/>
              <a:gd name="connsiteY43" fmla="*/ 343626 h 2387301"/>
              <a:gd name="connsiteX44" fmla="*/ 1624089 w 2314251"/>
              <a:gd name="connsiteY44" fmla="*/ 379798 h 2387301"/>
              <a:gd name="connsiteX45" fmla="*/ 1587917 w 2314251"/>
              <a:gd name="connsiteY45" fmla="*/ 343626 h 2387301"/>
              <a:gd name="connsiteX46" fmla="*/ 1533661 w 2314251"/>
              <a:gd name="connsiteY46" fmla="*/ 289370 h 2387301"/>
              <a:gd name="connsiteX47" fmla="*/ 1479403 w 2314251"/>
              <a:gd name="connsiteY47" fmla="*/ 343626 h 2387301"/>
              <a:gd name="connsiteX48" fmla="*/ 1533661 w 2314251"/>
              <a:gd name="connsiteY48" fmla="*/ 397883 h 2387301"/>
              <a:gd name="connsiteX49" fmla="*/ 1660260 w 2314251"/>
              <a:gd name="connsiteY49" fmla="*/ 524483 h 2387301"/>
              <a:gd name="connsiteX50" fmla="*/ 1569832 w 2314251"/>
              <a:gd name="connsiteY50" fmla="*/ 647465 h 2387301"/>
              <a:gd name="connsiteX51" fmla="*/ 1569832 w 2314251"/>
              <a:gd name="connsiteY51" fmla="*/ 669167 h 2387301"/>
              <a:gd name="connsiteX52" fmla="*/ 1533661 w 2314251"/>
              <a:gd name="connsiteY52" fmla="*/ 705339 h 2387301"/>
              <a:gd name="connsiteX53" fmla="*/ 1497489 w 2314251"/>
              <a:gd name="connsiteY53" fmla="*/ 669167 h 2387301"/>
              <a:gd name="connsiteX54" fmla="*/ 1497489 w 2314251"/>
              <a:gd name="connsiteY54" fmla="*/ 647465 h 2387301"/>
              <a:gd name="connsiteX55" fmla="*/ 1407060 w 2314251"/>
              <a:gd name="connsiteY55" fmla="*/ 524483 h 2387301"/>
              <a:gd name="connsiteX56" fmla="*/ 1443232 w 2314251"/>
              <a:gd name="connsiteY56" fmla="*/ 488311 h 2387301"/>
              <a:gd name="connsiteX57" fmla="*/ 1479403 w 2314251"/>
              <a:gd name="connsiteY57" fmla="*/ 524483 h 2387301"/>
              <a:gd name="connsiteX58" fmla="*/ 1533661 w 2314251"/>
              <a:gd name="connsiteY58" fmla="*/ 578739 h 2387301"/>
              <a:gd name="connsiteX59" fmla="*/ 1587917 w 2314251"/>
              <a:gd name="connsiteY59" fmla="*/ 524483 h 2387301"/>
              <a:gd name="connsiteX60" fmla="*/ 1533661 w 2314251"/>
              <a:gd name="connsiteY60" fmla="*/ 470226 h 2387301"/>
              <a:gd name="connsiteX61" fmla="*/ 1407060 w 2314251"/>
              <a:gd name="connsiteY61" fmla="*/ 343626 h 2387301"/>
              <a:gd name="connsiteX62" fmla="*/ 1497489 w 2314251"/>
              <a:gd name="connsiteY62" fmla="*/ 220644 h 2387301"/>
              <a:gd name="connsiteX63" fmla="*/ 1497489 w 2314251"/>
              <a:gd name="connsiteY63" fmla="*/ 198942 h 2387301"/>
              <a:gd name="connsiteX64" fmla="*/ 1533661 w 2314251"/>
              <a:gd name="connsiteY64" fmla="*/ 162770 h 2387301"/>
              <a:gd name="connsiteX65" fmla="*/ 1533661 w 2314251"/>
              <a:gd name="connsiteY65" fmla="*/ 72343 h 2387301"/>
              <a:gd name="connsiteX66" fmla="*/ 1171949 w 2314251"/>
              <a:gd name="connsiteY66" fmla="*/ 434055 h 2387301"/>
              <a:gd name="connsiteX67" fmla="*/ 1533661 w 2314251"/>
              <a:gd name="connsiteY67" fmla="*/ 795767 h 2387301"/>
              <a:gd name="connsiteX68" fmla="*/ 1895373 w 2314251"/>
              <a:gd name="connsiteY68" fmla="*/ 434055 h 2387301"/>
              <a:gd name="connsiteX69" fmla="*/ 1533661 w 2314251"/>
              <a:gd name="connsiteY69" fmla="*/ 72343 h 2387301"/>
              <a:gd name="connsiteX70" fmla="*/ 1533661 w 2314251"/>
              <a:gd name="connsiteY70" fmla="*/ 0 h 2387301"/>
              <a:gd name="connsiteX71" fmla="*/ 1967715 w 2314251"/>
              <a:gd name="connsiteY71" fmla="*/ 434055 h 2387301"/>
              <a:gd name="connsiteX72" fmla="*/ 1569832 w 2314251"/>
              <a:gd name="connsiteY72" fmla="*/ 864492 h 2387301"/>
              <a:gd name="connsiteX73" fmla="*/ 1569832 w 2314251"/>
              <a:gd name="connsiteY73" fmla="*/ 1323867 h 2387301"/>
              <a:gd name="connsiteX74" fmla="*/ 1971333 w 2314251"/>
              <a:gd name="connsiteY74" fmla="*/ 1099605 h 2387301"/>
              <a:gd name="connsiteX75" fmla="*/ 2007504 w 2314251"/>
              <a:gd name="connsiteY75" fmla="*/ 1135777 h 2387301"/>
              <a:gd name="connsiteX76" fmla="*/ 1569832 w 2314251"/>
              <a:gd name="connsiteY76" fmla="*/ 1606002 h 2387301"/>
              <a:gd name="connsiteX77" fmla="*/ 1569832 w 2314251"/>
              <a:gd name="connsiteY77" fmla="*/ 1721750 h 2387301"/>
              <a:gd name="connsiteX78" fmla="*/ 2068995 w 2314251"/>
              <a:gd name="connsiteY78" fmla="*/ 1558980 h 2387301"/>
              <a:gd name="connsiteX79" fmla="*/ 2267937 w 2314251"/>
              <a:gd name="connsiteY79" fmla="*/ 1606002 h 2387301"/>
              <a:gd name="connsiteX80" fmla="*/ 2210063 w 2314251"/>
              <a:gd name="connsiteY80" fmla="*/ 1891755 h 2387301"/>
              <a:gd name="connsiteX81" fmla="*/ 1302165 w 2314251"/>
              <a:gd name="connsiteY81" fmla="*/ 2351129 h 2387301"/>
              <a:gd name="connsiteX82" fmla="*/ 1150246 w 2314251"/>
              <a:gd name="connsiteY82" fmla="*/ 2387301 h 2387301"/>
              <a:gd name="connsiteX83" fmla="*/ 991093 w 2314251"/>
              <a:gd name="connsiteY83" fmla="*/ 2347512 h 2387301"/>
              <a:gd name="connsiteX84" fmla="*/ 470226 w 2314251"/>
              <a:gd name="connsiteY84" fmla="*/ 2068994 h 2387301"/>
              <a:gd name="connsiteX85" fmla="*/ 441289 w 2314251"/>
              <a:gd name="connsiteY85" fmla="*/ 2079845 h 2387301"/>
              <a:gd name="connsiteX86" fmla="*/ 441289 w 2314251"/>
              <a:gd name="connsiteY86" fmla="*/ 2184742 h 2387301"/>
              <a:gd name="connsiteX87" fmla="*/ 325541 w 2314251"/>
              <a:gd name="connsiteY87" fmla="*/ 2300490 h 2387301"/>
              <a:gd name="connsiteX88" fmla="*/ 115748 w 2314251"/>
              <a:gd name="connsiteY88" fmla="*/ 2300490 h 2387301"/>
              <a:gd name="connsiteX89" fmla="*/ 0 w 2314251"/>
              <a:gd name="connsiteY89" fmla="*/ 2184742 h 2387301"/>
              <a:gd name="connsiteX90" fmla="*/ 0 w 2314251"/>
              <a:gd name="connsiteY90" fmla="*/ 1338335 h 2387301"/>
              <a:gd name="connsiteX91" fmla="*/ 115748 w 2314251"/>
              <a:gd name="connsiteY91" fmla="*/ 1222587 h 2387301"/>
              <a:gd name="connsiteX92" fmla="*/ 325541 w 2314251"/>
              <a:gd name="connsiteY92" fmla="*/ 1222587 h 2387301"/>
              <a:gd name="connsiteX93" fmla="*/ 441289 w 2314251"/>
              <a:gd name="connsiteY93" fmla="*/ 1331101 h 2387301"/>
              <a:gd name="connsiteX94" fmla="*/ 596825 w 2314251"/>
              <a:gd name="connsiteY94" fmla="*/ 1302164 h 2387301"/>
              <a:gd name="connsiteX95" fmla="*/ 846408 w 2314251"/>
              <a:gd name="connsiteY95" fmla="*/ 1331101 h 2387301"/>
              <a:gd name="connsiteX96" fmla="*/ 853642 w 2314251"/>
              <a:gd name="connsiteY96" fmla="*/ 1334718 h 2387301"/>
              <a:gd name="connsiteX97" fmla="*/ 1153863 w 2314251"/>
              <a:gd name="connsiteY97" fmla="*/ 1548128 h 2387301"/>
              <a:gd name="connsiteX98" fmla="*/ 1370890 w 2314251"/>
              <a:gd name="connsiteY98" fmla="*/ 1548128 h 2387301"/>
              <a:gd name="connsiteX99" fmla="*/ 1475787 w 2314251"/>
              <a:gd name="connsiteY99" fmla="*/ 1587917 h 2387301"/>
              <a:gd name="connsiteX100" fmla="*/ 1497490 w 2314251"/>
              <a:gd name="connsiteY100" fmla="*/ 1613236 h 2387301"/>
              <a:gd name="connsiteX101" fmla="*/ 1497490 w 2314251"/>
              <a:gd name="connsiteY101" fmla="*/ 1573448 h 2387301"/>
              <a:gd name="connsiteX102" fmla="*/ 1497490 w 2314251"/>
              <a:gd name="connsiteY102" fmla="*/ 1360038 h 2387301"/>
              <a:gd name="connsiteX103" fmla="*/ 1059818 w 2314251"/>
              <a:gd name="connsiteY103" fmla="*/ 889812 h 2387301"/>
              <a:gd name="connsiteX104" fmla="*/ 1095989 w 2314251"/>
              <a:gd name="connsiteY104" fmla="*/ 853641 h 2387301"/>
              <a:gd name="connsiteX105" fmla="*/ 1497490 w 2314251"/>
              <a:gd name="connsiteY105" fmla="*/ 1077903 h 2387301"/>
              <a:gd name="connsiteX106" fmla="*/ 1497490 w 2314251"/>
              <a:gd name="connsiteY106" fmla="*/ 864492 h 2387301"/>
              <a:gd name="connsiteX107" fmla="*/ 1099606 w 2314251"/>
              <a:gd name="connsiteY107" fmla="*/ 434055 h 2387301"/>
              <a:gd name="connsiteX108" fmla="*/ 1533661 w 2314251"/>
              <a:gd name="connsiteY108" fmla="*/ 0 h 238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314251" h="2387301">
                <a:moveTo>
                  <a:pt x="659165" y="1364616"/>
                </a:moveTo>
                <a:cubicBezTo>
                  <a:pt x="642040" y="1365238"/>
                  <a:pt x="624859" y="1367272"/>
                  <a:pt x="607677" y="1370889"/>
                </a:cubicBezTo>
                <a:lnTo>
                  <a:pt x="441289" y="1403443"/>
                </a:lnTo>
                <a:lnTo>
                  <a:pt x="441289" y="1996651"/>
                </a:lnTo>
                <a:lnTo>
                  <a:pt x="462992" y="1989417"/>
                </a:lnTo>
                <a:cubicBezTo>
                  <a:pt x="466609" y="1989417"/>
                  <a:pt x="470226" y="1989417"/>
                  <a:pt x="473843" y="1989417"/>
                </a:cubicBezTo>
                <a:cubicBezTo>
                  <a:pt x="481078" y="1989417"/>
                  <a:pt x="488312" y="1989417"/>
                  <a:pt x="491929" y="1993034"/>
                </a:cubicBezTo>
                <a:lnTo>
                  <a:pt x="1027264" y="2282404"/>
                </a:lnTo>
                <a:cubicBezTo>
                  <a:pt x="1106841" y="2322192"/>
                  <a:pt x="1197269" y="2325810"/>
                  <a:pt x="1273228" y="2286021"/>
                </a:cubicBezTo>
                <a:lnTo>
                  <a:pt x="2181126" y="1830264"/>
                </a:lnTo>
                <a:cubicBezTo>
                  <a:pt x="2246234" y="1794093"/>
                  <a:pt x="2264319" y="1710899"/>
                  <a:pt x="2213680" y="1656642"/>
                </a:cubicBezTo>
                <a:cubicBezTo>
                  <a:pt x="2184743" y="1624088"/>
                  <a:pt x="2137720" y="1609619"/>
                  <a:pt x="2090698" y="1627705"/>
                </a:cubicBezTo>
                <a:lnTo>
                  <a:pt x="1454084" y="1833881"/>
                </a:lnTo>
                <a:cubicBezTo>
                  <a:pt x="1428764" y="1848349"/>
                  <a:pt x="1399827" y="1859201"/>
                  <a:pt x="1367273" y="1859201"/>
                </a:cubicBezTo>
                <a:lnTo>
                  <a:pt x="777682" y="1859201"/>
                </a:lnTo>
                <a:cubicBezTo>
                  <a:pt x="755979" y="1859201"/>
                  <a:pt x="741510" y="1844732"/>
                  <a:pt x="741510" y="1823030"/>
                </a:cubicBezTo>
                <a:cubicBezTo>
                  <a:pt x="741510" y="1801327"/>
                  <a:pt x="755979" y="1786858"/>
                  <a:pt x="777682" y="1786858"/>
                </a:cubicBezTo>
                <a:lnTo>
                  <a:pt x="1370890" y="1786858"/>
                </a:lnTo>
                <a:cubicBezTo>
                  <a:pt x="1388976" y="1786858"/>
                  <a:pt x="1407062" y="1783241"/>
                  <a:pt x="1421530" y="1772390"/>
                </a:cubicBezTo>
                <a:cubicBezTo>
                  <a:pt x="1443233" y="1754304"/>
                  <a:pt x="1457701" y="1725367"/>
                  <a:pt x="1454084" y="1696430"/>
                </a:cubicBezTo>
                <a:cubicBezTo>
                  <a:pt x="1450467" y="1678345"/>
                  <a:pt x="1439616" y="1656642"/>
                  <a:pt x="1425147" y="1642174"/>
                </a:cubicBezTo>
                <a:cubicBezTo>
                  <a:pt x="1410679" y="1627705"/>
                  <a:pt x="1388976" y="1620471"/>
                  <a:pt x="1367273" y="1620471"/>
                </a:cubicBezTo>
                <a:lnTo>
                  <a:pt x="1139395" y="1620471"/>
                </a:lnTo>
                <a:cubicBezTo>
                  <a:pt x="1132160" y="1620471"/>
                  <a:pt x="1124926" y="1616854"/>
                  <a:pt x="1117692" y="1613236"/>
                </a:cubicBezTo>
                <a:lnTo>
                  <a:pt x="810237" y="1392592"/>
                </a:lnTo>
                <a:cubicBezTo>
                  <a:pt x="761405" y="1373602"/>
                  <a:pt x="710539" y="1362751"/>
                  <a:pt x="659165" y="1364616"/>
                </a:cubicBezTo>
                <a:close/>
                <a:moveTo>
                  <a:pt x="115748" y="1291313"/>
                </a:moveTo>
                <a:cubicBezTo>
                  <a:pt x="90428" y="1291313"/>
                  <a:pt x="72343" y="1309398"/>
                  <a:pt x="72343" y="1334718"/>
                </a:cubicBezTo>
                <a:lnTo>
                  <a:pt x="72343" y="2181125"/>
                </a:lnTo>
                <a:cubicBezTo>
                  <a:pt x="72343" y="2206444"/>
                  <a:pt x="90428" y="2224530"/>
                  <a:pt x="115748" y="2224530"/>
                </a:cubicBezTo>
                <a:lnTo>
                  <a:pt x="325541" y="2224530"/>
                </a:lnTo>
                <a:cubicBezTo>
                  <a:pt x="350861" y="2224530"/>
                  <a:pt x="368947" y="2206444"/>
                  <a:pt x="368947" y="2181125"/>
                </a:cubicBezTo>
                <a:cubicBezTo>
                  <a:pt x="368947" y="1862818"/>
                  <a:pt x="368947" y="1613236"/>
                  <a:pt x="368947" y="1334718"/>
                </a:cubicBezTo>
                <a:cubicBezTo>
                  <a:pt x="368947" y="1309398"/>
                  <a:pt x="350861" y="1291313"/>
                  <a:pt x="325541" y="1291313"/>
                </a:cubicBezTo>
                <a:close/>
                <a:moveTo>
                  <a:pt x="1931544" y="1175565"/>
                </a:moveTo>
                <a:cubicBezTo>
                  <a:pt x="1739837" y="1193650"/>
                  <a:pt x="1587918" y="1345570"/>
                  <a:pt x="1569832" y="1537277"/>
                </a:cubicBezTo>
                <a:cubicBezTo>
                  <a:pt x="1761540" y="1519191"/>
                  <a:pt x="1913459" y="1367272"/>
                  <a:pt x="1931544" y="1175565"/>
                </a:cubicBezTo>
                <a:close/>
                <a:moveTo>
                  <a:pt x="1135778" y="929601"/>
                </a:moveTo>
                <a:cubicBezTo>
                  <a:pt x="1153863" y="1121308"/>
                  <a:pt x="1305782" y="1273227"/>
                  <a:pt x="1497490" y="1291313"/>
                </a:cubicBezTo>
                <a:cubicBezTo>
                  <a:pt x="1479404" y="1099605"/>
                  <a:pt x="1327485" y="947686"/>
                  <a:pt x="1135778" y="929601"/>
                </a:cubicBezTo>
                <a:close/>
                <a:moveTo>
                  <a:pt x="1533661" y="162770"/>
                </a:moveTo>
                <a:cubicBezTo>
                  <a:pt x="1555363" y="162770"/>
                  <a:pt x="1569832" y="177239"/>
                  <a:pt x="1569832" y="198942"/>
                </a:cubicBezTo>
                <a:lnTo>
                  <a:pt x="1569832" y="220644"/>
                </a:lnTo>
                <a:cubicBezTo>
                  <a:pt x="1620471" y="238730"/>
                  <a:pt x="1660260" y="285753"/>
                  <a:pt x="1660260" y="343626"/>
                </a:cubicBezTo>
                <a:cubicBezTo>
                  <a:pt x="1660260" y="365329"/>
                  <a:pt x="1645791" y="379798"/>
                  <a:pt x="1624089" y="379798"/>
                </a:cubicBezTo>
                <a:cubicBezTo>
                  <a:pt x="1602386" y="379798"/>
                  <a:pt x="1587917" y="365329"/>
                  <a:pt x="1587917" y="343626"/>
                </a:cubicBezTo>
                <a:cubicBezTo>
                  <a:pt x="1587917" y="314690"/>
                  <a:pt x="1562598" y="289370"/>
                  <a:pt x="1533661" y="289370"/>
                </a:cubicBezTo>
                <a:cubicBezTo>
                  <a:pt x="1504724" y="289370"/>
                  <a:pt x="1479403" y="314690"/>
                  <a:pt x="1479403" y="343626"/>
                </a:cubicBezTo>
                <a:cubicBezTo>
                  <a:pt x="1479403" y="372563"/>
                  <a:pt x="1504724" y="397883"/>
                  <a:pt x="1533661" y="397883"/>
                </a:cubicBezTo>
                <a:cubicBezTo>
                  <a:pt x="1602386" y="397883"/>
                  <a:pt x="1660260" y="452140"/>
                  <a:pt x="1660260" y="524483"/>
                </a:cubicBezTo>
                <a:cubicBezTo>
                  <a:pt x="1660260" y="582356"/>
                  <a:pt x="1624089" y="632996"/>
                  <a:pt x="1569832" y="647465"/>
                </a:cubicBezTo>
                <a:lnTo>
                  <a:pt x="1569832" y="669167"/>
                </a:lnTo>
                <a:cubicBezTo>
                  <a:pt x="1569832" y="687253"/>
                  <a:pt x="1555363" y="705339"/>
                  <a:pt x="1533661" y="705339"/>
                </a:cubicBezTo>
                <a:cubicBezTo>
                  <a:pt x="1511958" y="705339"/>
                  <a:pt x="1497489" y="690870"/>
                  <a:pt x="1497489" y="669167"/>
                </a:cubicBezTo>
                <a:lnTo>
                  <a:pt x="1497489" y="647465"/>
                </a:lnTo>
                <a:cubicBezTo>
                  <a:pt x="1446849" y="629379"/>
                  <a:pt x="1407060" y="582356"/>
                  <a:pt x="1407060" y="524483"/>
                </a:cubicBezTo>
                <a:cubicBezTo>
                  <a:pt x="1407060" y="502780"/>
                  <a:pt x="1421529" y="488311"/>
                  <a:pt x="1443232" y="488311"/>
                </a:cubicBezTo>
                <a:cubicBezTo>
                  <a:pt x="1464934" y="488311"/>
                  <a:pt x="1479403" y="502780"/>
                  <a:pt x="1479403" y="524483"/>
                </a:cubicBezTo>
                <a:cubicBezTo>
                  <a:pt x="1479403" y="553420"/>
                  <a:pt x="1504724" y="578739"/>
                  <a:pt x="1533661" y="578739"/>
                </a:cubicBezTo>
                <a:cubicBezTo>
                  <a:pt x="1562598" y="578739"/>
                  <a:pt x="1587917" y="553420"/>
                  <a:pt x="1587917" y="524483"/>
                </a:cubicBezTo>
                <a:cubicBezTo>
                  <a:pt x="1587917" y="495546"/>
                  <a:pt x="1562598" y="470226"/>
                  <a:pt x="1533661" y="470226"/>
                </a:cubicBezTo>
                <a:cubicBezTo>
                  <a:pt x="1464934" y="470226"/>
                  <a:pt x="1407060" y="415969"/>
                  <a:pt x="1407060" y="343626"/>
                </a:cubicBezTo>
                <a:cubicBezTo>
                  <a:pt x="1407060" y="285753"/>
                  <a:pt x="1443232" y="235113"/>
                  <a:pt x="1497489" y="220644"/>
                </a:cubicBezTo>
                <a:lnTo>
                  <a:pt x="1497489" y="198942"/>
                </a:lnTo>
                <a:cubicBezTo>
                  <a:pt x="1497489" y="177239"/>
                  <a:pt x="1511958" y="162770"/>
                  <a:pt x="1533661" y="162770"/>
                </a:cubicBezTo>
                <a:close/>
                <a:moveTo>
                  <a:pt x="1533661" y="72343"/>
                </a:moveTo>
                <a:cubicBezTo>
                  <a:pt x="1334719" y="72343"/>
                  <a:pt x="1171949" y="235113"/>
                  <a:pt x="1171949" y="434055"/>
                </a:cubicBezTo>
                <a:cubicBezTo>
                  <a:pt x="1171949" y="632997"/>
                  <a:pt x="1334719" y="795767"/>
                  <a:pt x="1533661" y="795767"/>
                </a:cubicBezTo>
                <a:cubicBezTo>
                  <a:pt x="1732603" y="795767"/>
                  <a:pt x="1895373" y="632997"/>
                  <a:pt x="1895373" y="434055"/>
                </a:cubicBezTo>
                <a:cubicBezTo>
                  <a:pt x="1895373" y="235113"/>
                  <a:pt x="1732603" y="72343"/>
                  <a:pt x="1533661" y="72343"/>
                </a:cubicBezTo>
                <a:close/>
                <a:moveTo>
                  <a:pt x="1533661" y="0"/>
                </a:moveTo>
                <a:cubicBezTo>
                  <a:pt x="1772391" y="0"/>
                  <a:pt x="1967715" y="195325"/>
                  <a:pt x="1967715" y="434055"/>
                </a:cubicBezTo>
                <a:cubicBezTo>
                  <a:pt x="1967715" y="658317"/>
                  <a:pt x="1790476" y="846407"/>
                  <a:pt x="1569832" y="864492"/>
                </a:cubicBezTo>
                <a:lnTo>
                  <a:pt x="1569832" y="1323867"/>
                </a:lnTo>
                <a:cubicBezTo>
                  <a:pt x="1653026" y="1190033"/>
                  <a:pt x="1801328" y="1099605"/>
                  <a:pt x="1971333" y="1099605"/>
                </a:cubicBezTo>
                <a:cubicBezTo>
                  <a:pt x="1993035" y="1099605"/>
                  <a:pt x="2007504" y="1114074"/>
                  <a:pt x="2007504" y="1135777"/>
                </a:cubicBezTo>
                <a:cubicBezTo>
                  <a:pt x="2007504" y="1385358"/>
                  <a:pt x="1812179" y="1587917"/>
                  <a:pt x="1569832" y="1606002"/>
                </a:cubicBezTo>
                <a:lnTo>
                  <a:pt x="1569832" y="1721750"/>
                </a:lnTo>
                <a:lnTo>
                  <a:pt x="2068995" y="1558980"/>
                </a:lnTo>
                <a:cubicBezTo>
                  <a:pt x="2134103" y="1533660"/>
                  <a:pt x="2217297" y="1551746"/>
                  <a:pt x="2267937" y="1606002"/>
                </a:cubicBezTo>
                <a:cubicBezTo>
                  <a:pt x="2347513" y="1696430"/>
                  <a:pt x="2322193" y="1837498"/>
                  <a:pt x="2210063" y="1891755"/>
                </a:cubicBezTo>
                <a:lnTo>
                  <a:pt x="1302165" y="2351129"/>
                </a:lnTo>
                <a:cubicBezTo>
                  <a:pt x="1255143" y="2376449"/>
                  <a:pt x="1200886" y="2387301"/>
                  <a:pt x="1150246" y="2387301"/>
                </a:cubicBezTo>
                <a:cubicBezTo>
                  <a:pt x="1095989" y="2387301"/>
                  <a:pt x="1041732" y="2372832"/>
                  <a:pt x="991093" y="2347512"/>
                </a:cubicBezTo>
                <a:lnTo>
                  <a:pt x="470226" y="2068994"/>
                </a:lnTo>
                <a:lnTo>
                  <a:pt x="441289" y="2079845"/>
                </a:lnTo>
                <a:lnTo>
                  <a:pt x="441289" y="2184742"/>
                </a:lnTo>
                <a:cubicBezTo>
                  <a:pt x="441289" y="2249850"/>
                  <a:pt x="390650" y="2300490"/>
                  <a:pt x="325541" y="2300490"/>
                </a:cubicBezTo>
                <a:lnTo>
                  <a:pt x="115748" y="2300490"/>
                </a:lnTo>
                <a:cubicBezTo>
                  <a:pt x="50640" y="2300490"/>
                  <a:pt x="0" y="2249850"/>
                  <a:pt x="0" y="2184742"/>
                </a:cubicBezTo>
                <a:lnTo>
                  <a:pt x="0" y="1338335"/>
                </a:lnTo>
                <a:cubicBezTo>
                  <a:pt x="0" y="1273227"/>
                  <a:pt x="50640" y="1222587"/>
                  <a:pt x="115748" y="1222587"/>
                </a:cubicBezTo>
                <a:lnTo>
                  <a:pt x="325541" y="1222587"/>
                </a:lnTo>
                <a:cubicBezTo>
                  <a:pt x="387032" y="1222587"/>
                  <a:pt x="437672" y="1269610"/>
                  <a:pt x="441289" y="1331101"/>
                </a:cubicBezTo>
                <a:lnTo>
                  <a:pt x="596825" y="1302164"/>
                </a:lnTo>
                <a:cubicBezTo>
                  <a:pt x="683636" y="1284079"/>
                  <a:pt x="766830" y="1294930"/>
                  <a:pt x="846408" y="1331101"/>
                </a:cubicBezTo>
                <a:cubicBezTo>
                  <a:pt x="850025" y="1331101"/>
                  <a:pt x="850025" y="1334718"/>
                  <a:pt x="853642" y="1334718"/>
                </a:cubicBezTo>
                <a:lnTo>
                  <a:pt x="1153863" y="1548128"/>
                </a:lnTo>
                <a:lnTo>
                  <a:pt x="1370890" y="1548128"/>
                </a:lnTo>
                <a:cubicBezTo>
                  <a:pt x="1407062" y="1548128"/>
                  <a:pt x="1446850" y="1562597"/>
                  <a:pt x="1475787" y="1587917"/>
                </a:cubicBezTo>
                <a:cubicBezTo>
                  <a:pt x="1483021" y="1595151"/>
                  <a:pt x="1490255" y="1602385"/>
                  <a:pt x="1497490" y="1613236"/>
                </a:cubicBezTo>
                <a:lnTo>
                  <a:pt x="1497490" y="1573448"/>
                </a:lnTo>
                <a:lnTo>
                  <a:pt x="1497490" y="1360038"/>
                </a:lnTo>
                <a:cubicBezTo>
                  <a:pt x="1251525" y="1341952"/>
                  <a:pt x="1059818" y="1139394"/>
                  <a:pt x="1059818" y="889812"/>
                </a:cubicBezTo>
                <a:cubicBezTo>
                  <a:pt x="1059818" y="868110"/>
                  <a:pt x="1074286" y="853641"/>
                  <a:pt x="1095989" y="853641"/>
                </a:cubicBezTo>
                <a:cubicBezTo>
                  <a:pt x="1265994" y="853641"/>
                  <a:pt x="1414296" y="944069"/>
                  <a:pt x="1497490" y="1077903"/>
                </a:cubicBezTo>
                <a:lnTo>
                  <a:pt x="1497490" y="864492"/>
                </a:lnTo>
                <a:cubicBezTo>
                  <a:pt x="1276845" y="846407"/>
                  <a:pt x="1099606" y="661934"/>
                  <a:pt x="1099606" y="434055"/>
                </a:cubicBezTo>
                <a:cubicBezTo>
                  <a:pt x="1099606" y="195325"/>
                  <a:pt x="1294931" y="0"/>
                  <a:pt x="1533661" y="0"/>
                </a:cubicBezTo>
                <a:close/>
              </a:path>
            </a:pathLst>
          </a:custGeom>
          <a:solidFill>
            <a:schemeClr val="bg1"/>
          </a:solidFill>
          <a:ln w="43755" cap="flat">
            <a:noFill/>
            <a:prstDash val="solid"/>
            <a:miter/>
          </a:ln>
        </p:spPr>
        <p:txBody>
          <a:bodyPr rtlCol="0" anchor="ctr"/>
          <a:lstStyle/>
          <a:p>
            <a:pPr defTabSz="685758"/>
            <a:endParaRPr lang="en-US" sz="1350">
              <a:solidFill>
                <a:srgbClr val="1A1A1A"/>
              </a:solidFill>
              <a:latin typeface="Segoe UI"/>
            </a:endParaRPr>
          </a:p>
        </p:txBody>
      </p:sp>
      <p:sp>
        <p:nvSpPr>
          <p:cNvPr id="1004" name="Freeform: Shape 3">
            <a:extLst>
              <a:ext uri="{FF2B5EF4-FFF2-40B4-BE49-F238E27FC236}">
                <a16:creationId xmlns:a16="http://schemas.microsoft.com/office/drawing/2014/main" id="{07E837FE-900E-49EE-900D-9DC020D2BEBE}"/>
              </a:ext>
            </a:extLst>
          </p:cNvPr>
          <p:cNvSpPr>
            <a:spLocks noChangeAspect="1"/>
          </p:cNvSpPr>
          <p:nvPr/>
        </p:nvSpPr>
        <p:spPr>
          <a:xfrm flipH="1">
            <a:off x="6075919" y="1522729"/>
            <a:ext cx="235769" cy="243212"/>
          </a:xfrm>
          <a:custGeom>
            <a:avLst/>
            <a:gdLst>
              <a:gd name="connsiteX0" fmla="*/ 659165 w 2314251"/>
              <a:gd name="connsiteY0" fmla="*/ 1364616 h 2387301"/>
              <a:gd name="connsiteX1" fmla="*/ 607677 w 2314251"/>
              <a:gd name="connsiteY1" fmla="*/ 1370889 h 2387301"/>
              <a:gd name="connsiteX2" fmla="*/ 441289 w 2314251"/>
              <a:gd name="connsiteY2" fmla="*/ 1403443 h 2387301"/>
              <a:gd name="connsiteX3" fmla="*/ 441289 w 2314251"/>
              <a:gd name="connsiteY3" fmla="*/ 1996651 h 2387301"/>
              <a:gd name="connsiteX4" fmla="*/ 462992 w 2314251"/>
              <a:gd name="connsiteY4" fmla="*/ 1989417 h 2387301"/>
              <a:gd name="connsiteX5" fmla="*/ 473843 w 2314251"/>
              <a:gd name="connsiteY5" fmla="*/ 1989417 h 2387301"/>
              <a:gd name="connsiteX6" fmla="*/ 491929 w 2314251"/>
              <a:gd name="connsiteY6" fmla="*/ 1993034 h 2387301"/>
              <a:gd name="connsiteX7" fmla="*/ 1027264 w 2314251"/>
              <a:gd name="connsiteY7" fmla="*/ 2282404 h 2387301"/>
              <a:gd name="connsiteX8" fmla="*/ 1273228 w 2314251"/>
              <a:gd name="connsiteY8" fmla="*/ 2286021 h 2387301"/>
              <a:gd name="connsiteX9" fmla="*/ 2181126 w 2314251"/>
              <a:gd name="connsiteY9" fmla="*/ 1830264 h 2387301"/>
              <a:gd name="connsiteX10" fmla="*/ 2213680 w 2314251"/>
              <a:gd name="connsiteY10" fmla="*/ 1656642 h 2387301"/>
              <a:gd name="connsiteX11" fmla="*/ 2090698 w 2314251"/>
              <a:gd name="connsiteY11" fmla="*/ 1627705 h 2387301"/>
              <a:gd name="connsiteX12" fmla="*/ 1454084 w 2314251"/>
              <a:gd name="connsiteY12" fmla="*/ 1833881 h 2387301"/>
              <a:gd name="connsiteX13" fmla="*/ 1367273 w 2314251"/>
              <a:gd name="connsiteY13" fmla="*/ 1859201 h 2387301"/>
              <a:gd name="connsiteX14" fmla="*/ 777682 w 2314251"/>
              <a:gd name="connsiteY14" fmla="*/ 1859201 h 2387301"/>
              <a:gd name="connsiteX15" fmla="*/ 741510 w 2314251"/>
              <a:gd name="connsiteY15" fmla="*/ 1823030 h 2387301"/>
              <a:gd name="connsiteX16" fmla="*/ 777682 w 2314251"/>
              <a:gd name="connsiteY16" fmla="*/ 1786858 h 2387301"/>
              <a:gd name="connsiteX17" fmla="*/ 1370890 w 2314251"/>
              <a:gd name="connsiteY17" fmla="*/ 1786858 h 2387301"/>
              <a:gd name="connsiteX18" fmla="*/ 1421530 w 2314251"/>
              <a:gd name="connsiteY18" fmla="*/ 1772390 h 2387301"/>
              <a:gd name="connsiteX19" fmla="*/ 1454084 w 2314251"/>
              <a:gd name="connsiteY19" fmla="*/ 1696430 h 2387301"/>
              <a:gd name="connsiteX20" fmla="*/ 1425147 w 2314251"/>
              <a:gd name="connsiteY20" fmla="*/ 1642174 h 2387301"/>
              <a:gd name="connsiteX21" fmla="*/ 1367273 w 2314251"/>
              <a:gd name="connsiteY21" fmla="*/ 1620471 h 2387301"/>
              <a:gd name="connsiteX22" fmla="*/ 1139395 w 2314251"/>
              <a:gd name="connsiteY22" fmla="*/ 1620471 h 2387301"/>
              <a:gd name="connsiteX23" fmla="*/ 1117692 w 2314251"/>
              <a:gd name="connsiteY23" fmla="*/ 1613236 h 2387301"/>
              <a:gd name="connsiteX24" fmla="*/ 810237 w 2314251"/>
              <a:gd name="connsiteY24" fmla="*/ 1392592 h 2387301"/>
              <a:gd name="connsiteX25" fmla="*/ 659165 w 2314251"/>
              <a:gd name="connsiteY25" fmla="*/ 1364616 h 2387301"/>
              <a:gd name="connsiteX26" fmla="*/ 115748 w 2314251"/>
              <a:gd name="connsiteY26" fmla="*/ 1291313 h 2387301"/>
              <a:gd name="connsiteX27" fmla="*/ 72343 w 2314251"/>
              <a:gd name="connsiteY27" fmla="*/ 1334718 h 2387301"/>
              <a:gd name="connsiteX28" fmla="*/ 72343 w 2314251"/>
              <a:gd name="connsiteY28" fmla="*/ 2181125 h 2387301"/>
              <a:gd name="connsiteX29" fmla="*/ 115748 w 2314251"/>
              <a:gd name="connsiteY29" fmla="*/ 2224530 h 2387301"/>
              <a:gd name="connsiteX30" fmla="*/ 325541 w 2314251"/>
              <a:gd name="connsiteY30" fmla="*/ 2224530 h 2387301"/>
              <a:gd name="connsiteX31" fmla="*/ 368947 w 2314251"/>
              <a:gd name="connsiteY31" fmla="*/ 2181125 h 2387301"/>
              <a:gd name="connsiteX32" fmla="*/ 368947 w 2314251"/>
              <a:gd name="connsiteY32" fmla="*/ 1334718 h 2387301"/>
              <a:gd name="connsiteX33" fmla="*/ 325541 w 2314251"/>
              <a:gd name="connsiteY33" fmla="*/ 1291313 h 2387301"/>
              <a:gd name="connsiteX34" fmla="*/ 1931544 w 2314251"/>
              <a:gd name="connsiteY34" fmla="*/ 1175565 h 2387301"/>
              <a:gd name="connsiteX35" fmla="*/ 1569832 w 2314251"/>
              <a:gd name="connsiteY35" fmla="*/ 1537277 h 2387301"/>
              <a:gd name="connsiteX36" fmla="*/ 1931544 w 2314251"/>
              <a:gd name="connsiteY36" fmla="*/ 1175565 h 2387301"/>
              <a:gd name="connsiteX37" fmla="*/ 1135778 w 2314251"/>
              <a:gd name="connsiteY37" fmla="*/ 929601 h 2387301"/>
              <a:gd name="connsiteX38" fmla="*/ 1497490 w 2314251"/>
              <a:gd name="connsiteY38" fmla="*/ 1291313 h 2387301"/>
              <a:gd name="connsiteX39" fmla="*/ 1135778 w 2314251"/>
              <a:gd name="connsiteY39" fmla="*/ 929601 h 2387301"/>
              <a:gd name="connsiteX40" fmla="*/ 1533661 w 2314251"/>
              <a:gd name="connsiteY40" fmla="*/ 162770 h 2387301"/>
              <a:gd name="connsiteX41" fmla="*/ 1569832 w 2314251"/>
              <a:gd name="connsiteY41" fmla="*/ 198942 h 2387301"/>
              <a:gd name="connsiteX42" fmla="*/ 1569832 w 2314251"/>
              <a:gd name="connsiteY42" fmla="*/ 220644 h 2387301"/>
              <a:gd name="connsiteX43" fmla="*/ 1660260 w 2314251"/>
              <a:gd name="connsiteY43" fmla="*/ 343626 h 2387301"/>
              <a:gd name="connsiteX44" fmla="*/ 1624089 w 2314251"/>
              <a:gd name="connsiteY44" fmla="*/ 379798 h 2387301"/>
              <a:gd name="connsiteX45" fmla="*/ 1587917 w 2314251"/>
              <a:gd name="connsiteY45" fmla="*/ 343626 h 2387301"/>
              <a:gd name="connsiteX46" fmla="*/ 1533661 w 2314251"/>
              <a:gd name="connsiteY46" fmla="*/ 289370 h 2387301"/>
              <a:gd name="connsiteX47" fmla="*/ 1479403 w 2314251"/>
              <a:gd name="connsiteY47" fmla="*/ 343626 h 2387301"/>
              <a:gd name="connsiteX48" fmla="*/ 1533661 w 2314251"/>
              <a:gd name="connsiteY48" fmla="*/ 397883 h 2387301"/>
              <a:gd name="connsiteX49" fmla="*/ 1660260 w 2314251"/>
              <a:gd name="connsiteY49" fmla="*/ 524483 h 2387301"/>
              <a:gd name="connsiteX50" fmla="*/ 1569832 w 2314251"/>
              <a:gd name="connsiteY50" fmla="*/ 647465 h 2387301"/>
              <a:gd name="connsiteX51" fmla="*/ 1569832 w 2314251"/>
              <a:gd name="connsiteY51" fmla="*/ 669167 h 2387301"/>
              <a:gd name="connsiteX52" fmla="*/ 1533661 w 2314251"/>
              <a:gd name="connsiteY52" fmla="*/ 705339 h 2387301"/>
              <a:gd name="connsiteX53" fmla="*/ 1497489 w 2314251"/>
              <a:gd name="connsiteY53" fmla="*/ 669167 h 2387301"/>
              <a:gd name="connsiteX54" fmla="*/ 1497489 w 2314251"/>
              <a:gd name="connsiteY54" fmla="*/ 647465 h 2387301"/>
              <a:gd name="connsiteX55" fmla="*/ 1407060 w 2314251"/>
              <a:gd name="connsiteY55" fmla="*/ 524483 h 2387301"/>
              <a:gd name="connsiteX56" fmla="*/ 1443232 w 2314251"/>
              <a:gd name="connsiteY56" fmla="*/ 488311 h 2387301"/>
              <a:gd name="connsiteX57" fmla="*/ 1479403 w 2314251"/>
              <a:gd name="connsiteY57" fmla="*/ 524483 h 2387301"/>
              <a:gd name="connsiteX58" fmla="*/ 1533661 w 2314251"/>
              <a:gd name="connsiteY58" fmla="*/ 578739 h 2387301"/>
              <a:gd name="connsiteX59" fmla="*/ 1587917 w 2314251"/>
              <a:gd name="connsiteY59" fmla="*/ 524483 h 2387301"/>
              <a:gd name="connsiteX60" fmla="*/ 1533661 w 2314251"/>
              <a:gd name="connsiteY60" fmla="*/ 470226 h 2387301"/>
              <a:gd name="connsiteX61" fmla="*/ 1407060 w 2314251"/>
              <a:gd name="connsiteY61" fmla="*/ 343626 h 2387301"/>
              <a:gd name="connsiteX62" fmla="*/ 1497489 w 2314251"/>
              <a:gd name="connsiteY62" fmla="*/ 220644 h 2387301"/>
              <a:gd name="connsiteX63" fmla="*/ 1497489 w 2314251"/>
              <a:gd name="connsiteY63" fmla="*/ 198942 h 2387301"/>
              <a:gd name="connsiteX64" fmla="*/ 1533661 w 2314251"/>
              <a:gd name="connsiteY64" fmla="*/ 162770 h 2387301"/>
              <a:gd name="connsiteX65" fmla="*/ 1533661 w 2314251"/>
              <a:gd name="connsiteY65" fmla="*/ 72343 h 2387301"/>
              <a:gd name="connsiteX66" fmla="*/ 1171949 w 2314251"/>
              <a:gd name="connsiteY66" fmla="*/ 434055 h 2387301"/>
              <a:gd name="connsiteX67" fmla="*/ 1533661 w 2314251"/>
              <a:gd name="connsiteY67" fmla="*/ 795767 h 2387301"/>
              <a:gd name="connsiteX68" fmla="*/ 1895373 w 2314251"/>
              <a:gd name="connsiteY68" fmla="*/ 434055 h 2387301"/>
              <a:gd name="connsiteX69" fmla="*/ 1533661 w 2314251"/>
              <a:gd name="connsiteY69" fmla="*/ 72343 h 2387301"/>
              <a:gd name="connsiteX70" fmla="*/ 1533661 w 2314251"/>
              <a:gd name="connsiteY70" fmla="*/ 0 h 2387301"/>
              <a:gd name="connsiteX71" fmla="*/ 1967715 w 2314251"/>
              <a:gd name="connsiteY71" fmla="*/ 434055 h 2387301"/>
              <a:gd name="connsiteX72" fmla="*/ 1569832 w 2314251"/>
              <a:gd name="connsiteY72" fmla="*/ 864492 h 2387301"/>
              <a:gd name="connsiteX73" fmla="*/ 1569832 w 2314251"/>
              <a:gd name="connsiteY73" fmla="*/ 1323867 h 2387301"/>
              <a:gd name="connsiteX74" fmla="*/ 1971333 w 2314251"/>
              <a:gd name="connsiteY74" fmla="*/ 1099605 h 2387301"/>
              <a:gd name="connsiteX75" fmla="*/ 2007504 w 2314251"/>
              <a:gd name="connsiteY75" fmla="*/ 1135777 h 2387301"/>
              <a:gd name="connsiteX76" fmla="*/ 1569832 w 2314251"/>
              <a:gd name="connsiteY76" fmla="*/ 1606002 h 2387301"/>
              <a:gd name="connsiteX77" fmla="*/ 1569832 w 2314251"/>
              <a:gd name="connsiteY77" fmla="*/ 1721750 h 2387301"/>
              <a:gd name="connsiteX78" fmla="*/ 2068995 w 2314251"/>
              <a:gd name="connsiteY78" fmla="*/ 1558980 h 2387301"/>
              <a:gd name="connsiteX79" fmla="*/ 2267937 w 2314251"/>
              <a:gd name="connsiteY79" fmla="*/ 1606002 h 2387301"/>
              <a:gd name="connsiteX80" fmla="*/ 2210063 w 2314251"/>
              <a:gd name="connsiteY80" fmla="*/ 1891755 h 2387301"/>
              <a:gd name="connsiteX81" fmla="*/ 1302165 w 2314251"/>
              <a:gd name="connsiteY81" fmla="*/ 2351129 h 2387301"/>
              <a:gd name="connsiteX82" fmla="*/ 1150246 w 2314251"/>
              <a:gd name="connsiteY82" fmla="*/ 2387301 h 2387301"/>
              <a:gd name="connsiteX83" fmla="*/ 991093 w 2314251"/>
              <a:gd name="connsiteY83" fmla="*/ 2347512 h 2387301"/>
              <a:gd name="connsiteX84" fmla="*/ 470226 w 2314251"/>
              <a:gd name="connsiteY84" fmla="*/ 2068994 h 2387301"/>
              <a:gd name="connsiteX85" fmla="*/ 441289 w 2314251"/>
              <a:gd name="connsiteY85" fmla="*/ 2079845 h 2387301"/>
              <a:gd name="connsiteX86" fmla="*/ 441289 w 2314251"/>
              <a:gd name="connsiteY86" fmla="*/ 2184742 h 2387301"/>
              <a:gd name="connsiteX87" fmla="*/ 325541 w 2314251"/>
              <a:gd name="connsiteY87" fmla="*/ 2300490 h 2387301"/>
              <a:gd name="connsiteX88" fmla="*/ 115748 w 2314251"/>
              <a:gd name="connsiteY88" fmla="*/ 2300490 h 2387301"/>
              <a:gd name="connsiteX89" fmla="*/ 0 w 2314251"/>
              <a:gd name="connsiteY89" fmla="*/ 2184742 h 2387301"/>
              <a:gd name="connsiteX90" fmla="*/ 0 w 2314251"/>
              <a:gd name="connsiteY90" fmla="*/ 1338335 h 2387301"/>
              <a:gd name="connsiteX91" fmla="*/ 115748 w 2314251"/>
              <a:gd name="connsiteY91" fmla="*/ 1222587 h 2387301"/>
              <a:gd name="connsiteX92" fmla="*/ 325541 w 2314251"/>
              <a:gd name="connsiteY92" fmla="*/ 1222587 h 2387301"/>
              <a:gd name="connsiteX93" fmla="*/ 441289 w 2314251"/>
              <a:gd name="connsiteY93" fmla="*/ 1331101 h 2387301"/>
              <a:gd name="connsiteX94" fmla="*/ 596825 w 2314251"/>
              <a:gd name="connsiteY94" fmla="*/ 1302164 h 2387301"/>
              <a:gd name="connsiteX95" fmla="*/ 846408 w 2314251"/>
              <a:gd name="connsiteY95" fmla="*/ 1331101 h 2387301"/>
              <a:gd name="connsiteX96" fmla="*/ 853642 w 2314251"/>
              <a:gd name="connsiteY96" fmla="*/ 1334718 h 2387301"/>
              <a:gd name="connsiteX97" fmla="*/ 1153863 w 2314251"/>
              <a:gd name="connsiteY97" fmla="*/ 1548128 h 2387301"/>
              <a:gd name="connsiteX98" fmla="*/ 1370890 w 2314251"/>
              <a:gd name="connsiteY98" fmla="*/ 1548128 h 2387301"/>
              <a:gd name="connsiteX99" fmla="*/ 1475787 w 2314251"/>
              <a:gd name="connsiteY99" fmla="*/ 1587917 h 2387301"/>
              <a:gd name="connsiteX100" fmla="*/ 1497490 w 2314251"/>
              <a:gd name="connsiteY100" fmla="*/ 1613236 h 2387301"/>
              <a:gd name="connsiteX101" fmla="*/ 1497490 w 2314251"/>
              <a:gd name="connsiteY101" fmla="*/ 1573448 h 2387301"/>
              <a:gd name="connsiteX102" fmla="*/ 1497490 w 2314251"/>
              <a:gd name="connsiteY102" fmla="*/ 1360038 h 2387301"/>
              <a:gd name="connsiteX103" fmla="*/ 1059818 w 2314251"/>
              <a:gd name="connsiteY103" fmla="*/ 889812 h 2387301"/>
              <a:gd name="connsiteX104" fmla="*/ 1095989 w 2314251"/>
              <a:gd name="connsiteY104" fmla="*/ 853641 h 2387301"/>
              <a:gd name="connsiteX105" fmla="*/ 1497490 w 2314251"/>
              <a:gd name="connsiteY105" fmla="*/ 1077903 h 2387301"/>
              <a:gd name="connsiteX106" fmla="*/ 1497490 w 2314251"/>
              <a:gd name="connsiteY106" fmla="*/ 864492 h 2387301"/>
              <a:gd name="connsiteX107" fmla="*/ 1099606 w 2314251"/>
              <a:gd name="connsiteY107" fmla="*/ 434055 h 2387301"/>
              <a:gd name="connsiteX108" fmla="*/ 1533661 w 2314251"/>
              <a:gd name="connsiteY108" fmla="*/ 0 h 238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2314251" h="2387301">
                <a:moveTo>
                  <a:pt x="659165" y="1364616"/>
                </a:moveTo>
                <a:cubicBezTo>
                  <a:pt x="642040" y="1365238"/>
                  <a:pt x="624859" y="1367272"/>
                  <a:pt x="607677" y="1370889"/>
                </a:cubicBezTo>
                <a:lnTo>
                  <a:pt x="441289" y="1403443"/>
                </a:lnTo>
                <a:lnTo>
                  <a:pt x="441289" y="1996651"/>
                </a:lnTo>
                <a:lnTo>
                  <a:pt x="462992" y="1989417"/>
                </a:lnTo>
                <a:cubicBezTo>
                  <a:pt x="466609" y="1989417"/>
                  <a:pt x="470226" y="1989417"/>
                  <a:pt x="473843" y="1989417"/>
                </a:cubicBezTo>
                <a:cubicBezTo>
                  <a:pt x="481078" y="1989417"/>
                  <a:pt x="488312" y="1989417"/>
                  <a:pt x="491929" y="1993034"/>
                </a:cubicBezTo>
                <a:lnTo>
                  <a:pt x="1027264" y="2282404"/>
                </a:lnTo>
                <a:cubicBezTo>
                  <a:pt x="1106841" y="2322192"/>
                  <a:pt x="1197269" y="2325810"/>
                  <a:pt x="1273228" y="2286021"/>
                </a:cubicBezTo>
                <a:lnTo>
                  <a:pt x="2181126" y="1830264"/>
                </a:lnTo>
                <a:cubicBezTo>
                  <a:pt x="2246234" y="1794093"/>
                  <a:pt x="2264319" y="1710899"/>
                  <a:pt x="2213680" y="1656642"/>
                </a:cubicBezTo>
                <a:cubicBezTo>
                  <a:pt x="2184743" y="1624088"/>
                  <a:pt x="2137720" y="1609619"/>
                  <a:pt x="2090698" y="1627705"/>
                </a:cubicBezTo>
                <a:lnTo>
                  <a:pt x="1454084" y="1833881"/>
                </a:lnTo>
                <a:cubicBezTo>
                  <a:pt x="1428764" y="1848349"/>
                  <a:pt x="1399827" y="1859201"/>
                  <a:pt x="1367273" y="1859201"/>
                </a:cubicBezTo>
                <a:lnTo>
                  <a:pt x="777682" y="1859201"/>
                </a:lnTo>
                <a:cubicBezTo>
                  <a:pt x="755979" y="1859201"/>
                  <a:pt x="741510" y="1844732"/>
                  <a:pt x="741510" y="1823030"/>
                </a:cubicBezTo>
                <a:cubicBezTo>
                  <a:pt x="741510" y="1801327"/>
                  <a:pt x="755979" y="1786858"/>
                  <a:pt x="777682" y="1786858"/>
                </a:cubicBezTo>
                <a:lnTo>
                  <a:pt x="1370890" y="1786858"/>
                </a:lnTo>
                <a:cubicBezTo>
                  <a:pt x="1388976" y="1786858"/>
                  <a:pt x="1407062" y="1783241"/>
                  <a:pt x="1421530" y="1772390"/>
                </a:cubicBezTo>
                <a:cubicBezTo>
                  <a:pt x="1443233" y="1754304"/>
                  <a:pt x="1457701" y="1725367"/>
                  <a:pt x="1454084" y="1696430"/>
                </a:cubicBezTo>
                <a:cubicBezTo>
                  <a:pt x="1450467" y="1678345"/>
                  <a:pt x="1439616" y="1656642"/>
                  <a:pt x="1425147" y="1642174"/>
                </a:cubicBezTo>
                <a:cubicBezTo>
                  <a:pt x="1410679" y="1627705"/>
                  <a:pt x="1388976" y="1620471"/>
                  <a:pt x="1367273" y="1620471"/>
                </a:cubicBezTo>
                <a:lnTo>
                  <a:pt x="1139395" y="1620471"/>
                </a:lnTo>
                <a:cubicBezTo>
                  <a:pt x="1132160" y="1620471"/>
                  <a:pt x="1124926" y="1616854"/>
                  <a:pt x="1117692" y="1613236"/>
                </a:cubicBezTo>
                <a:lnTo>
                  <a:pt x="810237" y="1392592"/>
                </a:lnTo>
                <a:cubicBezTo>
                  <a:pt x="761405" y="1373602"/>
                  <a:pt x="710539" y="1362751"/>
                  <a:pt x="659165" y="1364616"/>
                </a:cubicBezTo>
                <a:close/>
                <a:moveTo>
                  <a:pt x="115748" y="1291313"/>
                </a:moveTo>
                <a:cubicBezTo>
                  <a:pt x="90428" y="1291313"/>
                  <a:pt x="72343" y="1309398"/>
                  <a:pt x="72343" y="1334718"/>
                </a:cubicBezTo>
                <a:lnTo>
                  <a:pt x="72343" y="2181125"/>
                </a:lnTo>
                <a:cubicBezTo>
                  <a:pt x="72343" y="2206444"/>
                  <a:pt x="90428" y="2224530"/>
                  <a:pt x="115748" y="2224530"/>
                </a:cubicBezTo>
                <a:lnTo>
                  <a:pt x="325541" y="2224530"/>
                </a:lnTo>
                <a:cubicBezTo>
                  <a:pt x="350861" y="2224530"/>
                  <a:pt x="368947" y="2206444"/>
                  <a:pt x="368947" y="2181125"/>
                </a:cubicBezTo>
                <a:cubicBezTo>
                  <a:pt x="368947" y="1862818"/>
                  <a:pt x="368947" y="1613236"/>
                  <a:pt x="368947" y="1334718"/>
                </a:cubicBezTo>
                <a:cubicBezTo>
                  <a:pt x="368947" y="1309398"/>
                  <a:pt x="350861" y="1291313"/>
                  <a:pt x="325541" y="1291313"/>
                </a:cubicBezTo>
                <a:close/>
                <a:moveTo>
                  <a:pt x="1931544" y="1175565"/>
                </a:moveTo>
                <a:cubicBezTo>
                  <a:pt x="1739837" y="1193650"/>
                  <a:pt x="1587918" y="1345570"/>
                  <a:pt x="1569832" y="1537277"/>
                </a:cubicBezTo>
                <a:cubicBezTo>
                  <a:pt x="1761540" y="1519191"/>
                  <a:pt x="1913459" y="1367272"/>
                  <a:pt x="1931544" y="1175565"/>
                </a:cubicBezTo>
                <a:close/>
                <a:moveTo>
                  <a:pt x="1135778" y="929601"/>
                </a:moveTo>
                <a:cubicBezTo>
                  <a:pt x="1153863" y="1121308"/>
                  <a:pt x="1305782" y="1273227"/>
                  <a:pt x="1497490" y="1291313"/>
                </a:cubicBezTo>
                <a:cubicBezTo>
                  <a:pt x="1479404" y="1099605"/>
                  <a:pt x="1327485" y="947686"/>
                  <a:pt x="1135778" y="929601"/>
                </a:cubicBezTo>
                <a:close/>
                <a:moveTo>
                  <a:pt x="1533661" y="162770"/>
                </a:moveTo>
                <a:cubicBezTo>
                  <a:pt x="1555363" y="162770"/>
                  <a:pt x="1569832" y="177239"/>
                  <a:pt x="1569832" y="198942"/>
                </a:cubicBezTo>
                <a:lnTo>
                  <a:pt x="1569832" y="220644"/>
                </a:lnTo>
                <a:cubicBezTo>
                  <a:pt x="1620471" y="238730"/>
                  <a:pt x="1660260" y="285753"/>
                  <a:pt x="1660260" y="343626"/>
                </a:cubicBezTo>
                <a:cubicBezTo>
                  <a:pt x="1660260" y="365329"/>
                  <a:pt x="1645791" y="379798"/>
                  <a:pt x="1624089" y="379798"/>
                </a:cubicBezTo>
                <a:cubicBezTo>
                  <a:pt x="1602386" y="379798"/>
                  <a:pt x="1587917" y="365329"/>
                  <a:pt x="1587917" y="343626"/>
                </a:cubicBezTo>
                <a:cubicBezTo>
                  <a:pt x="1587917" y="314690"/>
                  <a:pt x="1562598" y="289370"/>
                  <a:pt x="1533661" y="289370"/>
                </a:cubicBezTo>
                <a:cubicBezTo>
                  <a:pt x="1504724" y="289370"/>
                  <a:pt x="1479403" y="314690"/>
                  <a:pt x="1479403" y="343626"/>
                </a:cubicBezTo>
                <a:cubicBezTo>
                  <a:pt x="1479403" y="372563"/>
                  <a:pt x="1504724" y="397883"/>
                  <a:pt x="1533661" y="397883"/>
                </a:cubicBezTo>
                <a:cubicBezTo>
                  <a:pt x="1602386" y="397883"/>
                  <a:pt x="1660260" y="452140"/>
                  <a:pt x="1660260" y="524483"/>
                </a:cubicBezTo>
                <a:cubicBezTo>
                  <a:pt x="1660260" y="582356"/>
                  <a:pt x="1624089" y="632996"/>
                  <a:pt x="1569832" y="647465"/>
                </a:cubicBezTo>
                <a:lnTo>
                  <a:pt x="1569832" y="669167"/>
                </a:lnTo>
                <a:cubicBezTo>
                  <a:pt x="1569832" y="687253"/>
                  <a:pt x="1555363" y="705339"/>
                  <a:pt x="1533661" y="705339"/>
                </a:cubicBezTo>
                <a:cubicBezTo>
                  <a:pt x="1511958" y="705339"/>
                  <a:pt x="1497489" y="690870"/>
                  <a:pt x="1497489" y="669167"/>
                </a:cubicBezTo>
                <a:lnTo>
                  <a:pt x="1497489" y="647465"/>
                </a:lnTo>
                <a:cubicBezTo>
                  <a:pt x="1446849" y="629379"/>
                  <a:pt x="1407060" y="582356"/>
                  <a:pt x="1407060" y="524483"/>
                </a:cubicBezTo>
                <a:cubicBezTo>
                  <a:pt x="1407060" y="502780"/>
                  <a:pt x="1421529" y="488311"/>
                  <a:pt x="1443232" y="488311"/>
                </a:cubicBezTo>
                <a:cubicBezTo>
                  <a:pt x="1464934" y="488311"/>
                  <a:pt x="1479403" y="502780"/>
                  <a:pt x="1479403" y="524483"/>
                </a:cubicBezTo>
                <a:cubicBezTo>
                  <a:pt x="1479403" y="553420"/>
                  <a:pt x="1504724" y="578739"/>
                  <a:pt x="1533661" y="578739"/>
                </a:cubicBezTo>
                <a:cubicBezTo>
                  <a:pt x="1562598" y="578739"/>
                  <a:pt x="1587917" y="553420"/>
                  <a:pt x="1587917" y="524483"/>
                </a:cubicBezTo>
                <a:cubicBezTo>
                  <a:pt x="1587917" y="495546"/>
                  <a:pt x="1562598" y="470226"/>
                  <a:pt x="1533661" y="470226"/>
                </a:cubicBezTo>
                <a:cubicBezTo>
                  <a:pt x="1464934" y="470226"/>
                  <a:pt x="1407060" y="415969"/>
                  <a:pt x="1407060" y="343626"/>
                </a:cubicBezTo>
                <a:cubicBezTo>
                  <a:pt x="1407060" y="285753"/>
                  <a:pt x="1443232" y="235113"/>
                  <a:pt x="1497489" y="220644"/>
                </a:cubicBezTo>
                <a:lnTo>
                  <a:pt x="1497489" y="198942"/>
                </a:lnTo>
                <a:cubicBezTo>
                  <a:pt x="1497489" y="177239"/>
                  <a:pt x="1511958" y="162770"/>
                  <a:pt x="1533661" y="162770"/>
                </a:cubicBezTo>
                <a:close/>
                <a:moveTo>
                  <a:pt x="1533661" y="72343"/>
                </a:moveTo>
                <a:cubicBezTo>
                  <a:pt x="1334719" y="72343"/>
                  <a:pt x="1171949" y="235113"/>
                  <a:pt x="1171949" y="434055"/>
                </a:cubicBezTo>
                <a:cubicBezTo>
                  <a:pt x="1171949" y="632997"/>
                  <a:pt x="1334719" y="795767"/>
                  <a:pt x="1533661" y="795767"/>
                </a:cubicBezTo>
                <a:cubicBezTo>
                  <a:pt x="1732603" y="795767"/>
                  <a:pt x="1895373" y="632997"/>
                  <a:pt x="1895373" y="434055"/>
                </a:cubicBezTo>
                <a:cubicBezTo>
                  <a:pt x="1895373" y="235113"/>
                  <a:pt x="1732603" y="72343"/>
                  <a:pt x="1533661" y="72343"/>
                </a:cubicBezTo>
                <a:close/>
                <a:moveTo>
                  <a:pt x="1533661" y="0"/>
                </a:moveTo>
                <a:cubicBezTo>
                  <a:pt x="1772391" y="0"/>
                  <a:pt x="1967715" y="195325"/>
                  <a:pt x="1967715" y="434055"/>
                </a:cubicBezTo>
                <a:cubicBezTo>
                  <a:pt x="1967715" y="658317"/>
                  <a:pt x="1790476" y="846407"/>
                  <a:pt x="1569832" y="864492"/>
                </a:cubicBezTo>
                <a:lnTo>
                  <a:pt x="1569832" y="1323867"/>
                </a:lnTo>
                <a:cubicBezTo>
                  <a:pt x="1653026" y="1190033"/>
                  <a:pt x="1801328" y="1099605"/>
                  <a:pt x="1971333" y="1099605"/>
                </a:cubicBezTo>
                <a:cubicBezTo>
                  <a:pt x="1993035" y="1099605"/>
                  <a:pt x="2007504" y="1114074"/>
                  <a:pt x="2007504" y="1135777"/>
                </a:cubicBezTo>
                <a:cubicBezTo>
                  <a:pt x="2007504" y="1385358"/>
                  <a:pt x="1812179" y="1587917"/>
                  <a:pt x="1569832" y="1606002"/>
                </a:cubicBezTo>
                <a:lnTo>
                  <a:pt x="1569832" y="1721750"/>
                </a:lnTo>
                <a:lnTo>
                  <a:pt x="2068995" y="1558980"/>
                </a:lnTo>
                <a:cubicBezTo>
                  <a:pt x="2134103" y="1533660"/>
                  <a:pt x="2217297" y="1551746"/>
                  <a:pt x="2267937" y="1606002"/>
                </a:cubicBezTo>
                <a:cubicBezTo>
                  <a:pt x="2347513" y="1696430"/>
                  <a:pt x="2322193" y="1837498"/>
                  <a:pt x="2210063" y="1891755"/>
                </a:cubicBezTo>
                <a:lnTo>
                  <a:pt x="1302165" y="2351129"/>
                </a:lnTo>
                <a:cubicBezTo>
                  <a:pt x="1255143" y="2376449"/>
                  <a:pt x="1200886" y="2387301"/>
                  <a:pt x="1150246" y="2387301"/>
                </a:cubicBezTo>
                <a:cubicBezTo>
                  <a:pt x="1095989" y="2387301"/>
                  <a:pt x="1041732" y="2372832"/>
                  <a:pt x="991093" y="2347512"/>
                </a:cubicBezTo>
                <a:lnTo>
                  <a:pt x="470226" y="2068994"/>
                </a:lnTo>
                <a:lnTo>
                  <a:pt x="441289" y="2079845"/>
                </a:lnTo>
                <a:lnTo>
                  <a:pt x="441289" y="2184742"/>
                </a:lnTo>
                <a:cubicBezTo>
                  <a:pt x="441289" y="2249850"/>
                  <a:pt x="390650" y="2300490"/>
                  <a:pt x="325541" y="2300490"/>
                </a:cubicBezTo>
                <a:lnTo>
                  <a:pt x="115748" y="2300490"/>
                </a:lnTo>
                <a:cubicBezTo>
                  <a:pt x="50640" y="2300490"/>
                  <a:pt x="0" y="2249850"/>
                  <a:pt x="0" y="2184742"/>
                </a:cubicBezTo>
                <a:lnTo>
                  <a:pt x="0" y="1338335"/>
                </a:lnTo>
                <a:cubicBezTo>
                  <a:pt x="0" y="1273227"/>
                  <a:pt x="50640" y="1222587"/>
                  <a:pt x="115748" y="1222587"/>
                </a:cubicBezTo>
                <a:lnTo>
                  <a:pt x="325541" y="1222587"/>
                </a:lnTo>
                <a:cubicBezTo>
                  <a:pt x="387032" y="1222587"/>
                  <a:pt x="437672" y="1269610"/>
                  <a:pt x="441289" y="1331101"/>
                </a:cubicBezTo>
                <a:lnTo>
                  <a:pt x="596825" y="1302164"/>
                </a:lnTo>
                <a:cubicBezTo>
                  <a:pt x="683636" y="1284079"/>
                  <a:pt x="766830" y="1294930"/>
                  <a:pt x="846408" y="1331101"/>
                </a:cubicBezTo>
                <a:cubicBezTo>
                  <a:pt x="850025" y="1331101"/>
                  <a:pt x="850025" y="1334718"/>
                  <a:pt x="853642" y="1334718"/>
                </a:cubicBezTo>
                <a:lnTo>
                  <a:pt x="1153863" y="1548128"/>
                </a:lnTo>
                <a:lnTo>
                  <a:pt x="1370890" y="1548128"/>
                </a:lnTo>
                <a:cubicBezTo>
                  <a:pt x="1407062" y="1548128"/>
                  <a:pt x="1446850" y="1562597"/>
                  <a:pt x="1475787" y="1587917"/>
                </a:cubicBezTo>
                <a:cubicBezTo>
                  <a:pt x="1483021" y="1595151"/>
                  <a:pt x="1490255" y="1602385"/>
                  <a:pt x="1497490" y="1613236"/>
                </a:cubicBezTo>
                <a:lnTo>
                  <a:pt x="1497490" y="1573448"/>
                </a:lnTo>
                <a:lnTo>
                  <a:pt x="1497490" y="1360038"/>
                </a:lnTo>
                <a:cubicBezTo>
                  <a:pt x="1251525" y="1341952"/>
                  <a:pt x="1059818" y="1139394"/>
                  <a:pt x="1059818" y="889812"/>
                </a:cubicBezTo>
                <a:cubicBezTo>
                  <a:pt x="1059818" y="868110"/>
                  <a:pt x="1074286" y="853641"/>
                  <a:pt x="1095989" y="853641"/>
                </a:cubicBezTo>
                <a:cubicBezTo>
                  <a:pt x="1265994" y="853641"/>
                  <a:pt x="1414296" y="944069"/>
                  <a:pt x="1497490" y="1077903"/>
                </a:cubicBezTo>
                <a:lnTo>
                  <a:pt x="1497490" y="864492"/>
                </a:lnTo>
                <a:cubicBezTo>
                  <a:pt x="1276845" y="846407"/>
                  <a:pt x="1099606" y="661934"/>
                  <a:pt x="1099606" y="434055"/>
                </a:cubicBezTo>
                <a:cubicBezTo>
                  <a:pt x="1099606" y="195325"/>
                  <a:pt x="1294931" y="0"/>
                  <a:pt x="1533661" y="0"/>
                </a:cubicBezTo>
                <a:close/>
              </a:path>
            </a:pathLst>
          </a:custGeom>
          <a:solidFill>
            <a:schemeClr val="bg1"/>
          </a:solidFill>
          <a:ln w="43755" cap="flat">
            <a:noFill/>
            <a:prstDash val="solid"/>
            <a:miter/>
          </a:ln>
        </p:spPr>
        <p:txBody>
          <a:bodyPr rtlCol="0" anchor="ctr"/>
          <a:lstStyle/>
          <a:p>
            <a:pPr defTabSz="685758"/>
            <a:endParaRPr lang="en-US" sz="1350">
              <a:solidFill>
                <a:srgbClr val="1A1A1A"/>
              </a:solidFill>
              <a:latin typeface="Segoe UI"/>
            </a:endParaRPr>
          </a:p>
        </p:txBody>
      </p:sp>
      <p:grpSp>
        <p:nvGrpSpPr>
          <p:cNvPr id="25" name="Group 24"/>
          <p:cNvGrpSpPr/>
          <p:nvPr/>
        </p:nvGrpSpPr>
        <p:grpSpPr>
          <a:xfrm>
            <a:off x="5845542" y="2483356"/>
            <a:ext cx="2013390" cy="1777079"/>
            <a:chOff x="5845542" y="2483356"/>
            <a:chExt cx="2013390" cy="1777079"/>
          </a:xfrm>
        </p:grpSpPr>
        <p:sp>
          <p:nvSpPr>
            <p:cNvPr id="1047" name="Freeform: Shape 1606">
              <a:extLst>
                <a:ext uri="{FF2B5EF4-FFF2-40B4-BE49-F238E27FC236}">
                  <a16:creationId xmlns:a16="http://schemas.microsoft.com/office/drawing/2014/main" id="{5C61EAF5-85BD-4313-8BE3-433F5A01B6E1}"/>
                </a:ext>
              </a:extLst>
            </p:cNvPr>
            <p:cNvSpPr/>
            <p:nvPr/>
          </p:nvSpPr>
          <p:spPr>
            <a:xfrm>
              <a:off x="7803184" y="3341448"/>
              <a:ext cx="55748" cy="55747"/>
            </a:xfrm>
            <a:custGeom>
              <a:avLst/>
              <a:gdLst>
                <a:gd name="connsiteX0" fmla="*/ 37165 w 74330"/>
                <a:gd name="connsiteY0" fmla="*/ 74330 h 74329"/>
                <a:gd name="connsiteX1" fmla="*/ 74330 w 74330"/>
                <a:gd name="connsiteY1" fmla="*/ 37165 h 74329"/>
                <a:gd name="connsiteX2" fmla="*/ 37165 w 74330"/>
                <a:gd name="connsiteY2" fmla="*/ 0 h 74329"/>
                <a:gd name="connsiteX3" fmla="*/ 0 w 74330"/>
                <a:gd name="connsiteY3" fmla="*/ 37165 h 74329"/>
                <a:gd name="connsiteX4" fmla="*/ 37165 w 74330"/>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0" h="74329">
                  <a:moveTo>
                    <a:pt x="37165" y="74330"/>
                  </a:moveTo>
                  <a:cubicBezTo>
                    <a:pt x="57670" y="74330"/>
                    <a:pt x="74330" y="57670"/>
                    <a:pt x="74330" y="37165"/>
                  </a:cubicBezTo>
                  <a:cubicBezTo>
                    <a:pt x="74330" y="16660"/>
                    <a:pt x="57670" y="0"/>
                    <a:pt x="37165" y="0"/>
                  </a:cubicBezTo>
                  <a:cubicBezTo>
                    <a:pt x="16661" y="0"/>
                    <a:pt x="0" y="16660"/>
                    <a:pt x="0" y="37165"/>
                  </a:cubicBezTo>
                  <a:cubicBezTo>
                    <a:pt x="0" y="57670"/>
                    <a:pt x="15379" y="74330"/>
                    <a:pt x="37165" y="74330"/>
                  </a:cubicBezTo>
                  <a:close/>
                </a:path>
              </a:pathLst>
            </a:custGeom>
            <a:solidFill>
              <a:schemeClr val="accent3"/>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130" name="Freeform: Shape 1612">
              <a:extLst>
                <a:ext uri="{FF2B5EF4-FFF2-40B4-BE49-F238E27FC236}">
                  <a16:creationId xmlns:a16="http://schemas.microsoft.com/office/drawing/2014/main" id="{00839EFC-884D-474D-B8F8-15A2EB56428F}"/>
                </a:ext>
              </a:extLst>
            </p:cNvPr>
            <p:cNvSpPr/>
            <p:nvPr/>
          </p:nvSpPr>
          <p:spPr>
            <a:xfrm>
              <a:off x="5912822" y="2809902"/>
              <a:ext cx="1705103" cy="518277"/>
            </a:xfrm>
            <a:custGeom>
              <a:avLst/>
              <a:gdLst>
                <a:gd name="connsiteX0" fmla="*/ 0 w 2273470"/>
                <a:gd name="connsiteY0" fmla="*/ 788150 h 788150"/>
                <a:gd name="connsiteX1" fmla="*/ 988076 w 2273470"/>
                <a:gd name="connsiteY1" fmla="*/ 788150 h 788150"/>
                <a:gd name="connsiteX2" fmla="*/ 1776228 w 2273470"/>
                <a:gd name="connsiteY2" fmla="*/ 0 h 788150"/>
                <a:gd name="connsiteX3" fmla="*/ 2273470 w 2273470"/>
                <a:gd name="connsiteY3" fmla="*/ 0 h 788150"/>
              </a:gdLst>
              <a:ahLst/>
              <a:cxnLst>
                <a:cxn ang="0">
                  <a:pos x="connsiteX0" y="connsiteY0"/>
                </a:cxn>
                <a:cxn ang="0">
                  <a:pos x="connsiteX1" y="connsiteY1"/>
                </a:cxn>
                <a:cxn ang="0">
                  <a:pos x="connsiteX2" y="connsiteY2"/>
                </a:cxn>
                <a:cxn ang="0">
                  <a:pos x="connsiteX3" y="connsiteY3"/>
                </a:cxn>
              </a:cxnLst>
              <a:rect l="l" t="t" r="r" b="b"/>
              <a:pathLst>
                <a:path w="2273470" h="788150">
                  <a:moveTo>
                    <a:pt x="0" y="788150"/>
                  </a:moveTo>
                  <a:lnTo>
                    <a:pt x="988076" y="788150"/>
                  </a:lnTo>
                  <a:lnTo>
                    <a:pt x="1776228" y="0"/>
                  </a:lnTo>
                  <a:lnTo>
                    <a:pt x="2273470" y="0"/>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131" name="Freeform: Shape 1613">
              <a:extLst>
                <a:ext uri="{FF2B5EF4-FFF2-40B4-BE49-F238E27FC236}">
                  <a16:creationId xmlns:a16="http://schemas.microsoft.com/office/drawing/2014/main" id="{FD542A9A-A86B-4EF5-B635-90F51A144D38}"/>
                </a:ext>
              </a:extLst>
            </p:cNvPr>
            <p:cNvSpPr/>
            <p:nvPr/>
          </p:nvSpPr>
          <p:spPr>
            <a:xfrm>
              <a:off x="5885908" y="3300305"/>
              <a:ext cx="55796" cy="55747"/>
            </a:xfrm>
            <a:custGeom>
              <a:avLst/>
              <a:gdLst>
                <a:gd name="connsiteX0" fmla="*/ 37165 w 74394"/>
                <a:gd name="connsiteY0" fmla="*/ 74330 h 74329"/>
                <a:gd name="connsiteX1" fmla="*/ 0 w 74394"/>
                <a:gd name="connsiteY1" fmla="*/ 37165 h 74329"/>
                <a:gd name="connsiteX2" fmla="*/ 37165 w 74394"/>
                <a:gd name="connsiteY2" fmla="*/ 0 h 74329"/>
                <a:gd name="connsiteX3" fmla="*/ 74330 w 74394"/>
                <a:gd name="connsiteY3" fmla="*/ 37165 h 74329"/>
                <a:gd name="connsiteX4" fmla="*/ 37165 w 74394"/>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94" h="74329">
                  <a:moveTo>
                    <a:pt x="37165" y="74330"/>
                  </a:moveTo>
                  <a:cubicBezTo>
                    <a:pt x="16660" y="74330"/>
                    <a:pt x="0" y="57669"/>
                    <a:pt x="0" y="37165"/>
                  </a:cubicBezTo>
                  <a:cubicBezTo>
                    <a:pt x="0" y="16660"/>
                    <a:pt x="16660" y="0"/>
                    <a:pt x="37165" y="0"/>
                  </a:cubicBezTo>
                  <a:cubicBezTo>
                    <a:pt x="57670" y="0"/>
                    <a:pt x="74330" y="16660"/>
                    <a:pt x="74330" y="37165"/>
                  </a:cubicBezTo>
                  <a:cubicBezTo>
                    <a:pt x="75611" y="57669"/>
                    <a:pt x="57670"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132" name="Freeform: Shape 1614">
              <a:extLst>
                <a:ext uri="{FF2B5EF4-FFF2-40B4-BE49-F238E27FC236}">
                  <a16:creationId xmlns:a16="http://schemas.microsoft.com/office/drawing/2014/main" id="{1132BAC9-BDCE-48CF-8DEC-55C39911809E}"/>
                </a:ext>
              </a:extLst>
            </p:cNvPr>
            <p:cNvSpPr/>
            <p:nvPr/>
          </p:nvSpPr>
          <p:spPr>
            <a:xfrm>
              <a:off x="7588129" y="2775873"/>
              <a:ext cx="55748" cy="55747"/>
            </a:xfrm>
            <a:custGeom>
              <a:avLst/>
              <a:gdLst>
                <a:gd name="connsiteX0" fmla="*/ 37165 w 74330"/>
                <a:gd name="connsiteY0" fmla="*/ 74330 h 74329"/>
                <a:gd name="connsiteX1" fmla="*/ 74330 w 74330"/>
                <a:gd name="connsiteY1" fmla="*/ 37165 h 74329"/>
                <a:gd name="connsiteX2" fmla="*/ 37165 w 74330"/>
                <a:gd name="connsiteY2" fmla="*/ 0 h 74329"/>
                <a:gd name="connsiteX3" fmla="*/ 0 w 74330"/>
                <a:gd name="connsiteY3" fmla="*/ 37165 h 74329"/>
                <a:gd name="connsiteX4" fmla="*/ 37165 w 74330"/>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0" h="74329">
                  <a:moveTo>
                    <a:pt x="37165" y="74330"/>
                  </a:moveTo>
                  <a:cubicBezTo>
                    <a:pt x="57670" y="74330"/>
                    <a:pt x="74330" y="57670"/>
                    <a:pt x="74330" y="37165"/>
                  </a:cubicBezTo>
                  <a:cubicBezTo>
                    <a:pt x="74330" y="16660"/>
                    <a:pt x="57670" y="0"/>
                    <a:pt x="37165" y="0"/>
                  </a:cubicBezTo>
                  <a:cubicBezTo>
                    <a:pt x="16661" y="0"/>
                    <a:pt x="0" y="16660"/>
                    <a:pt x="0" y="37165"/>
                  </a:cubicBezTo>
                  <a:cubicBezTo>
                    <a:pt x="0" y="57670"/>
                    <a:pt x="16661"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127" name="Freeform: Shape 1616">
              <a:extLst>
                <a:ext uri="{FF2B5EF4-FFF2-40B4-BE49-F238E27FC236}">
                  <a16:creationId xmlns:a16="http://schemas.microsoft.com/office/drawing/2014/main" id="{C129B187-D3F7-4BF9-9815-EB406CC623A5}"/>
                </a:ext>
              </a:extLst>
            </p:cNvPr>
            <p:cNvSpPr/>
            <p:nvPr/>
          </p:nvSpPr>
          <p:spPr>
            <a:xfrm>
              <a:off x="6063725" y="3018685"/>
              <a:ext cx="1341783" cy="142251"/>
            </a:xfrm>
            <a:custGeom>
              <a:avLst/>
              <a:gdLst>
                <a:gd name="connsiteX0" fmla="*/ 0 w 1789044"/>
                <a:gd name="connsiteY0" fmla="*/ 189669 h 189668"/>
                <a:gd name="connsiteX1" fmla="*/ 608736 w 1789044"/>
                <a:gd name="connsiteY1" fmla="*/ 189669 h 189668"/>
                <a:gd name="connsiteX2" fmla="*/ 798406 w 1789044"/>
                <a:gd name="connsiteY2" fmla="*/ 0 h 189668"/>
                <a:gd name="connsiteX3" fmla="*/ 1789045 w 1789044"/>
                <a:gd name="connsiteY3" fmla="*/ 0 h 189668"/>
              </a:gdLst>
              <a:ahLst/>
              <a:cxnLst>
                <a:cxn ang="0">
                  <a:pos x="connsiteX0" y="connsiteY0"/>
                </a:cxn>
                <a:cxn ang="0">
                  <a:pos x="connsiteX1" y="connsiteY1"/>
                </a:cxn>
                <a:cxn ang="0">
                  <a:pos x="connsiteX2" y="connsiteY2"/>
                </a:cxn>
                <a:cxn ang="0">
                  <a:pos x="connsiteX3" y="connsiteY3"/>
                </a:cxn>
              </a:cxnLst>
              <a:rect l="l" t="t" r="r" b="b"/>
              <a:pathLst>
                <a:path w="1789044" h="189668">
                  <a:moveTo>
                    <a:pt x="0" y="189669"/>
                  </a:moveTo>
                  <a:lnTo>
                    <a:pt x="608736" y="189669"/>
                  </a:lnTo>
                  <a:lnTo>
                    <a:pt x="798406" y="0"/>
                  </a:lnTo>
                  <a:lnTo>
                    <a:pt x="1789045" y="0"/>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128" name="Freeform: Shape 1618">
              <a:extLst>
                <a:ext uri="{FF2B5EF4-FFF2-40B4-BE49-F238E27FC236}">
                  <a16:creationId xmlns:a16="http://schemas.microsoft.com/office/drawing/2014/main" id="{EA48436A-32C8-4CAC-B34E-E14C0BE581ED}"/>
                </a:ext>
              </a:extLst>
            </p:cNvPr>
            <p:cNvSpPr/>
            <p:nvPr/>
          </p:nvSpPr>
          <p:spPr>
            <a:xfrm>
              <a:off x="6037774" y="3133063"/>
              <a:ext cx="55748" cy="55747"/>
            </a:xfrm>
            <a:custGeom>
              <a:avLst/>
              <a:gdLst>
                <a:gd name="connsiteX0" fmla="*/ 37165 w 74330"/>
                <a:gd name="connsiteY0" fmla="*/ 74330 h 74329"/>
                <a:gd name="connsiteX1" fmla="*/ 0 w 74330"/>
                <a:gd name="connsiteY1" fmla="*/ 37165 h 74329"/>
                <a:gd name="connsiteX2" fmla="*/ 37165 w 74330"/>
                <a:gd name="connsiteY2" fmla="*/ 0 h 74329"/>
                <a:gd name="connsiteX3" fmla="*/ 74330 w 74330"/>
                <a:gd name="connsiteY3" fmla="*/ 37165 h 74329"/>
                <a:gd name="connsiteX4" fmla="*/ 37165 w 74330"/>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0" h="74329">
                  <a:moveTo>
                    <a:pt x="37165" y="74330"/>
                  </a:moveTo>
                  <a:cubicBezTo>
                    <a:pt x="16660" y="74330"/>
                    <a:pt x="0" y="57670"/>
                    <a:pt x="0" y="37165"/>
                  </a:cubicBezTo>
                  <a:cubicBezTo>
                    <a:pt x="0" y="16660"/>
                    <a:pt x="16660" y="0"/>
                    <a:pt x="37165" y="0"/>
                  </a:cubicBezTo>
                  <a:cubicBezTo>
                    <a:pt x="57670" y="0"/>
                    <a:pt x="74330" y="16660"/>
                    <a:pt x="74330" y="37165"/>
                  </a:cubicBezTo>
                  <a:cubicBezTo>
                    <a:pt x="74330" y="57670"/>
                    <a:pt x="57670"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129" name="Freeform: Shape 1619">
              <a:extLst>
                <a:ext uri="{FF2B5EF4-FFF2-40B4-BE49-F238E27FC236}">
                  <a16:creationId xmlns:a16="http://schemas.microsoft.com/office/drawing/2014/main" id="{7BA41F5D-6B9B-4E1B-A8AF-9186AE6AA069}"/>
                </a:ext>
              </a:extLst>
            </p:cNvPr>
            <p:cNvSpPr/>
            <p:nvPr/>
          </p:nvSpPr>
          <p:spPr>
            <a:xfrm>
              <a:off x="7376673" y="2990812"/>
              <a:ext cx="55748" cy="55747"/>
            </a:xfrm>
            <a:custGeom>
              <a:avLst/>
              <a:gdLst>
                <a:gd name="connsiteX0" fmla="*/ 37165 w 74330"/>
                <a:gd name="connsiteY0" fmla="*/ 74330 h 74329"/>
                <a:gd name="connsiteX1" fmla="*/ 74330 w 74330"/>
                <a:gd name="connsiteY1" fmla="*/ 37165 h 74329"/>
                <a:gd name="connsiteX2" fmla="*/ 37165 w 74330"/>
                <a:gd name="connsiteY2" fmla="*/ 0 h 74329"/>
                <a:gd name="connsiteX3" fmla="*/ 0 w 74330"/>
                <a:gd name="connsiteY3" fmla="*/ 37165 h 74329"/>
                <a:gd name="connsiteX4" fmla="*/ 37165 w 74330"/>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0" h="74329">
                  <a:moveTo>
                    <a:pt x="37165" y="74330"/>
                  </a:moveTo>
                  <a:cubicBezTo>
                    <a:pt x="57669" y="74330"/>
                    <a:pt x="74330" y="57670"/>
                    <a:pt x="74330" y="37165"/>
                  </a:cubicBezTo>
                  <a:cubicBezTo>
                    <a:pt x="74330" y="16660"/>
                    <a:pt x="57669" y="0"/>
                    <a:pt x="37165" y="0"/>
                  </a:cubicBezTo>
                  <a:cubicBezTo>
                    <a:pt x="16660" y="0"/>
                    <a:pt x="0" y="16660"/>
                    <a:pt x="0" y="37165"/>
                  </a:cubicBezTo>
                  <a:cubicBezTo>
                    <a:pt x="0" y="57670"/>
                    <a:pt x="16660"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124" name="Freeform: Shape 1621">
              <a:extLst>
                <a:ext uri="{FF2B5EF4-FFF2-40B4-BE49-F238E27FC236}">
                  <a16:creationId xmlns:a16="http://schemas.microsoft.com/office/drawing/2014/main" id="{F0563CFA-D6DD-4E2F-A128-BEF410300EA4}"/>
                </a:ext>
              </a:extLst>
            </p:cNvPr>
            <p:cNvSpPr/>
            <p:nvPr/>
          </p:nvSpPr>
          <p:spPr>
            <a:xfrm>
              <a:off x="5882066" y="2483356"/>
              <a:ext cx="1397968" cy="495921"/>
            </a:xfrm>
            <a:custGeom>
              <a:avLst/>
              <a:gdLst>
                <a:gd name="connsiteX0" fmla="*/ 0 w 1699335"/>
                <a:gd name="connsiteY0" fmla="*/ 595919 h 595918"/>
                <a:gd name="connsiteX1" fmla="*/ 579261 w 1699335"/>
                <a:gd name="connsiteY1" fmla="*/ 595919 h 595918"/>
                <a:gd name="connsiteX2" fmla="*/ 1175182 w 1699335"/>
                <a:gd name="connsiteY2" fmla="*/ 0 h 595918"/>
                <a:gd name="connsiteX3" fmla="*/ 1699335 w 1699335"/>
                <a:gd name="connsiteY3" fmla="*/ 0 h 595918"/>
              </a:gdLst>
              <a:ahLst/>
              <a:cxnLst>
                <a:cxn ang="0">
                  <a:pos x="connsiteX0" y="connsiteY0"/>
                </a:cxn>
                <a:cxn ang="0">
                  <a:pos x="connsiteX1" y="connsiteY1"/>
                </a:cxn>
                <a:cxn ang="0">
                  <a:pos x="connsiteX2" y="connsiteY2"/>
                </a:cxn>
                <a:cxn ang="0">
                  <a:pos x="connsiteX3" y="connsiteY3"/>
                </a:cxn>
              </a:cxnLst>
              <a:rect l="l" t="t" r="r" b="b"/>
              <a:pathLst>
                <a:path w="1699335" h="595918">
                  <a:moveTo>
                    <a:pt x="0" y="595919"/>
                  </a:moveTo>
                  <a:lnTo>
                    <a:pt x="579261" y="595919"/>
                  </a:lnTo>
                  <a:lnTo>
                    <a:pt x="1175182" y="0"/>
                  </a:lnTo>
                  <a:lnTo>
                    <a:pt x="1699335" y="0"/>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125" name="Freeform: Shape 1625">
              <a:extLst>
                <a:ext uri="{FF2B5EF4-FFF2-40B4-BE49-F238E27FC236}">
                  <a16:creationId xmlns:a16="http://schemas.microsoft.com/office/drawing/2014/main" id="{56EFCD2A-7B2E-474E-8A3E-46E6CA3F3A4A}"/>
                </a:ext>
              </a:extLst>
            </p:cNvPr>
            <p:cNvSpPr/>
            <p:nvPr/>
          </p:nvSpPr>
          <p:spPr>
            <a:xfrm>
              <a:off x="5856115" y="2952366"/>
              <a:ext cx="55747" cy="55747"/>
            </a:xfrm>
            <a:custGeom>
              <a:avLst/>
              <a:gdLst>
                <a:gd name="connsiteX0" fmla="*/ 37165 w 74329"/>
                <a:gd name="connsiteY0" fmla="*/ 74330 h 74329"/>
                <a:gd name="connsiteX1" fmla="*/ 0 w 74329"/>
                <a:gd name="connsiteY1" fmla="*/ 37165 h 74329"/>
                <a:gd name="connsiteX2" fmla="*/ 37165 w 74329"/>
                <a:gd name="connsiteY2" fmla="*/ 0 h 74329"/>
                <a:gd name="connsiteX3" fmla="*/ 74330 w 74329"/>
                <a:gd name="connsiteY3" fmla="*/ 37165 h 74329"/>
                <a:gd name="connsiteX4" fmla="*/ 37165 w 74329"/>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74330"/>
                  </a:moveTo>
                  <a:cubicBezTo>
                    <a:pt x="16660" y="74330"/>
                    <a:pt x="0" y="57670"/>
                    <a:pt x="0" y="37165"/>
                  </a:cubicBezTo>
                  <a:cubicBezTo>
                    <a:pt x="0" y="16660"/>
                    <a:pt x="16660" y="0"/>
                    <a:pt x="37165" y="0"/>
                  </a:cubicBezTo>
                  <a:cubicBezTo>
                    <a:pt x="57670" y="0"/>
                    <a:pt x="74330" y="16660"/>
                    <a:pt x="74330" y="37165"/>
                  </a:cubicBezTo>
                  <a:cubicBezTo>
                    <a:pt x="74330" y="56388"/>
                    <a:pt x="57670"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41" name="Freeform: Shape 379324">
              <a:extLst>
                <a:ext uri="{FF2B5EF4-FFF2-40B4-BE49-F238E27FC236}">
                  <a16:creationId xmlns:a16="http://schemas.microsoft.com/office/drawing/2014/main" id="{9300552E-C722-4701-8AA6-62C3E51C0ABD}"/>
                </a:ext>
              </a:extLst>
            </p:cNvPr>
            <p:cNvSpPr/>
            <p:nvPr/>
          </p:nvSpPr>
          <p:spPr>
            <a:xfrm>
              <a:off x="5912822" y="3709691"/>
              <a:ext cx="1176901" cy="231639"/>
            </a:xfrm>
            <a:custGeom>
              <a:avLst/>
              <a:gdLst>
                <a:gd name="connsiteX0" fmla="*/ 0 w 1922324"/>
                <a:gd name="connsiteY0" fmla="*/ 0 h 308852"/>
                <a:gd name="connsiteX1" fmla="*/ 945784 w 1922324"/>
                <a:gd name="connsiteY1" fmla="*/ 0 h 308852"/>
                <a:gd name="connsiteX2" fmla="*/ 1254637 w 1922324"/>
                <a:gd name="connsiteY2" fmla="*/ 308852 h 308852"/>
                <a:gd name="connsiteX3" fmla="*/ 1922325 w 1922324"/>
                <a:gd name="connsiteY3" fmla="*/ 308852 h 308852"/>
              </a:gdLst>
              <a:ahLst/>
              <a:cxnLst>
                <a:cxn ang="0">
                  <a:pos x="connsiteX0" y="connsiteY0"/>
                </a:cxn>
                <a:cxn ang="0">
                  <a:pos x="connsiteX1" y="connsiteY1"/>
                </a:cxn>
                <a:cxn ang="0">
                  <a:pos x="connsiteX2" y="connsiteY2"/>
                </a:cxn>
                <a:cxn ang="0">
                  <a:pos x="connsiteX3" y="connsiteY3"/>
                </a:cxn>
              </a:cxnLst>
              <a:rect l="l" t="t" r="r" b="b"/>
              <a:pathLst>
                <a:path w="1922324" h="308852">
                  <a:moveTo>
                    <a:pt x="0" y="0"/>
                  </a:moveTo>
                  <a:lnTo>
                    <a:pt x="945784" y="0"/>
                  </a:lnTo>
                  <a:lnTo>
                    <a:pt x="1254637" y="308852"/>
                  </a:lnTo>
                  <a:lnTo>
                    <a:pt x="1922325" y="308852"/>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042" name="Freeform: Shape 379325">
              <a:extLst>
                <a:ext uri="{FF2B5EF4-FFF2-40B4-BE49-F238E27FC236}">
                  <a16:creationId xmlns:a16="http://schemas.microsoft.com/office/drawing/2014/main" id="{5CE30659-A660-481B-8C97-B260BFF19664}"/>
                </a:ext>
              </a:extLst>
            </p:cNvPr>
            <p:cNvSpPr/>
            <p:nvPr/>
          </p:nvSpPr>
          <p:spPr>
            <a:xfrm>
              <a:off x="5885908" y="3681817"/>
              <a:ext cx="55796" cy="55747"/>
            </a:xfrm>
            <a:custGeom>
              <a:avLst/>
              <a:gdLst>
                <a:gd name="connsiteX0" fmla="*/ 37165 w 74394"/>
                <a:gd name="connsiteY0" fmla="*/ 74330 h 74329"/>
                <a:gd name="connsiteX1" fmla="*/ 0 w 74394"/>
                <a:gd name="connsiteY1" fmla="*/ 37165 h 74329"/>
                <a:gd name="connsiteX2" fmla="*/ 37165 w 74394"/>
                <a:gd name="connsiteY2" fmla="*/ 0 h 74329"/>
                <a:gd name="connsiteX3" fmla="*/ 74330 w 74394"/>
                <a:gd name="connsiteY3" fmla="*/ 37165 h 74329"/>
                <a:gd name="connsiteX4" fmla="*/ 37165 w 74394"/>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94" h="74329">
                  <a:moveTo>
                    <a:pt x="37165" y="74330"/>
                  </a:moveTo>
                  <a:cubicBezTo>
                    <a:pt x="16660" y="74330"/>
                    <a:pt x="0" y="57670"/>
                    <a:pt x="0" y="37165"/>
                  </a:cubicBezTo>
                  <a:cubicBezTo>
                    <a:pt x="0" y="16660"/>
                    <a:pt x="16660" y="0"/>
                    <a:pt x="37165" y="0"/>
                  </a:cubicBezTo>
                  <a:cubicBezTo>
                    <a:pt x="57670" y="0"/>
                    <a:pt x="74330" y="16660"/>
                    <a:pt x="74330" y="37165"/>
                  </a:cubicBezTo>
                  <a:cubicBezTo>
                    <a:pt x="75611" y="57670"/>
                    <a:pt x="57670"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45" name="Freeform: Shape 1604">
              <a:extLst>
                <a:ext uri="{FF2B5EF4-FFF2-40B4-BE49-F238E27FC236}">
                  <a16:creationId xmlns:a16="http://schemas.microsoft.com/office/drawing/2014/main" id="{28CA9D9B-40E0-49CE-BCD1-FC34DAB3B507}"/>
                </a:ext>
              </a:extLst>
            </p:cNvPr>
            <p:cNvSpPr/>
            <p:nvPr/>
          </p:nvSpPr>
          <p:spPr>
            <a:xfrm>
              <a:off x="5990382" y="3367591"/>
              <a:ext cx="1762968" cy="216260"/>
            </a:xfrm>
            <a:custGeom>
              <a:avLst/>
              <a:gdLst>
                <a:gd name="connsiteX0" fmla="*/ 0 w 3365351"/>
                <a:gd name="connsiteY0" fmla="*/ 288348 h 288347"/>
                <a:gd name="connsiteX1" fmla="*/ 795843 w 3365351"/>
                <a:gd name="connsiteY1" fmla="*/ 288348 h 288347"/>
                <a:gd name="connsiteX2" fmla="*/ 1084191 w 3365351"/>
                <a:gd name="connsiteY2" fmla="*/ 0 h 288347"/>
                <a:gd name="connsiteX3" fmla="*/ 3365351 w 3365351"/>
                <a:gd name="connsiteY3" fmla="*/ 0 h 288347"/>
              </a:gdLst>
              <a:ahLst/>
              <a:cxnLst>
                <a:cxn ang="0">
                  <a:pos x="connsiteX0" y="connsiteY0"/>
                </a:cxn>
                <a:cxn ang="0">
                  <a:pos x="connsiteX1" y="connsiteY1"/>
                </a:cxn>
                <a:cxn ang="0">
                  <a:pos x="connsiteX2" y="connsiteY2"/>
                </a:cxn>
                <a:cxn ang="0">
                  <a:pos x="connsiteX3" y="connsiteY3"/>
                </a:cxn>
              </a:cxnLst>
              <a:rect l="l" t="t" r="r" b="b"/>
              <a:pathLst>
                <a:path w="3365351" h="288347">
                  <a:moveTo>
                    <a:pt x="0" y="288348"/>
                  </a:moveTo>
                  <a:lnTo>
                    <a:pt x="795843" y="288348"/>
                  </a:lnTo>
                  <a:lnTo>
                    <a:pt x="1084191" y="0"/>
                  </a:lnTo>
                  <a:lnTo>
                    <a:pt x="3365351" y="0"/>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046" name="Freeform: Shape 1605">
              <a:extLst>
                <a:ext uri="{FF2B5EF4-FFF2-40B4-BE49-F238E27FC236}">
                  <a16:creationId xmlns:a16="http://schemas.microsoft.com/office/drawing/2014/main" id="{17A56B7E-1A6A-4255-832C-EABF5C701AC8}"/>
                </a:ext>
              </a:extLst>
            </p:cNvPr>
            <p:cNvSpPr/>
            <p:nvPr/>
          </p:nvSpPr>
          <p:spPr>
            <a:xfrm>
              <a:off x="5964430" y="3555979"/>
              <a:ext cx="55747" cy="55747"/>
            </a:xfrm>
            <a:custGeom>
              <a:avLst/>
              <a:gdLst>
                <a:gd name="connsiteX0" fmla="*/ 37165 w 74329"/>
                <a:gd name="connsiteY0" fmla="*/ 74330 h 74329"/>
                <a:gd name="connsiteX1" fmla="*/ 0 w 74329"/>
                <a:gd name="connsiteY1" fmla="*/ 37165 h 74329"/>
                <a:gd name="connsiteX2" fmla="*/ 37165 w 74329"/>
                <a:gd name="connsiteY2" fmla="*/ 0 h 74329"/>
                <a:gd name="connsiteX3" fmla="*/ 74330 w 74329"/>
                <a:gd name="connsiteY3" fmla="*/ 37165 h 74329"/>
                <a:gd name="connsiteX4" fmla="*/ 37165 w 74329"/>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74330"/>
                  </a:moveTo>
                  <a:cubicBezTo>
                    <a:pt x="16660" y="74330"/>
                    <a:pt x="0" y="57669"/>
                    <a:pt x="0" y="37165"/>
                  </a:cubicBezTo>
                  <a:cubicBezTo>
                    <a:pt x="0" y="16660"/>
                    <a:pt x="16660" y="0"/>
                    <a:pt x="37165" y="0"/>
                  </a:cubicBezTo>
                  <a:cubicBezTo>
                    <a:pt x="57669" y="0"/>
                    <a:pt x="74330" y="16660"/>
                    <a:pt x="74330" y="37165"/>
                  </a:cubicBezTo>
                  <a:cubicBezTo>
                    <a:pt x="74330" y="57669"/>
                    <a:pt x="57669"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53" name="Freeform: Shape 1632">
              <a:extLst>
                <a:ext uri="{FF2B5EF4-FFF2-40B4-BE49-F238E27FC236}">
                  <a16:creationId xmlns:a16="http://schemas.microsoft.com/office/drawing/2014/main" id="{69B2750F-7D26-4757-9245-D08A7E56FBB3}"/>
                </a:ext>
              </a:extLst>
            </p:cNvPr>
            <p:cNvSpPr/>
            <p:nvPr/>
          </p:nvSpPr>
          <p:spPr>
            <a:xfrm>
              <a:off x="5872453" y="3972088"/>
              <a:ext cx="1014026" cy="259513"/>
            </a:xfrm>
            <a:custGeom>
              <a:avLst/>
              <a:gdLst>
                <a:gd name="connsiteX0" fmla="*/ 0 w 1352035"/>
                <a:gd name="connsiteY0" fmla="*/ 0 h 346017"/>
                <a:gd name="connsiteX1" fmla="*/ 763804 w 1352035"/>
                <a:gd name="connsiteY1" fmla="*/ 0 h 346017"/>
                <a:gd name="connsiteX2" fmla="*/ 1109823 w 1352035"/>
                <a:gd name="connsiteY2" fmla="*/ 346017 h 346017"/>
                <a:gd name="connsiteX3" fmla="*/ 1352036 w 1352035"/>
                <a:gd name="connsiteY3" fmla="*/ 346017 h 346017"/>
              </a:gdLst>
              <a:ahLst/>
              <a:cxnLst>
                <a:cxn ang="0">
                  <a:pos x="connsiteX0" y="connsiteY0"/>
                </a:cxn>
                <a:cxn ang="0">
                  <a:pos x="connsiteX1" y="connsiteY1"/>
                </a:cxn>
                <a:cxn ang="0">
                  <a:pos x="connsiteX2" y="connsiteY2"/>
                </a:cxn>
                <a:cxn ang="0">
                  <a:pos x="connsiteX3" y="connsiteY3"/>
                </a:cxn>
              </a:cxnLst>
              <a:rect l="l" t="t" r="r" b="b"/>
              <a:pathLst>
                <a:path w="1352035" h="346017">
                  <a:moveTo>
                    <a:pt x="0" y="0"/>
                  </a:moveTo>
                  <a:lnTo>
                    <a:pt x="763804" y="0"/>
                  </a:lnTo>
                  <a:lnTo>
                    <a:pt x="1109823" y="346017"/>
                  </a:lnTo>
                  <a:lnTo>
                    <a:pt x="1352036" y="346017"/>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054" name="Freeform: Shape 1633">
              <a:extLst>
                <a:ext uri="{FF2B5EF4-FFF2-40B4-BE49-F238E27FC236}">
                  <a16:creationId xmlns:a16="http://schemas.microsoft.com/office/drawing/2014/main" id="{50D7E38C-1976-4B4D-9BD7-2BC6382C8D05}"/>
                </a:ext>
              </a:extLst>
            </p:cNvPr>
            <p:cNvSpPr/>
            <p:nvPr/>
          </p:nvSpPr>
          <p:spPr>
            <a:xfrm>
              <a:off x="5845542" y="3944214"/>
              <a:ext cx="55799" cy="55747"/>
            </a:xfrm>
            <a:custGeom>
              <a:avLst/>
              <a:gdLst>
                <a:gd name="connsiteX0" fmla="*/ 37165 w 74399"/>
                <a:gd name="connsiteY0" fmla="*/ 74330 h 74329"/>
                <a:gd name="connsiteX1" fmla="*/ 0 w 74399"/>
                <a:gd name="connsiteY1" fmla="*/ 37165 h 74329"/>
                <a:gd name="connsiteX2" fmla="*/ 37165 w 74399"/>
                <a:gd name="connsiteY2" fmla="*/ 0 h 74329"/>
                <a:gd name="connsiteX3" fmla="*/ 74330 w 74399"/>
                <a:gd name="connsiteY3" fmla="*/ 37165 h 74329"/>
                <a:gd name="connsiteX4" fmla="*/ 37165 w 74399"/>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99" h="74329">
                  <a:moveTo>
                    <a:pt x="37165" y="74330"/>
                  </a:moveTo>
                  <a:cubicBezTo>
                    <a:pt x="16660" y="74330"/>
                    <a:pt x="0" y="57670"/>
                    <a:pt x="0" y="37165"/>
                  </a:cubicBezTo>
                  <a:cubicBezTo>
                    <a:pt x="0" y="16660"/>
                    <a:pt x="16660" y="0"/>
                    <a:pt x="37165" y="0"/>
                  </a:cubicBezTo>
                  <a:cubicBezTo>
                    <a:pt x="57670" y="0"/>
                    <a:pt x="74330" y="16660"/>
                    <a:pt x="74330" y="37165"/>
                  </a:cubicBezTo>
                  <a:cubicBezTo>
                    <a:pt x="75611" y="57670"/>
                    <a:pt x="58951"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55" name="Freeform: Shape 1634">
              <a:extLst>
                <a:ext uri="{FF2B5EF4-FFF2-40B4-BE49-F238E27FC236}">
                  <a16:creationId xmlns:a16="http://schemas.microsoft.com/office/drawing/2014/main" id="{EC8CEFBE-29CD-445F-801C-B8E3675D79F5}"/>
                </a:ext>
              </a:extLst>
            </p:cNvPr>
            <p:cNvSpPr/>
            <p:nvPr/>
          </p:nvSpPr>
          <p:spPr>
            <a:xfrm>
              <a:off x="6856684" y="4204688"/>
              <a:ext cx="55748" cy="55747"/>
            </a:xfrm>
            <a:custGeom>
              <a:avLst/>
              <a:gdLst>
                <a:gd name="connsiteX0" fmla="*/ 37165 w 74330"/>
                <a:gd name="connsiteY0" fmla="*/ 74330 h 74329"/>
                <a:gd name="connsiteX1" fmla="*/ 74330 w 74330"/>
                <a:gd name="connsiteY1" fmla="*/ 37165 h 74329"/>
                <a:gd name="connsiteX2" fmla="*/ 37165 w 74330"/>
                <a:gd name="connsiteY2" fmla="*/ 0 h 74329"/>
                <a:gd name="connsiteX3" fmla="*/ 0 w 74330"/>
                <a:gd name="connsiteY3" fmla="*/ 37165 h 74329"/>
                <a:gd name="connsiteX4" fmla="*/ 37165 w 74330"/>
                <a:gd name="connsiteY4" fmla="*/ 7433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30" h="74329">
                  <a:moveTo>
                    <a:pt x="37165" y="74330"/>
                  </a:moveTo>
                  <a:cubicBezTo>
                    <a:pt x="57670" y="74330"/>
                    <a:pt x="74330" y="57669"/>
                    <a:pt x="74330" y="37165"/>
                  </a:cubicBezTo>
                  <a:cubicBezTo>
                    <a:pt x="74330" y="16660"/>
                    <a:pt x="57670" y="0"/>
                    <a:pt x="37165" y="0"/>
                  </a:cubicBezTo>
                  <a:cubicBezTo>
                    <a:pt x="16661" y="0"/>
                    <a:pt x="0" y="16660"/>
                    <a:pt x="0" y="37165"/>
                  </a:cubicBezTo>
                  <a:cubicBezTo>
                    <a:pt x="0" y="56388"/>
                    <a:pt x="16661" y="74330"/>
                    <a:pt x="37165" y="7433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3" name="Rectangle 2">
            <a:extLst>
              <a:ext uri="{FF2B5EF4-FFF2-40B4-BE49-F238E27FC236}">
                <a16:creationId xmlns:a16="http://schemas.microsoft.com/office/drawing/2014/main" id="{7F035E63-E3A8-4733-8F35-F272D44027D3}"/>
              </a:ext>
            </a:extLst>
          </p:cNvPr>
          <p:cNvSpPr/>
          <p:nvPr/>
        </p:nvSpPr>
        <p:spPr>
          <a:xfrm>
            <a:off x="2962639" y="1125524"/>
            <a:ext cx="155492" cy="369332"/>
          </a:xfrm>
          <a:prstGeom prst="rect">
            <a:avLst/>
          </a:prstGeom>
        </p:spPr>
        <p:txBody>
          <a:bodyPr wrap="none" lIns="0" tIns="0" rIns="0" bIns="0">
            <a:spAutoFit/>
          </a:bodyPr>
          <a:lstStyle/>
          <a:p>
            <a:pPr defTabSz="685758"/>
            <a:r>
              <a:rPr lang="en-US" sz="2400" b="1">
                <a:solidFill>
                  <a:schemeClr val="accent2"/>
                </a:solidFill>
                <a:latin typeface="Calibri" panose="020F0502020204030204" pitchFamily="34" charset="0"/>
                <a:ea typeface="Times New Roman" panose="02020603050405020304" pitchFamily="18" charset="0"/>
                <a:cs typeface="Calibri" panose="020F0502020204030204" pitchFamily="34" charset="0"/>
              </a:rPr>
              <a:t>1</a:t>
            </a:r>
            <a:endParaRPr lang="en-US" sz="2400">
              <a:solidFill>
                <a:schemeClr val="accent2"/>
              </a:solidFill>
              <a:latin typeface="Calibri" panose="020F0502020204030204" pitchFamily="34" charset="0"/>
              <a:cs typeface="Calibri" panose="020F0502020204030204" pitchFamily="34" charset="0"/>
            </a:endParaRPr>
          </a:p>
        </p:txBody>
      </p:sp>
      <p:sp>
        <p:nvSpPr>
          <p:cNvPr id="1006" name="Rectangle 1005">
            <a:extLst>
              <a:ext uri="{FF2B5EF4-FFF2-40B4-BE49-F238E27FC236}">
                <a16:creationId xmlns:a16="http://schemas.microsoft.com/office/drawing/2014/main" id="{F685018B-D8A2-4A6F-9FB7-3845CFE07439}"/>
              </a:ext>
            </a:extLst>
          </p:cNvPr>
          <p:cNvSpPr/>
          <p:nvPr/>
        </p:nvSpPr>
        <p:spPr>
          <a:xfrm>
            <a:off x="3368270" y="1325411"/>
            <a:ext cx="155492" cy="369332"/>
          </a:xfrm>
          <a:prstGeom prst="rect">
            <a:avLst/>
          </a:prstGeom>
        </p:spPr>
        <p:txBody>
          <a:bodyPr wrap="none" lIns="0" tIns="0" rIns="0" bIns="0">
            <a:spAutoFit/>
          </a:bodyPr>
          <a:lstStyle/>
          <a:p>
            <a:pPr defTabSz="685758"/>
            <a:r>
              <a:rPr lang="en-US" sz="2400" b="1">
                <a:solidFill>
                  <a:schemeClr val="accent2"/>
                </a:solidFill>
                <a:latin typeface="Calibri" panose="020F0502020204030204" pitchFamily="34" charset="0"/>
                <a:ea typeface="Times New Roman" panose="02020603050405020304" pitchFamily="18" charset="0"/>
                <a:cs typeface="Calibri" panose="020F0502020204030204" pitchFamily="34" charset="0"/>
              </a:rPr>
              <a:t>3</a:t>
            </a:r>
            <a:endParaRPr lang="en-US" sz="2400">
              <a:solidFill>
                <a:schemeClr val="accent2"/>
              </a:solidFill>
              <a:latin typeface="Calibri" panose="020F0502020204030204" pitchFamily="34" charset="0"/>
              <a:cs typeface="Calibri" panose="020F0502020204030204" pitchFamily="34" charset="0"/>
            </a:endParaRPr>
          </a:p>
        </p:txBody>
      </p:sp>
      <p:sp>
        <p:nvSpPr>
          <p:cNvPr id="1015" name="Rectangle: Rounded Corners 1014">
            <a:extLst>
              <a:ext uri="{FF2B5EF4-FFF2-40B4-BE49-F238E27FC236}">
                <a16:creationId xmlns:a16="http://schemas.microsoft.com/office/drawing/2014/main" id="{D45F4467-E57E-4E3C-97DD-EDC2C8296128}"/>
              </a:ext>
            </a:extLst>
          </p:cNvPr>
          <p:cNvSpPr/>
          <p:nvPr/>
        </p:nvSpPr>
        <p:spPr bwMode="auto">
          <a:xfrm>
            <a:off x="3320993" y="3929419"/>
            <a:ext cx="2520000" cy="25200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85758"/>
            <a:r>
              <a:rPr lang="en-US" sz="1400" b="1" dirty="0" err="1">
                <a:solidFill>
                  <a:srgbClr val="FFFFFF"/>
                </a:solidFill>
                <a:latin typeface="Calibri" panose="020F0502020204030204" pitchFamily="34" charset="0"/>
                <a:cs typeface="Calibri" panose="020F0502020204030204" pitchFamily="34" charset="0"/>
              </a:rPr>
              <a:t>Registro</a:t>
            </a:r>
            <a:endParaRPr lang="en-US" sz="1400" b="1" dirty="0">
              <a:solidFill>
                <a:srgbClr val="FFFFFF"/>
              </a:solidFill>
              <a:latin typeface="Calibri" panose="020F0502020204030204" pitchFamily="34" charset="0"/>
              <a:cs typeface="Calibri" panose="020F0502020204030204" pitchFamily="34" charset="0"/>
            </a:endParaRPr>
          </a:p>
        </p:txBody>
      </p:sp>
      <p:sp>
        <p:nvSpPr>
          <p:cNvPr id="1017" name="Rectangle 1016">
            <a:extLst>
              <a:ext uri="{FF2B5EF4-FFF2-40B4-BE49-F238E27FC236}">
                <a16:creationId xmlns:a16="http://schemas.microsoft.com/office/drawing/2014/main" id="{3BDC052A-4039-498C-9202-692B55AFCAF5}"/>
              </a:ext>
            </a:extLst>
          </p:cNvPr>
          <p:cNvSpPr/>
          <p:nvPr/>
        </p:nvSpPr>
        <p:spPr>
          <a:xfrm>
            <a:off x="3368270" y="4198103"/>
            <a:ext cx="155492" cy="369332"/>
          </a:xfrm>
          <a:prstGeom prst="rect">
            <a:avLst/>
          </a:prstGeom>
        </p:spPr>
        <p:txBody>
          <a:bodyPr wrap="none" lIns="0" tIns="0" rIns="0" bIns="0">
            <a:spAutoFit/>
          </a:bodyPr>
          <a:lstStyle/>
          <a:p>
            <a:pPr defTabSz="685758"/>
            <a:r>
              <a:rPr lang="en-US" sz="2400" b="1">
                <a:solidFill>
                  <a:schemeClr val="accent2"/>
                </a:solidFill>
                <a:latin typeface="Calibri" panose="020F0502020204030204" pitchFamily="34" charset="0"/>
                <a:ea typeface="Times New Roman" panose="02020603050405020304" pitchFamily="18" charset="0"/>
                <a:cs typeface="Calibri" panose="020F0502020204030204" pitchFamily="34" charset="0"/>
              </a:rPr>
              <a:t>4</a:t>
            </a:r>
            <a:endParaRPr lang="en-US" sz="2100">
              <a:solidFill>
                <a:schemeClr val="accent2"/>
              </a:solidFill>
              <a:latin typeface="Calibri" panose="020F0502020204030204" pitchFamily="34" charset="0"/>
              <a:cs typeface="Calibri" panose="020F0502020204030204" pitchFamily="34" charset="0"/>
            </a:endParaRPr>
          </a:p>
        </p:txBody>
      </p:sp>
      <p:sp>
        <p:nvSpPr>
          <p:cNvPr id="1001" name="Rectangle: Rounded Corners 1014">
            <a:extLst>
              <a:ext uri="{FF2B5EF4-FFF2-40B4-BE49-F238E27FC236}">
                <a16:creationId xmlns:a16="http://schemas.microsoft.com/office/drawing/2014/main" id="{D45F4467-E57E-4E3C-97DD-EDC2C8296128}"/>
              </a:ext>
            </a:extLst>
          </p:cNvPr>
          <p:cNvSpPr/>
          <p:nvPr/>
        </p:nvSpPr>
        <p:spPr bwMode="auto">
          <a:xfrm>
            <a:off x="3320993" y="1667613"/>
            <a:ext cx="2520000" cy="252000"/>
          </a:xfrm>
          <a:prstGeom prst="roundRect">
            <a:avLst>
              <a:gd name="adj" fmla="val 50000"/>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ctr" anchorCtr="0" forceAA="0" compatLnSpc="1">
            <a:prstTxWarp prst="textNoShape">
              <a:avLst/>
            </a:prstTxWarp>
            <a:noAutofit/>
          </a:bodyPr>
          <a:lstStyle/>
          <a:p>
            <a:pPr algn="ctr" defTabSz="685758"/>
            <a:r>
              <a:rPr lang="en-US" sz="1400" b="1" dirty="0">
                <a:solidFill>
                  <a:srgbClr val="FFFFFF"/>
                </a:solidFill>
                <a:latin typeface="Calibri" panose="020F0502020204030204" pitchFamily="34" charset="0"/>
                <a:cs typeface="Calibri" panose="020F0502020204030204" pitchFamily="34" charset="0"/>
              </a:rPr>
              <a:t>Motor</a:t>
            </a:r>
          </a:p>
        </p:txBody>
      </p:sp>
      <p:sp>
        <p:nvSpPr>
          <p:cNvPr id="1012" name="Rectangle 1011">
            <a:extLst>
              <a:ext uri="{FF2B5EF4-FFF2-40B4-BE49-F238E27FC236}">
                <a16:creationId xmlns:a16="http://schemas.microsoft.com/office/drawing/2014/main" id="{E6ADA07A-B79C-46C7-94CC-F872E4A9B779}"/>
              </a:ext>
            </a:extLst>
          </p:cNvPr>
          <p:cNvSpPr/>
          <p:nvPr/>
        </p:nvSpPr>
        <p:spPr>
          <a:xfrm>
            <a:off x="3613111" y="4221735"/>
            <a:ext cx="2227881" cy="3240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lIns="0" tIns="0" rIns="0" bIns="0">
            <a:noAutofit/>
          </a:bodyPr>
          <a:lstStyle/>
          <a:p>
            <a:pPr defTabSz="685758"/>
            <a:r>
              <a:rPr lang="en-US" sz="1000" dirty="0" err="1">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Registro</a:t>
            </a:r>
            <a:r>
              <a:rPr lang="en-US" sz="1000" dirty="0">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 global del </a:t>
            </a:r>
            <a:r>
              <a:rPr lang="en-US" sz="1000" dirty="0" err="1">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crecimiento</a:t>
            </a:r>
            <a:r>
              <a:rPr lang="en-US" sz="1000" dirty="0">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 de </a:t>
            </a:r>
            <a:r>
              <a:rPr lang="en-US" sz="1000" dirty="0" err="1">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biomasa</a:t>
            </a:r>
            <a:r>
              <a:rPr lang="en-US" sz="1000" dirty="0">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 y del CO₂ </a:t>
            </a:r>
            <a:r>
              <a:rPr lang="en-US" sz="1000" dirty="0" err="1">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capturado</a:t>
            </a:r>
            <a:r>
              <a:rPr lang="en-US" sz="1000" dirty="0">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 </a:t>
            </a:r>
            <a:r>
              <a:rPr lang="en-US" sz="1000" dirty="0" err="1">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por</a:t>
            </a:r>
            <a:r>
              <a:rPr lang="en-US" sz="1000" dirty="0">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 la </a:t>
            </a:r>
            <a:r>
              <a:rPr lang="en-US" sz="1000" dirty="0" err="1">
                <a:solidFill>
                  <a:srgbClr val="1A1A1A"/>
                </a:solidFill>
                <a:latin typeface="Calibri Light" panose="020F0302020204030204" pitchFamily="34" charset="0"/>
                <a:ea typeface="Times New Roman" panose="02020603050405020304" pitchFamily="18" charset="0"/>
                <a:cs typeface="Calibri Light" panose="020F0302020204030204" pitchFamily="34" charset="0"/>
              </a:rPr>
              <a:t>agroforestería</a:t>
            </a:r>
            <a:endParaRPr lang="en-US" sz="1000" dirty="0">
              <a:solidFill>
                <a:srgbClr val="1A1A1A"/>
              </a:solidFill>
              <a:latin typeface="Calibri Light" panose="020F0302020204030204" pitchFamily="34" charset="0"/>
              <a:ea typeface="Times New Roman" panose="02020603050405020304" pitchFamily="18" charset="0"/>
              <a:cs typeface="Calibri Light" panose="020F0302020204030204" pitchFamily="34" charset="0"/>
            </a:endParaRPr>
          </a:p>
        </p:txBody>
      </p:sp>
      <p:sp>
        <p:nvSpPr>
          <p:cNvPr id="1019" name="Rectangle 1018">
            <a:extLst>
              <a:ext uri="{FF2B5EF4-FFF2-40B4-BE49-F238E27FC236}">
                <a16:creationId xmlns:a16="http://schemas.microsoft.com/office/drawing/2014/main" id="{7F035E63-E3A8-4733-8F35-F272D44027D3}"/>
              </a:ext>
            </a:extLst>
          </p:cNvPr>
          <p:cNvSpPr/>
          <p:nvPr/>
        </p:nvSpPr>
        <p:spPr>
          <a:xfrm>
            <a:off x="6026711" y="1125524"/>
            <a:ext cx="155492" cy="369332"/>
          </a:xfrm>
          <a:prstGeom prst="rect">
            <a:avLst/>
          </a:prstGeom>
        </p:spPr>
        <p:txBody>
          <a:bodyPr wrap="none" lIns="0" tIns="0" rIns="0" bIns="0">
            <a:spAutoFit/>
          </a:bodyPr>
          <a:lstStyle/>
          <a:p>
            <a:pPr defTabSz="685758"/>
            <a:r>
              <a:rPr lang="en-US" sz="2400" b="1">
                <a:solidFill>
                  <a:schemeClr val="accent2"/>
                </a:solidFill>
                <a:latin typeface="Calibri" panose="020F0502020204030204" pitchFamily="34" charset="0"/>
                <a:ea typeface="Times New Roman" panose="02020603050405020304" pitchFamily="18" charset="0"/>
                <a:cs typeface="Calibri" panose="020F0502020204030204" pitchFamily="34" charset="0"/>
              </a:rPr>
              <a:t>2</a:t>
            </a:r>
            <a:endParaRPr lang="en-US" sz="2400">
              <a:solidFill>
                <a:schemeClr val="accent2"/>
              </a:solidFill>
              <a:latin typeface="Calibri" panose="020F0502020204030204" pitchFamily="34" charset="0"/>
              <a:cs typeface="Calibri" panose="020F0502020204030204" pitchFamily="34" charset="0"/>
            </a:endParaRPr>
          </a:p>
        </p:txBody>
      </p:sp>
      <p:pic>
        <p:nvPicPr>
          <p:cNvPr id="1003" name="Picture 1002">
            <a:extLst>
              <a:ext uri="{FF2B5EF4-FFF2-40B4-BE49-F238E27FC236}">
                <a16:creationId xmlns:a16="http://schemas.microsoft.com/office/drawing/2014/main" id="{58128C5E-2FD6-471F-8A6F-ABAE7D6FA52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47734" y="2753108"/>
            <a:ext cx="756000" cy="756000"/>
          </a:xfrm>
          <a:prstGeom prst="rect">
            <a:avLst/>
          </a:prstGeom>
        </p:spPr>
      </p:pic>
      <p:sp>
        <p:nvSpPr>
          <p:cNvPr id="1020" name="Freeform: Shape 2617">
            <a:extLst>
              <a:ext uri="{FF2B5EF4-FFF2-40B4-BE49-F238E27FC236}">
                <a16:creationId xmlns:a16="http://schemas.microsoft.com/office/drawing/2014/main" id="{8AB62882-6E77-4769-A46B-F2984491D39F}"/>
              </a:ext>
            </a:extLst>
          </p:cNvPr>
          <p:cNvSpPr/>
          <p:nvPr/>
        </p:nvSpPr>
        <p:spPr bwMode="auto">
          <a:xfrm flipH="1">
            <a:off x="529734" y="3041108"/>
            <a:ext cx="792000" cy="180000"/>
          </a:xfrm>
          <a:custGeom>
            <a:avLst/>
            <a:gdLst>
              <a:gd name="connsiteX0" fmla="*/ 1088747 w 1103538"/>
              <a:gd name="connsiteY0" fmla="*/ 0 h 245475"/>
              <a:gd name="connsiteX1" fmla="*/ 14791 w 1103538"/>
              <a:gd name="connsiteY1" fmla="*/ 0 h 245475"/>
              <a:gd name="connsiteX2" fmla="*/ 11210 w 1103538"/>
              <a:gd name="connsiteY2" fmla="*/ 11536 h 245475"/>
              <a:gd name="connsiteX3" fmla="*/ 0 w 1103538"/>
              <a:gd name="connsiteY3" fmla="*/ 122737 h 245475"/>
              <a:gd name="connsiteX4" fmla="*/ 11210 w 1103538"/>
              <a:gd name="connsiteY4" fmla="*/ 233938 h 245475"/>
              <a:gd name="connsiteX5" fmla="*/ 14791 w 1103538"/>
              <a:gd name="connsiteY5" fmla="*/ 245475 h 245475"/>
              <a:gd name="connsiteX6" fmla="*/ 1088747 w 1103538"/>
              <a:gd name="connsiteY6" fmla="*/ 245475 h 245475"/>
              <a:gd name="connsiteX7" fmla="*/ 1092328 w 1103538"/>
              <a:gd name="connsiteY7" fmla="*/ 233938 h 245475"/>
              <a:gd name="connsiteX8" fmla="*/ 1103538 w 1103538"/>
              <a:gd name="connsiteY8" fmla="*/ 122737 h 245475"/>
              <a:gd name="connsiteX9" fmla="*/ 1092328 w 1103538"/>
              <a:gd name="connsiteY9" fmla="*/ 11536 h 24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538" h="245475">
                <a:moveTo>
                  <a:pt x="1088747" y="0"/>
                </a:moveTo>
                <a:lnTo>
                  <a:pt x="14791" y="0"/>
                </a:lnTo>
                <a:lnTo>
                  <a:pt x="11210" y="11536"/>
                </a:lnTo>
                <a:cubicBezTo>
                  <a:pt x="3860" y="47455"/>
                  <a:pt x="0" y="84645"/>
                  <a:pt x="0" y="122737"/>
                </a:cubicBezTo>
                <a:cubicBezTo>
                  <a:pt x="0" y="160829"/>
                  <a:pt x="3860" y="198019"/>
                  <a:pt x="11210" y="233938"/>
                </a:cubicBezTo>
                <a:lnTo>
                  <a:pt x="14791" y="245475"/>
                </a:lnTo>
                <a:lnTo>
                  <a:pt x="1088747" y="245475"/>
                </a:lnTo>
                <a:lnTo>
                  <a:pt x="1092328" y="233938"/>
                </a:lnTo>
                <a:cubicBezTo>
                  <a:pt x="1099678" y="198019"/>
                  <a:pt x="1103538" y="160829"/>
                  <a:pt x="1103538" y="122737"/>
                </a:cubicBezTo>
                <a:cubicBezTo>
                  <a:pt x="1103538" y="84645"/>
                  <a:pt x="1099678" y="47455"/>
                  <a:pt x="1092328" y="11536"/>
                </a:cubicBezTo>
                <a:close/>
              </a:path>
            </a:pathLst>
          </a:cu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 tIns="6858" rIns="20574" bIns="6858" numCol="1" spcCol="0" rtlCol="0" fromWordArt="0" anchor="ctr" anchorCtr="0" forceAA="0" compatLnSpc="1">
            <a:prstTxWarp prst="textNoShape">
              <a:avLst/>
            </a:prstTxWarp>
            <a:noAutofit/>
          </a:bodyPr>
          <a:lstStyle/>
          <a:p>
            <a:pPr algn="ctr" defTabSz="685758"/>
            <a:r>
              <a:rPr lang="en-GB" sz="900" b="1" dirty="0" err="1">
                <a:solidFill>
                  <a:srgbClr val="1A1A1A"/>
                </a:solidFill>
                <a:latin typeface="Calibri" panose="020F0502020204030204" pitchFamily="34" charset="0"/>
                <a:cs typeface="Calibri" panose="020F0502020204030204" pitchFamily="34" charset="0"/>
              </a:rPr>
              <a:t>Agricultor</a:t>
            </a:r>
            <a:endParaRPr lang="en-GB" sz="900" b="1" dirty="0">
              <a:solidFill>
                <a:srgbClr val="1A1A1A"/>
              </a:solidFill>
              <a:latin typeface="Calibri" panose="020F0502020204030204" pitchFamily="34" charset="0"/>
              <a:cs typeface="Calibri" panose="020F0502020204030204" pitchFamily="34" charset="0"/>
            </a:endParaRPr>
          </a:p>
        </p:txBody>
      </p:sp>
      <p:sp>
        <p:nvSpPr>
          <p:cNvPr id="1021" name="Oval 1020">
            <a:extLst>
              <a:ext uri="{FF2B5EF4-FFF2-40B4-BE49-F238E27FC236}">
                <a16:creationId xmlns:a16="http://schemas.microsoft.com/office/drawing/2014/main" id="{1268AF5C-5B91-42D2-987E-C56F01DACC67}"/>
              </a:ext>
            </a:extLst>
          </p:cNvPr>
          <p:cNvSpPr/>
          <p:nvPr/>
        </p:nvSpPr>
        <p:spPr bwMode="auto">
          <a:xfrm>
            <a:off x="475734" y="2681108"/>
            <a:ext cx="900000" cy="90000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37" fontAlgn="base">
              <a:spcBef>
                <a:spcPct val="0"/>
              </a:spcBef>
              <a:spcAft>
                <a:spcPct val="0"/>
              </a:spcAft>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pic>
        <p:nvPicPr>
          <p:cNvPr id="1022" name="Picture 1021">
            <a:extLst>
              <a:ext uri="{FF2B5EF4-FFF2-40B4-BE49-F238E27FC236}">
                <a16:creationId xmlns:a16="http://schemas.microsoft.com/office/drawing/2014/main" id="{58128C5E-2FD6-471F-8A6F-ABAE7D6FA522}"/>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08658" y="3785622"/>
            <a:ext cx="756000" cy="756000"/>
          </a:xfrm>
          <a:prstGeom prst="rect">
            <a:avLst/>
          </a:prstGeom>
        </p:spPr>
      </p:pic>
      <p:sp>
        <p:nvSpPr>
          <p:cNvPr id="1023" name="Freeform: Shape 2617">
            <a:extLst>
              <a:ext uri="{FF2B5EF4-FFF2-40B4-BE49-F238E27FC236}">
                <a16:creationId xmlns:a16="http://schemas.microsoft.com/office/drawing/2014/main" id="{8AB62882-6E77-4769-A46B-F2984491D39F}"/>
              </a:ext>
            </a:extLst>
          </p:cNvPr>
          <p:cNvSpPr/>
          <p:nvPr/>
        </p:nvSpPr>
        <p:spPr bwMode="auto">
          <a:xfrm flipH="1">
            <a:off x="690658" y="4073622"/>
            <a:ext cx="792000" cy="180000"/>
          </a:xfrm>
          <a:custGeom>
            <a:avLst/>
            <a:gdLst>
              <a:gd name="connsiteX0" fmla="*/ 1088747 w 1103538"/>
              <a:gd name="connsiteY0" fmla="*/ 0 h 245475"/>
              <a:gd name="connsiteX1" fmla="*/ 14791 w 1103538"/>
              <a:gd name="connsiteY1" fmla="*/ 0 h 245475"/>
              <a:gd name="connsiteX2" fmla="*/ 11210 w 1103538"/>
              <a:gd name="connsiteY2" fmla="*/ 11536 h 245475"/>
              <a:gd name="connsiteX3" fmla="*/ 0 w 1103538"/>
              <a:gd name="connsiteY3" fmla="*/ 122737 h 245475"/>
              <a:gd name="connsiteX4" fmla="*/ 11210 w 1103538"/>
              <a:gd name="connsiteY4" fmla="*/ 233938 h 245475"/>
              <a:gd name="connsiteX5" fmla="*/ 14791 w 1103538"/>
              <a:gd name="connsiteY5" fmla="*/ 245475 h 245475"/>
              <a:gd name="connsiteX6" fmla="*/ 1088747 w 1103538"/>
              <a:gd name="connsiteY6" fmla="*/ 245475 h 245475"/>
              <a:gd name="connsiteX7" fmla="*/ 1092328 w 1103538"/>
              <a:gd name="connsiteY7" fmla="*/ 233938 h 245475"/>
              <a:gd name="connsiteX8" fmla="*/ 1103538 w 1103538"/>
              <a:gd name="connsiteY8" fmla="*/ 122737 h 245475"/>
              <a:gd name="connsiteX9" fmla="*/ 1092328 w 1103538"/>
              <a:gd name="connsiteY9" fmla="*/ 11536 h 24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538" h="245475">
                <a:moveTo>
                  <a:pt x="1088747" y="0"/>
                </a:moveTo>
                <a:lnTo>
                  <a:pt x="14791" y="0"/>
                </a:lnTo>
                <a:lnTo>
                  <a:pt x="11210" y="11536"/>
                </a:lnTo>
                <a:cubicBezTo>
                  <a:pt x="3860" y="47455"/>
                  <a:pt x="0" y="84645"/>
                  <a:pt x="0" y="122737"/>
                </a:cubicBezTo>
                <a:cubicBezTo>
                  <a:pt x="0" y="160829"/>
                  <a:pt x="3860" y="198019"/>
                  <a:pt x="11210" y="233938"/>
                </a:cubicBezTo>
                <a:lnTo>
                  <a:pt x="14791" y="245475"/>
                </a:lnTo>
                <a:lnTo>
                  <a:pt x="1088747" y="245475"/>
                </a:lnTo>
                <a:lnTo>
                  <a:pt x="1092328" y="233938"/>
                </a:lnTo>
                <a:cubicBezTo>
                  <a:pt x="1099678" y="198019"/>
                  <a:pt x="1103538" y="160829"/>
                  <a:pt x="1103538" y="122737"/>
                </a:cubicBezTo>
                <a:cubicBezTo>
                  <a:pt x="1103538" y="84645"/>
                  <a:pt x="1099678" y="47455"/>
                  <a:pt x="1092328" y="11536"/>
                </a:cubicBezTo>
                <a:close/>
              </a:path>
            </a:pathLst>
          </a:cu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 tIns="6858" rIns="20574" bIns="6858" numCol="1" spcCol="0" rtlCol="0" fromWordArt="0" anchor="ctr" anchorCtr="0" forceAA="0" compatLnSpc="1">
            <a:prstTxWarp prst="textNoShape">
              <a:avLst/>
            </a:prstTxWarp>
            <a:noAutofit/>
          </a:bodyPr>
          <a:lstStyle/>
          <a:p>
            <a:pPr algn="ctr" defTabSz="685758"/>
            <a:r>
              <a:rPr lang="en-GB" sz="900" b="1" dirty="0" err="1">
                <a:solidFill>
                  <a:srgbClr val="1A1A1A"/>
                </a:solidFill>
                <a:latin typeface="Calibri" panose="020F0502020204030204" pitchFamily="34" charset="0"/>
                <a:cs typeface="Calibri" panose="020F0502020204030204" pitchFamily="34" charset="0"/>
              </a:rPr>
              <a:t>Agricultor</a:t>
            </a:r>
            <a:endParaRPr lang="en-GB" sz="900" b="1" dirty="0">
              <a:solidFill>
                <a:srgbClr val="1A1A1A"/>
              </a:solidFill>
              <a:latin typeface="Calibri" panose="020F0502020204030204" pitchFamily="34" charset="0"/>
              <a:cs typeface="Calibri" panose="020F0502020204030204" pitchFamily="34" charset="0"/>
            </a:endParaRPr>
          </a:p>
        </p:txBody>
      </p:sp>
      <p:sp>
        <p:nvSpPr>
          <p:cNvPr id="1024" name="Oval 1023">
            <a:extLst>
              <a:ext uri="{FF2B5EF4-FFF2-40B4-BE49-F238E27FC236}">
                <a16:creationId xmlns:a16="http://schemas.microsoft.com/office/drawing/2014/main" id="{1268AF5C-5B91-42D2-987E-C56F01DACC67}"/>
              </a:ext>
            </a:extLst>
          </p:cNvPr>
          <p:cNvSpPr/>
          <p:nvPr/>
        </p:nvSpPr>
        <p:spPr bwMode="auto">
          <a:xfrm>
            <a:off x="636658" y="3713622"/>
            <a:ext cx="900000" cy="90000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37" fontAlgn="base">
              <a:spcBef>
                <a:spcPct val="0"/>
              </a:spcBef>
              <a:spcAft>
                <a:spcPct val="0"/>
              </a:spcAft>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6" name="Group 25"/>
          <p:cNvGrpSpPr/>
          <p:nvPr/>
        </p:nvGrpSpPr>
        <p:grpSpPr>
          <a:xfrm>
            <a:off x="1337907" y="2499742"/>
            <a:ext cx="1934521" cy="1759732"/>
            <a:chOff x="1337907" y="2499742"/>
            <a:chExt cx="1934521" cy="1759732"/>
          </a:xfrm>
        </p:grpSpPr>
        <p:grpSp>
          <p:nvGrpSpPr>
            <p:cNvPr id="35" name="Group 34"/>
            <p:cNvGrpSpPr/>
            <p:nvPr/>
          </p:nvGrpSpPr>
          <p:grpSpPr>
            <a:xfrm>
              <a:off x="2356441" y="2499742"/>
              <a:ext cx="915987" cy="316220"/>
              <a:chOff x="2901095" y="3874465"/>
              <a:chExt cx="1221316" cy="421627"/>
            </a:xfrm>
          </p:grpSpPr>
          <p:sp>
            <p:nvSpPr>
              <p:cNvPr id="116" name="Freeform: Shape 379319">
                <a:extLst>
                  <a:ext uri="{FF2B5EF4-FFF2-40B4-BE49-F238E27FC236}">
                    <a16:creationId xmlns:a16="http://schemas.microsoft.com/office/drawing/2014/main" id="{EC3A922C-662E-4853-BB3D-AD8C9D74C768}"/>
                  </a:ext>
                </a:extLst>
              </p:cNvPr>
              <p:cNvSpPr/>
              <p:nvPr/>
            </p:nvSpPr>
            <p:spPr>
              <a:xfrm>
                <a:off x="2935697" y="3911629"/>
                <a:ext cx="1152113" cy="347298"/>
              </a:xfrm>
              <a:custGeom>
                <a:avLst/>
                <a:gdLst>
                  <a:gd name="connsiteX0" fmla="*/ 1152114 w 1152113"/>
                  <a:gd name="connsiteY0" fmla="*/ 347299 h 347298"/>
                  <a:gd name="connsiteX1" fmla="*/ 588232 w 1152113"/>
                  <a:gd name="connsiteY1" fmla="*/ 347299 h 347298"/>
                  <a:gd name="connsiteX2" fmla="*/ 240931 w 1152113"/>
                  <a:gd name="connsiteY2" fmla="*/ 0 h 347298"/>
                  <a:gd name="connsiteX3" fmla="*/ 0 w 1152113"/>
                  <a:gd name="connsiteY3" fmla="*/ 0 h 347298"/>
                </a:gdLst>
                <a:ahLst/>
                <a:cxnLst>
                  <a:cxn ang="0">
                    <a:pos x="connsiteX0" y="connsiteY0"/>
                  </a:cxn>
                  <a:cxn ang="0">
                    <a:pos x="connsiteX1" y="connsiteY1"/>
                  </a:cxn>
                  <a:cxn ang="0">
                    <a:pos x="connsiteX2" y="connsiteY2"/>
                  </a:cxn>
                  <a:cxn ang="0">
                    <a:pos x="connsiteX3" y="connsiteY3"/>
                  </a:cxn>
                </a:cxnLst>
                <a:rect l="l" t="t" r="r" b="b"/>
                <a:pathLst>
                  <a:path w="1152113" h="347298">
                    <a:moveTo>
                      <a:pt x="1152114" y="347299"/>
                    </a:moveTo>
                    <a:lnTo>
                      <a:pt x="588232" y="347299"/>
                    </a:lnTo>
                    <a:lnTo>
                      <a:pt x="240931" y="0"/>
                    </a:lnTo>
                    <a:lnTo>
                      <a:pt x="0" y="0"/>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17" name="Freeform: Shape 379320">
                <a:extLst>
                  <a:ext uri="{FF2B5EF4-FFF2-40B4-BE49-F238E27FC236}">
                    <a16:creationId xmlns:a16="http://schemas.microsoft.com/office/drawing/2014/main" id="{4C5D9FAF-B829-4F39-8206-C4E12F8ACA30}"/>
                  </a:ext>
                </a:extLst>
              </p:cNvPr>
              <p:cNvSpPr/>
              <p:nvPr/>
            </p:nvSpPr>
            <p:spPr>
              <a:xfrm>
                <a:off x="4048082" y="4221763"/>
                <a:ext cx="74329" cy="74329"/>
              </a:xfrm>
              <a:custGeom>
                <a:avLst/>
                <a:gdLst>
                  <a:gd name="connsiteX0" fmla="*/ 37165 w 74329"/>
                  <a:gd name="connsiteY0" fmla="*/ 0 h 74329"/>
                  <a:gd name="connsiteX1" fmla="*/ 74330 w 74329"/>
                  <a:gd name="connsiteY1" fmla="*/ 37165 h 74329"/>
                  <a:gd name="connsiteX2" fmla="*/ 37165 w 74329"/>
                  <a:gd name="connsiteY2" fmla="*/ 74330 h 74329"/>
                  <a:gd name="connsiteX3" fmla="*/ 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57670" y="0"/>
                      <a:pt x="74330" y="16660"/>
                      <a:pt x="74330" y="37165"/>
                    </a:cubicBezTo>
                    <a:cubicBezTo>
                      <a:pt x="74330" y="57670"/>
                      <a:pt x="57670" y="74330"/>
                      <a:pt x="37165" y="74330"/>
                    </a:cubicBezTo>
                    <a:cubicBezTo>
                      <a:pt x="16660" y="74330"/>
                      <a:pt x="0" y="57670"/>
                      <a:pt x="0" y="37165"/>
                    </a:cubicBezTo>
                    <a:cubicBezTo>
                      <a:pt x="0" y="16660"/>
                      <a:pt x="1666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18" name="Freeform: Shape 379321">
                <a:extLst>
                  <a:ext uri="{FF2B5EF4-FFF2-40B4-BE49-F238E27FC236}">
                    <a16:creationId xmlns:a16="http://schemas.microsoft.com/office/drawing/2014/main" id="{9902283F-2A45-4B30-AD14-60B5213C772B}"/>
                  </a:ext>
                </a:extLst>
              </p:cNvPr>
              <p:cNvSpPr/>
              <p:nvPr/>
            </p:nvSpPr>
            <p:spPr>
              <a:xfrm>
                <a:off x="2901095" y="3874465"/>
                <a:ext cx="74329" cy="74329"/>
              </a:xfrm>
              <a:custGeom>
                <a:avLst/>
                <a:gdLst>
                  <a:gd name="connsiteX0" fmla="*/ 37165 w 74329"/>
                  <a:gd name="connsiteY0" fmla="*/ 0 h 74329"/>
                  <a:gd name="connsiteX1" fmla="*/ 0 w 74329"/>
                  <a:gd name="connsiteY1" fmla="*/ 37165 h 74329"/>
                  <a:gd name="connsiteX2" fmla="*/ 37165 w 74329"/>
                  <a:gd name="connsiteY2" fmla="*/ 74330 h 74329"/>
                  <a:gd name="connsiteX3" fmla="*/ 7433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16660" y="0"/>
                      <a:pt x="0" y="16660"/>
                      <a:pt x="0" y="37165"/>
                    </a:cubicBezTo>
                    <a:cubicBezTo>
                      <a:pt x="0" y="57670"/>
                      <a:pt x="16660" y="74330"/>
                      <a:pt x="37165" y="74330"/>
                    </a:cubicBezTo>
                    <a:cubicBezTo>
                      <a:pt x="57670" y="74330"/>
                      <a:pt x="74330" y="57670"/>
                      <a:pt x="74330" y="37165"/>
                    </a:cubicBezTo>
                    <a:cubicBezTo>
                      <a:pt x="74330" y="16660"/>
                      <a:pt x="5767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grpSp>
        <p:grpSp>
          <p:nvGrpSpPr>
            <p:cNvPr id="108" name="Graphic 379285">
              <a:extLst>
                <a:ext uri="{FF2B5EF4-FFF2-40B4-BE49-F238E27FC236}">
                  <a16:creationId xmlns:a16="http://schemas.microsoft.com/office/drawing/2014/main" id="{D973D960-FBCD-4D6F-9AA8-88935B4C1FE3}"/>
                </a:ext>
              </a:extLst>
            </p:cNvPr>
            <p:cNvGrpSpPr/>
            <p:nvPr/>
          </p:nvGrpSpPr>
          <p:grpSpPr>
            <a:xfrm>
              <a:off x="1888356" y="2790011"/>
              <a:ext cx="1343705" cy="287387"/>
              <a:chOff x="2276980" y="3148622"/>
              <a:chExt cx="1791606" cy="383182"/>
            </a:xfrm>
            <a:solidFill>
              <a:schemeClr val="accent1"/>
            </a:solidFill>
          </p:grpSpPr>
          <p:sp>
            <p:nvSpPr>
              <p:cNvPr id="131" name="Freeform: Shape 379291">
                <a:extLst>
                  <a:ext uri="{FF2B5EF4-FFF2-40B4-BE49-F238E27FC236}">
                    <a16:creationId xmlns:a16="http://schemas.microsoft.com/office/drawing/2014/main" id="{4F5B83CF-C615-4F88-A2C7-E0B53963ECD5}"/>
                  </a:ext>
                </a:extLst>
              </p:cNvPr>
              <p:cNvSpPr/>
              <p:nvPr/>
            </p:nvSpPr>
            <p:spPr>
              <a:xfrm>
                <a:off x="2311583" y="3185785"/>
                <a:ext cx="1722403" cy="310134"/>
              </a:xfrm>
              <a:custGeom>
                <a:avLst/>
                <a:gdLst>
                  <a:gd name="connsiteX0" fmla="*/ 1722404 w 1722403"/>
                  <a:gd name="connsiteY0" fmla="*/ 310134 h 310134"/>
                  <a:gd name="connsiteX1" fmla="*/ 976541 w 1722403"/>
                  <a:gd name="connsiteY1" fmla="*/ 310134 h 310134"/>
                  <a:gd name="connsiteX2" fmla="*/ 667688 w 1722403"/>
                  <a:gd name="connsiteY2" fmla="*/ 0 h 310134"/>
                  <a:gd name="connsiteX3" fmla="*/ 0 w 1722403"/>
                  <a:gd name="connsiteY3" fmla="*/ 0 h 310134"/>
                </a:gdLst>
                <a:ahLst/>
                <a:cxnLst>
                  <a:cxn ang="0">
                    <a:pos x="connsiteX0" y="connsiteY0"/>
                  </a:cxn>
                  <a:cxn ang="0">
                    <a:pos x="connsiteX1" y="connsiteY1"/>
                  </a:cxn>
                  <a:cxn ang="0">
                    <a:pos x="connsiteX2" y="connsiteY2"/>
                  </a:cxn>
                  <a:cxn ang="0">
                    <a:pos x="connsiteX3" y="connsiteY3"/>
                  </a:cxn>
                </a:cxnLst>
                <a:rect l="l" t="t" r="r" b="b"/>
                <a:pathLst>
                  <a:path w="1722403" h="310134">
                    <a:moveTo>
                      <a:pt x="1722404" y="310134"/>
                    </a:moveTo>
                    <a:lnTo>
                      <a:pt x="976541" y="310134"/>
                    </a:lnTo>
                    <a:lnTo>
                      <a:pt x="667688" y="0"/>
                    </a:lnTo>
                    <a:lnTo>
                      <a:pt x="0" y="0"/>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32" name="Freeform: Shape 379292">
                <a:extLst>
                  <a:ext uri="{FF2B5EF4-FFF2-40B4-BE49-F238E27FC236}">
                    <a16:creationId xmlns:a16="http://schemas.microsoft.com/office/drawing/2014/main" id="{E3EC604E-FBF1-49BF-A421-A5A61CF8299D}"/>
                  </a:ext>
                </a:extLst>
              </p:cNvPr>
              <p:cNvSpPr/>
              <p:nvPr/>
            </p:nvSpPr>
            <p:spPr>
              <a:xfrm>
                <a:off x="3994257" y="3457475"/>
                <a:ext cx="74329" cy="74329"/>
              </a:xfrm>
              <a:custGeom>
                <a:avLst/>
                <a:gdLst>
                  <a:gd name="connsiteX0" fmla="*/ 37165 w 74329"/>
                  <a:gd name="connsiteY0" fmla="*/ 0 h 74329"/>
                  <a:gd name="connsiteX1" fmla="*/ 74330 w 74329"/>
                  <a:gd name="connsiteY1" fmla="*/ 37165 h 74329"/>
                  <a:gd name="connsiteX2" fmla="*/ 37165 w 74329"/>
                  <a:gd name="connsiteY2" fmla="*/ 74330 h 74329"/>
                  <a:gd name="connsiteX3" fmla="*/ 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57670" y="0"/>
                      <a:pt x="74330" y="16660"/>
                      <a:pt x="74330" y="37165"/>
                    </a:cubicBezTo>
                    <a:cubicBezTo>
                      <a:pt x="74330" y="57670"/>
                      <a:pt x="57670" y="74330"/>
                      <a:pt x="37165" y="74330"/>
                    </a:cubicBezTo>
                    <a:cubicBezTo>
                      <a:pt x="16660" y="74330"/>
                      <a:pt x="0" y="57670"/>
                      <a:pt x="0" y="37165"/>
                    </a:cubicBezTo>
                    <a:cubicBezTo>
                      <a:pt x="0" y="16660"/>
                      <a:pt x="1666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33" name="Freeform: Shape 379293">
                <a:extLst>
                  <a:ext uri="{FF2B5EF4-FFF2-40B4-BE49-F238E27FC236}">
                    <a16:creationId xmlns:a16="http://schemas.microsoft.com/office/drawing/2014/main" id="{410CC17F-637D-44F4-9FC8-480A63441EAF}"/>
                  </a:ext>
                </a:extLst>
              </p:cNvPr>
              <p:cNvSpPr/>
              <p:nvPr/>
            </p:nvSpPr>
            <p:spPr>
              <a:xfrm>
                <a:off x="2276980" y="3148622"/>
                <a:ext cx="74329" cy="74329"/>
              </a:xfrm>
              <a:custGeom>
                <a:avLst/>
                <a:gdLst>
                  <a:gd name="connsiteX0" fmla="*/ 37165 w 74329"/>
                  <a:gd name="connsiteY0" fmla="*/ 0 h 74329"/>
                  <a:gd name="connsiteX1" fmla="*/ 0 w 74329"/>
                  <a:gd name="connsiteY1" fmla="*/ 37165 h 74329"/>
                  <a:gd name="connsiteX2" fmla="*/ 37165 w 74329"/>
                  <a:gd name="connsiteY2" fmla="*/ 74330 h 74329"/>
                  <a:gd name="connsiteX3" fmla="*/ 7433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16660" y="0"/>
                      <a:pt x="0" y="16660"/>
                      <a:pt x="0" y="37165"/>
                    </a:cubicBezTo>
                    <a:cubicBezTo>
                      <a:pt x="0" y="57670"/>
                      <a:pt x="16660" y="74330"/>
                      <a:pt x="37165" y="74330"/>
                    </a:cubicBezTo>
                    <a:cubicBezTo>
                      <a:pt x="57670" y="74330"/>
                      <a:pt x="74330" y="57670"/>
                      <a:pt x="74330" y="37165"/>
                    </a:cubicBezTo>
                    <a:cubicBezTo>
                      <a:pt x="74330" y="16660"/>
                      <a:pt x="5767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grpSp>
        <p:sp>
          <p:nvSpPr>
            <p:cNvPr id="1009" name="Freeform: Shape 379295">
              <a:extLst>
                <a:ext uri="{FF2B5EF4-FFF2-40B4-BE49-F238E27FC236}">
                  <a16:creationId xmlns:a16="http://schemas.microsoft.com/office/drawing/2014/main" id="{D2040AB9-1602-4382-B5DE-82FFEDA2EC76}"/>
                </a:ext>
              </a:extLst>
            </p:cNvPr>
            <p:cNvSpPr/>
            <p:nvPr/>
          </p:nvSpPr>
          <p:spPr>
            <a:xfrm>
              <a:off x="1337907" y="3163751"/>
              <a:ext cx="1717298" cy="485385"/>
            </a:xfrm>
            <a:custGeom>
              <a:avLst/>
              <a:gdLst>
                <a:gd name="connsiteX0" fmla="*/ 2511839 w 2511838"/>
                <a:gd name="connsiteY0" fmla="*/ 0 h 647180"/>
                <a:gd name="connsiteX1" fmla="*/ 1676268 w 2511838"/>
                <a:gd name="connsiteY1" fmla="*/ 0 h 647180"/>
                <a:gd name="connsiteX2" fmla="*/ 1361007 w 2511838"/>
                <a:gd name="connsiteY2" fmla="*/ 313979 h 647180"/>
                <a:gd name="connsiteX3" fmla="*/ 820192 w 2511838"/>
                <a:gd name="connsiteY3" fmla="*/ 313979 h 647180"/>
                <a:gd name="connsiteX4" fmla="*/ 486989 w 2511838"/>
                <a:gd name="connsiteY4" fmla="*/ 647180 h 647180"/>
                <a:gd name="connsiteX5" fmla="*/ 0 w 2511838"/>
                <a:gd name="connsiteY5" fmla="*/ 647180 h 64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1838" h="647180">
                  <a:moveTo>
                    <a:pt x="2511839" y="0"/>
                  </a:moveTo>
                  <a:lnTo>
                    <a:pt x="1676268" y="0"/>
                  </a:lnTo>
                  <a:lnTo>
                    <a:pt x="1361007" y="313979"/>
                  </a:lnTo>
                  <a:lnTo>
                    <a:pt x="820192" y="313979"/>
                  </a:lnTo>
                  <a:lnTo>
                    <a:pt x="486989" y="647180"/>
                  </a:lnTo>
                  <a:lnTo>
                    <a:pt x="0" y="647180"/>
                  </a:lnTo>
                </a:path>
              </a:pathLst>
            </a:custGeom>
            <a:ln w="9525" cap="flat">
              <a:solidFill>
                <a:schemeClr val="tx2"/>
              </a:solidFill>
              <a:prstDash val="solid"/>
              <a:miter/>
              <a:headEnd type="oval"/>
              <a:tailEnd type="oval"/>
            </a:ln>
          </p:spPr>
          <p:txBody>
            <a:bodyPr rtlCol="0" anchor="ctr"/>
            <a:lstStyle/>
            <a:p>
              <a:pPr defTabSz="685758"/>
              <a:endParaRPr lang="en-IN" sz="1350">
                <a:solidFill>
                  <a:srgbClr val="1A1A1A"/>
                </a:solidFill>
                <a:latin typeface="Segoe UI"/>
              </a:endParaRPr>
            </a:p>
          </p:txBody>
        </p:sp>
        <p:sp>
          <p:nvSpPr>
            <p:cNvPr id="1013" name="Freeform: Shape 379307">
              <a:extLst>
                <a:ext uri="{FF2B5EF4-FFF2-40B4-BE49-F238E27FC236}">
                  <a16:creationId xmlns:a16="http://schemas.microsoft.com/office/drawing/2014/main" id="{43630D3A-1280-4D94-80F8-3BD918A89026}"/>
                </a:ext>
              </a:extLst>
            </p:cNvPr>
            <p:cNvSpPr/>
            <p:nvPr/>
          </p:nvSpPr>
          <p:spPr>
            <a:xfrm>
              <a:off x="1650949" y="3436721"/>
              <a:ext cx="1555161" cy="591113"/>
            </a:xfrm>
            <a:custGeom>
              <a:avLst/>
              <a:gdLst>
                <a:gd name="connsiteX0" fmla="*/ 2073548 w 2073548"/>
                <a:gd name="connsiteY0" fmla="*/ 0 h 788150"/>
                <a:gd name="connsiteX1" fmla="*/ 1285395 w 2073548"/>
                <a:gd name="connsiteY1" fmla="*/ 0 h 788150"/>
                <a:gd name="connsiteX2" fmla="*/ 497242 w 2073548"/>
                <a:gd name="connsiteY2" fmla="*/ 788150 h 788150"/>
                <a:gd name="connsiteX3" fmla="*/ 0 w 2073548"/>
                <a:gd name="connsiteY3" fmla="*/ 788150 h 788150"/>
              </a:gdLst>
              <a:ahLst/>
              <a:cxnLst>
                <a:cxn ang="0">
                  <a:pos x="connsiteX0" y="connsiteY0"/>
                </a:cxn>
                <a:cxn ang="0">
                  <a:pos x="connsiteX1" y="connsiteY1"/>
                </a:cxn>
                <a:cxn ang="0">
                  <a:pos x="connsiteX2" y="connsiteY2"/>
                </a:cxn>
                <a:cxn ang="0">
                  <a:pos x="connsiteX3" y="connsiteY3"/>
                </a:cxn>
              </a:cxnLst>
              <a:rect l="l" t="t" r="r" b="b"/>
              <a:pathLst>
                <a:path w="2073548" h="788150">
                  <a:moveTo>
                    <a:pt x="2073548" y="0"/>
                  </a:moveTo>
                  <a:lnTo>
                    <a:pt x="1285395" y="0"/>
                  </a:lnTo>
                  <a:lnTo>
                    <a:pt x="497242" y="788150"/>
                  </a:lnTo>
                  <a:lnTo>
                    <a:pt x="0" y="788150"/>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014" name="Freeform: Shape 379308">
              <a:extLst>
                <a:ext uri="{FF2B5EF4-FFF2-40B4-BE49-F238E27FC236}">
                  <a16:creationId xmlns:a16="http://schemas.microsoft.com/office/drawing/2014/main" id="{0475267A-E6E7-4CAC-ACDB-ACFEFA66F86D}"/>
                </a:ext>
              </a:extLst>
            </p:cNvPr>
            <p:cNvSpPr/>
            <p:nvPr/>
          </p:nvSpPr>
          <p:spPr>
            <a:xfrm>
              <a:off x="3176314" y="3408848"/>
              <a:ext cx="55747" cy="55747"/>
            </a:xfrm>
            <a:custGeom>
              <a:avLst/>
              <a:gdLst>
                <a:gd name="connsiteX0" fmla="*/ 37165 w 74329"/>
                <a:gd name="connsiteY0" fmla="*/ 0 h 74329"/>
                <a:gd name="connsiteX1" fmla="*/ 74330 w 74329"/>
                <a:gd name="connsiteY1" fmla="*/ 37165 h 74329"/>
                <a:gd name="connsiteX2" fmla="*/ 37165 w 74329"/>
                <a:gd name="connsiteY2" fmla="*/ 74330 h 74329"/>
                <a:gd name="connsiteX3" fmla="*/ 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57670" y="0"/>
                    <a:pt x="74330" y="16660"/>
                    <a:pt x="74330" y="37165"/>
                  </a:cubicBezTo>
                  <a:cubicBezTo>
                    <a:pt x="74330" y="57670"/>
                    <a:pt x="57670" y="74330"/>
                    <a:pt x="37165" y="74330"/>
                  </a:cubicBezTo>
                  <a:cubicBezTo>
                    <a:pt x="16660" y="74330"/>
                    <a:pt x="0" y="57670"/>
                    <a:pt x="0" y="37165"/>
                  </a:cubicBezTo>
                  <a:cubicBezTo>
                    <a:pt x="0" y="16660"/>
                    <a:pt x="1666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26" name="Freeform: Shape 379309">
              <a:extLst>
                <a:ext uri="{FF2B5EF4-FFF2-40B4-BE49-F238E27FC236}">
                  <a16:creationId xmlns:a16="http://schemas.microsoft.com/office/drawing/2014/main" id="{73600A7C-9F80-4285-BFAF-AB82120C57D5}"/>
                </a:ext>
              </a:extLst>
            </p:cNvPr>
            <p:cNvSpPr/>
            <p:nvPr/>
          </p:nvSpPr>
          <p:spPr>
            <a:xfrm>
              <a:off x="1624998" y="3999961"/>
              <a:ext cx="55747" cy="55747"/>
            </a:xfrm>
            <a:custGeom>
              <a:avLst/>
              <a:gdLst>
                <a:gd name="connsiteX0" fmla="*/ 74330 w 74329"/>
                <a:gd name="connsiteY0" fmla="*/ 37165 h 74329"/>
                <a:gd name="connsiteX1" fmla="*/ 37165 w 74329"/>
                <a:gd name="connsiteY1" fmla="*/ 74330 h 74329"/>
                <a:gd name="connsiteX2" fmla="*/ 0 w 74329"/>
                <a:gd name="connsiteY2" fmla="*/ 37165 h 74329"/>
                <a:gd name="connsiteX3" fmla="*/ 37165 w 74329"/>
                <a:gd name="connsiteY3" fmla="*/ 0 h 74329"/>
                <a:gd name="connsiteX4" fmla="*/ 74330 w 74329"/>
                <a:gd name="connsiteY4" fmla="*/ 37165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74330" y="37165"/>
                  </a:moveTo>
                  <a:cubicBezTo>
                    <a:pt x="74330" y="57690"/>
                    <a:pt x="57691" y="74330"/>
                    <a:pt x="37165" y="74330"/>
                  </a:cubicBezTo>
                  <a:cubicBezTo>
                    <a:pt x="16639" y="74330"/>
                    <a:pt x="0" y="57691"/>
                    <a:pt x="0" y="37165"/>
                  </a:cubicBezTo>
                  <a:cubicBezTo>
                    <a:pt x="0" y="16639"/>
                    <a:pt x="16639" y="0"/>
                    <a:pt x="37165" y="0"/>
                  </a:cubicBezTo>
                  <a:cubicBezTo>
                    <a:pt x="57691" y="0"/>
                    <a:pt x="74330" y="16639"/>
                    <a:pt x="74330" y="37165"/>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28" name="Freeform: Shape 379311">
              <a:extLst>
                <a:ext uri="{FF2B5EF4-FFF2-40B4-BE49-F238E27FC236}">
                  <a16:creationId xmlns:a16="http://schemas.microsoft.com/office/drawing/2014/main" id="{9B60A90C-5AD3-42BA-B83E-1864558AF794}"/>
                </a:ext>
              </a:extLst>
            </p:cNvPr>
            <p:cNvSpPr/>
            <p:nvPr/>
          </p:nvSpPr>
          <p:spPr>
            <a:xfrm>
              <a:off x="1863365" y="3603962"/>
              <a:ext cx="1191842" cy="142251"/>
            </a:xfrm>
            <a:custGeom>
              <a:avLst/>
              <a:gdLst>
                <a:gd name="connsiteX0" fmla="*/ 1589122 w 1589122"/>
                <a:gd name="connsiteY0" fmla="*/ 0 h 189668"/>
                <a:gd name="connsiteX1" fmla="*/ 1180308 w 1589122"/>
                <a:gd name="connsiteY1" fmla="*/ 0 h 189668"/>
                <a:gd name="connsiteX2" fmla="*/ 990638 w 1589122"/>
                <a:gd name="connsiteY2" fmla="*/ 189669 h 189668"/>
                <a:gd name="connsiteX3" fmla="*/ 0 w 1589122"/>
                <a:gd name="connsiteY3" fmla="*/ 189669 h 189668"/>
              </a:gdLst>
              <a:ahLst/>
              <a:cxnLst>
                <a:cxn ang="0">
                  <a:pos x="connsiteX0" y="connsiteY0"/>
                </a:cxn>
                <a:cxn ang="0">
                  <a:pos x="connsiteX1" y="connsiteY1"/>
                </a:cxn>
                <a:cxn ang="0">
                  <a:pos x="connsiteX2" y="connsiteY2"/>
                </a:cxn>
                <a:cxn ang="0">
                  <a:pos x="connsiteX3" y="connsiteY3"/>
                </a:cxn>
              </a:cxnLst>
              <a:rect l="l" t="t" r="r" b="b"/>
              <a:pathLst>
                <a:path w="1589122" h="189668">
                  <a:moveTo>
                    <a:pt x="1589122" y="0"/>
                  </a:moveTo>
                  <a:lnTo>
                    <a:pt x="1180308" y="0"/>
                  </a:lnTo>
                  <a:lnTo>
                    <a:pt x="990638" y="189669"/>
                  </a:lnTo>
                  <a:lnTo>
                    <a:pt x="0" y="189669"/>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031" name="Freeform: Shape 379312">
              <a:extLst>
                <a:ext uri="{FF2B5EF4-FFF2-40B4-BE49-F238E27FC236}">
                  <a16:creationId xmlns:a16="http://schemas.microsoft.com/office/drawing/2014/main" id="{EC06CEF8-76EF-46F5-998B-79F32F6E6D01}"/>
                </a:ext>
              </a:extLst>
            </p:cNvPr>
            <p:cNvSpPr/>
            <p:nvPr/>
          </p:nvSpPr>
          <p:spPr>
            <a:xfrm>
              <a:off x="3025412" y="3576090"/>
              <a:ext cx="55747" cy="55747"/>
            </a:xfrm>
            <a:custGeom>
              <a:avLst/>
              <a:gdLst>
                <a:gd name="connsiteX0" fmla="*/ 37165 w 74329"/>
                <a:gd name="connsiteY0" fmla="*/ 0 h 74329"/>
                <a:gd name="connsiteX1" fmla="*/ 74330 w 74329"/>
                <a:gd name="connsiteY1" fmla="*/ 37165 h 74329"/>
                <a:gd name="connsiteX2" fmla="*/ 37165 w 74329"/>
                <a:gd name="connsiteY2" fmla="*/ 74330 h 74329"/>
                <a:gd name="connsiteX3" fmla="*/ 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57670" y="0"/>
                    <a:pt x="74330" y="16660"/>
                    <a:pt x="74330" y="37165"/>
                  </a:cubicBezTo>
                  <a:cubicBezTo>
                    <a:pt x="74330" y="57670"/>
                    <a:pt x="57670" y="74330"/>
                    <a:pt x="37165" y="74330"/>
                  </a:cubicBezTo>
                  <a:cubicBezTo>
                    <a:pt x="16660" y="74330"/>
                    <a:pt x="0" y="57670"/>
                    <a:pt x="0" y="37165"/>
                  </a:cubicBezTo>
                  <a:cubicBezTo>
                    <a:pt x="0" y="16660"/>
                    <a:pt x="1666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32" name="Freeform: Shape 379313">
              <a:extLst>
                <a:ext uri="{FF2B5EF4-FFF2-40B4-BE49-F238E27FC236}">
                  <a16:creationId xmlns:a16="http://schemas.microsoft.com/office/drawing/2014/main" id="{0EDAEA73-CDAF-4314-9C9D-87DF57A740D9}"/>
                </a:ext>
              </a:extLst>
            </p:cNvPr>
            <p:cNvSpPr/>
            <p:nvPr/>
          </p:nvSpPr>
          <p:spPr>
            <a:xfrm>
              <a:off x="1836453" y="3718342"/>
              <a:ext cx="55747" cy="55747"/>
            </a:xfrm>
            <a:custGeom>
              <a:avLst/>
              <a:gdLst>
                <a:gd name="connsiteX0" fmla="*/ 37165 w 74329"/>
                <a:gd name="connsiteY0" fmla="*/ 0 h 74329"/>
                <a:gd name="connsiteX1" fmla="*/ 0 w 74329"/>
                <a:gd name="connsiteY1" fmla="*/ 37165 h 74329"/>
                <a:gd name="connsiteX2" fmla="*/ 37165 w 74329"/>
                <a:gd name="connsiteY2" fmla="*/ 74330 h 74329"/>
                <a:gd name="connsiteX3" fmla="*/ 7433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16660" y="0"/>
                    <a:pt x="0" y="16660"/>
                    <a:pt x="0" y="37165"/>
                  </a:cubicBezTo>
                  <a:cubicBezTo>
                    <a:pt x="0" y="57669"/>
                    <a:pt x="16660" y="74330"/>
                    <a:pt x="37165" y="74330"/>
                  </a:cubicBezTo>
                  <a:cubicBezTo>
                    <a:pt x="57670" y="74330"/>
                    <a:pt x="74330" y="57669"/>
                    <a:pt x="74330" y="37165"/>
                  </a:cubicBezTo>
                  <a:cubicBezTo>
                    <a:pt x="74330" y="16660"/>
                    <a:pt x="5767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34" name="Freeform: Shape 379315">
              <a:extLst>
                <a:ext uri="{FF2B5EF4-FFF2-40B4-BE49-F238E27FC236}">
                  <a16:creationId xmlns:a16="http://schemas.microsoft.com/office/drawing/2014/main" id="{D36F003A-BA1A-49DC-8D3B-D3E5FB2ED8A7}"/>
                </a:ext>
              </a:extLst>
            </p:cNvPr>
            <p:cNvSpPr/>
            <p:nvPr/>
          </p:nvSpPr>
          <p:spPr>
            <a:xfrm>
              <a:off x="2112307" y="3785622"/>
              <a:ext cx="1123599" cy="445978"/>
            </a:xfrm>
            <a:custGeom>
              <a:avLst/>
              <a:gdLst>
                <a:gd name="connsiteX0" fmla="*/ 1498132 w 1498132"/>
                <a:gd name="connsiteY0" fmla="*/ 0 h 594637"/>
                <a:gd name="connsiteX1" fmla="*/ 1120075 w 1498132"/>
                <a:gd name="connsiteY1" fmla="*/ 0 h 594637"/>
                <a:gd name="connsiteX2" fmla="*/ 524154 w 1498132"/>
                <a:gd name="connsiteY2" fmla="*/ 594637 h 594637"/>
                <a:gd name="connsiteX3" fmla="*/ 0 w 1498132"/>
                <a:gd name="connsiteY3" fmla="*/ 594637 h 594637"/>
              </a:gdLst>
              <a:ahLst/>
              <a:cxnLst>
                <a:cxn ang="0">
                  <a:pos x="connsiteX0" y="connsiteY0"/>
                </a:cxn>
                <a:cxn ang="0">
                  <a:pos x="connsiteX1" y="connsiteY1"/>
                </a:cxn>
                <a:cxn ang="0">
                  <a:pos x="connsiteX2" y="connsiteY2"/>
                </a:cxn>
                <a:cxn ang="0">
                  <a:pos x="connsiteX3" y="connsiteY3"/>
                </a:cxn>
              </a:cxnLst>
              <a:rect l="l" t="t" r="r" b="b"/>
              <a:pathLst>
                <a:path w="1498132" h="594637">
                  <a:moveTo>
                    <a:pt x="1498132" y="0"/>
                  </a:moveTo>
                  <a:lnTo>
                    <a:pt x="1120075" y="0"/>
                  </a:lnTo>
                  <a:lnTo>
                    <a:pt x="524154" y="594637"/>
                  </a:lnTo>
                  <a:lnTo>
                    <a:pt x="0" y="594637"/>
                  </a:lnTo>
                </a:path>
              </a:pathLst>
            </a:custGeom>
            <a:noFill/>
            <a:ln w="9525" cap="flat">
              <a:solidFill>
                <a:schemeClr val="tx2"/>
              </a:solidFill>
              <a:prstDash val="solid"/>
              <a:miter/>
            </a:ln>
          </p:spPr>
          <p:txBody>
            <a:bodyPr rtlCol="0" anchor="ctr"/>
            <a:lstStyle/>
            <a:p>
              <a:pPr defTabSz="685758"/>
              <a:endParaRPr lang="en-IN" sz="1350">
                <a:solidFill>
                  <a:srgbClr val="1A1A1A"/>
                </a:solidFill>
                <a:latin typeface="Segoe UI"/>
              </a:endParaRPr>
            </a:p>
          </p:txBody>
        </p:sp>
        <p:sp>
          <p:nvSpPr>
            <p:cNvPr id="1035" name="Freeform: Shape 379316">
              <a:extLst>
                <a:ext uri="{FF2B5EF4-FFF2-40B4-BE49-F238E27FC236}">
                  <a16:creationId xmlns:a16="http://schemas.microsoft.com/office/drawing/2014/main" id="{C27A87DE-5852-4520-A412-10EDF8D832A4}"/>
                </a:ext>
              </a:extLst>
            </p:cNvPr>
            <p:cNvSpPr/>
            <p:nvPr/>
          </p:nvSpPr>
          <p:spPr>
            <a:xfrm>
              <a:off x="3207072" y="3757749"/>
              <a:ext cx="55747" cy="55747"/>
            </a:xfrm>
            <a:custGeom>
              <a:avLst/>
              <a:gdLst>
                <a:gd name="connsiteX0" fmla="*/ 74330 w 74329"/>
                <a:gd name="connsiteY0" fmla="*/ 37165 h 74329"/>
                <a:gd name="connsiteX1" fmla="*/ 37165 w 74329"/>
                <a:gd name="connsiteY1" fmla="*/ 74330 h 74329"/>
                <a:gd name="connsiteX2" fmla="*/ 0 w 74329"/>
                <a:gd name="connsiteY2" fmla="*/ 37165 h 74329"/>
                <a:gd name="connsiteX3" fmla="*/ 37165 w 74329"/>
                <a:gd name="connsiteY3" fmla="*/ 0 h 74329"/>
                <a:gd name="connsiteX4" fmla="*/ 74330 w 74329"/>
                <a:gd name="connsiteY4" fmla="*/ 37165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74330" y="37165"/>
                  </a:moveTo>
                  <a:cubicBezTo>
                    <a:pt x="74330" y="57690"/>
                    <a:pt x="57691" y="74330"/>
                    <a:pt x="37165" y="74330"/>
                  </a:cubicBezTo>
                  <a:cubicBezTo>
                    <a:pt x="16639" y="74330"/>
                    <a:pt x="0" y="57691"/>
                    <a:pt x="0" y="37165"/>
                  </a:cubicBezTo>
                  <a:cubicBezTo>
                    <a:pt x="0" y="16639"/>
                    <a:pt x="16639" y="0"/>
                    <a:pt x="37165" y="0"/>
                  </a:cubicBezTo>
                  <a:cubicBezTo>
                    <a:pt x="57690" y="0"/>
                    <a:pt x="74330" y="16639"/>
                    <a:pt x="74330" y="37165"/>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37" name="Freeform: Shape 379317">
              <a:extLst>
                <a:ext uri="{FF2B5EF4-FFF2-40B4-BE49-F238E27FC236}">
                  <a16:creationId xmlns:a16="http://schemas.microsoft.com/office/drawing/2014/main" id="{E849E803-0C14-4CF2-BEC3-323FA05690A6}"/>
                </a:ext>
              </a:extLst>
            </p:cNvPr>
            <p:cNvSpPr/>
            <p:nvPr/>
          </p:nvSpPr>
          <p:spPr>
            <a:xfrm>
              <a:off x="2086356" y="4203727"/>
              <a:ext cx="55747" cy="55747"/>
            </a:xfrm>
            <a:custGeom>
              <a:avLst/>
              <a:gdLst>
                <a:gd name="connsiteX0" fmla="*/ 37165 w 74329"/>
                <a:gd name="connsiteY0" fmla="*/ 0 h 74329"/>
                <a:gd name="connsiteX1" fmla="*/ 0 w 74329"/>
                <a:gd name="connsiteY1" fmla="*/ 37165 h 74329"/>
                <a:gd name="connsiteX2" fmla="*/ 37165 w 74329"/>
                <a:gd name="connsiteY2" fmla="*/ 74330 h 74329"/>
                <a:gd name="connsiteX3" fmla="*/ 7433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16660" y="0"/>
                    <a:pt x="0" y="16660"/>
                    <a:pt x="0" y="37165"/>
                  </a:cubicBezTo>
                  <a:cubicBezTo>
                    <a:pt x="0" y="57670"/>
                    <a:pt x="16660" y="74330"/>
                    <a:pt x="37165" y="74330"/>
                  </a:cubicBezTo>
                  <a:cubicBezTo>
                    <a:pt x="57670" y="74330"/>
                    <a:pt x="74330" y="57670"/>
                    <a:pt x="74330" y="37165"/>
                  </a:cubicBezTo>
                  <a:cubicBezTo>
                    <a:pt x="74330" y="16660"/>
                    <a:pt x="5767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grpSp>
          <p:nvGrpSpPr>
            <p:cNvPr id="24" name="Group 23"/>
            <p:cNvGrpSpPr/>
            <p:nvPr/>
          </p:nvGrpSpPr>
          <p:grpSpPr>
            <a:xfrm>
              <a:off x="1464658" y="3161353"/>
              <a:ext cx="843525" cy="72000"/>
              <a:chOff x="1464658" y="3073407"/>
              <a:chExt cx="843525" cy="72000"/>
            </a:xfrm>
          </p:grpSpPr>
          <p:cxnSp>
            <p:nvCxnSpPr>
              <p:cNvPr id="20" name="Straight Connector 19"/>
              <p:cNvCxnSpPr>
                <a:stCxn id="1051" idx="3"/>
                <a:endCxn id="1052" idx="1"/>
              </p:cNvCxnSpPr>
              <p:nvPr/>
            </p:nvCxnSpPr>
            <p:spPr>
              <a:xfrm>
                <a:off x="1536659" y="3109407"/>
                <a:ext cx="699524" cy="0"/>
              </a:xfrm>
              <a:prstGeom prst="line">
                <a:avLst/>
              </a:prstGeom>
              <a:ln w="9525" cap="rnd">
                <a:solidFill>
                  <a:schemeClr val="tx2"/>
                </a:solidFill>
                <a:tailEnd type="none"/>
              </a:ln>
              <a:effectLst/>
            </p:spPr>
            <p:style>
              <a:lnRef idx="2">
                <a:schemeClr val="accent1"/>
              </a:lnRef>
              <a:fillRef idx="0">
                <a:schemeClr val="accent1"/>
              </a:fillRef>
              <a:effectRef idx="1">
                <a:schemeClr val="accent1"/>
              </a:effectRef>
              <a:fontRef idx="minor">
                <a:schemeClr val="tx1"/>
              </a:fontRef>
            </p:style>
          </p:cxnSp>
          <p:sp>
            <p:nvSpPr>
              <p:cNvPr id="1051" name="Freeform: Shape 379293">
                <a:extLst>
                  <a:ext uri="{FF2B5EF4-FFF2-40B4-BE49-F238E27FC236}">
                    <a16:creationId xmlns:a16="http://schemas.microsoft.com/office/drawing/2014/main" id="{410CC17F-637D-44F4-9FC8-480A63441EAF}"/>
                  </a:ext>
                </a:extLst>
              </p:cNvPr>
              <p:cNvSpPr/>
              <p:nvPr/>
            </p:nvSpPr>
            <p:spPr>
              <a:xfrm>
                <a:off x="1464658" y="3073407"/>
                <a:ext cx="72000" cy="72000"/>
              </a:xfrm>
              <a:custGeom>
                <a:avLst/>
                <a:gdLst>
                  <a:gd name="connsiteX0" fmla="*/ 37165 w 74329"/>
                  <a:gd name="connsiteY0" fmla="*/ 0 h 74329"/>
                  <a:gd name="connsiteX1" fmla="*/ 0 w 74329"/>
                  <a:gd name="connsiteY1" fmla="*/ 37165 h 74329"/>
                  <a:gd name="connsiteX2" fmla="*/ 37165 w 74329"/>
                  <a:gd name="connsiteY2" fmla="*/ 74330 h 74329"/>
                  <a:gd name="connsiteX3" fmla="*/ 7433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16660" y="0"/>
                      <a:pt x="0" y="16660"/>
                      <a:pt x="0" y="37165"/>
                    </a:cubicBezTo>
                    <a:cubicBezTo>
                      <a:pt x="0" y="57670"/>
                      <a:pt x="16660" y="74330"/>
                      <a:pt x="37165" y="74330"/>
                    </a:cubicBezTo>
                    <a:cubicBezTo>
                      <a:pt x="57670" y="74330"/>
                      <a:pt x="74330" y="57670"/>
                      <a:pt x="74330" y="37165"/>
                    </a:cubicBezTo>
                    <a:cubicBezTo>
                      <a:pt x="74330" y="16660"/>
                      <a:pt x="5767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sp>
            <p:nvSpPr>
              <p:cNvPr id="1052" name="Freeform: Shape 379293">
                <a:extLst>
                  <a:ext uri="{FF2B5EF4-FFF2-40B4-BE49-F238E27FC236}">
                    <a16:creationId xmlns:a16="http://schemas.microsoft.com/office/drawing/2014/main" id="{410CC17F-637D-44F4-9FC8-480A63441EAF}"/>
                  </a:ext>
                </a:extLst>
              </p:cNvPr>
              <p:cNvSpPr/>
              <p:nvPr/>
            </p:nvSpPr>
            <p:spPr>
              <a:xfrm>
                <a:off x="2236183" y="3073407"/>
                <a:ext cx="72000" cy="72000"/>
              </a:xfrm>
              <a:custGeom>
                <a:avLst/>
                <a:gdLst>
                  <a:gd name="connsiteX0" fmla="*/ 37165 w 74329"/>
                  <a:gd name="connsiteY0" fmla="*/ 0 h 74329"/>
                  <a:gd name="connsiteX1" fmla="*/ 0 w 74329"/>
                  <a:gd name="connsiteY1" fmla="*/ 37165 h 74329"/>
                  <a:gd name="connsiteX2" fmla="*/ 37165 w 74329"/>
                  <a:gd name="connsiteY2" fmla="*/ 74330 h 74329"/>
                  <a:gd name="connsiteX3" fmla="*/ 74330 w 74329"/>
                  <a:gd name="connsiteY3" fmla="*/ 37165 h 74329"/>
                  <a:gd name="connsiteX4" fmla="*/ 37165 w 74329"/>
                  <a:gd name="connsiteY4" fmla="*/ 0 h 743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329" h="74329">
                    <a:moveTo>
                      <a:pt x="37165" y="0"/>
                    </a:moveTo>
                    <a:cubicBezTo>
                      <a:pt x="16660" y="0"/>
                      <a:pt x="0" y="16660"/>
                      <a:pt x="0" y="37165"/>
                    </a:cubicBezTo>
                    <a:cubicBezTo>
                      <a:pt x="0" y="57670"/>
                      <a:pt x="16660" y="74330"/>
                      <a:pt x="37165" y="74330"/>
                    </a:cubicBezTo>
                    <a:cubicBezTo>
                      <a:pt x="57670" y="74330"/>
                      <a:pt x="74330" y="57670"/>
                      <a:pt x="74330" y="37165"/>
                    </a:cubicBezTo>
                    <a:cubicBezTo>
                      <a:pt x="74330" y="16660"/>
                      <a:pt x="57670" y="0"/>
                      <a:pt x="37165" y="0"/>
                    </a:cubicBezTo>
                    <a:close/>
                  </a:path>
                </a:pathLst>
              </a:custGeom>
              <a:solidFill>
                <a:schemeClr val="tx2"/>
              </a:solidFill>
              <a:ln w="128144" cap="flat">
                <a:noFill/>
                <a:prstDash val="solid"/>
                <a:miter/>
              </a:ln>
            </p:spPr>
            <p:txBody>
              <a:bodyPr rtlCol="0" anchor="ctr"/>
              <a:lstStyle/>
              <a:p>
                <a:pPr defTabSz="685758"/>
                <a:endParaRPr lang="en-IN" sz="1350">
                  <a:solidFill>
                    <a:srgbClr val="1A1A1A"/>
                  </a:solidFill>
                  <a:latin typeface="Segoe UI"/>
                </a:endParaRPr>
              </a:p>
            </p:txBody>
          </p:sp>
        </p:grpSp>
      </p:grpSp>
      <p:grpSp>
        <p:nvGrpSpPr>
          <p:cNvPr id="29" name="Group 28"/>
          <p:cNvGrpSpPr/>
          <p:nvPr/>
        </p:nvGrpSpPr>
        <p:grpSpPr>
          <a:xfrm>
            <a:off x="7755999" y="2912615"/>
            <a:ext cx="900000" cy="900000"/>
            <a:chOff x="7755999" y="2912615"/>
            <a:chExt cx="900000" cy="900000"/>
          </a:xfrm>
        </p:grpSpPr>
        <p:grpSp>
          <p:nvGrpSpPr>
            <p:cNvPr id="17" name="Group 16"/>
            <p:cNvGrpSpPr/>
            <p:nvPr/>
          </p:nvGrpSpPr>
          <p:grpSpPr>
            <a:xfrm>
              <a:off x="7755999" y="2912615"/>
              <a:ext cx="900000" cy="900000"/>
              <a:chOff x="7580227" y="2810944"/>
              <a:chExt cx="900000" cy="900000"/>
            </a:xfrm>
          </p:grpSpPr>
          <p:pic>
            <p:nvPicPr>
              <p:cNvPr id="1025" name="Picture 1024">
                <a:extLst>
                  <a:ext uri="{FF2B5EF4-FFF2-40B4-BE49-F238E27FC236}">
                    <a16:creationId xmlns:a16="http://schemas.microsoft.com/office/drawing/2014/main" id="{D0668C0A-D379-4D22-862C-CF9D7EC4B5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652227" y="2882944"/>
                <a:ext cx="756000" cy="756000"/>
              </a:xfrm>
              <a:prstGeom prst="rect">
                <a:avLst/>
              </a:prstGeom>
            </p:spPr>
          </p:pic>
          <p:sp>
            <p:nvSpPr>
              <p:cNvPr id="1027" name="Oval 1026">
                <a:extLst>
                  <a:ext uri="{FF2B5EF4-FFF2-40B4-BE49-F238E27FC236}">
                    <a16:creationId xmlns:a16="http://schemas.microsoft.com/office/drawing/2014/main" id="{D9F896A9-E1B6-429D-B352-6A9A2ACF599A}"/>
                  </a:ext>
                </a:extLst>
              </p:cNvPr>
              <p:cNvSpPr/>
              <p:nvPr/>
            </p:nvSpPr>
            <p:spPr bwMode="auto">
              <a:xfrm>
                <a:off x="7580227" y="2810944"/>
                <a:ext cx="900000" cy="90000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37" fontAlgn="base">
                  <a:spcBef>
                    <a:spcPct val="0"/>
                  </a:spcBef>
                  <a:spcAft>
                    <a:spcPct val="0"/>
                  </a:spcAft>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60" name="Freeform: Shape 2621">
              <a:extLst>
                <a:ext uri="{FF2B5EF4-FFF2-40B4-BE49-F238E27FC236}">
                  <a16:creationId xmlns:a16="http://schemas.microsoft.com/office/drawing/2014/main" id="{26E61961-3FAF-4F9D-9AA3-01F5199F58F6}"/>
                </a:ext>
              </a:extLst>
            </p:cNvPr>
            <p:cNvSpPr/>
            <p:nvPr/>
          </p:nvSpPr>
          <p:spPr bwMode="auto">
            <a:xfrm>
              <a:off x="7809999" y="3272615"/>
              <a:ext cx="792000" cy="180000"/>
            </a:xfrm>
            <a:custGeom>
              <a:avLst/>
              <a:gdLst>
                <a:gd name="connsiteX0" fmla="*/ 1088747 w 1103538"/>
                <a:gd name="connsiteY0" fmla="*/ 0 h 245475"/>
                <a:gd name="connsiteX1" fmla="*/ 14791 w 1103538"/>
                <a:gd name="connsiteY1" fmla="*/ 0 h 245475"/>
                <a:gd name="connsiteX2" fmla="*/ 11210 w 1103538"/>
                <a:gd name="connsiteY2" fmla="*/ 11536 h 245475"/>
                <a:gd name="connsiteX3" fmla="*/ 0 w 1103538"/>
                <a:gd name="connsiteY3" fmla="*/ 122737 h 245475"/>
                <a:gd name="connsiteX4" fmla="*/ 11210 w 1103538"/>
                <a:gd name="connsiteY4" fmla="*/ 233938 h 245475"/>
                <a:gd name="connsiteX5" fmla="*/ 14791 w 1103538"/>
                <a:gd name="connsiteY5" fmla="*/ 245475 h 245475"/>
                <a:gd name="connsiteX6" fmla="*/ 1088747 w 1103538"/>
                <a:gd name="connsiteY6" fmla="*/ 245475 h 245475"/>
                <a:gd name="connsiteX7" fmla="*/ 1092328 w 1103538"/>
                <a:gd name="connsiteY7" fmla="*/ 233938 h 245475"/>
                <a:gd name="connsiteX8" fmla="*/ 1103538 w 1103538"/>
                <a:gd name="connsiteY8" fmla="*/ 122737 h 245475"/>
                <a:gd name="connsiteX9" fmla="*/ 1092328 w 1103538"/>
                <a:gd name="connsiteY9" fmla="*/ 11536 h 24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538" h="245475">
                  <a:moveTo>
                    <a:pt x="1088747" y="0"/>
                  </a:moveTo>
                  <a:lnTo>
                    <a:pt x="14791" y="0"/>
                  </a:lnTo>
                  <a:lnTo>
                    <a:pt x="11210" y="11536"/>
                  </a:lnTo>
                  <a:cubicBezTo>
                    <a:pt x="3860" y="47455"/>
                    <a:pt x="0" y="84645"/>
                    <a:pt x="0" y="122737"/>
                  </a:cubicBezTo>
                  <a:cubicBezTo>
                    <a:pt x="0" y="160829"/>
                    <a:pt x="3860" y="198019"/>
                    <a:pt x="11210" y="233938"/>
                  </a:cubicBezTo>
                  <a:lnTo>
                    <a:pt x="14791" y="245475"/>
                  </a:lnTo>
                  <a:lnTo>
                    <a:pt x="1088747" y="245475"/>
                  </a:lnTo>
                  <a:lnTo>
                    <a:pt x="1092328" y="233938"/>
                  </a:lnTo>
                  <a:cubicBezTo>
                    <a:pt x="1099678" y="198019"/>
                    <a:pt x="1103538" y="160829"/>
                    <a:pt x="1103538" y="122737"/>
                  </a:cubicBezTo>
                  <a:cubicBezTo>
                    <a:pt x="1103538" y="84645"/>
                    <a:pt x="1099678" y="47455"/>
                    <a:pt x="1092328" y="11536"/>
                  </a:cubicBezTo>
                  <a:close/>
                </a:path>
              </a:pathLst>
            </a:cu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 tIns="6858" rIns="20574" bIns="6858" numCol="1" spcCol="0" rtlCol="0" fromWordArt="0" anchor="ctr" anchorCtr="0" forceAA="0" compatLnSpc="1">
              <a:prstTxWarp prst="textNoShape">
                <a:avLst/>
              </a:prstTxWarp>
              <a:noAutofit/>
            </a:bodyPr>
            <a:lstStyle/>
            <a:p>
              <a:pPr algn="ctr" defTabSz="685758"/>
              <a:r>
                <a:rPr lang="en-GB" sz="900" b="1" dirty="0" err="1">
                  <a:solidFill>
                    <a:srgbClr val="1A1A1A"/>
                  </a:solidFill>
                  <a:latin typeface="Calibri" panose="020F0502020204030204" pitchFamily="34" charset="0"/>
                  <a:cs typeface="Calibri" panose="020F0502020204030204" pitchFamily="34" charset="0"/>
                </a:rPr>
                <a:t>Corporativa</a:t>
              </a:r>
              <a:endParaRPr lang="en-GB" sz="900" b="1" dirty="0">
                <a:solidFill>
                  <a:srgbClr val="1A1A1A"/>
                </a:solidFill>
                <a:latin typeface="Calibri" panose="020F0502020204030204" pitchFamily="34" charset="0"/>
                <a:cs typeface="Calibri" panose="020F0502020204030204" pitchFamily="34" charset="0"/>
              </a:endParaRPr>
            </a:p>
          </p:txBody>
        </p:sp>
      </p:grpSp>
      <p:grpSp>
        <p:nvGrpSpPr>
          <p:cNvPr id="28" name="Group 27"/>
          <p:cNvGrpSpPr/>
          <p:nvPr/>
        </p:nvGrpSpPr>
        <p:grpSpPr>
          <a:xfrm>
            <a:off x="7029375" y="3668579"/>
            <a:ext cx="900000" cy="900000"/>
            <a:chOff x="7029375" y="3668579"/>
            <a:chExt cx="900000" cy="900000"/>
          </a:xfrm>
        </p:grpSpPr>
        <p:grpSp>
          <p:nvGrpSpPr>
            <p:cNvPr id="16" name="Group 15"/>
            <p:cNvGrpSpPr/>
            <p:nvPr/>
          </p:nvGrpSpPr>
          <p:grpSpPr>
            <a:xfrm>
              <a:off x="7029375" y="3668579"/>
              <a:ext cx="900000" cy="900000"/>
              <a:chOff x="6968794" y="3675284"/>
              <a:chExt cx="900000" cy="900000"/>
            </a:xfrm>
          </p:grpSpPr>
          <p:pic>
            <p:nvPicPr>
              <p:cNvPr id="1033" name="Picture 1032">
                <a:extLst>
                  <a:ext uri="{FF2B5EF4-FFF2-40B4-BE49-F238E27FC236}">
                    <a16:creationId xmlns:a16="http://schemas.microsoft.com/office/drawing/2014/main" id="{D0668C0A-D379-4D22-862C-CF9D7EC4B59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40794" y="3747284"/>
                <a:ext cx="756000" cy="756000"/>
              </a:xfrm>
              <a:prstGeom prst="rect">
                <a:avLst/>
              </a:prstGeom>
            </p:spPr>
          </p:pic>
          <p:sp>
            <p:nvSpPr>
              <p:cNvPr id="1040" name="Oval 1039">
                <a:extLst>
                  <a:ext uri="{FF2B5EF4-FFF2-40B4-BE49-F238E27FC236}">
                    <a16:creationId xmlns:a16="http://schemas.microsoft.com/office/drawing/2014/main" id="{D9F896A9-E1B6-429D-B352-6A9A2ACF599A}"/>
                  </a:ext>
                </a:extLst>
              </p:cNvPr>
              <p:cNvSpPr/>
              <p:nvPr/>
            </p:nvSpPr>
            <p:spPr bwMode="auto">
              <a:xfrm>
                <a:off x="6968794" y="3675284"/>
                <a:ext cx="900000" cy="900000"/>
              </a:xfrm>
              <a:prstGeom prst="ellipse">
                <a:avLst/>
              </a:prstGeom>
              <a:noFill/>
              <a:ln w="381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defTabSz="699337" fontAlgn="base">
                  <a:spcBef>
                    <a:spcPct val="0"/>
                  </a:spcBef>
                  <a:spcAft>
                    <a:spcPct val="0"/>
                  </a:spcAft>
                </a:pPr>
                <a:endParaRPr lang="en-US" sz="15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061" name="Freeform: Shape 2621">
              <a:extLst>
                <a:ext uri="{FF2B5EF4-FFF2-40B4-BE49-F238E27FC236}">
                  <a16:creationId xmlns:a16="http://schemas.microsoft.com/office/drawing/2014/main" id="{26E61961-3FAF-4F9D-9AA3-01F5199F58F6}"/>
                </a:ext>
              </a:extLst>
            </p:cNvPr>
            <p:cNvSpPr/>
            <p:nvPr/>
          </p:nvSpPr>
          <p:spPr bwMode="auto">
            <a:xfrm>
              <a:off x="7083375" y="4028579"/>
              <a:ext cx="792000" cy="180000"/>
            </a:xfrm>
            <a:custGeom>
              <a:avLst/>
              <a:gdLst>
                <a:gd name="connsiteX0" fmla="*/ 1088747 w 1103538"/>
                <a:gd name="connsiteY0" fmla="*/ 0 h 245475"/>
                <a:gd name="connsiteX1" fmla="*/ 14791 w 1103538"/>
                <a:gd name="connsiteY1" fmla="*/ 0 h 245475"/>
                <a:gd name="connsiteX2" fmla="*/ 11210 w 1103538"/>
                <a:gd name="connsiteY2" fmla="*/ 11536 h 245475"/>
                <a:gd name="connsiteX3" fmla="*/ 0 w 1103538"/>
                <a:gd name="connsiteY3" fmla="*/ 122737 h 245475"/>
                <a:gd name="connsiteX4" fmla="*/ 11210 w 1103538"/>
                <a:gd name="connsiteY4" fmla="*/ 233938 h 245475"/>
                <a:gd name="connsiteX5" fmla="*/ 14791 w 1103538"/>
                <a:gd name="connsiteY5" fmla="*/ 245475 h 245475"/>
                <a:gd name="connsiteX6" fmla="*/ 1088747 w 1103538"/>
                <a:gd name="connsiteY6" fmla="*/ 245475 h 245475"/>
                <a:gd name="connsiteX7" fmla="*/ 1092328 w 1103538"/>
                <a:gd name="connsiteY7" fmla="*/ 233938 h 245475"/>
                <a:gd name="connsiteX8" fmla="*/ 1103538 w 1103538"/>
                <a:gd name="connsiteY8" fmla="*/ 122737 h 245475"/>
                <a:gd name="connsiteX9" fmla="*/ 1092328 w 1103538"/>
                <a:gd name="connsiteY9" fmla="*/ 11536 h 245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3538" h="245475">
                  <a:moveTo>
                    <a:pt x="1088747" y="0"/>
                  </a:moveTo>
                  <a:lnTo>
                    <a:pt x="14791" y="0"/>
                  </a:lnTo>
                  <a:lnTo>
                    <a:pt x="11210" y="11536"/>
                  </a:lnTo>
                  <a:cubicBezTo>
                    <a:pt x="3860" y="47455"/>
                    <a:pt x="0" y="84645"/>
                    <a:pt x="0" y="122737"/>
                  </a:cubicBezTo>
                  <a:cubicBezTo>
                    <a:pt x="0" y="160829"/>
                    <a:pt x="3860" y="198019"/>
                    <a:pt x="11210" y="233938"/>
                  </a:cubicBezTo>
                  <a:lnTo>
                    <a:pt x="14791" y="245475"/>
                  </a:lnTo>
                  <a:lnTo>
                    <a:pt x="1088747" y="245475"/>
                  </a:lnTo>
                  <a:lnTo>
                    <a:pt x="1092328" y="233938"/>
                  </a:lnTo>
                  <a:cubicBezTo>
                    <a:pt x="1099678" y="198019"/>
                    <a:pt x="1103538" y="160829"/>
                    <a:pt x="1103538" y="122737"/>
                  </a:cubicBezTo>
                  <a:cubicBezTo>
                    <a:pt x="1103538" y="84645"/>
                    <a:pt x="1099678" y="47455"/>
                    <a:pt x="1092328" y="11536"/>
                  </a:cubicBezTo>
                  <a:close/>
                </a:path>
              </a:pathLst>
            </a:custGeom>
            <a:solidFill>
              <a:schemeClr val="bg1">
                <a:alpha val="8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0574" tIns="6858" rIns="20574" bIns="6858" numCol="1" spcCol="0" rtlCol="0" fromWordArt="0" anchor="ctr" anchorCtr="0" forceAA="0" compatLnSpc="1">
              <a:prstTxWarp prst="textNoShape">
                <a:avLst/>
              </a:prstTxWarp>
              <a:noAutofit/>
            </a:bodyPr>
            <a:lstStyle/>
            <a:p>
              <a:pPr algn="ctr" defTabSz="685758"/>
              <a:r>
                <a:rPr lang="en-GB" sz="900" b="1" dirty="0" err="1">
                  <a:solidFill>
                    <a:srgbClr val="1A1A1A"/>
                  </a:solidFill>
                  <a:latin typeface="Calibri" panose="020F0502020204030204" pitchFamily="34" charset="0"/>
                  <a:cs typeface="Calibri" panose="020F0502020204030204" pitchFamily="34" charset="0"/>
                </a:rPr>
                <a:t>Corporativa</a:t>
              </a:r>
              <a:endParaRPr lang="en-GB" sz="900" b="1" dirty="0">
                <a:solidFill>
                  <a:srgbClr val="1A1A1A"/>
                </a:solidFill>
                <a:latin typeface="Calibri" panose="020F0502020204030204" pitchFamily="34" charset="0"/>
                <a:cs typeface="Calibri" panose="020F0502020204030204" pitchFamily="34" charset="0"/>
              </a:endParaRPr>
            </a:p>
          </p:txBody>
        </p:sp>
      </p:grpSp>
      <p:pic>
        <p:nvPicPr>
          <p:cNvPr id="1005" name="Picture 1004">
            <a:extLst>
              <a:ext uri="{FF2B5EF4-FFF2-40B4-BE49-F238E27FC236}">
                <a16:creationId xmlns:a16="http://schemas.microsoft.com/office/drawing/2014/main" id="{085CA7CA-1A52-4B60-922B-A83D3298DC70}"/>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b="10019"/>
          <a:stretch/>
        </p:blipFill>
        <p:spPr>
          <a:xfrm>
            <a:off x="3927527" y="4541622"/>
            <a:ext cx="1278997" cy="601878"/>
          </a:xfrm>
          <a:prstGeom prst="rect">
            <a:avLst/>
          </a:prstGeom>
        </p:spPr>
      </p:pic>
      <p:pic>
        <p:nvPicPr>
          <p:cNvPr id="1016" name="Picture 4" descr="Solidaridad logo - True Price">
            <a:extLst>
              <a:ext uri="{FF2B5EF4-FFF2-40B4-BE49-F238E27FC236}">
                <a16:creationId xmlns:a16="http://schemas.microsoft.com/office/drawing/2014/main" id="{9CC66EA3-D2E8-4682-A4F6-2D1A026EE5C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48247" y="3021800"/>
            <a:ext cx="1738491" cy="38362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8" descr="BOLT GRAPHICS - Satelligence Visual Identity">
            <a:extLst>
              <a:ext uri="{FF2B5EF4-FFF2-40B4-BE49-F238E27FC236}">
                <a16:creationId xmlns:a16="http://schemas.microsoft.com/office/drawing/2014/main" id="{CAC993B5-910A-4F85-B6B8-3E184A48A8B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9127" b="15282"/>
          <a:stretch/>
        </p:blipFill>
        <p:spPr bwMode="auto">
          <a:xfrm>
            <a:off x="3817808" y="861723"/>
            <a:ext cx="1489245" cy="455919"/>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6" descr="File:Standard Chartered (2021).svg - Wikimedia Commons">
            <a:extLst>
              <a:ext uri="{FF2B5EF4-FFF2-40B4-BE49-F238E27FC236}">
                <a16:creationId xmlns:a16="http://schemas.microsoft.com/office/drawing/2014/main" id="{23E94F73-93CA-4BAF-A877-A23A1BFB06C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227760" y="2694604"/>
            <a:ext cx="913565" cy="3578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81315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pPr algn="ctr"/>
            <a:r>
              <a:rPr lang="en-GB" sz="2000" i="0" dirty="0">
                <a:solidFill>
                  <a:srgbClr val="FFC000"/>
                </a:solidFill>
              </a:rPr>
              <a:t>Acorn se </a:t>
            </a:r>
            <a:r>
              <a:rPr lang="en-GB" sz="2000" i="0" dirty="0" err="1">
                <a:solidFill>
                  <a:srgbClr val="FFC000"/>
                </a:solidFill>
              </a:rPr>
              <a:t>enfoca</a:t>
            </a:r>
            <a:r>
              <a:rPr lang="en-GB" sz="2000" i="0" dirty="0">
                <a:solidFill>
                  <a:srgbClr val="FFC000"/>
                </a:solidFill>
              </a:rPr>
              <a:t> con </a:t>
            </a:r>
            <a:r>
              <a:rPr lang="en-GB" sz="2000" i="0" dirty="0" err="1">
                <a:solidFill>
                  <a:srgbClr val="FFC000"/>
                </a:solidFill>
              </a:rPr>
              <a:t>pequeños</a:t>
            </a:r>
            <a:r>
              <a:rPr lang="en-GB" sz="2000" i="0" dirty="0">
                <a:solidFill>
                  <a:srgbClr val="FFC000"/>
                </a:solidFill>
              </a:rPr>
              <a:t> </a:t>
            </a:r>
            <a:r>
              <a:rPr lang="en-GB" sz="2000" i="0" dirty="0" err="1">
                <a:solidFill>
                  <a:srgbClr val="FFC000"/>
                </a:solidFill>
              </a:rPr>
              <a:t>agricultores</a:t>
            </a:r>
            <a:r>
              <a:rPr lang="en-GB" sz="2000" i="0" dirty="0">
                <a:solidFill>
                  <a:srgbClr val="FFC000"/>
                </a:solidFill>
              </a:rPr>
              <a:t> que </a:t>
            </a:r>
            <a:r>
              <a:rPr lang="en-GB" sz="2000" i="0" dirty="0" err="1">
                <a:solidFill>
                  <a:srgbClr val="FFC000"/>
                </a:solidFill>
              </a:rPr>
              <a:t>producen</a:t>
            </a:r>
            <a:r>
              <a:rPr lang="en-GB" sz="2000" i="0" dirty="0">
                <a:solidFill>
                  <a:srgbClr val="FFC000"/>
                </a:solidFill>
              </a:rPr>
              <a:t> café y cacao bajo SAF (&lt;10 ha de tierra </a:t>
            </a:r>
            <a:r>
              <a:rPr lang="en-GB" sz="2000" i="0" dirty="0" err="1">
                <a:solidFill>
                  <a:srgbClr val="FFC000"/>
                </a:solidFill>
              </a:rPr>
              <a:t>cultivada</a:t>
            </a:r>
            <a:r>
              <a:rPr lang="en-GB" sz="2000" i="0" dirty="0">
                <a:solidFill>
                  <a:srgbClr val="FFC000"/>
                </a:solidFill>
              </a:rPr>
              <a:t>) </a:t>
            </a:r>
          </a:p>
        </p:txBody>
      </p:sp>
      <p:sp>
        <p:nvSpPr>
          <p:cNvPr id="250" name="Title 1"/>
          <p:cNvSpPr txBox="1">
            <a:spLocks/>
          </p:cNvSpPr>
          <p:nvPr/>
        </p:nvSpPr>
        <p:spPr>
          <a:xfrm>
            <a:off x="468000" y="330929"/>
            <a:ext cx="8208000" cy="756000"/>
          </a:xfrm>
          <a:prstGeom prst="rect">
            <a:avLst/>
          </a:prstGeom>
        </p:spPr>
        <p:txBody>
          <a:bodyPr vert="horz" lIns="0" tIns="0" rIns="0" bIns="0" rtlCol="0" anchor="b" anchorCtr="0">
            <a:noAutofit/>
          </a:bodyPr>
          <a:lstStyle>
            <a:lvl1pPr algn="l" defTabSz="456999" rtl="0" eaLnBrk="1" latinLnBrk="0" hangingPunct="1">
              <a:lnSpc>
                <a:spcPct val="90000"/>
              </a:lnSpc>
              <a:spcBef>
                <a:spcPct val="0"/>
              </a:spcBef>
              <a:buNone/>
              <a:defRPr sz="2400" b="1" i="1" kern="1200">
                <a:solidFill>
                  <a:schemeClr val="tx2"/>
                </a:solidFill>
                <a:latin typeface="Calibri" panose="020F0502020204030204" pitchFamily="34" charset="0"/>
                <a:ea typeface="+mj-ea"/>
                <a:cs typeface="Calibri" panose="020F0502020204030204" pitchFamily="34" charset="0"/>
              </a:defRPr>
            </a:lvl1pPr>
          </a:lstStyle>
          <a:p>
            <a:endParaRPr lang="en-GB"/>
          </a:p>
        </p:txBody>
      </p:sp>
      <p:sp>
        <p:nvSpPr>
          <p:cNvPr id="3" name="TextBox 2"/>
          <p:cNvSpPr txBox="1"/>
          <p:nvPr/>
        </p:nvSpPr>
        <p:spPr>
          <a:xfrm>
            <a:off x="622528" y="4859235"/>
            <a:ext cx="1253548" cy="153888"/>
          </a:xfrm>
          <a:prstGeom prst="rect">
            <a:avLst/>
          </a:prstGeom>
          <a:noFill/>
          <a:ln w="12700">
            <a:noFill/>
          </a:ln>
        </p:spPr>
        <p:txBody>
          <a:bodyPr wrap="none" lIns="0" tIns="0" rIns="0" bIns="0" rtlCol="0" anchor="t" anchorCtr="0">
            <a:spAutoFit/>
          </a:bodyPr>
          <a:lstStyle/>
          <a:p>
            <a:r>
              <a:rPr lang="en-GB" sz="1000" dirty="0" err="1">
                <a:solidFill>
                  <a:srgbClr val="5E6A71"/>
                </a:solidFill>
              </a:rPr>
              <a:t>Agroforestería</a:t>
            </a:r>
            <a:r>
              <a:rPr lang="en-GB" sz="1000" dirty="0">
                <a:solidFill>
                  <a:srgbClr val="5E6A71"/>
                </a:solidFill>
              </a:rPr>
              <a:t> </a:t>
            </a:r>
            <a:r>
              <a:rPr lang="en-GB" sz="1000" dirty="0" err="1">
                <a:solidFill>
                  <a:srgbClr val="5E6A71"/>
                </a:solidFill>
              </a:rPr>
              <a:t>existente</a:t>
            </a:r>
            <a:endParaRPr lang="en-GB" sz="1000" dirty="0">
              <a:solidFill>
                <a:srgbClr val="5E6A71"/>
              </a:solidFill>
            </a:endParaRPr>
          </a:p>
        </p:txBody>
      </p:sp>
      <p:sp>
        <p:nvSpPr>
          <p:cNvPr id="259" name="TextBox 258"/>
          <p:cNvSpPr txBox="1"/>
          <p:nvPr/>
        </p:nvSpPr>
        <p:spPr>
          <a:xfrm>
            <a:off x="2387377" y="4859235"/>
            <a:ext cx="1094852" cy="153888"/>
          </a:xfrm>
          <a:prstGeom prst="rect">
            <a:avLst/>
          </a:prstGeom>
          <a:noFill/>
          <a:ln w="12700">
            <a:noFill/>
          </a:ln>
        </p:spPr>
        <p:txBody>
          <a:bodyPr wrap="none" lIns="0" tIns="0" rIns="0" bIns="0" rtlCol="0" anchor="t" anchorCtr="0">
            <a:spAutoFit/>
          </a:bodyPr>
          <a:lstStyle/>
          <a:p>
            <a:r>
              <a:rPr lang="en-GB" sz="1000" dirty="0" err="1">
                <a:solidFill>
                  <a:srgbClr val="5E6A71"/>
                </a:solidFill>
              </a:rPr>
              <a:t>Agroforestería</a:t>
            </a:r>
            <a:r>
              <a:rPr lang="en-GB" sz="1000" dirty="0">
                <a:solidFill>
                  <a:srgbClr val="5E6A71"/>
                </a:solidFill>
              </a:rPr>
              <a:t> </a:t>
            </a:r>
            <a:r>
              <a:rPr lang="en-GB" sz="1000" dirty="0" err="1">
                <a:solidFill>
                  <a:srgbClr val="5E6A71"/>
                </a:solidFill>
              </a:rPr>
              <a:t>nueva</a:t>
            </a:r>
            <a:endParaRPr lang="en-GB" sz="1000" dirty="0">
              <a:solidFill>
                <a:srgbClr val="5E6A71"/>
              </a:solidFill>
            </a:endParaRPr>
          </a:p>
        </p:txBody>
      </p:sp>
      <p:sp>
        <p:nvSpPr>
          <p:cNvPr id="6" name="Rounded Rectangle 5"/>
          <p:cNvSpPr/>
          <p:nvPr/>
        </p:nvSpPr>
        <p:spPr>
          <a:xfrm>
            <a:off x="285671" y="4864171"/>
            <a:ext cx="288032" cy="144016"/>
          </a:xfrm>
          <a:prstGeom prst="roundRect">
            <a:avLst/>
          </a:prstGeom>
          <a:solidFill>
            <a:schemeClr val="accent2"/>
          </a:solidFill>
          <a:ln w="12700" cap="rnd"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l-NL" sz="1600">
              <a:solidFill>
                <a:srgbClr val="5E6A71"/>
              </a:solidFill>
            </a:endParaRPr>
          </a:p>
        </p:txBody>
      </p:sp>
      <p:sp>
        <p:nvSpPr>
          <p:cNvPr id="248" name="Rounded Rectangle 247"/>
          <p:cNvSpPr/>
          <p:nvPr/>
        </p:nvSpPr>
        <p:spPr>
          <a:xfrm>
            <a:off x="2043230" y="4859235"/>
            <a:ext cx="288032" cy="144016"/>
          </a:xfrm>
          <a:prstGeom prst="roundRect">
            <a:avLst/>
          </a:prstGeom>
          <a:solidFill>
            <a:schemeClr val="tx2"/>
          </a:solidFill>
          <a:ln w="12700" cap="rnd" cmpd="sng" algn="ctr">
            <a:no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nl-NL" sz="1600">
              <a:solidFill>
                <a:srgbClr val="5E6A71"/>
              </a:solidFill>
            </a:endParaRPr>
          </a:p>
        </p:txBody>
      </p:sp>
      <p:sp>
        <p:nvSpPr>
          <p:cNvPr id="7" name="TextBox 6"/>
          <p:cNvSpPr txBox="1"/>
          <p:nvPr/>
        </p:nvSpPr>
        <p:spPr>
          <a:xfrm>
            <a:off x="2221937" y="3399684"/>
            <a:ext cx="688357" cy="123111"/>
          </a:xfrm>
          <a:prstGeom prst="rect">
            <a:avLst/>
          </a:prstGeom>
          <a:noFill/>
          <a:ln w="12700">
            <a:noFill/>
          </a:ln>
        </p:spPr>
        <p:txBody>
          <a:bodyPr wrap="square" lIns="0" tIns="0" rIns="0" bIns="0" rtlCol="0" anchor="t" anchorCtr="0">
            <a:spAutoFit/>
          </a:bodyPr>
          <a:lstStyle/>
          <a:p>
            <a:pPr algn="ctr"/>
            <a:r>
              <a:rPr lang="nl-NL" sz="800">
                <a:solidFill>
                  <a:srgbClr val="5E6A71"/>
                </a:solidFill>
              </a:rPr>
              <a:t>Colombia</a:t>
            </a:r>
          </a:p>
        </p:txBody>
      </p:sp>
      <p:grpSp>
        <p:nvGrpSpPr>
          <p:cNvPr id="254" name="Groep 1">
            <a:extLst>
              <a:ext uri="{FF2B5EF4-FFF2-40B4-BE49-F238E27FC236}">
                <a16:creationId xmlns:a16="http://schemas.microsoft.com/office/drawing/2014/main" id="{58C6ED40-F7CA-4C67-931C-2CC0E170F843}"/>
              </a:ext>
            </a:extLst>
          </p:cNvPr>
          <p:cNvGrpSpPr>
            <a:grpSpLocks/>
          </p:cNvGrpSpPr>
          <p:nvPr/>
        </p:nvGrpSpPr>
        <p:grpSpPr>
          <a:xfrm>
            <a:off x="354791" y="1022565"/>
            <a:ext cx="6254875" cy="3621760"/>
            <a:chOff x="458260" y="1642629"/>
            <a:chExt cx="8020198" cy="4992586"/>
          </a:xfrm>
          <a:solidFill>
            <a:schemeClr val="bg1">
              <a:lumMod val="75000"/>
            </a:schemeClr>
          </a:solidFill>
        </p:grpSpPr>
        <p:grpSp>
          <p:nvGrpSpPr>
            <p:cNvPr id="256" name="Group 1329">
              <a:extLst>
                <a:ext uri="{FF2B5EF4-FFF2-40B4-BE49-F238E27FC236}">
                  <a16:creationId xmlns:a16="http://schemas.microsoft.com/office/drawing/2014/main" id="{F9F73A22-AB04-4EF9-9DC1-62D42E0633CF}"/>
                </a:ext>
              </a:extLst>
            </p:cNvPr>
            <p:cNvGrpSpPr>
              <a:grpSpLocks/>
            </p:cNvGrpSpPr>
            <p:nvPr/>
          </p:nvGrpSpPr>
          <p:grpSpPr bwMode="auto">
            <a:xfrm>
              <a:off x="458260" y="1642629"/>
              <a:ext cx="4751814" cy="3061772"/>
              <a:chOff x="964" y="1104"/>
              <a:chExt cx="2553" cy="1646"/>
            </a:xfrm>
            <a:grpFill/>
          </p:grpSpPr>
          <p:sp>
            <p:nvSpPr>
              <p:cNvPr id="522" name="Freeform 1330">
                <a:extLst>
                  <a:ext uri="{FF2B5EF4-FFF2-40B4-BE49-F238E27FC236}">
                    <a16:creationId xmlns:a16="http://schemas.microsoft.com/office/drawing/2014/main" id="{32216864-7AAD-4A5E-AC82-3E35FE5336EF}"/>
                  </a:ext>
                </a:extLst>
              </p:cNvPr>
              <p:cNvSpPr>
                <a:spLocks/>
              </p:cNvSpPr>
              <p:nvPr/>
            </p:nvSpPr>
            <p:spPr bwMode="auto">
              <a:xfrm>
                <a:off x="3225" y="2330"/>
                <a:ext cx="30" cy="24"/>
              </a:xfrm>
              <a:custGeom>
                <a:avLst/>
                <a:gdLst/>
                <a:ahLst/>
                <a:cxnLst>
                  <a:cxn ang="0">
                    <a:pos x="8" y="0"/>
                  </a:cxn>
                  <a:cxn ang="0">
                    <a:pos x="10" y="2"/>
                  </a:cxn>
                  <a:cxn ang="0">
                    <a:pos x="12" y="0"/>
                  </a:cxn>
                  <a:cxn ang="0">
                    <a:pos x="22" y="0"/>
                  </a:cxn>
                  <a:cxn ang="0">
                    <a:pos x="28" y="4"/>
                  </a:cxn>
                  <a:cxn ang="0">
                    <a:pos x="30" y="16"/>
                  </a:cxn>
                  <a:cxn ang="0">
                    <a:pos x="24" y="20"/>
                  </a:cxn>
                  <a:cxn ang="0">
                    <a:pos x="20" y="20"/>
                  </a:cxn>
                  <a:cxn ang="0">
                    <a:pos x="20" y="20"/>
                  </a:cxn>
                  <a:cxn ang="0">
                    <a:pos x="14" y="24"/>
                  </a:cxn>
                  <a:cxn ang="0">
                    <a:pos x="6" y="24"/>
                  </a:cxn>
                  <a:cxn ang="0">
                    <a:pos x="6" y="24"/>
                  </a:cxn>
                  <a:cxn ang="0">
                    <a:pos x="2" y="20"/>
                  </a:cxn>
                  <a:cxn ang="0">
                    <a:pos x="0" y="16"/>
                  </a:cxn>
                  <a:cxn ang="0">
                    <a:pos x="2" y="4"/>
                  </a:cxn>
                  <a:cxn ang="0">
                    <a:pos x="8" y="0"/>
                  </a:cxn>
                </a:cxnLst>
                <a:rect l="0" t="0" r="r" b="b"/>
                <a:pathLst>
                  <a:path w="30" h="24">
                    <a:moveTo>
                      <a:pt x="8" y="0"/>
                    </a:moveTo>
                    <a:lnTo>
                      <a:pt x="10" y="2"/>
                    </a:lnTo>
                    <a:lnTo>
                      <a:pt x="12" y="0"/>
                    </a:lnTo>
                    <a:lnTo>
                      <a:pt x="22" y="0"/>
                    </a:lnTo>
                    <a:lnTo>
                      <a:pt x="28" y="4"/>
                    </a:lnTo>
                    <a:lnTo>
                      <a:pt x="30" y="16"/>
                    </a:lnTo>
                    <a:lnTo>
                      <a:pt x="24" y="20"/>
                    </a:lnTo>
                    <a:lnTo>
                      <a:pt x="20" y="20"/>
                    </a:lnTo>
                    <a:lnTo>
                      <a:pt x="20" y="20"/>
                    </a:lnTo>
                    <a:lnTo>
                      <a:pt x="14" y="24"/>
                    </a:lnTo>
                    <a:lnTo>
                      <a:pt x="6" y="24"/>
                    </a:lnTo>
                    <a:lnTo>
                      <a:pt x="6" y="24"/>
                    </a:lnTo>
                    <a:lnTo>
                      <a:pt x="2" y="20"/>
                    </a:lnTo>
                    <a:lnTo>
                      <a:pt x="0" y="16"/>
                    </a:lnTo>
                    <a:lnTo>
                      <a:pt x="2" y="4"/>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3" name="Freeform 1331">
                <a:extLst>
                  <a:ext uri="{FF2B5EF4-FFF2-40B4-BE49-F238E27FC236}">
                    <a16:creationId xmlns:a16="http://schemas.microsoft.com/office/drawing/2014/main" id="{E38836B5-18D8-400B-B492-61084D9E1B04}"/>
                  </a:ext>
                </a:extLst>
              </p:cNvPr>
              <p:cNvSpPr>
                <a:spLocks/>
              </p:cNvSpPr>
              <p:nvPr/>
            </p:nvSpPr>
            <p:spPr bwMode="auto">
              <a:xfrm>
                <a:off x="3211" y="2324"/>
                <a:ext cx="20" cy="50"/>
              </a:xfrm>
              <a:custGeom>
                <a:avLst/>
                <a:gdLst/>
                <a:ahLst/>
                <a:cxnLst>
                  <a:cxn ang="0">
                    <a:pos x="10" y="50"/>
                  </a:cxn>
                  <a:cxn ang="0">
                    <a:pos x="20" y="36"/>
                  </a:cxn>
                  <a:cxn ang="0">
                    <a:pos x="20" y="30"/>
                  </a:cxn>
                  <a:cxn ang="0">
                    <a:pos x="20" y="30"/>
                  </a:cxn>
                  <a:cxn ang="0">
                    <a:pos x="16" y="26"/>
                  </a:cxn>
                  <a:cxn ang="0">
                    <a:pos x="14" y="22"/>
                  </a:cxn>
                  <a:cxn ang="0">
                    <a:pos x="16" y="10"/>
                  </a:cxn>
                  <a:cxn ang="0">
                    <a:pos x="16" y="10"/>
                  </a:cxn>
                  <a:cxn ang="0">
                    <a:pos x="10" y="4"/>
                  </a:cxn>
                  <a:cxn ang="0">
                    <a:pos x="4" y="0"/>
                  </a:cxn>
                  <a:cxn ang="0">
                    <a:pos x="2" y="4"/>
                  </a:cxn>
                  <a:cxn ang="0">
                    <a:pos x="0" y="14"/>
                  </a:cxn>
                  <a:cxn ang="0">
                    <a:pos x="2" y="14"/>
                  </a:cxn>
                  <a:cxn ang="0">
                    <a:pos x="0" y="22"/>
                  </a:cxn>
                  <a:cxn ang="0">
                    <a:pos x="2" y="24"/>
                  </a:cxn>
                  <a:cxn ang="0">
                    <a:pos x="2" y="24"/>
                  </a:cxn>
                  <a:cxn ang="0">
                    <a:pos x="0" y="32"/>
                  </a:cxn>
                  <a:cxn ang="0">
                    <a:pos x="2" y="38"/>
                  </a:cxn>
                  <a:cxn ang="0">
                    <a:pos x="0" y="38"/>
                  </a:cxn>
                  <a:cxn ang="0">
                    <a:pos x="2" y="42"/>
                  </a:cxn>
                  <a:cxn ang="0">
                    <a:pos x="6" y="44"/>
                  </a:cxn>
                  <a:cxn ang="0">
                    <a:pos x="8" y="50"/>
                  </a:cxn>
                  <a:cxn ang="0">
                    <a:pos x="10" y="50"/>
                  </a:cxn>
                </a:cxnLst>
                <a:rect l="0" t="0" r="r" b="b"/>
                <a:pathLst>
                  <a:path w="20" h="50">
                    <a:moveTo>
                      <a:pt x="10" y="50"/>
                    </a:moveTo>
                    <a:lnTo>
                      <a:pt x="20" y="36"/>
                    </a:lnTo>
                    <a:lnTo>
                      <a:pt x="20" y="30"/>
                    </a:lnTo>
                    <a:lnTo>
                      <a:pt x="20" y="30"/>
                    </a:lnTo>
                    <a:lnTo>
                      <a:pt x="16" y="26"/>
                    </a:lnTo>
                    <a:lnTo>
                      <a:pt x="14" y="22"/>
                    </a:lnTo>
                    <a:lnTo>
                      <a:pt x="16" y="10"/>
                    </a:lnTo>
                    <a:lnTo>
                      <a:pt x="16" y="10"/>
                    </a:lnTo>
                    <a:lnTo>
                      <a:pt x="10" y="4"/>
                    </a:lnTo>
                    <a:lnTo>
                      <a:pt x="4" y="0"/>
                    </a:lnTo>
                    <a:lnTo>
                      <a:pt x="2" y="4"/>
                    </a:lnTo>
                    <a:lnTo>
                      <a:pt x="0" y="14"/>
                    </a:lnTo>
                    <a:lnTo>
                      <a:pt x="2" y="14"/>
                    </a:lnTo>
                    <a:lnTo>
                      <a:pt x="0" y="22"/>
                    </a:lnTo>
                    <a:lnTo>
                      <a:pt x="2" y="24"/>
                    </a:lnTo>
                    <a:lnTo>
                      <a:pt x="2" y="24"/>
                    </a:lnTo>
                    <a:lnTo>
                      <a:pt x="0" y="32"/>
                    </a:lnTo>
                    <a:lnTo>
                      <a:pt x="2" y="38"/>
                    </a:lnTo>
                    <a:lnTo>
                      <a:pt x="0" y="38"/>
                    </a:lnTo>
                    <a:lnTo>
                      <a:pt x="2" y="42"/>
                    </a:lnTo>
                    <a:lnTo>
                      <a:pt x="6" y="44"/>
                    </a:lnTo>
                    <a:lnTo>
                      <a:pt x="8" y="50"/>
                    </a:lnTo>
                    <a:lnTo>
                      <a:pt x="10"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4" name="Freeform 1332">
                <a:extLst>
                  <a:ext uri="{FF2B5EF4-FFF2-40B4-BE49-F238E27FC236}">
                    <a16:creationId xmlns:a16="http://schemas.microsoft.com/office/drawing/2014/main" id="{B10269F3-7ABC-4A71-9820-40E2859AAA27}"/>
                  </a:ext>
                </a:extLst>
              </p:cNvPr>
              <p:cNvSpPr>
                <a:spLocks/>
              </p:cNvSpPr>
              <p:nvPr/>
            </p:nvSpPr>
            <p:spPr bwMode="auto">
              <a:xfrm>
                <a:off x="3201" y="2260"/>
                <a:ext cx="52" cy="78"/>
              </a:xfrm>
              <a:custGeom>
                <a:avLst/>
                <a:gdLst/>
                <a:ahLst/>
                <a:cxnLst>
                  <a:cxn ang="0">
                    <a:pos x="46" y="70"/>
                  </a:cxn>
                  <a:cxn ang="0">
                    <a:pos x="46" y="64"/>
                  </a:cxn>
                  <a:cxn ang="0">
                    <a:pos x="52" y="56"/>
                  </a:cxn>
                  <a:cxn ang="0">
                    <a:pos x="46" y="48"/>
                  </a:cxn>
                  <a:cxn ang="0">
                    <a:pos x="48" y="38"/>
                  </a:cxn>
                  <a:cxn ang="0">
                    <a:pos x="50" y="36"/>
                  </a:cxn>
                  <a:cxn ang="0">
                    <a:pos x="48" y="36"/>
                  </a:cxn>
                  <a:cxn ang="0">
                    <a:pos x="48" y="32"/>
                  </a:cxn>
                  <a:cxn ang="0">
                    <a:pos x="50" y="30"/>
                  </a:cxn>
                  <a:cxn ang="0">
                    <a:pos x="48" y="28"/>
                  </a:cxn>
                  <a:cxn ang="0">
                    <a:pos x="36" y="24"/>
                  </a:cxn>
                  <a:cxn ang="0">
                    <a:pos x="34" y="18"/>
                  </a:cxn>
                  <a:cxn ang="0">
                    <a:pos x="30" y="16"/>
                  </a:cxn>
                  <a:cxn ang="0">
                    <a:pos x="30" y="16"/>
                  </a:cxn>
                  <a:cxn ang="0">
                    <a:pos x="28" y="12"/>
                  </a:cxn>
                  <a:cxn ang="0">
                    <a:pos x="26" y="8"/>
                  </a:cxn>
                  <a:cxn ang="0">
                    <a:pos x="18" y="0"/>
                  </a:cxn>
                  <a:cxn ang="0">
                    <a:pos x="2" y="6"/>
                  </a:cxn>
                  <a:cxn ang="0">
                    <a:pos x="6" y="12"/>
                  </a:cxn>
                  <a:cxn ang="0">
                    <a:pos x="6" y="14"/>
                  </a:cxn>
                  <a:cxn ang="0">
                    <a:pos x="8" y="16"/>
                  </a:cxn>
                  <a:cxn ang="0">
                    <a:pos x="8" y="22"/>
                  </a:cxn>
                  <a:cxn ang="0">
                    <a:pos x="10" y="24"/>
                  </a:cxn>
                  <a:cxn ang="0">
                    <a:pos x="8" y="34"/>
                  </a:cxn>
                  <a:cxn ang="0">
                    <a:pos x="14" y="38"/>
                  </a:cxn>
                  <a:cxn ang="0">
                    <a:pos x="12" y="40"/>
                  </a:cxn>
                  <a:cxn ang="0">
                    <a:pos x="10" y="38"/>
                  </a:cxn>
                  <a:cxn ang="0">
                    <a:pos x="10" y="40"/>
                  </a:cxn>
                  <a:cxn ang="0">
                    <a:pos x="12" y="44"/>
                  </a:cxn>
                  <a:cxn ang="0">
                    <a:pos x="12" y="46"/>
                  </a:cxn>
                  <a:cxn ang="0">
                    <a:pos x="6" y="48"/>
                  </a:cxn>
                  <a:cxn ang="0">
                    <a:pos x="8" y="50"/>
                  </a:cxn>
                  <a:cxn ang="0">
                    <a:pos x="6" y="52"/>
                  </a:cxn>
                  <a:cxn ang="0">
                    <a:pos x="6" y="52"/>
                  </a:cxn>
                  <a:cxn ang="0">
                    <a:pos x="4" y="52"/>
                  </a:cxn>
                  <a:cxn ang="0">
                    <a:pos x="4" y="52"/>
                  </a:cxn>
                  <a:cxn ang="0">
                    <a:pos x="2" y="60"/>
                  </a:cxn>
                  <a:cxn ang="0">
                    <a:pos x="0" y="66"/>
                  </a:cxn>
                  <a:cxn ang="0">
                    <a:pos x="0" y="66"/>
                  </a:cxn>
                  <a:cxn ang="0">
                    <a:pos x="8" y="74"/>
                  </a:cxn>
                  <a:cxn ang="0">
                    <a:pos x="8" y="74"/>
                  </a:cxn>
                  <a:cxn ang="0">
                    <a:pos x="8" y="76"/>
                  </a:cxn>
                  <a:cxn ang="0">
                    <a:pos x="10" y="78"/>
                  </a:cxn>
                  <a:cxn ang="0">
                    <a:pos x="12" y="68"/>
                  </a:cxn>
                  <a:cxn ang="0">
                    <a:pos x="14" y="64"/>
                  </a:cxn>
                  <a:cxn ang="0">
                    <a:pos x="14" y="64"/>
                  </a:cxn>
                  <a:cxn ang="0">
                    <a:pos x="20" y="68"/>
                  </a:cxn>
                  <a:cxn ang="0">
                    <a:pos x="26" y="74"/>
                  </a:cxn>
                  <a:cxn ang="0">
                    <a:pos x="32" y="70"/>
                  </a:cxn>
                  <a:cxn ang="0">
                    <a:pos x="34" y="72"/>
                  </a:cxn>
                  <a:cxn ang="0">
                    <a:pos x="36" y="70"/>
                  </a:cxn>
                  <a:cxn ang="0">
                    <a:pos x="46" y="70"/>
                  </a:cxn>
                </a:cxnLst>
                <a:rect l="0" t="0" r="r" b="b"/>
                <a:pathLst>
                  <a:path w="52" h="78">
                    <a:moveTo>
                      <a:pt x="46" y="70"/>
                    </a:moveTo>
                    <a:lnTo>
                      <a:pt x="46" y="64"/>
                    </a:lnTo>
                    <a:lnTo>
                      <a:pt x="52" y="56"/>
                    </a:lnTo>
                    <a:lnTo>
                      <a:pt x="46" y="48"/>
                    </a:lnTo>
                    <a:lnTo>
                      <a:pt x="48" y="38"/>
                    </a:lnTo>
                    <a:lnTo>
                      <a:pt x="50" y="36"/>
                    </a:lnTo>
                    <a:lnTo>
                      <a:pt x="48" y="36"/>
                    </a:lnTo>
                    <a:lnTo>
                      <a:pt x="48" y="32"/>
                    </a:lnTo>
                    <a:lnTo>
                      <a:pt x="50" y="30"/>
                    </a:lnTo>
                    <a:lnTo>
                      <a:pt x="48" y="28"/>
                    </a:lnTo>
                    <a:lnTo>
                      <a:pt x="36" y="24"/>
                    </a:lnTo>
                    <a:lnTo>
                      <a:pt x="34" y="18"/>
                    </a:lnTo>
                    <a:lnTo>
                      <a:pt x="30" y="16"/>
                    </a:lnTo>
                    <a:lnTo>
                      <a:pt x="30" y="16"/>
                    </a:lnTo>
                    <a:lnTo>
                      <a:pt x="28" y="12"/>
                    </a:lnTo>
                    <a:lnTo>
                      <a:pt x="26" y="8"/>
                    </a:lnTo>
                    <a:lnTo>
                      <a:pt x="18" y="0"/>
                    </a:lnTo>
                    <a:lnTo>
                      <a:pt x="2" y="6"/>
                    </a:lnTo>
                    <a:lnTo>
                      <a:pt x="6" y="12"/>
                    </a:lnTo>
                    <a:lnTo>
                      <a:pt x="6" y="14"/>
                    </a:lnTo>
                    <a:lnTo>
                      <a:pt x="8" y="16"/>
                    </a:lnTo>
                    <a:lnTo>
                      <a:pt x="8" y="22"/>
                    </a:lnTo>
                    <a:lnTo>
                      <a:pt x="10" y="24"/>
                    </a:lnTo>
                    <a:lnTo>
                      <a:pt x="8" y="34"/>
                    </a:lnTo>
                    <a:lnTo>
                      <a:pt x="14" y="38"/>
                    </a:lnTo>
                    <a:lnTo>
                      <a:pt x="12" y="40"/>
                    </a:lnTo>
                    <a:lnTo>
                      <a:pt x="10" y="38"/>
                    </a:lnTo>
                    <a:lnTo>
                      <a:pt x="10" y="40"/>
                    </a:lnTo>
                    <a:lnTo>
                      <a:pt x="12" y="44"/>
                    </a:lnTo>
                    <a:lnTo>
                      <a:pt x="12" y="46"/>
                    </a:lnTo>
                    <a:lnTo>
                      <a:pt x="6" y="48"/>
                    </a:lnTo>
                    <a:lnTo>
                      <a:pt x="8" y="50"/>
                    </a:lnTo>
                    <a:lnTo>
                      <a:pt x="6" y="52"/>
                    </a:lnTo>
                    <a:lnTo>
                      <a:pt x="6" y="52"/>
                    </a:lnTo>
                    <a:lnTo>
                      <a:pt x="4" y="52"/>
                    </a:lnTo>
                    <a:lnTo>
                      <a:pt x="4" y="52"/>
                    </a:lnTo>
                    <a:lnTo>
                      <a:pt x="2" y="60"/>
                    </a:lnTo>
                    <a:lnTo>
                      <a:pt x="0" y="66"/>
                    </a:lnTo>
                    <a:lnTo>
                      <a:pt x="0" y="66"/>
                    </a:lnTo>
                    <a:lnTo>
                      <a:pt x="8" y="74"/>
                    </a:lnTo>
                    <a:lnTo>
                      <a:pt x="8" y="74"/>
                    </a:lnTo>
                    <a:lnTo>
                      <a:pt x="8" y="76"/>
                    </a:lnTo>
                    <a:lnTo>
                      <a:pt x="10" y="78"/>
                    </a:lnTo>
                    <a:lnTo>
                      <a:pt x="12" y="68"/>
                    </a:lnTo>
                    <a:lnTo>
                      <a:pt x="14" y="64"/>
                    </a:lnTo>
                    <a:lnTo>
                      <a:pt x="14" y="64"/>
                    </a:lnTo>
                    <a:lnTo>
                      <a:pt x="20" y="68"/>
                    </a:lnTo>
                    <a:lnTo>
                      <a:pt x="26" y="74"/>
                    </a:lnTo>
                    <a:lnTo>
                      <a:pt x="32" y="70"/>
                    </a:lnTo>
                    <a:lnTo>
                      <a:pt x="34" y="72"/>
                    </a:lnTo>
                    <a:lnTo>
                      <a:pt x="36" y="70"/>
                    </a:lnTo>
                    <a:lnTo>
                      <a:pt x="46" y="7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5" name="Freeform 1333">
                <a:extLst>
                  <a:ext uri="{FF2B5EF4-FFF2-40B4-BE49-F238E27FC236}">
                    <a16:creationId xmlns:a16="http://schemas.microsoft.com/office/drawing/2014/main" id="{F02C0277-2D66-40EA-9E73-2E32C27BD884}"/>
                  </a:ext>
                </a:extLst>
              </p:cNvPr>
              <p:cNvSpPr>
                <a:spLocks/>
              </p:cNvSpPr>
              <p:nvPr/>
            </p:nvSpPr>
            <p:spPr bwMode="auto">
              <a:xfrm>
                <a:off x="3169" y="2276"/>
                <a:ext cx="46" cy="48"/>
              </a:xfrm>
              <a:custGeom>
                <a:avLst/>
                <a:gdLst/>
                <a:ahLst/>
                <a:cxnLst>
                  <a:cxn ang="0">
                    <a:pos x="40" y="6"/>
                  </a:cxn>
                  <a:cxn ang="0">
                    <a:pos x="42" y="8"/>
                  </a:cxn>
                  <a:cxn ang="0">
                    <a:pos x="40" y="18"/>
                  </a:cxn>
                  <a:cxn ang="0">
                    <a:pos x="46" y="22"/>
                  </a:cxn>
                  <a:cxn ang="0">
                    <a:pos x="44" y="24"/>
                  </a:cxn>
                  <a:cxn ang="0">
                    <a:pos x="42" y="22"/>
                  </a:cxn>
                  <a:cxn ang="0">
                    <a:pos x="42" y="24"/>
                  </a:cxn>
                  <a:cxn ang="0">
                    <a:pos x="44" y="28"/>
                  </a:cxn>
                  <a:cxn ang="0">
                    <a:pos x="44" y="30"/>
                  </a:cxn>
                  <a:cxn ang="0">
                    <a:pos x="38" y="32"/>
                  </a:cxn>
                  <a:cxn ang="0">
                    <a:pos x="40" y="34"/>
                  </a:cxn>
                  <a:cxn ang="0">
                    <a:pos x="38" y="36"/>
                  </a:cxn>
                  <a:cxn ang="0">
                    <a:pos x="38" y="36"/>
                  </a:cxn>
                  <a:cxn ang="0">
                    <a:pos x="36" y="36"/>
                  </a:cxn>
                  <a:cxn ang="0">
                    <a:pos x="36" y="36"/>
                  </a:cxn>
                  <a:cxn ang="0">
                    <a:pos x="32" y="48"/>
                  </a:cxn>
                  <a:cxn ang="0">
                    <a:pos x="32" y="48"/>
                  </a:cxn>
                  <a:cxn ang="0">
                    <a:pos x="30" y="48"/>
                  </a:cxn>
                  <a:cxn ang="0">
                    <a:pos x="30" y="48"/>
                  </a:cxn>
                  <a:cxn ang="0">
                    <a:pos x="26" y="44"/>
                  </a:cxn>
                  <a:cxn ang="0">
                    <a:pos x="24" y="44"/>
                  </a:cxn>
                  <a:cxn ang="0">
                    <a:pos x="20" y="44"/>
                  </a:cxn>
                  <a:cxn ang="0">
                    <a:pos x="20" y="42"/>
                  </a:cxn>
                  <a:cxn ang="0">
                    <a:pos x="22" y="40"/>
                  </a:cxn>
                  <a:cxn ang="0">
                    <a:pos x="16" y="36"/>
                  </a:cxn>
                  <a:cxn ang="0">
                    <a:pos x="16" y="32"/>
                  </a:cxn>
                  <a:cxn ang="0">
                    <a:pos x="4" y="18"/>
                  </a:cxn>
                  <a:cxn ang="0">
                    <a:pos x="4" y="18"/>
                  </a:cxn>
                  <a:cxn ang="0">
                    <a:pos x="2" y="10"/>
                  </a:cxn>
                  <a:cxn ang="0">
                    <a:pos x="0" y="2"/>
                  </a:cxn>
                  <a:cxn ang="0">
                    <a:pos x="2" y="0"/>
                  </a:cxn>
                  <a:cxn ang="0">
                    <a:pos x="6" y="4"/>
                  </a:cxn>
                  <a:cxn ang="0">
                    <a:pos x="14" y="0"/>
                  </a:cxn>
                  <a:cxn ang="0">
                    <a:pos x="14" y="0"/>
                  </a:cxn>
                  <a:cxn ang="0">
                    <a:pos x="24" y="4"/>
                  </a:cxn>
                  <a:cxn ang="0">
                    <a:pos x="30" y="4"/>
                  </a:cxn>
                  <a:cxn ang="0">
                    <a:pos x="34" y="4"/>
                  </a:cxn>
                  <a:cxn ang="0">
                    <a:pos x="36" y="8"/>
                  </a:cxn>
                  <a:cxn ang="0">
                    <a:pos x="40" y="6"/>
                  </a:cxn>
                </a:cxnLst>
                <a:rect l="0" t="0" r="r" b="b"/>
                <a:pathLst>
                  <a:path w="46" h="48">
                    <a:moveTo>
                      <a:pt x="40" y="6"/>
                    </a:moveTo>
                    <a:lnTo>
                      <a:pt x="42" y="8"/>
                    </a:lnTo>
                    <a:lnTo>
                      <a:pt x="40" y="18"/>
                    </a:lnTo>
                    <a:lnTo>
                      <a:pt x="46" y="22"/>
                    </a:lnTo>
                    <a:lnTo>
                      <a:pt x="44" y="24"/>
                    </a:lnTo>
                    <a:lnTo>
                      <a:pt x="42" y="22"/>
                    </a:lnTo>
                    <a:lnTo>
                      <a:pt x="42" y="24"/>
                    </a:lnTo>
                    <a:lnTo>
                      <a:pt x="44" y="28"/>
                    </a:lnTo>
                    <a:lnTo>
                      <a:pt x="44" y="30"/>
                    </a:lnTo>
                    <a:lnTo>
                      <a:pt x="38" y="32"/>
                    </a:lnTo>
                    <a:lnTo>
                      <a:pt x="40" y="34"/>
                    </a:lnTo>
                    <a:lnTo>
                      <a:pt x="38" y="36"/>
                    </a:lnTo>
                    <a:lnTo>
                      <a:pt x="38" y="36"/>
                    </a:lnTo>
                    <a:lnTo>
                      <a:pt x="36" y="36"/>
                    </a:lnTo>
                    <a:lnTo>
                      <a:pt x="36" y="36"/>
                    </a:lnTo>
                    <a:lnTo>
                      <a:pt x="32" y="48"/>
                    </a:lnTo>
                    <a:lnTo>
                      <a:pt x="32" y="48"/>
                    </a:lnTo>
                    <a:lnTo>
                      <a:pt x="30" y="48"/>
                    </a:lnTo>
                    <a:lnTo>
                      <a:pt x="30" y="48"/>
                    </a:lnTo>
                    <a:lnTo>
                      <a:pt x="26" y="44"/>
                    </a:lnTo>
                    <a:lnTo>
                      <a:pt x="24" y="44"/>
                    </a:lnTo>
                    <a:lnTo>
                      <a:pt x="20" y="44"/>
                    </a:lnTo>
                    <a:lnTo>
                      <a:pt x="20" y="42"/>
                    </a:lnTo>
                    <a:lnTo>
                      <a:pt x="22" y="40"/>
                    </a:lnTo>
                    <a:lnTo>
                      <a:pt x="16" y="36"/>
                    </a:lnTo>
                    <a:lnTo>
                      <a:pt x="16" y="32"/>
                    </a:lnTo>
                    <a:lnTo>
                      <a:pt x="4" y="18"/>
                    </a:lnTo>
                    <a:lnTo>
                      <a:pt x="4" y="18"/>
                    </a:lnTo>
                    <a:lnTo>
                      <a:pt x="2" y="10"/>
                    </a:lnTo>
                    <a:lnTo>
                      <a:pt x="0" y="2"/>
                    </a:lnTo>
                    <a:lnTo>
                      <a:pt x="2" y="0"/>
                    </a:lnTo>
                    <a:lnTo>
                      <a:pt x="6" y="4"/>
                    </a:lnTo>
                    <a:lnTo>
                      <a:pt x="14" y="0"/>
                    </a:lnTo>
                    <a:lnTo>
                      <a:pt x="14" y="0"/>
                    </a:lnTo>
                    <a:lnTo>
                      <a:pt x="24" y="4"/>
                    </a:lnTo>
                    <a:lnTo>
                      <a:pt x="30" y="4"/>
                    </a:lnTo>
                    <a:lnTo>
                      <a:pt x="34" y="4"/>
                    </a:lnTo>
                    <a:lnTo>
                      <a:pt x="36" y="8"/>
                    </a:lnTo>
                    <a:lnTo>
                      <a:pt x="4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6" name="Freeform 1334">
                <a:extLst>
                  <a:ext uri="{FF2B5EF4-FFF2-40B4-BE49-F238E27FC236}">
                    <a16:creationId xmlns:a16="http://schemas.microsoft.com/office/drawing/2014/main" id="{FCD2773D-E56E-4914-8D2E-DF87F8BA19FB}"/>
                  </a:ext>
                </a:extLst>
              </p:cNvPr>
              <p:cNvSpPr>
                <a:spLocks/>
              </p:cNvSpPr>
              <p:nvPr/>
            </p:nvSpPr>
            <p:spPr bwMode="auto">
              <a:xfrm>
                <a:off x="3227" y="1654"/>
                <a:ext cx="128" cy="312"/>
              </a:xfrm>
              <a:custGeom>
                <a:avLst/>
                <a:gdLst/>
                <a:ahLst/>
                <a:cxnLst>
                  <a:cxn ang="0">
                    <a:pos x="0" y="36"/>
                  </a:cxn>
                  <a:cxn ang="0">
                    <a:pos x="34" y="74"/>
                  </a:cxn>
                  <a:cxn ang="0">
                    <a:pos x="34" y="88"/>
                  </a:cxn>
                  <a:cxn ang="0">
                    <a:pos x="38" y="116"/>
                  </a:cxn>
                  <a:cxn ang="0">
                    <a:pos x="36" y="128"/>
                  </a:cxn>
                  <a:cxn ang="0">
                    <a:pos x="40" y="142"/>
                  </a:cxn>
                  <a:cxn ang="0">
                    <a:pos x="52" y="152"/>
                  </a:cxn>
                  <a:cxn ang="0">
                    <a:pos x="56" y="166"/>
                  </a:cxn>
                  <a:cxn ang="0">
                    <a:pos x="52" y="172"/>
                  </a:cxn>
                  <a:cxn ang="0">
                    <a:pos x="38" y="196"/>
                  </a:cxn>
                  <a:cxn ang="0">
                    <a:pos x="26" y="212"/>
                  </a:cxn>
                  <a:cxn ang="0">
                    <a:pos x="12" y="222"/>
                  </a:cxn>
                  <a:cxn ang="0">
                    <a:pos x="8" y="238"/>
                  </a:cxn>
                  <a:cxn ang="0">
                    <a:pos x="12" y="270"/>
                  </a:cxn>
                  <a:cxn ang="0">
                    <a:pos x="8" y="270"/>
                  </a:cxn>
                  <a:cxn ang="0">
                    <a:pos x="6" y="284"/>
                  </a:cxn>
                  <a:cxn ang="0">
                    <a:pos x="8" y="288"/>
                  </a:cxn>
                  <a:cxn ang="0">
                    <a:pos x="20" y="298"/>
                  </a:cxn>
                  <a:cxn ang="0">
                    <a:pos x="22" y="302"/>
                  </a:cxn>
                  <a:cxn ang="0">
                    <a:pos x="26" y="300"/>
                  </a:cxn>
                  <a:cxn ang="0">
                    <a:pos x="28" y="310"/>
                  </a:cxn>
                  <a:cxn ang="0">
                    <a:pos x="30" y="312"/>
                  </a:cxn>
                  <a:cxn ang="0">
                    <a:pos x="34" y="310"/>
                  </a:cxn>
                  <a:cxn ang="0">
                    <a:pos x="56" y="302"/>
                  </a:cxn>
                  <a:cxn ang="0">
                    <a:pos x="84" y="294"/>
                  </a:cxn>
                  <a:cxn ang="0">
                    <a:pos x="108" y="268"/>
                  </a:cxn>
                  <a:cxn ang="0">
                    <a:pos x="128" y="236"/>
                  </a:cxn>
                  <a:cxn ang="0">
                    <a:pos x="114" y="208"/>
                  </a:cxn>
                  <a:cxn ang="0">
                    <a:pos x="120" y="192"/>
                  </a:cxn>
                  <a:cxn ang="0">
                    <a:pos x="112" y="176"/>
                  </a:cxn>
                  <a:cxn ang="0">
                    <a:pos x="110" y="174"/>
                  </a:cxn>
                  <a:cxn ang="0">
                    <a:pos x="114" y="146"/>
                  </a:cxn>
                  <a:cxn ang="0">
                    <a:pos x="112" y="88"/>
                  </a:cxn>
                  <a:cxn ang="0">
                    <a:pos x="100" y="36"/>
                  </a:cxn>
                  <a:cxn ang="0">
                    <a:pos x="104" y="24"/>
                  </a:cxn>
                  <a:cxn ang="0">
                    <a:pos x="88" y="0"/>
                  </a:cxn>
                  <a:cxn ang="0">
                    <a:pos x="64" y="10"/>
                  </a:cxn>
                  <a:cxn ang="0">
                    <a:pos x="62" y="24"/>
                  </a:cxn>
                  <a:cxn ang="0">
                    <a:pos x="60" y="38"/>
                  </a:cxn>
                  <a:cxn ang="0">
                    <a:pos x="38" y="46"/>
                  </a:cxn>
                  <a:cxn ang="0">
                    <a:pos x="22" y="48"/>
                  </a:cxn>
                  <a:cxn ang="0">
                    <a:pos x="16" y="36"/>
                  </a:cxn>
                  <a:cxn ang="0">
                    <a:pos x="8" y="26"/>
                  </a:cxn>
                  <a:cxn ang="0">
                    <a:pos x="6" y="34"/>
                  </a:cxn>
                </a:cxnLst>
                <a:rect l="0" t="0" r="r" b="b"/>
                <a:pathLst>
                  <a:path w="128" h="312">
                    <a:moveTo>
                      <a:pt x="0" y="36"/>
                    </a:moveTo>
                    <a:lnTo>
                      <a:pt x="0" y="36"/>
                    </a:lnTo>
                    <a:lnTo>
                      <a:pt x="34" y="74"/>
                    </a:lnTo>
                    <a:lnTo>
                      <a:pt x="34" y="74"/>
                    </a:lnTo>
                    <a:lnTo>
                      <a:pt x="34" y="82"/>
                    </a:lnTo>
                    <a:lnTo>
                      <a:pt x="34" y="88"/>
                    </a:lnTo>
                    <a:lnTo>
                      <a:pt x="36" y="102"/>
                    </a:lnTo>
                    <a:lnTo>
                      <a:pt x="38" y="116"/>
                    </a:lnTo>
                    <a:lnTo>
                      <a:pt x="38" y="122"/>
                    </a:lnTo>
                    <a:lnTo>
                      <a:pt x="36" y="128"/>
                    </a:lnTo>
                    <a:lnTo>
                      <a:pt x="40" y="142"/>
                    </a:lnTo>
                    <a:lnTo>
                      <a:pt x="40" y="142"/>
                    </a:lnTo>
                    <a:lnTo>
                      <a:pt x="46" y="146"/>
                    </a:lnTo>
                    <a:lnTo>
                      <a:pt x="52" y="152"/>
                    </a:lnTo>
                    <a:lnTo>
                      <a:pt x="56" y="158"/>
                    </a:lnTo>
                    <a:lnTo>
                      <a:pt x="56" y="166"/>
                    </a:lnTo>
                    <a:lnTo>
                      <a:pt x="56" y="166"/>
                    </a:lnTo>
                    <a:lnTo>
                      <a:pt x="52" y="172"/>
                    </a:lnTo>
                    <a:lnTo>
                      <a:pt x="46" y="178"/>
                    </a:lnTo>
                    <a:lnTo>
                      <a:pt x="38" y="196"/>
                    </a:lnTo>
                    <a:lnTo>
                      <a:pt x="32" y="204"/>
                    </a:lnTo>
                    <a:lnTo>
                      <a:pt x="26" y="212"/>
                    </a:lnTo>
                    <a:lnTo>
                      <a:pt x="20" y="218"/>
                    </a:lnTo>
                    <a:lnTo>
                      <a:pt x="12" y="222"/>
                    </a:lnTo>
                    <a:lnTo>
                      <a:pt x="12" y="222"/>
                    </a:lnTo>
                    <a:lnTo>
                      <a:pt x="8" y="238"/>
                    </a:lnTo>
                    <a:lnTo>
                      <a:pt x="6" y="254"/>
                    </a:lnTo>
                    <a:lnTo>
                      <a:pt x="12" y="270"/>
                    </a:lnTo>
                    <a:lnTo>
                      <a:pt x="8" y="270"/>
                    </a:lnTo>
                    <a:lnTo>
                      <a:pt x="8" y="270"/>
                    </a:lnTo>
                    <a:lnTo>
                      <a:pt x="8" y="276"/>
                    </a:lnTo>
                    <a:lnTo>
                      <a:pt x="6" y="284"/>
                    </a:lnTo>
                    <a:lnTo>
                      <a:pt x="8" y="288"/>
                    </a:lnTo>
                    <a:lnTo>
                      <a:pt x="8" y="288"/>
                    </a:lnTo>
                    <a:lnTo>
                      <a:pt x="8" y="292"/>
                    </a:lnTo>
                    <a:lnTo>
                      <a:pt x="20" y="298"/>
                    </a:lnTo>
                    <a:lnTo>
                      <a:pt x="20" y="300"/>
                    </a:lnTo>
                    <a:lnTo>
                      <a:pt x="22" y="302"/>
                    </a:lnTo>
                    <a:lnTo>
                      <a:pt x="26" y="300"/>
                    </a:lnTo>
                    <a:lnTo>
                      <a:pt x="26" y="300"/>
                    </a:lnTo>
                    <a:lnTo>
                      <a:pt x="26" y="304"/>
                    </a:lnTo>
                    <a:lnTo>
                      <a:pt x="28" y="310"/>
                    </a:lnTo>
                    <a:lnTo>
                      <a:pt x="26" y="312"/>
                    </a:lnTo>
                    <a:lnTo>
                      <a:pt x="30" y="312"/>
                    </a:lnTo>
                    <a:lnTo>
                      <a:pt x="32" y="306"/>
                    </a:lnTo>
                    <a:lnTo>
                      <a:pt x="34" y="310"/>
                    </a:lnTo>
                    <a:lnTo>
                      <a:pt x="34" y="310"/>
                    </a:lnTo>
                    <a:lnTo>
                      <a:pt x="56" y="302"/>
                    </a:lnTo>
                    <a:lnTo>
                      <a:pt x="84" y="294"/>
                    </a:lnTo>
                    <a:lnTo>
                      <a:pt x="84" y="294"/>
                    </a:lnTo>
                    <a:lnTo>
                      <a:pt x="96" y="282"/>
                    </a:lnTo>
                    <a:lnTo>
                      <a:pt x="108" y="268"/>
                    </a:lnTo>
                    <a:lnTo>
                      <a:pt x="120" y="252"/>
                    </a:lnTo>
                    <a:lnTo>
                      <a:pt x="128" y="236"/>
                    </a:lnTo>
                    <a:lnTo>
                      <a:pt x="128" y="228"/>
                    </a:lnTo>
                    <a:lnTo>
                      <a:pt x="114" y="208"/>
                    </a:lnTo>
                    <a:lnTo>
                      <a:pt x="120" y="192"/>
                    </a:lnTo>
                    <a:lnTo>
                      <a:pt x="120" y="192"/>
                    </a:lnTo>
                    <a:lnTo>
                      <a:pt x="114" y="184"/>
                    </a:lnTo>
                    <a:lnTo>
                      <a:pt x="112" y="176"/>
                    </a:lnTo>
                    <a:lnTo>
                      <a:pt x="110" y="174"/>
                    </a:lnTo>
                    <a:lnTo>
                      <a:pt x="110" y="174"/>
                    </a:lnTo>
                    <a:lnTo>
                      <a:pt x="110" y="160"/>
                    </a:lnTo>
                    <a:lnTo>
                      <a:pt x="114" y="146"/>
                    </a:lnTo>
                    <a:lnTo>
                      <a:pt x="102" y="110"/>
                    </a:lnTo>
                    <a:lnTo>
                      <a:pt x="112" y="88"/>
                    </a:lnTo>
                    <a:lnTo>
                      <a:pt x="94" y="52"/>
                    </a:lnTo>
                    <a:lnTo>
                      <a:pt x="100" y="36"/>
                    </a:lnTo>
                    <a:lnTo>
                      <a:pt x="98" y="32"/>
                    </a:lnTo>
                    <a:lnTo>
                      <a:pt x="104" y="24"/>
                    </a:lnTo>
                    <a:lnTo>
                      <a:pt x="102" y="14"/>
                    </a:lnTo>
                    <a:lnTo>
                      <a:pt x="88" y="0"/>
                    </a:lnTo>
                    <a:lnTo>
                      <a:pt x="64" y="10"/>
                    </a:lnTo>
                    <a:lnTo>
                      <a:pt x="64" y="10"/>
                    </a:lnTo>
                    <a:lnTo>
                      <a:pt x="62" y="16"/>
                    </a:lnTo>
                    <a:lnTo>
                      <a:pt x="62" y="24"/>
                    </a:lnTo>
                    <a:lnTo>
                      <a:pt x="60" y="38"/>
                    </a:lnTo>
                    <a:lnTo>
                      <a:pt x="60" y="38"/>
                    </a:lnTo>
                    <a:lnTo>
                      <a:pt x="46" y="42"/>
                    </a:lnTo>
                    <a:lnTo>
                      <a:pt x="38" y="46"/>
                    </a:lnTo>
                    <a:lnTo>
                      <a:pt x="34" y="50"/>
                    </a:lnTo>
                    <a:lnTo>
                      <a:pt x="22" y="48"/>
                    </a:lnTo>
                    <a:lnTo>
                      <a:pt x="22" y="48"/>
                    </a:lnTo>
                    <a:lnTo>
                      <a:pt x="16" y="36"/>
                    </a:lnTo>
                    <a:lnTo>
                      <a:pt x="12" y="30"/>
                    </a:lnTo>
                    <a:lnTo>
                      <a:pt x="8" y="26"/>
                    </a:lnTo>
                    <a:lnTo>
                      <a:pt x="4" y="28"/>
                    </a:lnTo>
                    <a:lnTo>
                      <a:pt x="6" y="34"/>
                    </a:lnTo>
                    <a:lnTo>
                      <a:pt x="0" y="3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7" name="Freeform 1335">
                <a:extLst>
                  <a:ext uri="{FF2B5EF4-FFF2-40B4-BE49-F238E27FC236}">
                    <a16:creationId xmlns:a16="http://schemas.microsoft.com/office/drawing/2014/main" id="{63F8C6BE-D7E3-4BB4-8D89-C68D0F5450FF}"/>
                  </a:ext>
                </a:extLst>
              </p:cNvPr>
              <p:cNvSpPr>
                <a:spLocks/>
              </p:cNvSpPr>
              <p:nvPr/>
            </p:nvSpPr>
            <p:spPr bwMode="auto">
              <a:xfrm>
                <a:off x="3038" y="1614"/>
                <a:ext cx="313" cy="398"/>
              </a:xfrm>
              <a:custGeom>
                <a:avLst/>
                <a:gdLst/>
                <a:ahLst/>
                <a:cxnLst>
                  <a:cxn ang="0">
                    <a:pos x="2" y="334"/>
                  </a:cxn>
                  <a:cxn ang="0">
                    <a:pos x="2" y="322"/>
                  </a:cxn>
                  <a:cxn ang="0">
                    <a:pos x="26" y="320"/>
                  </a:cxn>
                  <a:cxn ang="0">
                    <a:pos x="26" y="316"/>
                  </a:cxn>
                  <a:cxn ang="0">
                    <a:pos x="2" y="312"/>
                  </a:cxn>
                  <a:cxn ang="0">
                    <a:pos x="14" y="296"/>
                  </a:cxn>
                  <a:cxn ang="0">
                    <a:pos x="10" y="292"/>
                  </a:cxn>
                  <a:cxn ang="0">
                    <a:pos x="30" y="280"/>
                  </a:cxn>
                  <a:cxn ang="0">
                    <a:pos x="30" y="270"/>
                  </a:cxn>
                  <a:cxn ang="0">
                    <a:pos x="40" y="260"/>
                  </a:cxn>
                  <a:cxn ang="0">
                    <a:pos x="52" y="252"/>
                  </a:cxn>
                  <a:cxn ang="0">
                    <a:pos x="68" y="250"/>
                  </a:cxn>
                  <a:cxn ang="0">
                    <a:pos x="58" y="246"/>
                  </a:cxn>
                  <a:cxn ang="0">
                    <a:pos x="78" y="218"/>
                  </a:cxn>
                  <a:cxn ang="0">
                    <a:pos x="89" y="198"/>
                  </a:cxn>
                  <a:cxn ang="0">
                    <a:pos x="93" y="184"/>
                  </a:cxn>
                  <a:cxn ang="0">
                    <a:pos x="99" y="164"/>
                  </a:cxn>
                  <a:cxn ang="0">
                    <a:pos x="111" y="146"/>
                  </a:cxn>
                  <a:cxn ang="0">
                    <a:pos x="123" y="128"/>
                  </a:cxn>
                  <a:cxn ang="0">
                    <a:pos x="133" y="108"/>
                  </a:cxn>
                  <a:cxn ang="0">
                    <a:pos x="149" y="104"/>
                  </a:cxn>
                  <a:cxn ang="0">
                    <a:pos x="159" y="72"/>
                  </a:cxn>
                  <a:cxn ang="0">
                    <a:pos x="175" y="70"/>
                  </a:cxn>
                  <a:cxn ang="0">
                    <a:pos x="177" y="50"/>
                  </a:cxn>
                  <a:cxn ang="0">
                    <a:pos x="185" y="46"/>
                  </a:cxn>
                  <a:cxn ang="0">
                    <a:pos x="189" y="48"/>
                  </a:cxn>
                  <a:cxn ang="0">
                    <a:pos x="199" y="32"/>
                  </a:cxn>
                  <a:cxn ang="0">
                    <a:pos x="215" y="38"/>
                  </a:cxn>
                  <a:cxn ang="0">
                    <a:pos x="233" y="12"/>
                  </a:cxn>
                  <a:cxn ang="0">
                    <a:pos x="247" y="18"/>
                  </a:cxn>
                  <a:cxn ang="0">
                    <a:pos x="259" y="6"/>
                  </a:cxn>
                  <a:cxn ang="0">
                    <a:pos x="269" y="16"/>
                  </a:cxn>
                  <a:cxn ang="0">
                    <a:pos x="281" y="18"/>
                  </a:cxn>
                  <a:cxn ang="0">
                    <a:pos x="301" y="16"/>
                  </a:cxn>
                  <a:cxn ang="0">
                    <a:pos x="299" y="48"/>
                  </a:cxn>
                  <a:cxn ang="0">
                    <a:pos x="295" y="68"/>
                  </a:cxn>
                  <a:cxn ang="0">
                    <a:pos x="277" y="40"/>
                  </a:cxn>
                  <a:cxn ang="0">
                    <a:pos x="249" y="78"/>
                  </a:cxn>
                  <a:cxn ang="0">
                    <a:pos x="205" y="76"/>
                  </a:cxn>
                  <a:cxn ang="0">
                    <a:pos x="189" y="76"/>
                  </a:cxn>
                  <a:cxn ang="0">
                    <a:pos x="161" y="96"/>
                  </a:cxn>
                  <a:cxn ang="0">
                    <a:pos x="141" y="118"/>
                  </a:cxn>
                  <a:cxn ang="0">
                    <a:pos x="137" y="144"/>
                  </a:cxn>
                  <a:cxn ang="0">
                    <a:pos x="115" y="188"/>
                  </a:cxn>
                  <a:cxn ang="0">
                    <a:pos x="97" y="240"/>
                  </a:cxn>
                  <a:cxn ang="0">
                    <a:pos x="89" y="266"/>
                  </a:cxn>
                  <a:cxn ang="0">
                    <a:pos x="91" y="334"/>
                  </a:cxn>
                  <a:cxn ang="0">
                    <a:pos x="78" y="360"/>
                  </a:cxn>
                  <a:cxn ang="0">
                    <a:pos x="66" y="356"/>
                  </a:cxn>
                  <a:cxn ang="0">
                    <a:pos x="62" y="356"/>
                  </a:cxn>
                  <a:cxn ang="0">
                    <a:pos x="54" y="372"/>
                  </a:cxn>
                  <a:cxn ang="0">
                    <a:pos x="30" y="398"/>
                  </a:cxn>
                  <a:cxn ang="0">
                    <a:pos x="20" y="390"/>
                  </a:cxn>
                  <a:cxn ang="0">
                    <a:pos x="12" y="374"/>
                  </a:cxn>
                  <a:cxn ang="0">
                    <a:pos x="4" y="362"/>
                  </a:cxn>
                  <a:cxn ang="0">
                    <a:pos x="14" y="344"/>
                  </a:cxn>
                  <a:cxn ang="0">
                    <a:pos x="18" y="334"/>
                  </a:cxn>
                </a:cxnLst>
                <a:rect l="0" t="0" r="r" b="b"/>
                <a:pathLst>
                  <a:path w="313" h="398">
                    <a:moveTo>
                      <a:pt x="8" y="348"/>
                    </a:moveTo>
                    <a:lnTo>
                      <a:pt x="8" y="342"/>
                    </a:lnTo>
                    <a:lnTo>
                      <a:pt x="4" y="344"/>
                    </a:lnTo>
                    <a:lnTo>
                      <a:pt x="2" y="340"/>
                    </a:lnTo>
                    <a:lnTo>
                      <a:pt x="8" y="332"/>
                    </a:lnTo>
                    <a:lnTo>
                      <a:pt x="2" y="334"/>
                    </a:lnTo>
                    <a:lnTo>
                      <a:pt x="0" y="328"/>
                    </a:lnTo>
                    <a:lnTo>
                      <a:pt x="4" y="330"/>
                    </a:lnTo>
                    <a:lnTo>
                      <a:pt x="4" y="326"/>
                    </a:lnTo>
                    <a:lnTo>
                      <a:pt x="2" y="328"/>
                    </a:lnTo>
                    <a:lnTo>
                      <a:pt x="2" y="328"/>
                    </a:lnTo>
                    <a:lnTo>
                      <a:pt x="2" y="322"/>
                    </a:lnTo>
                    <a:lnTo>
                      <a:pt x="20" y="320"/>
                    </a:lnTo>
                    <a:lnTo>
                      <a:pt x="22" y="322"/>
                    </a:lnTo>
                    <a:lnTo>
                      <a:pt x="24" y="326"/>
                    </a:lnTo>
                    <a:lnTo>
                      <a:pt x="26" y="324"/>
                    </a:lnTo>
                    <a:lnTo>
                      <a:pt x="24" y="322"/>
                    </a:lnTo>
                    <a:lnTo>
                      <a:pt x="26" y="320"/>
                    </a:lnTo>
                    <a:lnTo>
                      <a:pt x="30" y="318"/>
                    </a:lnTo>
                    <a:lnTo>
                      <a:pt x="32" y="316"/>
                    </a:lnTo>
                    <a:lnTo>
                      <a:pt x="28" y="318"/>
                    </a:lnTo>
                    <a:lnTo>
                      <a:pt x="30" y="308"/>
                    </a:lnTo>
                    <a:lnTo>
                      <a:pt x="28" y="310"/>
                    </a:lnTo>
                    <a:lnTo>
                      <a:pt x="26" y="316"/>
                    </a:lnTo>
                    <a:lnTo>
                      <a:pt x="24" y="318"/>
                    </a:lnTo>
                    <a:lnTo>
                      <a:pt x="18" y="318"/>
                    </a:lnTo>
                    <a:lnTo>
                      <a:pt x="18" y="312"/>
                    </a:lnTo>
                    <a:lnTo>
                      <a:pt x="16" y="318"/>
                    </a:lnTo>
                    <a:lnTo>
                      <a:pt x="2" y="320"/>
                    </a:lnTo>
                    <a:lnTo>
                      <a:pt x="2" y="312"/>
                    </a:lnTo>
                    <a:lnTo>
                      <a:pt x="4" y="310"/>
                    </a:lnTo>
                    <a:lnTo>
                      <a:pt x="4" y="306"/>
                    </a:lnTo>
                    <a:lnTo>
                      <a:pt x="0" y="304"/>
                    </a:lnTo>
                    <a:lnTo>
                      <a:pt x="6" y="300"/>
                    </a:lnTo>
                    <a:lnTo>
                      <a:pt x="12" y="300"/>
                    </a:lnTo>
                    <a:lnTo>
                      <a:pt x="14" y="296"/>
                    </a:lnTo>
                    <a:lnTo>
                      <a:pt x="4" y="298"/>
                    </a:lnTo>
                    <a:lnTo>
                      <a:pt x="2" y="294"/>
                    </a:lnTo>
                    <a:lnTo>
                      <a:pt x="6" y="296"/>
                    </a:lnTo>
                    <a:lnTo>
                      <a:pt x="6" y="292"/>
                    </a:lnTo>
                    <a:lnTo>
                      <a:pt x="6" y="292"/>
                    </a:lnTo>
                    <a:lnTo>
                      <a:pt x="10" y="292"/>
                    </a:lnTo>
                    <a:lnTo>
                      <a:pt x="12" y="292"/>
                    </a:lnTo>
                    <a:lnTo>
                      <a:pt x="16" y="286"/>
                    </a:lnTo>
                    <a:lnTo>
                      <a:pt x="20" y="292"/>
                    </a:lnTo>
                    <a:lnTo>
                      <a:pt x="16" y="282"/>
                    </a:lnTo>
                    <a:lnTo>
                      <a:pt x="30" y="280"/>
                    </a:lnTo>
                    <a:lnTo>
                      <a:pt x="30" y="280"/>
                    </a:lnTo>
                    <a:lnTo>
                      <a:pt x="32" y="278"/>
                    </a:lnTo>
                    <a:lnTo>
                      <a:pt x="24" y="276"/>
                    </a:lnTo>
                    <a:lnTo>
                      <a:pt x="26" y="274"/>
                    </a:lnTo>
                    <a:lnTo>
                      <a:pt x="24" y="272"/>
                    </a:lnTo>
                    <a:lnTo>
                      <a:pt x="26" y="270"/>
                    </a:lnTo>
                    <a:lnTo>
                      <a:pt x="30" y="270"/>
                    </a:lnTo>
                    <a:lnTo>
                      <a:pt x="30" y="270"/>
                    </a:lnTo>
                    <a:lnTo>
                      <a:pt x="32" y="266"/>
                    </a:lnTo>
                    <a:lnTo>
                      <a:pt x="36" y="264"/>
                    </a:lnTo>
                    <a:lnTo>
                      <a:pt x="38" y="260"/>
                    </a:lnTo>
                    <a:lnTo>
                      <a:pt x="40" y="262"/>
                    </a:lnTo>
                    <a:lnTo>
                      <a:pt x="40" y="260"/>
                    </a:lnTo>
                    <a:lnTo>
                      <a:pt x="40" y="260"/>
                    </a:lnTo>
                    <a:lnTo>
                      <a:pt x="44" y="256"/>
                    </a:lnTo>
                    <a:lnTo>
                      <a:pt x="50" y="254"/>
                    </a:lnTo>
                    <a:lnTo>
                      <a:pt x="50" y="258"/>
                    </a:lnTo>
                    <a:lnTo>
                      <a:pt x="54" y="256"/>
                    </a:lnTo>
                    <a:lnTo>
                      <a:pt x="52" y="252"/>
                    </a:lnTo>
                    <a:lnTo>
                      <a:pt x="56" y="250"/>
                    </a:lnTo>
                    <a:lnTo>
                      <a:pt x="60" y="256"/>
                    </a:lnTo>
                    <a:lnTo>
                      <a:pt x="62" y="258"/>
                    </a:lnTo>
                    <a:lnTo>
                      <a:pt x="62" y="254"/>
                    </a:lnTo>
                    <a:lnTo>
                      <a:pt x="68" y="252"/>
                    </a:lnTo>
                    <a:lnTo>
                      <a:pt x="68" y="250"/>
                    </a:lnTo>
                    <a:lnTo>
                      <a:pt x="76" y="244"/>
                    </a:lnTo>
                    <a:lnTo>
                      <a:pt x="76" y="242"/>
                    </a:lnTo>
                    <a:lnTo>
                      <a:pt x="62" y="252"/>
                    </a:lnTo>
                    <a:lnTo>
                      <a:pt x="60" y="250"/>
                    </a:lnTo>
                    <a:lnTo>
                      <a:pt x="60" y="246"/>
                    </a:lnTo>
                    <a:lnTo>
                      <a:pt x="58" y="246"/>
                    </a:lnTo>
                    <a:lnTo>
                      <a:pt x="56" y="244"/>
                    </a:lnTo>
                    <a:lnTo>
                      <a:pt x="62" y="240"/>
                    </a:lnTo>
                    <a:lnTo>
                      <a:pt x="62" y="236"/>
                    </a:lnTo>
                    <a:lnTo>
                      <a:pt x="72" y="222"/>
                    </a:lnTo>
                    <a:lnTo>
                      <a:pt x="78" y="224"/>
                    </a:lnTo>
                    <a:lnTo>
                      <a:pt x="78" y="218"/>
                    </a:lnTo>
                    <a:lnTo>
                      <a:pt x="76" y="216"/>
                    </a:lnTo>
                    <a:lnTo>
                      <a:pt x="76" y="216"/>
                    </a:lnTo>
                    <a:lnTo>
                      <a:pt x="78" y="210"/>
                    </a:lnTo>
                    <a:lnTo>
                      <a:pt x="83" y="206"/>
                    </a:lnTo>
                    <a:lnTo>
                      <a:pt x="89" y="204"/>
                    </a:lnTo>
                    <a:lnTo>
                      <a:pt x="89" y="198"/>
                    </a:lnTo>
                    <a:lnTo>
                      <a:pt x="87" y="200"/>
                    </a:lnTo>
                    <a:lnTo>
                      <a:pt x="89" y="192"/>
                    </a:lnTo>
                    <a:lnTo>
                      <a:pt x="93" y="198"/>
                    </a:lnTo>
                    <a:lnTo>
                      <a:pt x="91" y="190"/>
                    </a:lnTo>
                    <a:lnTo>
                      <a:pt x="93" y="188"/>
                    </a:lnTo>
                    <a:lnTo>
                      <a:pt x="93" y="184"/>
                    </a:lnTo>
                    <a:lnTo>
                      <a:pt x="99" y="182"/>
                    </a:lnTo>
                    <a:lnTo>
                      <a:pt x="91" y="180"/>
                    </a:lnTo>
                    <a:lnTo>
                      <a:pt x="91" y="180"/>
                    </a:lnTo>
                    <a:lnTo>
                      <a:pt x="95" y="174"/>
                    </a:lnTo>
                    <a:lnTo>
                      <a:pt x="101" y="168"/>
                    </a:lnTo>
                    <a:lnTo>
                      <a:pt x="99" y="164"/>
                    </a:lnTo>
                    <a:lnTo>
                      <a:pt x="103" y="162"/>
                    </a:lnTo>
                    <a:lnTo>
                      <a:pt x="101" y="156"/>
                    </a:lnTo>
                    <a:lnTo>
                      <a:pt x="107" y="152"/>
                    </a:lnTo>
                    <a:lnTo>
                      <a:pt x="107" y="148"/>
                    </a:lnTo>
                    <a:lnTo>
                      <a:pt x="111" y="146"/>
                    </a:lnTo>
                    <a:lnTo>
                      <a:pt x="111" y="146"/>
                    </a:lnTo>
                    <a:lnTo>
                      <a:pt x="115" y="136"/>
                    </a:lnTo>
                    <a:lnTo>
                      <a:pt x="117" y="130"/>
                    </a:lnTo>
                    <a:lnTo>
                      <a:pt x="121" y="128"/>
                    </a:lnTo>
                    <a:lnTo>
                      <a:pt x="127" y="132"/>
                    </a:lnTo>
                    <a:lnTo>
                      <a:pt x="131" y="128"/>
                    </a:lnTo>
                    <a:lnTo>
                      <a:pt x="123" y="128"/>
                    </a:lnTo>
                    <a:lnTo>
                      <a:pt x="127" y="122"/>
                    </a:lnTo>
                    <a:lnTo>
                      <a:pt x="127" y="118"/>
                    </a:lnTo>
                    <a:lnTo>
                      <a:pt x="131" y="114"/>
                    </a:lnTo>
                    <a:lnTo>
                      <a:pt x="129" y="112"/>
                    </a:lnTo>
                    <a:lnTo>
                      <a:pt x="131" y="108"/>
                    </a:lnTo>
                    <a:lnTo>
                      <a:pt x="133" y="108"/>
                    </a:lnTo>
                    <a:lnTo>
                      <a:pt x="135" y="116"/>
                    </a:lnTo>
                    <a:lnTo>
                      <a:pt x="139" y="114"/>
                    </a:lnTo>
                    <a:lnTo>
                      <a:pt x="139" y="106"/>
                    </a:lnTo>
                    <a:lnTo>
                      <a:pt x="135" y="102"/>
                    </a:lnTo>
                    <a:lnTo>
                      <a:pt x="139" y="98"/>
                    </a:lnTo>
                    <a:lnTo>
                      <a:pt x="149" y="104"/>
                    </a:lnTo>
                    <a:lnTo>
                      <a:pt x="151" y="98"/>
                    </a:lnTo>
                    <a:lnTo>
                      <a:pt x="139" y="96"/>
                    </a:lnTo>
                    <a:lnTo>
                      <a:pt x="141" y="92"/>
                    </a:lnTo>
                    <a:lnTo>
                      <a:pt x="153" y="88"/>
                    </a:lnTo>
                    <a:lnTo>
                      <a:pt x="151" y="78"/>
                    </a:lnTo>
                    <a:lnTo>
                      <a:pt x="159" y="72"/>
                    </a:lnTo>
                    <a:lnTo>
                      <a:pt x="157" y="68"/>
                    </a:lnTo>
                    <a:lnTo>
                      <a:pt x="165" y="70"/>
                    </a:lnTo>
                    <a:lnTo>
                      <a:pt x="167" y="66"/>
                    </a:lnTo>
                    <a:lnTo>
                      <a:pt x="163" y="60"/>
                    </a:lnTo>
                    <a:lnTo>
                      <a:pt x="165" y="60"/>
                    </a:lnTo>
                    <a:lnTo>
                      <a:pt x="175" y="70"/>
                    </a:lnTo>
                    <a:lnTo>
                      <a:pt x="173" y="66"/>
                    </a:lnTo>
                    <a:lnTo>
                      <a:pt x="169" y="62"/>
                    </a:lnTo>
                    <a:lnTo>
                      <a:pt x="169" y="62"/>
                    </a:lnTo>
                    <a:lnTo>
                      <a:pt x="169" y="56"/>
                    </a:lnTo>
                    <a:lnTo>
                      <a:pt x="171" y="52"/>
                    </a:lnTo>
                    <a:lnTo>
                      <a:pt x="177" y="50"/>
                    </a:lnTo>
                    <a:lnTo>
                      <a:pt x="177" y="62"/>
                    </a:lnTo>
                    <a:lnTo>
                      <a:pt x="177" y="62"/>
                    </a:lnTo>
                    <a:lnTo>
                      <a:pt x="179" y="52"/>
                    </a:lnTo>
                    <a:lnTo>
                      <a:pt x="181" y="48"/>
                    </a:lnTo>
                    <a:lnTo>
                      <a:pt x="185" y="46"/>
                    </a:lnTo>
                    <a:lnTo>
                      <a:pt x="185" y="46"/>
                    </a:lnTo>
                    <a:lnTo>
                      <a:pt x="185" y="56"/>
                    </a:lnTo>
                    <a:lnTo>
                      <a:pt x="183" y="62"/>
                    </a:lnTo>
                    <a:lnTo>
                      <a:pt x="183" y="68"/>
                    </a:lnTo>
                    <a:lnTo>
                      <a:pt x="189" y="56"/>
                    </a:lnTo>
                    <a:lnTo>
                      <a:pt x="187" y="52"/>
                    </a:lnTo>
                    <a:lnTo>
                      <a:pt x="189" y="48"/>
                    </a:lnTo>
                    <a:lnTo>
                      <a:pt x="193" y="50"/>
                    </a:lnTo>
                    <a:lnTo>
                      <a:pt x="197" y="46"/>
                    </a:lnTo>
                    <a:lnTo>
                      <a:pt x="197" y="42"/>
                    </a:lnTo>
                    <a:lnTo>
                      <a:pt x="205" y="40"/>
                    </a:lnTo>
                    <a:lnTo>
                      <a:pt x="199" y="38"/>
                    </a:lnTo>
                    <a:lnTo>
                      <a:pt x="199" y="32"/>
                    </a:lnTo>
                    <a:lnTo>
                      <a:pt x="203" y="32"/>
                    </a:lnTo>
                    <a:lnTo>
                      <a:pt x="209" y="38"/>
                    </a:lnTo>
                    <a:lnTo>
                      <a:pt x="211" y="38"/>
                    </a:lnTo>
                    <a:lnTo>
                      <a:pt x="209" y="34"/>
                    </a:lnTo>
                    <a:lnTo>
                      <a:pt x="217" y="36"/>
                    </a:lnTo>
                    <a:lnTo>
                      <a:pt x="215" y="38"/>
                    </a:lnTo>
                    <a:lnTo>
                      <a:pt x="219" y="44"/>
                    </a:lnTo>
                    <a:lnTo>
                      <a:pt x="221" y="34"/>
                    </a:lnTo>
                    <a:lnTo>
                      <a:pt x="221" y="34"/>
                    </a:lnTo>
                    <a:lnTo>
                      <a:pt x="227" y="24"/>
                    </a:lnTo>
                    <a:lnTo>
                      <a:pt x="237" y="18"/>
                    </a:lnTo>
                    <a:lnTo>
                      <a:pt x="233" y="12"/>
                    </a:lnTo>
                    <a:lnTo>
                      <a:pt x="235" y="12"/>
                    </a:lnTo>
                    <a:lnTo>
                      <a:pt x="241" y="4"/>
                    </a:lnTo>
                    <a:lnTo>
                      <a:pt x="243" y="12"/>
                    </a:lnTo>
                    <a:lnTo>
                      <a:pt x="251" y="10"/>
                    </a:lnTo>
                    <a:lnTo>
                      <a:pt x="251" y="10"/>
                    </a:lnTo>
                    <a:lnTo>
                      <a:pt x="247" y="18"/>
                    </a:lnTo>
                    <a:lnTo>
                      <a:pt x="245" y="26"/>
                    </a:lnTo>
                    <a:lnTo>
                      <a:pt x="243" y="32"/>
                    </a:lnTo>
                    <a:lnTo>
                      <a:pt x="239" y="38"/>
                    </a:lnTo>
                    <a:lnTo>
                      <a:pt x="241" y="40"/>
                    </a:lnTo>
                    <a:lnTo>
                      <a:pt x="243" y="40"/>
                    </a:lnTo>
                    <a:lnTo>
                      <a:pt x="259" y="6"/>
                    </a:lnTo>
                    <a:lnTo>
                      <a:pt x="259" y="6"/>
                    </a:lnTo>
                    <a:lnTo>
                      <a:pt x="261" y="18"/>
                    </a:lnTo>
                    <a:lnTo>
                      <a:pt x="259" y="28"/>
                    </a:lnTo>
                    <a:lnTo>
                      <a:pt x="259" y="28"/>
                    </a:lnTo>
                    <a:lnTo>
                      <a:pt x="265" y="24"/>
                    </a:lnTo>
                    <a:lnTo>
                      <a:pt x="269" y="16"/>
                    </a:lnTo>
                    <a:lnTo>
                      <a:pt x="271" y="8"/>
                    </a:lnTo>
                    <a:lnTo>
                      <a:pt x="273" y="0"/>
                    </a:lnTo>
                    <a:lnTo>
                      <a:pt x="283" y="4"/>
                    </a:lnTo>
                    <a:lnTo>
                      <a:pt x="281" y="12"/>
                    </a:lnTo>
                    <a:lnTo>
                      <a:pt x="273" y="18"/>
                    </a:lnTo>
                    <a:lnTo>
                      <a:pt x="281" y="18"/>
                    </a:lnTo>
                    <a:lnTo>
                      <a:pt x="277" y="24"/>
                    </a:lnTo>
                    <a:lnTo>
                      <a:pt x="283" y="24"/>
                    </a:lnTo>
                    <a:lnTo>
                      <a:pt x="283" y="14"/>
                    </a:lnTo>
                    <a:lnTo>
                      <a:pt x="291" y="10"/>
                    </a:lnTo>
                    <a:lnTo>
                      <a:pt x="293" y="16"/>
                    </a:lnTo>
                    <a:lnTo>
                      <a:pt x="301" y="16"/>
                    </a:lnTo>
                    <a:lnTo>
                      <a:pt x="303" y="20"/>
                    </a:lnTo>
                    <a:lnTo>
                      <a:pt x="313" y="26"/>
                    </a:lnTo>
                    <a:lnTo>
                      <a:pt x="313" y="30"/>
                    </a:lnTo>
                    <a:lnTo>
                      <a:pt x="301" y="40"/>
                    </a:lnTo>
                    <a:lnTo>
                      <a:pt x="285" y="38"/>
                    </a:lnTo>
                    <a:lnTo>
                      <a:pt x="299" y="48"/>
                    </a:lnTo>
                    <a:lnTo>
                      <a:pt x="295" y="54"/>
                    </a:lnTo>
                    <a:lnTo>
                      <a:pt x="311" y="50"/>
                    </a:lnTo>
                    <a:lnTo>
                      <a:pt x="303" y="56"/>
                    </a:lnTo>
                    <a:lnTo>
                      <a:pt x="301" y="64"/>
                    </a:lnTo>
                    <a:lnTo>
                      <a:pt x="301" y="64"/>
                    </a:lnTo>
                    <a:lnTo>
                      <a:pt x="295" y="68"/>
                    </a:lnTo>
                    <a:lnTo>
                      <a:pt x="291" y="72"/>
                    </a:lnTo>
                    <a:lnTo>
                      <a:pt x="289" y="76"/>
                    </a:lnTo>
                    <a:lnTo>
                      <a:pt x="287" y="72"/>
                    </a:lnTo>
                    <a:lnTo>
                      <a:pt x="293" y="64"/>
                    </a:lnTo>
                    <a:lnTo>
                      <a:pt x="291" y="54"/>
                    </a:lnTo>
                    <a:lnTo>
                      <a:pt x="277" y="40"/>
                    </a:lnTo>
                    <a:lnTo>
                      <a:pt x="253" y="50"/>
                    </a:lnTo>
                    <a:lnTo>
                      <a:pt x="253" y="50"/>
                    </a:lnTo>
                    <a:lnTo>
                      <a:pt x="251" y="56"/>
                    </a:lnTo>
                    <a:lnTo>
                      <a:pt x="251" y="64"/>
                    </a:lnTo>
                    <a:lnTo>
                      <a:pt x="249" y="78"/>
                    </a:lnTo>
                    <a:lnTo>
                      <a:pt x="249" y="78"/>
                    </a:lnTo>
                    <a:lnTo>
                      <a:pt x="235" y="82"/>
                    </a:lnTo>
                    <a:lnTo>
                      <a:pt x="227" y="86"/>
                    </a:lnTo>
                    <a:lnTo>
                      <a:pt x="223" y="90"/>
                    </a:lnTo>
                    <a:lnTo>
                      <a:pt x="211" y="88"/>
                    </a:lnTo>
                    <a:lnTo>
                      <a:pt x="211" y="88"/>
                    </a:lnTo>
                    <a:lnTo>
                      <a:pt x="205" y="76"/>
                    </a:lnTo>
                    <a:lnTo>
                      <a:pt x="201" y="70"/>
                    </a:lnTo>
                    <a:lnTo>
                      <a:pt x="197" y="66"/>
                    </a:lnTo>
                    <a:lnTo>
                      <a:pt x="193" y="68"/>
                    </a:lnTo>
                    <a:lnTo>
                      <a:pt x="195" y="74"/>
                    </a:lnTo>
                    <a:lnTo>
                      <a:pt x="195" y="74"/>
                    </a:lnTo>
                    <a:lnTo>
                      <a:pt x="189" y="76"/>
                    </a:lnTo>
                    <a:lnTo>
                      <a:pt x="181" y="76"/>
                    </a:lnTo>
                    <a:lnTo>
                      <a:pt x="183" y="82"/>
                    </a:lnTo>
                    <a:lnTo>
                      <a:pt x="179" y="92"/>
                    </a:lnTo>
                    <a:lnTo>
                      <a:pt x="183" y="96"/>
                    </a:lnTo>
                    <a:lnTo>
                      <a:pt x="181" y="98"/>
                    </a:lnTo>
                    <a:lnTo>
                      <a:pt x="161" y="96"/>
                    </a:lnTo>
                    <a:lnTo>
                      <a:pt x="159" y="98"/>
                    </a:lnTo>
                    <a:lnTo>
                      <a:pt x="159" y="98"/>
                    </a:lnTo>
                    <a:lnTo>
                      <a:pt x="159" y="106"/>
                    </a:lnTo>
                    <a:lnTo>
                      <a:pt x="155" y="114"/>
                    </a:lnTo>
                    <a:lnTo>
                      <a:pt x="149" y="110"/>
                    </a:lnTo>
                    <a:lnTo>
                      <a:pt x="141" y="118"/>
                    </a:lnTo>
                    <a:lnTo>
                      <a:pt x="141" y="118"/>
                    </a:lnTo>
                    <a:lnTo>
                      <a:pt x="139" y="126"/>
                    </a:lnTo>
                    <a:lnTo>
                      <a:pt x="135" y="134"/>
                    </a:lnTo>
                    <a:lnTo>
                      <a:pt x="137" y="140"/>
                    </a:lnTo>
                    <a:lnTo>
                      <a:pt x="137" y="144"/>
                    </a:lnTo>
                    <a:lnTo>
                      <a:pt x="137" y="144"/>
                    </a:lnTo>
                    <a:lnTo>
                      <a:pt x="129" y="158"/>
                    </a:lnTo>
                    <a:lnTo>
                      <a:pt x="125" y="166"/>
                    </a:lnTo>
                    <a:lnTo>
                      <a:pt x="123" y="172"/>
                    </a:lnTo>
                    <a:lnTo>
                      <a:pt x="115" y="176"/>
                    </a:lnTo>
                    <a:lnTo>
                      <a:pt x="115" y="176"/>
                    </a:lnTo>
                    <a:lnTo>
                      <a:pt x="115" y="188"/>
                    </a:lnTo>
                    <a:lnTo>
                      <a:pt x="115" y="200"/>
                    </a:lnTo>
                    <a:lnTo>
                      <a:pt x="111" y="212"/>
                    </a:lnTo>
                    <a:lnTo>
                      <a:pt x="105" y="220"/>
                    </a:lnTo>
                    <a:lnTo>
                      <a:pt x="111" y="228"/>
                    </a:lnTo>
                    <a:lnTo>
                      <a:pt x="109" y="238"/>
                    </a:lnTo>
                    <a:lnTo>
                      <a:pt x="97" y="240"/>
                    </a:lnTo>
                    <a:lnTo>
                      <a:pt x="97" y="240"/>
                    </a:lnTo>
                    <a:lnTo>
                      <a:pt x="89" y="248"/>
                    </a:lnTo>
                    <a:lnTo>
                      <a:pt x="87" y="252"/>
                    </a:lnTo>
                    <a:lnTo>
                      <a:pt x="85" y="258"/>
                    </a:lnTo>
                    <a:lnTo>
                      <a:pt x="89" y="266"/>
                    </a:lnTo>
                    <a:lnTo>
                      <a:pt x="89" y="266"/>
                    </a:lnTo>
                    <a:lnTo>
                      <a:pt x="85" y="274"/>
                    </a:lnTo>
                    <a:lnTo>
                      <a:pt x="85" y="284"/>
                    </a:lnTo>
                    <a:lnTo>
                      <a:pt x="87" y="302"/>
                    </a:lnTo>
                    <a:lnTo>
                      <a:pt x="93" y="308"/>
                    </a:lnTo>
                    <a:lnTo>
                      <a:pt x="87" y="324"/>
                    </a:lnTo>
                    <a:lnTo>
                      <a:pt x="91" y="334"/>
                    </a:lnTo>
                    <a:lnTo>
                      <a:pt x="91" y="334"/>
                    </a:lnTo>
                    <a:lnTo>
                      <a:pt x="89" y="340"/>
                    </a:lnTo>
                    <a:lnTo>
                      <a:pt x="89" y="346"/>
                    </a:lnTo>
                    <a:lnTo>
                      <a:pt x="83" y="352"/>
                    </a:lnTo>
                    <a:lnTo>
                      <a:pt x="78" y="360"/>
                    </a:lnTo>
                    <a:lnTo>
                      <a:pt x="78" y="360"/>
                    </a:lnTo>
                    <a:lnTo>
                      <a:pt x="80" y="368"/>
                    </a:lnTo>
                    <a:lnTo>
                      <a:pt x="78" y="376"/>
                    </a:lnTo>
                    <a:lnTo>
                      <a:pt x="76" y="376"/>
                    </a:lnTo>
                    <a:lnTo>
                      <a:pt x="74" y="372"/>
                    </a:lnTo>
                    <a:lnTo>
                      <a:pt x="68" y="368"/>
                    </a:lnTo>
                    <a:lnTo>
                      <a:pt x="66" y="356"/>
                    </a:lnTo>
                    <a:lnTo>
                      <a:pt x="68" y="352"/>
                    </a:lnTo>
                    <a:lnTo>
                      <a:pt x="66" y="352"/>
                    </a:lnTo>
                    <a:lnTo>
                      <a:pt x="64" y="354"/>
                    </a:lnTo>
                    <a:lnTo>
                      <a:pt x="66" y="360"/>
                    </a:lnTo>
                    <a:lnTo>
                      <a:pt x="64" y="360"/>
                    </a:lnTo>
                    <a:lnTo>
                      <a:pt x="62" y="356"/>
                    </a:lnTo>
                    <a:lnTo>
                      <a:pt x="62" y="356"/>
                    </a:lnTo>
                    <a:lnTo>
                      <a:pt x="62" y="362"/>
                    </a:lnTo>
                    <a:lnTo>
                      <a:pt x="64" y="368"/>
                    </a:lnTo>
                    <a:lnTo>
                      <a:pt x="62" y="374"/>
                    </a:lnTo>
                    <a:lnTo>
                      <a:pt x="54" y="372"/>
                    </a:lnTo>
                    <a:lnTo>
                      <a:pt x="54" y="372"/>
                    </a:lnTo>
                    <a:lnTo>
                      <a:pt x="52" y="378"/>
                    </a:lnTo>
                    <a:lnTo>
                      <a:pt x="48" y="384"/>
                    </a:lnTo>
                    <a:lnTo>
                      <a:pt x="38" y="394"/>
                    </a:lnTo>
                    <a:lnTo>
                      <a:pt x="36" y="392"/>
                    </a:lnTo>
                    <a:lnTo>
                      <a:pt x="32" y="398"/>
                    </a:lnTo>
                    <a:lnTo>
                      <a:pt x="30" y="398"/>
                    </a:lnTo>
                    <a:lnTo>
                      <a:pt x="26" y="398"/>
                    </a:lnTo>
                    <a:lnTo>
                      <a:pt x="28" y="396"/>
                    </a:lnTo>
                    <a:lnTo>
                      <a:pt x="24" y="394"/>
                    </a:lnTo>
                    <a:lnTo>
                      <a:pt x="24" y="396"/>
                    </a:lnTo>
                    <a:lnTo>
                      <a:pt x="20" y="396"/>
                    </a:lnTo>
                    <a:lnTo>
                      <a:pt x="20" y="390"/>
                    </a:lnTo>
                    <a:lnTo>
                      <a:pt x="20" y="392"/>
                    </a:lnTo>
                    <a:lnTo>
                      <a:pt x="16" y="392"/>
                    </a:lnTo>
                    <a:lnTo>
                      <a:pt x="6" y="382"/>
                    </a:lnTo>
                    <a:lnTo>
                      <a:pt x="8" y="374"/>
                    </a:lnTo>
                    <a:lnTo>
                      <a:pt x="12" y="376"/>
                    </a:lnTo>
                    <a:lnTo>
                      <a:pt x="12" y="374"/>
                    </a:lnTo>
                    <a:lnTo>
                      <a:pt x="14" y="368"/>
                    </a:lnTo>
                    <a:lnTo>
                      <a:pt x="14" y="366"/>
                    </a:lnTo>
                    <a:lnTo>
                      <a:pt x="14" y="366"/>
                    </a:lnTo>
                    <a:lnTo>
                      <a:pt x="16" y="362"/>
                    </a:lnTo>
                    <a:lnTo>
                      <a:pt x="4" y="366"/>
                    </a:lnTo>
                    <a:lnTo>
                      <a:pt x="4" y="362"/>
                    </a:lnTo>
                    <a:lnTo>
                      <a:pt x="6" y="358"/>
                    </a:lnTo>
                    <a:lnTo>
                      <a:pt x="10" y="358"/>
                    </a:lnTo>
                    <a:lnTo>
                      <a:pt x="16" y="354"/>
                    </a:lnTo>
                    <a:lnTo>
                      <a:pt x="8" y="352"/>
                    </a:lnTo>
                    <a:lnTo>
                      <a:pt x="16" y="346"/>
                    </a:lnTo>
                    <a:lnTo>
                      <a:pt x="14" y="344"/>
                    </a:lnTo>
                    <a:lnTo>
                      <a:pt x="18" y="338"/>
                    </a:lnTo>
                    <a:lnTo>
                      <a:pt x="20" y="340"/>
                    </a:lnTo>
                    <a:lnTo>
                      <a:pt x="20" y="336"/>
                    </a:lnTo>
                    <a:lnTo>
                      <a:pt x="24" y="334"/>
                    </a:lnTo>
                    <a:lnTo>
                      <a:pt x="18" y="334"/>
                    </a:lnTo>
                    <a:lnTo>
                      <a:pt x="18" y="334"/>
                    </a:lnTo>
                    <a:lnTo>
                      <a:pt x="14" y="340"/>
                    </a:lnTo>
                    <a:lnTo>
                      <a:pt x="8" y="348"/>
                    </a:lnTo>
                    <a:lnTo>
                      <a:pt x="8" y="34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8" name="Freeform 1336">
                <a:extLst>
                  <a:ext uri="{FF2B5EF4-FFF2-40B4-BE49-F238E27FC236}">
                    <a16:creationId xmlns:a16="http://schemas.microsoft.com/office/drawing/2014/main" id="{D3EAF31F-5265-4BCF-843C-DA5A89E377F1}"/>
                  </a:ext>
                </a:extLst>
              </p:cNvPr>
              <p:cNvSpPr>
                <a:spLocks/>
              </p:cNvSpPr>
              <p:nvPr/>
            </p:nvSpPr>
            <p:spPr bwMode="auto">
              <a:xfrm>
                <a:off x="3293" y="2334"/>
                <a:ext cx="224" cy="104"/>
              </a:xfrm>
              <a:custGeom>
                <a:avLst/>
                <a:gdLst/>
                <a:ahLst/>
                <a:cxnLst>
                  <a:cxn ang="0">
                    <a:pos x="222" y="38"/>
                  </a:cxn>
                  <a:cxn ang="0">
                    <a:pos x="210" y="28"/>
                  </a:cxn>
                  <a:cxn ang="0">
                    <a:pos x="210" y="22"/>
                  </a:cxn>
                  <a:cxn ang="0">
                    <a:pos x="200" y="8"/>
                  </a:cxn>
                  <a:cxn ang="0">
                    <a:pos x="192" y="10"/>
                  </a:cxn>
                  <a:cxn ang="0">
                    <a:pos x="184" y="8"/>
                  </a:cxn>
                  <a:cxn ang="0">
                    <a:pos x="170" y="18"/>
                  </a:cxn>
                  <a:cxn ang="0">
                    <a:pos x="156" y="16"/>
                  </a:cxn>
                  <a:cxn ang="0">
                    <a:pos x="138" y="16"/>
                  </a:cxn>
                  <a:cxn ang="0">
                    <a:pos x="136" y="18"/>
                  </a:cxn>
                  <a:cxn ang="0">
                    <a:pos x="122" y="14"/>
                  </a:cxn>
                  <a:cxn ang="0">
                    <a:pos x="116" y="8"/>
                  </a:cxn>
                  <a:cxn ang="0">
                    <a:pos x="110" y="4"/>
                  </a:cxn>
                  <a:cxn ang="0">
                    <a:pos x="108" y="0"/>
                  </a:cxn>
                  <a:cxn ang="0">
                    <a:pos x="102" y="2"/>
                  </a:cxn>
                  <a:cxn ang="0">
                    <a:pos x="84" y="2"/>
                  </a:cxn>
                  <a:cxn ang="0">
                    <a:pos x="68" y="10"/>
                  </a:cxn>
                  <a:cxn ang="0">
                    <a:pos x="38" y="14"/>
                  </a:cxn>
                  <a:cxn ang="0">
                    <a:pos x="38" y="20"/>
                  </a:cxn>
                  <a:cxn ang="0">
                    <a:pos x="32" y="24"/>
                  </a:cxn>
                  <a:cxn ang="0">
                    <a:pos x="20" y="32"/>
                  </a:cxn>
                  <a:cxn ang="0">
                    <a:pos x="14" y="30"/>
                  </a:cxn>
                  <a:cxn ang="0">
                    <a:pos x="0" y="40"/>
                  </a:cxn>
                  <a:cxn ang="0">
                    <a:pos x="8" y="42"/>
                  </a:cxn>
                  <a:cxn ang="0">
                    <a:pos x="10" y="52"/>
                  </a:cxn>
                  <a:cxn ang="0">
                    <a:pos x="6" y="60"/>
                  </a:cxn>
                  <a:cxn ang="0">
                    <a:pos x="2" y="62"/>
                  </a:cxn>
                  <a:cxn ang="0">
                    <a:pos x="16" y="74"/>
                  </a:cxn>
                  <a:cxn ang="0">
                    <a:pos x="16" y="90"/>
                  </a:cxn>
                  <a:cxn ang="0">
                    <a:pos x="24" y="90"/>
                  </a:cxn>
                  <a:cxn ang="0">
                    <a:pos x="34" y="90"/>
                  </a:cxn>
                  <a:cxn ang="0">
                    <a:pos x="38" y="96"/>
                  </a:cxn>
                  <a:cxn ang="0">
                    <a:pos x="54" y="86"/>
                  </a:cxn>
                  <a:cxn ang="0">
                    <a:pos x="58" y="86"/>
                  </a:cxn>
                  <a:cxn ang="0">
                    <a:pos x="68" y="90"/>
                  </a:cxn>
                  <a:cxn ang="0">
                    <a:pos x="80" y="100"/>
                  </a:cxn>
                  <a:cxn ang="0">
                    <a:pos x="100" y="88"/>
                  </a:cxn>
                  <a:cxn ang="0">
                    <a:pos x="114" y="88"/>
                  </a:cxn>
                  <a:cxn ang="0">
                    <a:pos x="120" y="88"/>
                  </a:cxn>
                  <a:cxn ang="0">
                    <a:pos x="118" y="104"/>
                  </a:cxn>
                  <a:cxn ang="0">
                    <a:pos x="120" y="104"/>
                  </a:cxn>
                  <a:cxn ang="0">
                    <a:pos x="128" y="86"/>
                  </a:cxn>
                  <a:cxn ang="0">
                    <a:pos x="130" y="90"/>
                  </a:cxn>
                  <a:cxn ang="0">
                    <a:pos x="134" y="90"/>
                  </a:cxn>
                  <a:cxn ang="0">
                    <a:pos x="146" y="84"/>
                  </a:cxn>
                  <a:cxn ang="0">
                    <a:pos x="150" y="88"/>
                  </a:cxn>
                  <a:cxn ang="0">
                    <a:pos x="166" y="86"/>
                  </a:cxn>
                  <a:cxn ang="0">
                    <a:pos x="182" y="82"/>
                  </a:cxn>
                  <a:cxn ang="0">
                    <a:pos x="192" y="78"/>
                  </a:cxn>
                  <a:cxn ang="0">
                    <a:pos x="194" y="82"/>
                  </a:cxn>
                  <a:cxn ang="0">
                    <a:pos x="202" y="76"/>
                  </a:cxn>
                  <a:cxn ang="0">
                    <a:pos x="216" y="78"/>
                  </a:cxn>
                  <a:cxn ang="0">
                    <a:pos x="222" y="80"/>
                  </a:cxn>
                  <a:cxn ang="0">
                    <a:pos x="224" y="76"/>
                  </a:cxn>
                  <a:cxn ang="0">
                    <a:pos x="218" y="70"/>
                  </a:cxn>
                  <a:cxn ang="0">
                    <a:pos x="218" y="50"/>
                  </a:cxn>
                  <a:cxn ang="0">
                    <a:pos x="218" y="42"/>
                  </a:cxn>
                </a:cxnLst>
                <a:rect l="0" t="0" r="r" b="b"/>
                <a:pathLst>
                  <a:path w="224" h="104">
                    <a:moveTo>
                      <a:pt x="222" y="38"/>
                    </a:moveTo>
                    <a:lnTo>
                      <a:pt x="222" y="38"/>
                    </a:lnTo>
                    <a:lnTo>
                      <a:pt x="216" y="34"/>
                    </a:lnTo>
                    <a:lnTo>
                      <a:pt x="210" y="28"/>
                    </a:lnTo>
                    <a:lnTo>
                      <a:pt x="210" y="28"/>
                    </a:lnTo>
                    <a:lnTo>
                      <a:pt x="210" y="22"/>
                    </a:lnTo>
                    <a:lnTo>
                      <a:pt x="208" y="16"/>
                    </a:lnTo>
                    <a:lnTo>
                      <a:pt x="200" y="8"/>
                    </a:lnTo>
                    <a:lnTo>
                      <a:pt x="200" y="8"/>
                    </a:lnTo>
                    <a:lnTo>
                      <a:pt x="192" y="10"/>
                    </a:lnTo>
                    <a:lnTo>
                      <a:pt x="186" y="10"/>
                    </a:lnTo>
                    <a:lnTo>
                      <a:pt x="184" y="8"/>
                    </a:lnTo>
                    <a:lnTo>
                      <a:pt x="170" y="18"/>
                    </a:lnTo>
                    <a:lnTo>
                      <a:pt x="170" y="18"/>
                    </a:lnTo>
                    <a:lnTo>
                      <a:pt x="164" y="16"/>
                    </a:lnTo>
                    <a:lnTo>
                      <a:pt x="156" y="16"/>
                    </a:lnTo>
                    <a:lnTo>
                      <a:pt x="144" y="20"/>
                    </a:lnTo>
                    <a:lnTo>
                      <a:pt x="138" y="16"/>
                    </a:lnTo>
                    <a:lnTo>
                      <a:pt x="136" y="18"/>
                    </a:lnTo>
                    <a:lnTo>
                      <a:pt x="136" y="18"/>
                    </a:lnTo>
                    <a:lnTo>
                      <a:pt x="130" y="14"/>
                    </a:lnTo>
                    <a:lnTo>
                      <a:pt x="122" y="14"/>
                    </a:lnTo>
                    <a:lnTo>
                      <a:pt x="120" y="6"/>
                    </a:lnTo>
                    <a:lnTo>
                      <a:pt x="116" y="8"/>
                    </a:lnTo>
                    <a:lnTo>
                      <a:pt x="116" y="8"/>
                    </a:lnTo>
                    <a:lnTo>
                      <a:pt x="110" y="4"/>
                    </a:lnTo>
                    <a:lnTo>
                      <a:pt x="108" y="0"/>
                    </a:lnTo>
                    <a:lnTo>
                      <a:pt x="108" y="0"/>
                    </a:lnTo>
                    <a:lnTo>
                      <a:pt x="104" y="0"/>
                    </a:lnTo>
                    <a:lnTo>
                      <a:pt x="102" y="2"/>
                    </a:lnTo>
                    <a:lnTo>
                      <a:pt x="90" y="2"/>
                    </a:lnTo>
                    <a:lnTo>
                      <a:pt x="84" y="2"/>
                    </a:lnTo>
                    <a:lnTo>
                      <a:pt x="76" y="6"/>
                    </a:lnTo>
                    <a:lnTo>
                      <a:pt x="68" y="10"/>
                    </a:lnTo>
                    <a:lnTo>
                      <a:pt x="60" y="18"/>
                    </a:lnTo>
                    <a:lnTo>
                      <a:pt x="38" y="14"/>
                    </a:lnTo>
                    <a:lnTo>
                      <a:pt x="36" y="18"/>
                    </a:lnTo>
                    <a:lnTo>
                      <a:pt x="38" y="20"/>
                    </a:lnTo>
                    <a:lnTo>
                      <a:pt x="44" y="22"/>
                    </a:lnTo>
                    <a:lnTo>
                      <a:pt x="32" y="24"/>
                    </a:lnTo>
                    <a:lnTo>
                      <a:pt x="36" y="28"/>
                    </a:lnTo>
                    <a:lnTo>
                      <a:pt x="20" y="32"/>
                    </a:lnTo>
                    <a:lnTo>
                      <a:pt x="14" y="30"/>
                    </a:lnTo>
                    <a:lnTo>
                      <a:pt x="14" y="30"/>
                    </a:lnTo>
                    <a:lnTo>
                      <a:pt x="6" y="34"/>
                    </a:lnTo>
                    <a:lnTo>
                      <a:pt x="0" y="40"/>
                    </a:lnTo>
                    <a:lnTo>
                      <a:pt x="0" y="46"/>
                    </a:lnTo>
                    <a:lnTo>
                      <a:pt x="8" y="42"/>
                    </a:lnTo>
                    <a:lnTo>
                      <a:pt x="8" y="42"/>
                    </a:lnTo>
                    <a:lnTo>
                      <a:pt x="10" y="52"/>
                    </a:lnTo>
                    <a:lnTo>
                      <a:pt x="12" y="60"/>
                    </a:lnTo>
                    <a:lnTo>
                      <a:pt x="6" y="60"/>
                    </a:lnTo>
                    <a:lnTo>
                      <a:pt x="4" y="56"/>
                    </a:lnTo>
                    <a:lnTo>
                      <a:pt x="2" y="62"/>
                    </a:lnTo>
                    <a:lnTo>
                      <a:pt x="12" y="68"/>
                    </a:lnTo>
                    <a:lnTo>
                      <a:pt x="16" y="74"/>
                    </a:lnTo>
                    <a:lnTo>
                      <a:pt x="14" y="78"/>
                    </a:lnTo>
                    <a:lnTo>
                      <a:pt x="16" y="90"/>
                    </a:lnTo>
                    <a:lnTo>
                      <a:pt x="24" y="88"/>
                    </a:lnTo>
                    <a:lnTo>
                      <a:pt x="24" y="90"/>
                    </a:lnTo>
                    <a:lnTo>
                      <a:pt x="30" y="86"/>
                    </a:lnTo>
                    <a:lnTo>
                      <a:pt x="34" y="90"/>
                    </a:lnTo>
                    <a:lnTo>
                      <a:pt x="36" y="88"/>
                    </a:lnTo>
                    <a:lnTo>
                      <a:pt x="38" y="96"/>
                    </a:lnTo>
                    <a:lnTo>
                      <a:pt x="52" y="94"/>
                    </a:lnTo>
                    <a:lnTo>
                      <a:pt x="54" y="86"/>
                    </a:lnTo>
                    <a:lnTo>
                      <a:pt x="54" y="86"/>
                    </a:lnTo>
                    <a:lnTo>
                      <a:pt x="58" y="86"/>
                    </a:lnTo>
                    <a:lnTo>
                      <a:pt x="62" y="86"/>
                    </a:lnTo>
                    <a:lnTo>
                      <a:pt x="68" y="90"/>
                    </a:lnTo>
                    <a:lnTo>
                      <a:pt x="76" y="96"/>
                    </a:lnTo>
                    <a:lnTo>
                      <a:pt x="80" y="100"/>
                    </a:lnTo>
                    <a:lnTo>
                      <a:pt x="96" y="94"/>
                    </a:lnTo>
                    <a:lnTo>
                      <a:pt x="100" y="88"/>
                    </a:lnTo>
                    <a:lnTo>
                      <a:pt x="112" y="90"/>
                    </a:lnTo>
                    <a:lnTo>
                      <a:pt x="114" y="88"/>
                    </a:lnTo>
                    <a:lnTo>
                      <a:pt x="118" y="86"/>
                    </a:lnTo>
                    <a:lnTo>
                      <a:pt x="120" y="88"/>
                    </a:lnTo>
                    <a:lnTo>
                      <a:pt x="118" y="92"/>
                    </a:lnTo>
                    <a:lnTo>
                      <a:pt x="118" y="104"/>
                    </a:lnTo>
                    <a:lnTo>
                      <a:pt x="120" y="104"/>
                    </a:lnTo>
                    <a:lnTo>
                      <a:pt x="120" y="104"/>
                    </a:lnTo>
                    <a:lnTo>
                      <a:pt x="124" y="94"/>
                    </a:lnTo>
                    <a:lnTo>
                      <a:pt x="128" y="86"/>
                    </a:lnTo>
                    <a:lnTo>
                      <a:pt x="130" y="88"/>
                    </a:lnTo>
                    <a:lnTo>
                      <a:pt x="130" y="90"/>
                    </a:lnTo>
                    <a:lnTo>
                      <a:pt x="130" y="90"/>
                    </a:lnTo>
                    <a:lnTo>
                      <a:pt x="134" y="90"/>
                    </a:lnTo>
                    <a:lnTo>
                      <a:pt x="140" y="88"/>
                    </a:lnTo>
                    <a:lnTo>
                      <a:pt x="146" y="84"/>
                    </a:lnTo>
                    <a:lnTo>
                      <a:pt x="146" y="84"/>
                    </a:lnTo>
                    <a:lnTo>
                      <a:pt x="150" y="88"/>
                    </a:lnTo>
                    <a:lnTo>
                      <a:pt x="154" y="88"/>
                    </a:lnTo>
                    <a:lnTo>
                      <a:pt x="166" y="86"/>
                    </a:lnTo>
                    <a:lnTo>
                      <a:pt x="176" y="82"/>
                    </a:lnTo>
                    <a:lnTo>
                      <a:pt x="182" y="82"/>
                    </a:lnTo>
                    <a:lnTo>
                      <a:pt x="186" y="82"/>
                    </a:lnTo>
                    <a:lnTo>
                      <a:pt x="192" y="78"/>
                    </a:lnTo>
                    <a:lnTo>
                      <a:pt x="192" y="78"/>
                    </a:lnTo>
                    <a:lnTo>
                      <a:pt x="194" y="82"/>
                    </a:lnTo>
                    <a:lnTo>
                      <a:pt x="202" y="76"/>
                    </a:lnTo>
                    <a:lnTo>
                      <a:pt x="202" y="76"/>
                    </a:lnTo>
                    <a:lnTo>
                      <a:pt x="208" y="78"/>
                    </a:lnTo>
                    <a:lnTo>
                      <a:pt x="216" y="78"/>
                    </a:lnTo>
                    <a:lnTo>
                      <a:pt x="218" y="80"/>
                    </a:lnTo>
                    <a:lnTo>
                      <a:pt x="222" y="80"/>
                    </a:lnTo>
                    <a:lnTo>
                      <a:pt x="224" y="80"/>
                    </a:lnTo>
                    <a:lnTo>
                      <a:pt x="224" y="76"/>
                    </a:lnTo>
                    <a:lnTo>
                      <a:pt x="218" y="70"/>
                    </a:lnTo>
                    <a:lnTo>
                      <a:pt x="218" y="70"/>
                    </a:lnTo>
                    <a:lnTo>
                      <a:pt x="218" y="56"/>
                    </a:lnTo>
                    <a:lnTo>
                      <a:pt x="218" y="50"/>
                    </a:lnTo>
                    <a:lnTo>
                      <a:pt x="216" y="44"/>
                    </a:lnTo>
                    <a:lnTo>
                      <a:pt x="218" y="42"/>
                    </a:lnTo>
                    <a:lnTo>
                      <a:pt x="222" y="3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9" name="Freeform 1337">
                <a:extLst>
                  <a:ext uri="{FF2B5EF4-FFF2-40B4-BE49-F238E27FC236}">
                    <a16:creationId xmlns:a16="http://schemas.microsoft.com/office/drawing/2014/main" id="{154BA379-2E7C-408E-934B-1880FD020401}"/>
                  </a:ext>
                </a:extLst>
              </p:cNvPr>
              <p:cNvSpPr>
                <a:spLocks/>
              </p:cNvSpPr>
              <p:nvPr/>
            </p:nvSpPr>
            <p:spPr bwMode="auto">
              <a:xfrm>
                <a:off x="3291" y="2334"/>
                <a:ext cx="36" cy="34"/>
              </a:xfrm>
              <a:custGeom>
                <a:avLst/>
                <a:gdLst/>
                <a:ahLst/>
                <a:cxnLst>
                  <a:cxn ang="0">
                    <a:pos x="24" y="2"/>
                  </a:cxn>
                  <a:cxn ang="0">
                    <a:pos x="18" y="4"/>
                  </a:cxn>
                  <a:cxn ang="0">
                    <a:pos x="14" y="0"/>
                  </a:cxn>
                  <a:cxn ang="0">
                    <a:pos x="4" y="4"/>
                  </a:cxn>
                  <a:cxn ang="0">
                    <a:pos x="6" y="8"/>
                  </a:cxn>
                  <a:cxn ang="0">
                    <a:pos x="6" y="10"/>
                  </a:cxn>
                  <a:cxn ang="0">
                    <a:pos x="4" y="12"/>
                  </a:cxn>
                  <a:cxn ang="0">
                    <a:pos x="4" y="12"/>
                  </a:cxn>
                  <a:cxn ang="0">
                    <a:pos x="4" y="18"/>
                  </a:cxn>
                  <a:cxn ang="0">
                    <a:pos x="0" y="24"/>
                  </a:cxn>
                  <a:cxn ang="0">
                    <a:pos x="2" y="24"/>
                  </a:cxn>
                  <a:cxn ang="0">
                    <a:pos x="10" y="24"/>
                  </a:cxn>
                  <a:cxn ang="0">
                    <a:pos x="2" y="28"/>
                  </a:cxn>
                  <a:cxn ang="0">
                    <a:pos x="2" y="34"/>
                  </a:cxn>
                  <a:cxn ang="0">
                    <a:pos x="20" y="18"/>
                  </a:cxn>
                  <a:cxn ang="0">
                    <a:pos x="36" y="18"/>
                  </a:cxn>
                  <a:cxn ang="0">
                    <a:pos x="36" y="14"/>
                  </a:cxn>
                  <a:cxn ang="0">
                    <a:pos x="36" y="14"/>
                  </a:cxn>
                  <a:cxn ang="0">
                    <a:pos x="30" y="10"/>
                  </a:cxn>
                  <a:cxn ang="0">
                    <a:pos x="26" y="8"/>
                  </a:cxn>
                  <a:cxn ang="0">
                    <a:pos x="24" y="6"/>
                  </a:cxn>
                  <a:cxn ang="0">
                    <a:pos x="24" y="2"/>
                  </a:cxn>
                </a:cxnLst>
                <a:rect l="0" t="0" r="r" b="b"/>
                <a:pathLst>
                  <a:path w="36" h="34">
                    <a:moveTo>
                      <a:pt x="24" y="2"/>
                    </a:moveTo>
                    <a:lnTo>
                      <a:pt x="18" y="4"/>
                    </a:lnTo>
                    <a:lnTo>
                      <a:pt x="14" y="0"/>
                    </a:lnTo>
                    <a:lnTo>
                      <a:pt x="4" y="4"/>
                    </a:lnTo>
                    <a:lnTo>
                      <a:pt x="6" y="8"/>
                    </a:lnTo>
                    <a:lnTo>
                      <a:pt x="6" y="10"/>
                    </a:lnTo>
                    <a:lnTo>
                      <a:pt x="4" y="12"/>
                    </a:lnTo>
                    <a:lnTo>
                      <a:pt x="4" y="12"/>
                    </a:lnTo>
                    <a:lnTo>
                      <a:pt x="4" y="18"/>
                    </a:lnTo>
                    <a:lnTo>
                      <a:pt x="0" y="24"/>
                    </a:lnTo>
                    <a:lnTo>
                      <a:pt x="2" y="24"/>
                    </a:lnTo>
                    <a:lnTo>
                      <a:pt x="10" y="24"/>
                    </a:lnTo>
                    <a:lnTo>
                      <a:pt x="2" y="28"/>
                    </a:lnTo>
                    <a:lnTo>
                      <a:pt x="2" y="34"/>
                    </a:lnTo>
                    <a:lnTo>
                      <a:pt x="20" y="18"/>
                    </a:lnTo>
                    <a:lnTo>
                      <a:pt x="36" y="18"/>
                    </a:lnTo>
                    <a:lnTo>
                      <a:pt x="36" y="14"/>
                    </a:lnTo>
                    <a:lnTo>
                      <a:pt x="36" y="14"/>
                    </a:lnTo>
                    <a:lnTo>
                      <a:pt x="30" y="10"/>
                    </a:lnTo>
                    <a:lnTo>
                      <a:pt x="26" y="8"/>
                    </a:lnTo>
                    <a:lnTo>
                      <a:pt x="24" y="6"/>
                    </a:lnTo>
                    <a:lnTo>
                      <a:pt x="2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0" name="Freeform 1338">
                <a:extLst>
                  <a:ext uri="{FF2B5EF4-FFF2-40B4-BE49-F238E27FC236}">
                    <a16:creationId xmlns:a16="http://schemas.microsoft.com/office/drawing/2014/main" id="{66410539-9C10-49FA-BECD-39E426CE0B02}"/>
                  </a:ext>
                </a:extLst>
              </p:cNvPr>
              <p:cNvSpPr>
                <a:spLocks/>
              </p:cNvSpPr>
              <p:nvPr/>
            </p:nvSpPr>
            <p:spPr bwMode="auto">
              <a:xfrm>
                <a:off x="3221" y="2338"/>
                <a:ext cx="76" cy="70"/>
              </a:xfrm>
              <a:custGeom>
                <a:avLst/>
                <a:gdLst/>
                <a:ahLst/>
                <a:cxnLst>
                  <a:cxn ang="0">
                    <a:pos x="10" y="22"/>
                  </a:cxn>
                  <a:cxn ang="0">
                    <a:pos x="10" y="16"/>
                  </a:cxn>
                  <a:cxn ang="0">
                    <a:pos x="24" y="12"/>
                  </a:cxn>
                  <a:cxn ang="0">
                    <a:pos x="28" y="12"/>
                  </a:cxn>
                  <a:cxn ang="0">
                    <a:pos x="40" y="6"/>
                  </a:cxn>
                  <a:cxn ang="0">
                    <a:pos x="64" y="10"/>
                  </a:cxn>
                  <a:cxn ang="0">
                    <a:pos x="68" y="8"/>
                  </a:cxn>
                  <a:cxn ang="0">
                    <a:pos x="72" y="0"/>
                  </a:cxn>
                  <a:cxn ang="0">
                    <a:pos x="76" y="4"/>
                  </a:cxn>
                  <a:cxn ang="0">
                    <a:pos x="74" y="8"/>
                  </a:cxn>
                  <a:cxn ang="0">
                    <a:pos x="74" y="14"/>
                  </a:cxn>
                  <a:cxn ang="0">
                    <a:pos x="58" y="14"/>
                  </a:cxn>
                  <a:cxn ang="0">
                    <a:pos x="52" y="16"/>
                  </a:cxn>
                  <a:cxn ang="0">
                    <a:pos x="42" y="20"/>
                  </a:cxn>
                  <a:cxn ang="0">
                    <a:pos x="50" y="28"/>
                  </a:cxn>
                  <a:cxn ang="0">
                    <a:pos x="42" y="28"/>
                  </a:cxn>
                  <a:cxn ang="0">
                    <a:pos x="46" y="32"/>
                  </a:cxn>
                  <a:cxn ang="0">
                    <a:pos x="40" y="28"/>
                  </a:cxn>
                  <a:cxn ang="0">
                    <a:pos x="40" y="32"/>
                  </a:cxn>
                  <a:cxn ang="0">
                    <a:pos x="38" y="28"/>
                  </a:cxn>
                  <a:cxn ang="0">
                    <a:pos x="32" y="20"/>
                  </a:cxn>
                  <a:cxn ang="0">
                    <a:pos x="30" y="32"/>
                  </a:cxn>
                  <a:cxn ang="0">
                    <a:pos x="36" y="46"/>
                  </a:cxn>
                  <a:cxn ang="0">
                    <a:pos x="34" y="42"/>
                  </a:cxn>
                  <a:cxn ang="0">
                    <a:pos x="28" y="48"/>
                  </a:cxn>
                  <a:cxn ang="0">
                    <a:pos x="38" y="56"/>
                  </a:cxn>
                  <a:cxn ang="0">
                    <a:pos x="46" y="70"/>
                  </a:cxn>
                  <a:cxn ang="0">
                    <a:pos x="36" y="64"/>
                  </a:cxn>
                  <a:cxn ang="0">
                    <a:pos x="36" y="64"/>
                  </a:cxn>
                  <a:cxn ang="0">
                    <a:pos x="30" y="58"/>
                  </a:cxn>
                  <a:cxn ang="0">
                    <a:pos x="14" y="58"/>
                  </a:cxn>
                  <a:cxn ang="0">
                    <a:pos x="8" y="50"/>
                  </a:cxn>
                  <a:cxn ang="0">
                    <a:pos x="10" y="48"/>
                  </a:cxn>
                  <a:cxn ang="0">
                    <a:pos x="8" y="48"/>
                  </a:cxn>
                </a:cxnLst>
                <a:rect l="0" t="0" r="r" b="b"/>
                <a:pathLst>
                  <a:path w="76" h="70">
                    <a:moveTo>
                      <a:pt x="0" y="36"/>
                    </a:moveTo>
                    <a:lnTo>
                      <a:pt x="10" y="22"/>
                    </a:lnTo>
                    <a:lnTo>
                      <a:pt x="10" y="16"/>
                    </a:lnTo>
                    <a:lnTo>
                      <a:pt x="10" y="16"/>
                    </a:lnTo>
                    <a:lnTo>
                      <a:pt x="18" y="16"/>
                    </a:lnTo>
                    <a:lnTo>
                      <a:pt x="24" y="12"/>
                    </a:lnTo>
                    <a:lnTo>
                      <a:pt x="28" y="12"/>
                    </a:lnTo>
                    <a:lnTo>
                      <a:pt x="28" y="12"/>
                    </a:lnTo>
                    <a:lnTo>
                      <a:pt x="32" y="8"/>
                    </a:lnTo>
                    <a:lnTo>
                      <a:pt x="40" y="6"/>
                    </a:lnTo>
                    <a:lnTo>
                      <a:pt x="52" y="4"/>
                    </a:lnTo>
                    <a:lnTo>
                      <a:pt x="64" y="10"/>
                    </a:lnTo>
                    <a:lnTo>
                      <a:pt x="64" y="10"/>
                    </a:lnTo>
                    <a:lnTo>
                      <a:pt x="68" y="8"/>
                    </a:lnTo>
                    <a:lnTo>
                      <a:pt x="72" y="6"/>
                    </a:lnTo>
                    <a:lnTo>
                      <a:pt x="72" y="0"/>
                    </a:lnTo>
                    <a:lnTo>
                      <a:pt x="74" y="0"/>
                    </a:lnTo>
                    <a:lnTo>
                      <a:pt x="76" y="4"/>
                    </a:lnTo>
                    <a:lnTo>
                      <a:pt x="76" y="6"/>
                    </a:lnTo>
                    <a:lnTo>
                      <a:pt x="74" y="8"/>
                    </a:lnTo>
                    <a:lnTo>
                      <a:pt x="74" y="8"/>
                    </a:lnTo>
                    <a:lnTo>
                      <a:pt x="74" y="14"/>
                    </a:lnTo>
                    <a:lnTo>
                      <a:pt x="70" y="20"/>
                    </a:lnTo>
                    <a:lnTo>
                      <a:pt x="58" y="14"/>
                    </a:lnTo>
                    <a:lnTo>
                      <a:pt x="56" y="16"/>
                    </a:lnTo>
                    <a:lnTo>
                      <a:pt x="52" y="16"/>
                    </a:lnTo>
                    <a:lnTo>
                      <a:pt x="42" y="20"/>
                    </a:lnTo>
                    <a:lnTo>
                      <a:pt x="42" y="20"/>
                    </a:lnTo>
                    <a:lnTo>
                      <a:pt x="46" y="24"/>
                    </a:lnTo>
                    <a:lnTo>
                      <a:pt x="50" y="28"/>
                    </a:lnTo>
                    <a:lnTo>
                      <a:pt x="44" y="24"/>
                    </a:lnTo>
                    <a:lnTo>
                      <a:pt x="42" y="28"/>
                    </a:lnTo>
                    <a:lnTo>
                      <a:pt x="46" y="28"/>
                    </a:lnTo>
                    <a:lnTo>
                      <a:pt x="46" y="32"/>
                    </a:lnTo>
                    <a:lnTo>
                      <a:pt x="42" y="28"/>
                    </a:lnTo>
                    <a:lnTo>
                      <a:pt x="40" y="28"/>
                    </a:lnTo>
                    <a:lnTo>
                      <a:pt x="42" y="32"/>
                    </a:lnTo>
                    <a:lnTo>
                      <a:pt x="40" y="32"/>
                    </a:lnTo>
                    <a:lnTo>
                      <a:pt x="40" y="32"/>
                    </a:lnTo>
                    <a:lnTo>
                      <a:pt x="38" y="28"/>
                    </a:lnTo>
                    <a:lnTo>
                      <a:pt x="32" y="24"/>
                    </a:lnTo>
                    <a:lnTo>
                      <a:pt x="32" y="20"/>
                    </a:lnTo>
                    <a:lnTo>
                      <a:pt x="30" y="22"/>
                    </a:lnTo>
                    <a:lnTo>
                      <a:pt x="30" y="32"/>
                    </a:lnTo>
                    <a:lnTo>
                      <a:pt x="38" y="46"/>
                    </a:lnTo>
                    <a:lnTo>
                      <a:pt x="36" y="46"/>
                    </a:lnTo>
                    <a:lnTo>
                      <a:pt x="36" y="42"/>
                    </a:lnTo>
                    <a:lnTo>
                      <a:pt x="34" y="42"/>
                    </a:lnTo>
                    <a:lnTo>
                      <a:pt x="34" y="48"/>
                    </a:lnTo>
                    <a:lnTo>
                      <a:pt x="28" y="48"/>
                    </a:lnTo>
                    <a:lnTo>
                      <a:pt x="38" y="54"/>
                    </a:lnTo>
                    <a:lnTo>
                      <a:pt x="38" y="56"/>
                    </a:lnTo>
                    <a:lnTo>
                      <a:pt x="46" y="60"/>
                    </a:lnTo>
                    <a:lnTo>
                      <a:pt x="46" y="70"/>
                    </a:lnTo>
                    <a:lnTo>
                      <a:pt x="42" y="64"/>
                    </a:lnTo>
                    <a:lnTo>
                      <a:pt x="36" y="64"/>
                    </a:lnTo>
                    <a:lnTo>
                      <a:pt x="34" y="64"/>
                    </a:lnTo>
                    <a:lnTo>
                      <a:pt x="36" y="64"/>
                    </a:lnTo>
                    <a:lnTo>
                      <a:pt x="36" y="62"/>
                    </a:lnTo>
                    <a:lnTo>
                      <a:pt x="30" y="58"/>
                    </a:lnTo>
                    <a:lnTo>
                      <a:pt x="28" y="60"/>
                    </a:lnTo>
                    <a:lnTo>
                      <a:pt x="14" y="58"/>
                    </a:lnTo>
                    <a:lnTo>
                      <a:pt x="12" y="58"/>
                    </a:lnTo>
                    <a:lnTo>
                      <a:pt x="8" y="50"/>
                    </a:lnTo>
                    <a:lnTo>
                      <a:pt x="12" y="50"/>
                    </a:lnTo>
                    <a:lnTo>
                      <a:pt x="10" y="48"/>
                    </a:lnTo>
                    <a:lnTo>
                      <a:pt x="8" y="46"/>
                    </a:lnTo>
                    <a:lnTo>
                      <a:pt x="8" y="48"/>
                    </a:lnTo>
                    <a:lnTo>
                      <a:pt x="0" y="3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1" name="Freeform 1339">
                <a:extLst>
                  <a:ext uri="{FF2B5EF4-FFF2-40B4-BE49-F238E27FC236}">
                    <a16:creationId xmlns:a16="http://schemas.microsoft.com/office/drawing/2014/main" id="{CDBD3714-9DED-4641-B3CF-0152C4E5741B}"/>
                  </a:ext>
                </a:extLst>
              </p:cNvPr>
              <p:cNvSpPr>
                <a:spLocks/>
              </p:cNvSpPr>
              <p:nvPr/>
            </p:nvSpPr>
            <p:spPr bwMode="auto">
              <a:xfrm>
                <a:off x="3247" y="2296"/>
                <a:ext cx="76" cy="52"/>
              </a:xfrm>
              <a:custGeom>
                <a:avLst/>
                <a:gdLst/>
                <a:ahLst/>
                <a:cxnLst>
                  <a:cxn ang="0">
                    <a:pos x="8" y="50"/>
                  </a:cxn>
                  <a:cxn ang="0">
                    <a:pos x="6" y="38"/>
                  </a:cxn>
                  <a:cxn ang="0">
                    <a:pos x="0" y="34"/>
                  </a:cxn>
                  <a:cxn ang="0">
                    <a:pos x="0" y="28"/>
                  </a:cxn>
                  <a:cxn ang="0">
                    <a:pos x="6" y="20"/>
                  </a:cxn>
                  <a:cxn ang="0">
                    <a:pos x="0" y="12"/>
                  </a:cxn>
                  <a:cxn ang="0">
                    <a:pos x="2" y="2"/>
                  </a:cxn>
                  <a:cxn ang="0">
                    <a:pos x="4" y="0"/>
                  </a:cxn>
                  <a:cxn ang="0">
                    <a:pos x="8" y="2"/>
                  </a:cxn>
                  <a:cxn ang="0">
                    <a:pos x="8" y="8"/>
                  </a:cxn>
                  <a:cxn ang="0">
                    <a:pos x="8" y="8"/>
                  </a:cxn>
                  <a:cxn ang="0">
                    <a:pos x="20" y="10"/>
                  </a:cxn>
                  <a:cxn ang="0">
                    <a:pos x="30" y="10"/>
                  </a:cxn>
                  <a:cxn ang="0">
                    <a:pos x="40" y="8"/>
                  </a:cxn>
                  <a:cxn ang="0">
                    <a:pos x="48" y="6"/>
                  </a:cxn>
                  <a:cxn ang="0">
                    <a:pos x="54" y="4"/>
                  </a:cxn>
                  <a:cxn ang="0">
                    <a:pos x="60" y="2"/>
                  </a:cxn>
                  <a:cxn ang="0">
                    <a:pos x="66" y="4"/>
                  </a:cxn>
                  <a:cxn ang="0">
                    <a:pos x="72" y="8"/>
                  </a:cxn>
                  <a:cxn ang="0">
                    <a:pos x="76" y="8"/>
                  </a:cxn>
                  <a:cxn ang="0">
                    <a:pos x="74" y="14"/>
                  </a:cxn>
                  <a:cxn ang="0">
                    <a:pos x="70" y="16"/>
                  </a:cxn>
                  <a:cxn ang="0">
                    <a:pos x="68" y="20"/>
                  </a:cxn>
                  <a:cxn ang="0">
                    <a:pos x="68" y="26"/>
                  </a:cxn>
                  <a:cxn ang="0">
                    <a:pos x="62" y="30"/>
                  </a:cxn>
                  <a:cxn ang="0">
                    <a:pos x="68" y="40"/>
                  </a:cxn>
                  <a:cxn ang="0">
                    <a:pos x="62" y="42"/>
                  </a:cxn>
                  <a:cxn ang="0">
                    <a:pos x="58" y="38"/>
                  </a:cxn>
                  <a:cxn ang="0">
                    <a:pos x="58" y="38"/>
                  </a:cxn>
                  <a:cxn ang="0">
                    <a:pos x="52" y="42"/>
                  </a:cxn>
                  <a:cxn ang="0">
                    <a:pos x="46" y="42"/>
                  </a:cxn>
                  <a:cxn ang="0">
                    <a:pos x="46" y="48"/>
                  </a:cxn>
                  <a:cxn ang="0">
                    <a:pos x="46" y="48"/>
                  </a:cxn>
                  <a:cxn ang="0">
                    <a:pos x="42" y="50"/>
                  </a:cxn>
                  <a:cxn ang="0">
                    <a:pos x="38" y="52"/>
                  </a:cxn>
                  <a:cxn ang="0">
                    <a:pos x="26" y="46"/>
                  </a:cxn>
                  <a:cxn ang="0">
                    <a:pos x="8" y="50"/>
                  </a:cxn>
                </a:cxnLst>
                <a:rect l="0" t="0" r="r" b="b"/>
                <a:pathLst>
                  <a:path w="76" h="52">
                    <a:moveTo>
                      <a:pt x="8" y="50"/>
                    </a:moveTo>
                    <a:lnTo>
                      <a:pt x="6" y="38"/>
                    </a:lnTo>
                    <a:lnTo>
                      <a:pt x="0" y="34"/>
                    </a:lnTo>
                    <a:lnTo>
                      <a:pt x="0" y="28"/>
                    </a:lnTo>
                    <a:lnTo>
                      <a:pt x="6" y="20"/>
                    </a:lnTo>
                    <a:lnTo>
                      <a:pt x="0" y="12"/>
                    </a:lnTo>
                    <a:lnTo>
                      <a:pt x="2" y="2"/>
                    </a:lnTo>
                    <a:lnTo>
                      <a:pt x="4" y="0"/>
                    </a:lnTo>
                    <a:lnTo>
                      <a:pt x="8" y="2"/>
                    </a:lnTo>
                    <a:lnTo>
                      <a:pt x="8" y="8"/>
                    </a:lnTo>
                    <a:lnTo>
                      <a:pt x="8" y="8"/>
                    </a:lnTo>
                    <a:lnTo>
                      <a:pt x="20" y="10"/>
                    </a:lnTo>
                    <a:lnTo>
                      <a:pt x="30" y="10"/>
                    </a:lnTo>
                    <a:lnTo>
                      <a:pt x="40" y="8"/>
                    </a:lnTo>
                    <a:lnTo>
                      <a:pt x="48" y="6"/>
                    </a:lnTo>
                    <a:lnTo>
                      <a:pt x="54" y="4"/>
                    </a:lnTo>
                    <a:lnTo>
                      <a:pt x="60" y="2"/>
                    </a:lnTo>
                    <a:lnTo>
                      <a:pt x="66" y="4"/>
                    </a:lnTo>
                    <a:lnTo>
                      <a:pt x="72" y="8"/>
                    </a:lnTo>
                    <a:lnTo>
                      <a:pt x="76" y="8"/>
                    </a:lnTo>
                    <a:lnTo>
                      <a:pt x="74" y="14"/>
                    </a:lnTo>
                    <a:lnTo>
                      <a:pt x="70" y="16"/>
                    </a:lnTo>
                    <a:lnTo>
                      <a:pt x="68" y="20"/>
                    </a:lnTo>
                    <a:lnTo>
                      <a:pt x="68" y="26"/>
                    </a:lnTo>
                    <a:lnTo>
                      <a:pt x="62" y="30"/>
                    </a:lnTo>
                    <a:lnTo>
                      <a:pt x="68" y="40"/>
                    </a:lnTo>
                    <a:lnTo>
                      <a:pt x="62" y="42"/>
                    </a:lnTo>
                    <a:lnTo>
                      <a:pt x="58" y="38"/>
                    </a:lnTo>
                    <a:lnTo>
                      <a:pt x="58" y="38"/>
                    </a:lnTo>
                    <a:lnTo>
                      <a:pt x="52" y="42"/>
                    </a:lnTo>
                    <a:lnTo>
                      <a:pt x="46" y="42"/>
                    </a:lnTo>
                    <a:lnTo>
                      <a:pt x="46" y="48"/>
                    </a:lnTo>
                    <a:lnTo>
                      <a:pt x="46" y="48"/>
                    </a:lnTo>
                    <a:lnTo>
                      <a:pt x="42" y="50"/>
                    </a:lnTo>
                    <a:lnTo>
                      <a:pt x="38" y="52"/>
                    </a:lnTo>
                    <a:lnTo>
                      <a:pt x="26" y="46"/>
                    </a:lnTo>
                    <a:lnTo>
                      <a:pt x="8"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2" name="Freeform 1340">
                <a:extLst>
                  <a:ext uri="{FF2B5EF4-FFF2-40B4-BE49-F238E27FC236}">
                    <a16:creationId xmlns:a16="http://schemas.microsoft.com/office/drawing/2014/main" id="{792C391C-3872-41AF-830C-551F3535356B}"/>
                  </a:ext>
                </a:extLst>
              </p:cNvPr>
              <p:cNvSpPr>
                <a:spLocks/>
              </p:cNvSpPr>
              <p:nvPr/>
            </p:nvSpPr>
            <p:spPr bwMode="auto">
              <a:xfrm>
                <a:off x="3171" y="2216"/>
                <a:ext cx="82" cy="52"/>
              </a:xfrm>
              <a:custGeom>
                <a:avLst/>
                <a:gdLst/>
                <a:ahLst/>
                <a:cxnLst>
                  <a:cxn ang="0">
                    <a:pos x="82" y="12"/>
                  </a:cxn>
                  <a:cxn ang="0">
                    <a:pos x="82" y="12"/>
                  </a:cxn>
                  <a:cxn ang="0">
                    <a:pos x="78" y="6"/>
                  </a:cxn>
                  <a:cxn ang="0">
                    <a:pos x="70" y="2"/>
                  </a:cxn>
                  <a:cxn ang="0">
                    <a:pos x="64" y="0"/>
                  </a:cxn>
                  <a:cxn ang="0">
                    <a:pos x="56" y="0"/>
                  </a:cxn>
                  <a:cxn ang="0">
                    <a:pos x="46" y="8"/>
                  </a:cxn>
                  <a:cxn ang="0">
                    <a:pos x="44" y="6"/>
                  </a:cxn>
                  <a:cxn ang="0">
                    <a:pos x="44" y="6"/>
                  </a:cxn>
                  <a:cxn ang="0">
                    <a:pos x="32" y="12"/>
                  </a:cxn>
                  <a:cxn ang="0">
                    <a:pos x="26" y="14"/>
                  </a:cxn>
                  <a:cxn ang="0">
                    <a:pos x="22" y="16"/>
                  </a:cxn>
                  <a:cxn ang="0">
                    <a:pos x="14" y="8"/>
                  </a:cxn>
                  <a:cxn ang="0">
                    <a:pos x="12" y="16"/>
                  </a:cxn>
                  <a:cxn ang="0">
                    <a:pos x="6" y="16"/>
                  </a:cxn>
                  <a:cxn ang="0">
                    <a:pos x="6" y="18"/>
                  </a:cxn>
                  <a:cxn ang="0">
                    <a:pos x="8" y="20"/>
                  </a:cxn>
                  <a:cxn ang="0">
                    <a:pos x="6" y="28"/>
                  </a:cxn>
                  <a:cxn ang="0">
                    <a:pos x="0" y="32"/>
                  </a:cxn>
                  <a:cxn ang="0">
                    <a:pos x="4" y="32"/>
                  </a:cxn>
                  <a:cxn ang="0">
                    <a:pos x="4" y="32"/>
                  </a:cxn>
                  <a:cxn ang="0">
                    <a:pos x="6" y="38"/>
                  </a:cxn>
                  <a:cxn ang="0">
                    <a:pos x="12" y="44"/>
                  </a:cxn>
                  <a:cxn ang="0">
                    <a:pos x="24" y="52"/>
                  </a:cxn>
                  <a:cxn ang="0">
                    <a:pos x="24" y="52"/>
                  </a:cxn>
                  <a:cxn ang="0">
                    <a:pos x="48" y="44"/>
                  </a:cxn>
                  <a:cxn ang="0">
                    <a:pos x="50" y="46"/>
                  </a:cxn>
                  <a:cxn ang="0">
                    <a:pos x="62" y="42"/>
                  </a:cxn>
                  <a:cxn ang="0">
                    <a:pos x="62" y="42"/>
                  </a:cxn>
                  <a:cxn ang="0">
                    <a:pos x="68" y="24"/>
                  </a:cxn>
                  <a:cxn ang="0">
                    <a:pos x="74" y="16"/>
                  </a:cxn>
                  <a:cxn ang="0">
                    <a:pos x="82" y="12"/>
                  </a:cxn>
                  <a:cxn ang="0">
                    <a:pos x="82" y="12"/>
                  </a:cxn>
                </a:cxnLst>
                <a:rect l="0" t="0" r="r" b="b"/>
                <a:pathLst>
                  <a:path w="82" h="52">
                    <a:moveTo>
                      <a:pt x="82" y="12"/>
                    </a:moveTo>
                    <a:lnTo>
                      <a:pt x="82" y="12"/>
                    </a:lnTo>
                    <a:lnTo>
                      <a:pt x="78" y="6"/>
                    </a:lnTo>
                    <a:lnTo>
                      <a:pt x="70" y="2"/>
                    </a:lnTo>
                    <a:lnTo>
                      <a:pt x="64" y="0"/>
                    </a:lnTo>
                    <a:lnTo>
                      <a:pt x="56" y="0"/>
                    </a:lnTo>
                    <a:lnTo>
                      <a:pt x="46" y="8"/>
                    </a:lnTo>
                    <a:lnTo>
                      <a:pt x="44" y="6"/>
                    </a:lnTo>
                    <a:lnTo>
                      <a:pt x="44" y="6"/>
                    </a:lnTo>
                    <a:lnTo>
                      <a:pt x="32" y="12"/>
                    </a:lnTo>
                    <a:lnTo>
                      <a:pt x="26" y="14"/>
                    </a:lnTo>
                    <a:lnTo>
                      <a:pt x="22" y="16"/>
                    </a:lnTo>
                    <a:lnTo>
                      <a:pt x="14" y="8"/>
                    </a:lnTo>
                    <a:lnTo>
                      <a:pt x="12" y="16"/>
                    </a:lnTo>
                    <a:lnTo>
                      <a:pt x="6" y="16"/>
                    </a:lnTo>
                    <a:lnTo>
                      <a:pt x="6" y="18"/>
                    </a:lnTo>
                    <a:lnTo>
                      <a:pt x="8" y="20"/>
                    </a:lnTo>
                    <a:lnTo>
                      <a:pt x="6" y="28"/>
                    </a:lnTo>
                    <a:lnTo>
                      <a:pt x="0" y="32"/>
                    </a:lnTo>
                    <a:lnTo>
                      <a:pt x="4" y="32"/>
                    </a:lnTo>
                    <a:lnTo>
                      <a:pt x="4" y="32"/>
                    </a:lnTo>
                    <a:lnTo>
                      <a:pt x="6" y="38"/>
                    </a:lnTo>
                    <a:lnTo>
                      <a:pt x="12" y="44"/>
                    </a:lnTo>
                    <a:lnTo>
                      <a:pt x="24" y="52"/>
                    </a:lnTo>
                    <a:lnTo>
                      <a:pt x="24" y="52"/>
                    </a:lnTo>
                    <a:lnTo>
                      <a:pt x="48" y="44"/>
                    </a:lnTo>
                    <a:lnTo>
                      <a:pt x="50" y="46"/>
                    </a:lnTo>
                    <a:lnTo>
                      <a:pt x="62" y="42"/>
                    </a:lnTo>
                    <a:lnTo>
                      <a:pt x="62" y="42"/>
                    </a:lnTo>
                    <a:lnTo>
                      <a:pt x="68" y="24"/>
                    </a:lnTo>
                    <a:lnTo>
                      <a:pt x="74" y="16"/>
                    </a:lnTo>
                    <a:lnTo>
                      <a:pt x="82" y="12"/>
                    </a:lnTo>
                    <a:lnTo>
                      <a:pt x="82"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3" name="Freeform 1341">
                <a:extLst>
                  <a:ext uri="{FF2B5EF4-FFF2-40B4-BE49-F238E27FC236}">
                    <a16:creationId xmlns:a16="http://schemas.microsoft.com/office/drawing/2014/main" id="{6877EF69-7A2A-44FB-8200-8D7D84A1514D}"/>
                  </a:ext>
                </a:extLst>
              </p:cNvPr>
              <p:cNvSpPr>
                <a:spLocks/>
              </p:cNvSpPr>
              <p:nvPr/>
            </p:nvSpPr>
            <p:spPr bwMode="auto">
              <a:xfrm>
                <a:off x="3141" y="2248"/>
                <a:ext cx="38" cy="28"/>
              </a:xfrm>
              <a:custGeom>
                <a:avLst/>
                <a:gdLst/>
                <a:ahLst/>
                <a:cxnLst>
                  <a:cxn ang="0">
                    <a:pos x="0" y="26"/>
                  </a:cxn>
                  <a:cxn ang="0">
                    <a:pos x="10" y="26"/>
                  </a:cxn>
                  <a:cxn ang="0">
                    <a:pos x="12" y="22"/>
                  </a:cxn>
                  <a:cxn ang="0">
                    <a:pos x="22" y="28"/>
                  </a:cxn>
                  <a:cxn ang="0">
                    <a:pos x="20" y="22"/>
                  </a:cxn>
                  <a:cxn ang="0">
                    <a:pos x="26" y="18"/>
                  </a:cxn>
                  <a:cxn ang="0">
                    <a:pos x="24" y="14"/>
                  </a:cxn>
                  <a:cxn ang="0">
                    <a:pos x="26" y="12"/>
                  </a:cxn>
                  <a:cxn ang="0">
                    <a:pos x="26" y="12"/>
                  </a:cxn>
                  <a:cxn ang="0">
                    <a:pos x="38" y="6"/>
                  </a:cxn>
                  <a:cxn ang="0">
                    <a:pos x="34" y="0"/>
                  </a:cxn>
                  <a:cxn ang="0">
                    <a:pos x="30" y="0"/>
                  </a:cxn>
                  <a:cxn ang="0">
                    <a:pos x="28" y="2"/>
                  </a:cxn>
                  <a:cxn ang="0">
                    <a:pos x="16" y="4"/>
                  </a:cxn>
                  <a:cxn ang="0">
                    <a:pos x="12" y="8"/>
                  </a:cxn>
                  <a:cxn ang="0">
                    <a:pos x="2" y="6"/>
                  </a:cxn>
                  <a:cxn ang="0">
                    <a:pos x="0" y="12"/>
                  </a:cxn>
                  <a:cxn ang="0">
                    <a:pos x="2" y="18"/>
                  </a:cxn>
                  <a:cxn ang="0">
                    <a:pos x="6" y="22"/>
                  </a:cxn>
                  <a:cxn ang="0">
                    <a:pos x="6" y="22"/>
                  </a:cxn>
                  <a:cxn ang="0">
                    <a:pos x="0" y="26"/>
                  </a:cxn>
                  <a:cxn ang="0">
                    <a:pos x="0" y="26"/>
                  </a:cxn>
                </a:cxnLst>
                <a:rect l="0" t="0" r="r" b="b"/>
                <a:pathLst>
                  <a:path w="38" h="28">
                    <a:moveTo>
                      <a:pt x="0" y="26"/>
                    </a:moveTo>
                    <a:lnTo>
                      <a:pt x="10" y="26"/>
                    </a:lnTo>
                    <a:lnTo>
                      <a:pt x="12" y="22"/>
                    </a:lnTo>
                    <a:lnTo>
                      <a:pt x="22" y="28"/>
                    </a:lnTo>
                    <a:lnTo>
                      <a:pt x="20" y="22"/>
                    </a:lnTo>
                    <a:lnTo>
                      <a:pt x="26" y="18"/>
                    </a:lnTo>
                    <a:lnTo>
                      <a:pt x="24" y="14"/>
                    </a:lnTo>
                    <a:lnTo>
                      <a:pt x="26" y="12"/>
                    </a:lnTo>
                    <a:lnTo>
                      <a:pt x="26" y="12"/>
                    </a:lnTo>
                    <a:lnTo>
                      <a:pt x="38" y="6"/>
                    </a:lnTo>
                    <a:lnTo>
                      <a:pt x="34" y="0"/>
                    </a:lnTo>
                    <a:lnTo>
                      <a:pt x="30" y="0"/>
                    </a:lnTo>
                    <a:lnTo>
                      <a:pt x="28" y="2"/>
                    </a:lnTo>
                    <a:lnTo>
                      <a:pt x="16" y="4"/>
                    </a:lnTo>
                    <a:lnTo>
                      <a:pt x="12" y="8"/>
                    </a:lnTo>
                    <a:lnTo>
                      <a:pt x="2" y="6"/>
                    </a:lnTo>
                    <a:lnTo>
                      <a:pt x="0" y="12"/>
                    </a:lnTo>
                    <a:lnTo>
                      <a:pt x="2" y="18"/>
                    </a:lnTo>
                    <a:lnTo>
                      <a:pt x="6" y="22"/>
                    </a:lnTo>
                    <a:lnTo>
                      <a:pt x="6" y="22"/>
                    </a:lnTo>
                    <a:lnTo>
                      <a:pt x="0" y="26"/>
                    </a:lnTo>
                    <a:lnTo>
                      <a:pt x="0"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4" name="Freeform 1342">
                <a:extLst>
                  <a:ext uri="{FF2B5EF4-FFF2-40B4-BE49-F238E27FC236}">
                    <a16:creationId xmlns:a16="http://schemas.microsoft.com/office/drawing/2014/main" id="{7BF3D8D7-9C6A-4C3F-9224-489C3927AD0A}"/>
                  </a:ext>
                </a:extLst>
              </p:cNvPr>
              <p:cNvSpPr>
                <a:spLocks/>
              </p:cNvSpPr>
              <p:nvPr/>
            </p:nvSpPr>
            <p:spPr bwMode="auto">
              <a:xfrm>
                <a:off x="3181" y="2196"/>
                <a:ext cx="66" cy="36"/>
              </a:xfrm>
              <a:custGeom>
                <a:avLst/>
                <a:gdLst/>
                <a:ahLst/>
                <a:cxnLst>
                  <a:cxn ang="0">
                    <a:pos x="62" y="22"/>
                  </a:cxn>
                  <a:cxn ang="0">
                    <a:pos x="46" y="20"/>
                  </a:cxn>
                  <a:cxn ang="0">
                    <a:pos x="36" y="28"/>
                  </a:cxn>
                  <a:cxn ang="0">
                    <a:pos x="34" y="26"/>
                  </a:cxn>
                  <a:cxn ang="0">
                    <a:pos x="34" y="26"/>
                  </a:cxn>
                  <a:cxn ang="0">
                    <a:pos x="22" y="32"/>
                  </a:cxn>
                  <a:cxn ang="0">
                    <a:pos x="16" y="34"/>
                  </a:cxn>
                  <a:cxn ang="0">
                    <a:pos x="12" y="36"/>
                  </a:cxn>
                  <a:cxn ang="0">
                    <a:pos x="4" y="28"/>
                  </a:cxn>
                  <a:cxn ang="0">
                    <a:pos x="0" y="20"/>
                  </a:cxn>
                  <a:cxn ang="0">
                    <a:pos x="4" y="16"/>
                  </a:cxn>
                  <a:cxn ang="0">
                    <a:pos x="10" y="16"/>
                  </a:cxn>
                  <a:cxn ang="0">
                    <a:pos x="10" y="16"/>
                  </a:cxn>
                  <a:cxn ang="0">
                    <a:pos x="16" y="8"/>
                  </a:cxn>
                  <a:cxn ang="0">
                    <a:pos x="20" y="4"/>
                  </a:cxn>
                  <a:cxn ang="0">
                    <a:pos x="24" y="0"/>
                  </a:cxn>
                  <a:cxn ang="0">
                    <a:pos x="26" y="2"/>
                  </a:cxn>
                  <a:cxn ang="0">
                    <a:pos x="30" y="0"/>
                  </a:cxn>
                  <a:cxn ang="0">
                    <a:pos x="36" y="6"/>
                  </a:cxn>
                  <a:cxn ang="0">
                    <a:pos x="36" y="6"/>
                  </a:cxn>
                  <a:cxn ang="0">
                    <a:pos x="46" y="6"/>
                  </a:cxn>
                  <a:cxn ang="0">
                    <a:pos x="56" y="2"/>
                  </a:cxn>
                  <a:cxn ang="0">
                    <a:pos x="66" y="8"/>
                  </a:cxn>
                  <a:cxn ang="0">
                    <a:pos x="62" y="22"/>
                  </a:cxn>
                </a:cxnLst>
                <a:rect l="0" t="0" r="r" b="b"/>
                <a:pathLst>
                  <a:path w="66" h="36">
                    <a:moveTo>
                      <a:pt x="62" y="22"/>
                    </a:moveTo>
                    <a:lnTo>
                      <a:pt x="46" y="20"/>
                    </a:lnTo>
                    <a:lnTo>
                      <a:pt x="36" y="28"/>
                    </a:lnTo>
                    <a:lnTo>
                      <a:pt x="34" y="26"/>
                    </a:lnTo>
                    <a:lnTo>
                      <a:pt x="34" y="26"/>
                    </a:lnTo>
                    <a:lnTo>
                      <a:pt x="22" y="32"/>
                    </a:lnTo>
                    <a:lnTo>
                      <a:pt x="16" y="34"/>
                    </a:lnTo>
                    <a:lnTo>
                      <a:pt x="12" y="36"/>
                    </a:lnTo>
                    <a:lnTo>
                      <a:pt x="4" y="28"/>
                    </a:lnTo>
                    <a:lnTo>
                      <a:pt x="0" y="20"/>
                    </a:lnTo>
                    <a:lnTo>
                      <a:pt x="4" y="16"/>
                    </a:lnTo>
                    <a:lnTo>
                      <a:pt x="10" y="16"/>
                    </a:lnTo>
                    <a:lnTo>
                      <a:pt x="10" y="16"/>
                    </a:lnTo>
                    <a:lnTo>
                      <a:pt x="16" y="8"/>
                    </a:lnTo>
                    <a:lnTo>
                      <a:pt x="20" y="4"/>
                    </a:lnTo>
                    <a:lnTo>
                      <a:pt x="24" y="0"/>
                    </a:lnTo>
                    <a:lnTo>
                      <a:pt x="26" y="2"/>
                    </a:lnTo>
                    <a:lnTo>
                      <a:pt x="30" y="0"/>
                    </a:lnTo>
                    <a:lnTo>
                      <a:pt x="36" y="6"/>
                    </a:lnTo>
                    <a:lnTo>
                      <a:pt x="36" y="6"/>
                    </a:lnTo>
                    <a:lnTo>
                      <a:pt x="46" y="6"/>
                    </a:lnTo>
                    <a:lnTo>
                      <a:pt x="56" y="2"/>
                    </a:lnTo>
                    <a:lnTo>
                      <a:pt x="66" y="8"/>
                    </a:lnTo>
                    <a:lnTo>
                      <a:pt x="62" y="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5" name="Freeform 1343">
                <a:extLst>
                  <a:ext uri="{FF2B5EF4-FFF2-40B4-BE49-F238E27FC236}">
                    <a16:creationId xmlns:a16="http://schemas.microsoft.com/office/drawing/2014/main" id="{D0B5E957-A8B8-4987-80A5-9E5B2601277D}"/>
                  </a:ext>
                </a:extLst>
              </p:cNvPr>
              <p:cNvSpPr>
                <a:spLocks/>
              </p:cNvSpPr>
              <p:nvPr/>
            </p:nvSpPr>
            <p:spPr bwMode="auto">
              <a:xfrm>
                <a:off x="3123" y="2164"/>
                <a:ext cx="82" cy="52"/>
              </a:xfrm>
              <a:custGeom>
                <a:avLst/>
                <a:gdLst/>
                <a:ahLst/>
                <a:cxnLst>
                  <a:cxn ang="0">
                    <a:pos x="82" y="32"/>
                  </a:cxn>
                  <a:cxn ang="0">
                    <a:pos x="82" y="32"/>
                  </a:cxn>
                  <a:cxn ang="0">
                    <a:pos x="78" y="30"/>
                  </a:cxn>
                  <a:cxn ang="0">
                    <a:pos x="74" y="26"/>
                  </a:cxn>
                  <a:cxn ang="0">
                    <a:pos x="68" y="18"/>
                  </a:cxn>
                  <a:cxn ang="0">
                    <a:pos x="58" y="16"/>
                  </a:cxn>
                  <a:cxn ang="0">
                    <a:pos x="56" y="20"/>
                  </a:cxn>
                  <a:cxn ang="0">
                    <a:pos x="50" y="14"/>
                  </a:cxn>
                  <a:cxn ang="0">
                    <a:pos x="52" y="12"/>
                  </a:cxn>
                  <a:cxn ang="0">
                    <a:pos x="52" y="12"/>
                  </a:cxn>
                  <a:cxn ang="0">
                    <a:pos x="44" y="6"/>
                  </a:cxn>
                  <a:cxn ang="0">
                    <a:pos x="38" y="4"/>
                  </a:cxn>
                  <a:cxn ang="0">
                    <a:pos x="34" y="8"/>
                  </a:cxn>
                  <a:cxn ang="0">
                    <a:pos x="34" y="8"/>
                  </a:cxn>
                  <a:cxn ang="0">
                    <a:pos x="26" y="0"/>
                  </a:cxn>
                  <a:cxn ang="0">
                    <a:pos x="26" y="6"/>
                  </a:cxn>
                  <a:cxn ang="0">
                    <a:pos x="4" y="16"/>
                  </a:cxn>
                  <a:cxn ang="0">
                    <a:pos x="4" y="20"/>
                  </a:cxn>
                  <a:cxn ang="0">
                    <a:pos x="0" y="16"/>
                  </a:cxn>
                  <a:cxn ang="0">
                    <a:pos x="0" y="20"/>
                  </a:cxn>
                  <a:cxn ang="0">
                    <a:pos x="4" y="24"/>
                  </a:cxn>
                  <a:cxn ang="0">
                    <a:pos x="4" y="30"/>
                  </a:cxn>
                  <a:cxn ang="0">
                    <a:pos x="4" y="30"/>
                  </a:cxn>
                  <a:cxn ang="0">
                    <a:pos x="8" y="36"/>
                  </a:cxn>
                  <a:cxn ang="0">
                    <a:pos x="16" y="44"/>
                  </a:cxn>
                  <a:cxn ang="0">
                    <a:pos x="24" y="48"/>
                  </a:cxn>
                  <a:cxn ang="0">
                    <a:pos x="30" y="50"/>
                  </a:cxn>
                  <a:cxn ang="0">
                    <a:pos x="36" y="44"/>
                  </a:cxn>
                  <a:cxn ang="0">
                    <a:pos x="44" y="44"/>
                  </a:cxn>
                  <a:cxn ang="0">
                    <a:pos x="48" y="48"/>
                  </a:cxn>
                  <a:cxn ang="0">
                    <a:pos x="56" y="46"/>
                  </a:cxn>
                  <a:cxn ang="0">
                    <a:pos x="58" y="52"/>
                  </a:cxn>
                  <a:cxn ang="0">
                    <a:pos x="62" y="48"/>
                  </a:cxn>
                  <a:cxn ang="0">
                    <a:pos x="68" y="48"/>
                  </a:cxn>
                  <a:cxn ang="0">
                    <a:pos x="68" y="48"/>
                  </a:cxn>
                  <a:cxn ang="0">
                    <a:pos x="74" y="40"/>
                  </a:cxn>
                  <a:cxn ang="0">
                    <a:pos x="78" y="36"/>
                  </a:cxn>
                  <a:cxn ang="0">
                    <a:pos x="82" y="32"/>
                  </a:cxn>
                  <a:cxn ang="0">
                    <a:pos x="82" y="32"/>
                  </a:cxn>
                </a:cxnLst>
                <a:rect l="0" t="0" r="r" b="b"/>
                <a:pathLst>
                  <a:path w="82" h="52">
                    <a:moveTo>
                      <a:pt x="82" y="32"/>
                    </a:moveTo>
                    <a:lnTo>
                      <a:pt x="82" y="32"/>
                    </a:lnTo>
                    <a:lnTo>
                      <a:pt x="78" y="30"/>
                    </a:lnTo>
                    <a:lnTo>
                      <a:pt x="74" y="26"/>
                    </a:lnTo>
                    <a:lnTo>
                      <a:pt x="68" y="18"/>
                    </a:lnTo>
                    <a:lnTo>
                      <a:pt x="58" y="16"/>
                    </a:lnTo>
                    <a:lnTo>
                      <a:pt x="56" y="20"/>
                    </a:lnTo>
                    <a:lnTo>
                      <a:pt x="50" y="14"/>
                    </a:lnTo>
                    <a:lnTo>
                      <a:pt x="52" y="12"/>
                    </a:lnTo>
                    <a:lnTo>
                      <a:pt x="52" y="12"/>
                    </a:lnTo>
                    <a:lnTo>
                      <a:pt x="44" y="6"/>
                    </a:lnTo>
                    <a:lnTo>
                      <a:pt x="38" y="4"/>
                    </a:lnTo>
                    <a:lnTo>
                      <a:pt x="34" y="8"/>
                    </a:lnTo>
                    <a:lnTo>
                      <a:pt x="34" y="8"/>
                    </a:lnTo>
                    <a:lnTo>
                      <a:pt x="26" y="0"/>
                    </a:lnTo>
                    <a:lnTo>
                      <a:pt x="26" y="6"/>
                    </a:lnTo>
                    <a:lnTo>
                      <a:pt x="4" y="16"/>
                    </a:lnTo>
                    <a:lnTo>
                      <a:pt x="4" y="20"/>
                    </a:lnTo>
                    <a:lnTo>
                      <a:pt x="0" y="16"/>
                    </a:lnTo>
                    <a:lnTo>
                      <a:pt x="0" y="20"/>
                    </a:lnTo>
                    <a:lnTo>
                      <a:pt x="4" y="24"/>
                    </a:lnTo>
                    <a:lnTo>
                      <a:pt x="4" y="30"/>
                    </a:lnTo>
                    <a:lnTo>
                      <a:pt x="4" y="30"/>
                    </a:lnTo>
                    <a:lnTo>
                      <a:pt x="8" y="36"/>
                    </a:lnTo>
                    <a:lnTo>
                      <a:pt x="16" y="44"/>
                    </a:lnTo>
                    <a:lnTo>
                      <a:pt x="24" y="48"/>
                    </a:lnTo>
                    <a:lnTo>
                      <a:pt x="30" y="50"/>
                    </a:lnTo>
                    <a:lnTo>
                      <a:pt x="36" y="44"/>
                    </a:lnTo>
                    <a:lnTo>
                      <a:pt x="44" y="44"/>
                    </a:lnTo>
                    <a:lnTo>
                      <a:pt x="48" y="48"/>
                    </a:lnTo>
                    <a:lnTo>
                      <a:pt x="56" y="46"/>
                    </a:lnTo>
                    <a:lnTo>
                      <a:pt x="58" y="52"/>
                    </a:lnTo>
                    <a:lnTo>
                      <a:pt x="62" y="48"/>
                    </a:lnTo>
                    <a:lnTo>
                      <a:pt x="68" y="48"/>
                    </a:lnTo>
                    <a:lnTo>
                      <a:pt x="68" y="48"/>
                    </a:lnTo>
                    <a:lnTo>
                      <a:pt x="74" y="40"/>
                    </a:lnTo>
                    <a:lnTo>
                      <a:pt x="78" y="36"/>
                    </a:lnTo>
                    <a:lnTo>
                      <a:pt x="82" y="32"/>
                    </a:lnTo>
                    <a:lnTo>
                      <a:pt x="82" y="3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6" name="Freeform 1344">
                <a:extLst>
                  <a:ext uri="{FF2B5EF4-FFF2-40B4-BE49-F238E27FC236}">
                    <a16:creationId xmlns:a16="http://schemas.microsoft.com/office/drawing/2014/main" id="{53C04578-7CFE-4409-85C8-36D5174D9377}"/>
                  </a:ext>
                </a:extLst>
              </p:cNvPr>
              <p:cNvSpPr>
                <a:spLocks/>
              </p:cNvSpPr>
              <p:nvPr/>
            </p:nvSpPr>
            <p:spPr bwMode="auto">
              <a:xfrm>
                <a:off x="3090" y="2208"/>
                <a:ext cx="95" cy="48"/>
              </a:xfrm>
              <a:custGeom>
                <a:avLst/>
                <a:gdLst/>
                <a:ahLst/>
                <a:cxnLst>
                  <a:cxn ang="0">
                    <a:pos x="35" y="42"/>
                  </a:cxn>
                  <a:cxn ang="0">
                    <a:pos x="35" y="36"/>
                  </a:cxn>
                  <a:cxn ang="0">
                    <a:pos x="35" y="36"/>
                  </a:cxn>
                  <a:cxn ang="0">
                    <a:pos x="24" y="38"/>
                  </a:cxn>
                  <a:cxn ang="0">
                    <a:pos x="16" y="40"/>
                  </a:cxn>
                  <a:cxn ang="0">
                    <a:pos x="8" y="40"/>
                  </a:cxn>
                  <a:cxn ang="0">
                    <a:pos x="4" y="38"/>
                  </a:cxn>
                  <a:cxn ang="0">
                    <a:pos x="0" y="34"/>
                  </a:cxn>
                  <a:cxn ang="0">
                    <a:pos x="4" y="30"/>
                  </a:cxn>
                  <a:cxn ang="0">
                    <a:pos x="2" y="28"/>
                  </a:cxn>
                  <a:cxn ang="0">
                    <a:pos x="6" y="28"/>
                  </a:cxn>
                  <a:cxn ang="0">
                    <a:pos x="12" y="30"/>
                  </a:cxn>
                  <a:cxn ang="0">
                    <a:pos x="14" y="26"/>
                  </a:cxn>
                  <a:cxn ang="0">
                    <a:pos x="22" y="30"/>
                  </a:cxn>
                  <a:cxn ang="0">
                    <a:pos x="22" y="30"/>
                  </a:cxn>
                  <a:cxn ang="0">
                    <a:pos x="33" y="26"/>
                  </a:cxn>
                  <a:cxn ang="0">
                    <a:pos x="37" y="24"/>
                  </a:cxn>
                  <a:cxn ang="0">
                    <a:pos x="41" y="24"/>
                  </a:cxn>
                  <a:cxn ang="0">
                    <a:pos x="43" y="26"/>
                  </a:cxn>
                  <a:cxn ang="0">
                    <a:pos x="45" y="26"/>
                  </a:cxn>
                  <a:cxn ang="0">
                    <a:pos x="43" y="16"/>
                  </a:cxn>
                  <a:cxn ang="0">
                    <a:pos x="43" y="14"/>
                  </a:cxn>
                  <a:cxn ang="0">
                    <a:pos x="55" y="6"/>
                  </a:cxn>
                  <a:cxn ang="0">
                    <a:pos x="55" y="4"/>
                  </a:cxn>
                  <a:cxn ang="0">
                    <a:pos x="63" y="6"/>
                  </a:cxn>
                  <a:cxn ang="0">
                    <a:pos x="69" y="0"/>
                  </a:cxn>
                  <a:cxn ang="0">
                    <a:pos x="77" y="0"/>
                  </a:cxn>
                  <a:cxn ang="0">
                    <a:pos x="81" y="4"/>
                  </a:cxn>
                  <a:cxn ang="0">
                    <a:pos x="89" y="2"/>
                  </a:cxn>
                  <a:cxn ang="0">
                    <a:pos x="89" y="2"/>
                  </a:cxn>
                  <a:cxn ang="0">
                    <a:pos x="95" y="16"/>
                  </a:cxn>
                  <a:cxn ang="0">
                    <a:pos x="93" y="24"/>
                  </a:cxn>
                  <a:cxn ang="0">
                    <a:pos x="87" y="24"/>
                  </a:cxn>
                  <a:cxn ang="0">
                    <a:pos x="87" y="26"/>
                  </a:cxn>
                  <a:cxn ang="0">
                    <a:pos x="89" y="28"/>
                  </a:cxn>
                  <a:cxn ang="0">
                    <a:pos x="87" y="36"/>
                  </a:cxn>
                  <a:cxn ang="0">
                    <a:pos x="87" y="36"/>
                  </a:cxn>
                  <a:cxn ang="0">
                    <a:pos x="83" y="38"/>
                  </a:cxn>
                  <a:cxn ang="0">
                    <a:pos x="79" y="42"/>
                  </a:cxn>
                  <a:cxn ang="0">
                    <a:pos x="67" y="44"/>
                  </a:cxn>
                  <a:cxn ang="0">
                    <a:pos x="63" y="48"/>
                  </a:cxn>
                  <a:cxn ang="0">
                    <a:pos x="63" y="48"/>
                  </a:cxn>
                  <a:cxn ang="0">
                    <a:pos x="49" y="46"/>
                  </a:cxn>
                  <a:cxn ang="0">
                    <a:pos x="41" y="44"/>
                  </a:cxn>
                  <a:cxn ang="0">
                    <a:pos x="35" y="42"/>
                  </a:cxn>
                  <a:cxn ang="0">
                    <a:pos x="35" y="42"/>
                  </a:cxn>
                </a:cxnLst>
                <a:rect l="0" t="0" r="r" b="b"/>
                <a:pathLst>
                  <a:path w="95" h="48">
                    <a:moveTo>
                      <a:pt x="35" y="42"/>
                    </a:moveTo>
                    <a:lnTo>
                      <a:pt x="35" y="36"/>
                    </a:lnTo>
                    <a:lnTo>
                      <a:pt x="35" y="36"/>
                    </a:lnTo>
                    <a:lnTo>
                      <a:pt x="24" y="38"/>
                    </a:lnTo>
                    <a:lnTo>
                      <a:pt x="16" y="40"/>
                    </a:lnTo>
                    <a:lnTo>
                      <a:pt x="8" y="40"/>
                    </a:lnTo>
                    <a:lnTo>
                      <a:pt x="4" y="38"/>
                    </a:lnTo>
                    <a:lnTo>
                      <a:pt x="0" y="34"/>
                    </a:lnTo>
                    <a:lnTo>
                      <a:pt x="4" y="30"/>
                    </a:lnTo>
                    <a:lnTo>
                      <a:pt x="2" y="28"/>
                    </a:lnTo>
                    <a:lnTo>
                      <a:pt x="6" y="28"/>
                    </a:lnTo>
                    <a:lnTo>
                      <a:pt x="12" y="30"/>
                    </a:lnTo>
                    <a:lnTo>
                      <a:pt x="14" y="26"/>
                    </a:lnTo>
                    <a:lnTo>
                      <a:pt x="22" y="30"/>
                    </a:lnTo>
                    <a:lnTo>
                      <a:pt x="22" y="30"/>
                    </a:lnTo>
                    <a:lnTo>
                      <a:pt x="33" y="26"/>
                    </a:lnTo>
                    <a:lnTo>
                      <a:pt x="37" y="24"/>
                    </a:lnTo>
                    <a:lnTo>
                      <a:pt x="41" y="24"/>
                    </a:lnTo>
                    <a:lnTo>
                      <a:pt x="43" y="26"/>
                    </a:lnTo>
                    <a:lnTo>
                      <a:pt x="45" y="26"/>
                    </a:lnTo>
                    <a:lnTo>
                      <a:pt x="43" y="16"/>
                    </a:lnTo>
                    <a:lnTo>
                      <a:pt x="43" y="14"/>
                    </a:lnTo>
                    <a:lnTo>
                      <a:pt x="55" y="6"/>
                    </a:lnTo>
                    <a:lnTo>
                      <a:pt x="55" y="4"/>
                    </a:lnTo>
                    <a:lnTo>
                      <a:pt x="63" y="6"/>
                    </a:lnTo>
                    <a:lnTo>
                      <a:pt x="69" y="0"/>
                    </a:lnTo>
                    <a:lnTo>
                      <a:pt x="77" y="0"/>
                    </a:lnTo>
                    <a:lnTo>
                      <a:pt x="81" y="4"/>
                    </a:lnTo>
                    <a:lnTo>
                      <a:pt x="89" y="2"/>
                    </a:lnTo>
                    <a:lnTo>
                      <a:pt x="89" y="2"/>
                    </a:lnTo>
                    <a:lnTo>
                      <a:pt x="95" y="16"/>
                    </a:lnTo>
                    <a:lnTo>
                      <a:pt x="93" y="24"/>
                    </a:lnTo>
                    <a:lnTo>
                      <a:pt x="87" y="24"/>
                    </a:lnTo>
                    <a:lnTo>
                      <a:pt x="87" y="26"/>
                    </a:lnTo>
                    <a:lnTo>
                      <a:pt x="89" y="28"/>
                    </a:lnTo>
                    <a:lnTo>
                      <a:pt x="87" y="36"/>
                    </a:lnTo>
                    <a:lnTo>
                      <a:pt x="87" y="36"/>
                    </a:lnTo>
                    <a:lnTo>
                      <a:pt x="83" y="38"/>
                    </a:lnTo>
                    <a:lnTo>
                      <a:pt x="79" y="42"/>
                    </a:lnTo>
                    <a:lnTo>
                      <a:pt x="67" y="44"/>
                    </a:lnTo>
                    <a:lnTo>
                      <a:pt x="63" y="48"/>
                    </a:lnTo>
                    <a:lnTo>
                      <a:pt x="63" y="48"/>
                    </a:lnTo>
                    <a:lnTo>
                      <a:pt x="49" y="46"/>
                    </a:lnTo>
                    <a:lnTo>
                      <a:pt x="41" y="44"/>
                    </a:lnTo>
                    <a:lnTo>
                      <a:pt x="35" y="42"/>
                    </a:lnTo>
                    <a:lnTo>
                      <a:pt x="35" y="4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7" name="Freeform 1345">
                <a:extLst>
                  <a:ext uri="{FF2B5EF4-FFF2-40B4-BE49-F238E27FC236}">
                    <a16:creationId xmlns:a16="http://schemas.microsoft.com/office/drawing/2014/main" id="{E98A68A5-594E-4D11-9C92-9C9135A889F1}"/>
                  </a:ext>
                </a:extLst>
              </p:cNvPr>
              <p:cNvSpPr>
                <a:spLocks/>
              </p:cNvSpPr>
              <p:nvPr/>
            </p:nvSpPr>
            <p:spPr bwMode="auto">
              <a:xfrm>
                <a:off x="3090" y="2238"/>
                <a:ext cx="6" cy="8"/>
              </a:xfrm>
              <a:custGeom>
                <a:avLst/>
                <a:gdLst/>
                <a:ahLst/>
                <a:cxnLst>
                  <a:cxn ang="0">
                    <a:pos x="4" y="8"/>
                  </a:cxn>
                  <a:cxn ang="0">
                    <a:pos x="6" y="2"/>
                  </a:cxn>
                  <a:cxn ang="0">
                    <a:pos x="4" y="0"/>
                  </a:cxn>
                  <a:cxn ang="0">
                    <a:pos x="0" y="4"/>
                  </a:cxn>
                  <a:cxn ang="0">
                    <a:pos x="4" y="8"/>
                  </a:cxn>
                </a:cxnLst>
                <a:rect l="0" t="0" r="r" b="b"/>
                <a:pathLst>
                  <a:path w="6" h="8">
                    <a:moveTo>
                      <a:pt x="4" y="8"/>
                    </a:moveTo>
                    <a:lnTo>
                      <a:pt x="6" y="2"/>
                    </a:lnTo>
                    <a:lnTo>
                      <a:pt x="4" y="0"/>
                    </a:lnTo>
                    <a:lnTo>
                      <a:pt x="0" y="4"/>
                    </a:lnTo>
                    <a:lnTo>
                      <a:pt x="4"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8" name="Freeform 1346">
                <a:extLst>
                  <a:ext uri="{FF2B5EF4-FFF2-40B4-BE49-F238E27FC236}">
                    <a16:creationId xmlns:a16="http://schemas.microsoft.com/office/drawing/2014/main" id="{1637325A-6827-4C5F-BD67-B5805BC30D87}"/>
                  </a:ext>
                </a:extLst>
              </p:cNvPr>
              <p:cNvSpPr>
                <a:spLocks/>
              </p:cNvSpPr>
              <p:nvPr/>
            </p:nvSpPr>
            <p:spPr bwMode="auto">
              <a:xfrm>
                <a:off x="3058" y="2244"/>
                <a:ext cx="143" cy="158"/>
              </a:xfrm>
              <a:custGeom>
                <a:avLst/>
                <a:gdLst/>
                <a:ahLst/>
                <a:cxnLst>
                  <a:cxn ang="0">
                    <a:pos x="18" y="58"/>
                  </a:cxn>
                  <a:cxn ang="0">
                    <a:pos x="26" y="48"/>
                  </a:cxn>
                  <a:cxn ang="0">
                    <a:pos x="30" y="50"/>
                  </a:cxn>
                  <a:cxn ang="0">
                    <a:pos x="42" y="56"/>
                  </a:cxn>
                  <a:cxn ang="0">
                    <a:pos x="44" y="64"/>
                  </a:cxn>
                  <a:cxn ang="0">
                    <a:pos x="54" y="84"/>
                  </a:cxn>
                  <a:cxn ang="0">
                    <a:pos x="58" y="84"/>
                  </a:cxn>
                  <a:cxn ang="0">
                    <a:pos x="77" y="104"/>
                  </a:cxn>
                  <a:cxn ang="0">
                    <a:pos x="87" y="104"/>
                  </a:cxn>
                  <a:cxn ang="0">
                    <a:pos x="99" y="114"/>
                  </a:cxn>
                  <a:cxn ang="0">
                    <a:pos x="107" y="126"/>
                  </a:cxn>
                  <a:cxn ang="0">
                    <a:pos x="115" y="144"/>
                  </a:cxn>
                  <a:cxn ang="0">
                    <a:pos x="111" y="150"/>
                  </a:cxn>
                  <a:cxn ang="0">
                    <a:pos x="111" y="158"/>
                  </a:cxn>
                  <a:cxn ang="0">
                    <a:pos x="113" y="158"/>
                  </a:cxn>
                  <a:cxn ang="0">
                    <a:pos x="119" y="152"/>
                  </a:cxn>
                  <a:cxn ang="0">
                    <a:pos x="127" y="142"/>
                  </a:cxn>
                  <a:cxn ang="0">
                    <a:pos x="119" y="130"/>
                  </a:cxn>
                  <a:cxn ang="0">
                    <a:pos x="121" y="122"/>
                  </a:cxn>
                  <a:cxn ang="0">
                    <a:pos x="127" y="116"/>
                  </a:cxn>
                  <a:cxn ang="0">
                    <a:pos x="141" y="128"/>
                  </a:cxn>
                  <a:cxn ang="0">
                    <a:pos x="137" y="112"/>
                  </a:cxn>
                  <a:cxn ang="0">
                    <a:pos x="115" y="96"/>
                  </a:cxn>
                  <a:cxn ang="0">
                    <a:pos x="103" y="94"/>
                  </a:cxn>
                  <a:cxn ang="0">
                    <a:pos x="97" y="88"/>
                  </a:cxn>
                  <a:cxn ang="0">
                    <a:pos x="87" y="72"/>
                  </a:cxn>
                  <a:cxn ang="0">
                    <a:pos x="71" y="54"/>
                  </a:cxn>
                  <a:cxn ang="0">
                    <a:pos x="69" y="42"/>
                  </a:cxn>
                  <a:cxn ang="0">
                    <a:pos x="79" y="26"/>
                  </a:cxn>
                  <a:cxn ang="0">
                    <a:pos x="89" y="26"/>
                  </a:cxn>
                  <a:cxn ang="0">
                    <a:pos x="83" y="16"/>
                  </a:cxn>
                  <a:cxn ang="0">
                    <a:pos x="85" y="10"/>
                  </a:cxn>
                  <a:cxn ang="0">
                    <a:pos x="67" y="6"/>
                  </a:cxn>
                  <a:cxn ang="0">
                    <a:pos x="67" y="0"/>
                  </a:cxn>
                  <a:cxn ang="0">
                    <a:pos x="48" y="4"/>
                  </a:cxn>
                  <a:cxn ang="0">
                    <a:pos x="44" y="8"/>
                  </a:cxn>
                  <a:cxn ang="0">
                    <a:pos x="42" y="14"/>
                  </a:cxn>
                  <a:cxn ang="0">
                    <a:pos x="28" y="22"/>
                  </a:cxn>
                  <a:cxn ang="0">
                    <a:pos x="22" y="16"/>
                  </a:cxn>
                  <a:cxn ang="0">
                    <a:pos x="10" y="20"/>
                  </a:cxn>
                  <a:cxn ang="0">
                    <a:pos x="2" y="24"/>
                  </a:cxn>
                  <a:cxn ang="0">
                    <a:pos x="2" y="36"/>
                  </a:cxn>
                  <a:cxn ang="0">
                    <a:pos x="4" y="42"/>
                  </a:cxn>
                  <a:cxn ang="0">
                    <a:pos x="4" y="48"/>
                  </a:cxn>
                  <a:cxn ang="0">
                    <a:pos x="10" y="54"/>
                  </a:cxn>
                </a:cxnLst>
                <a:rect l="0" t="0" r="r" b="b"/>
                <a:pathLst>
                  <a:path w="143" h="158">
                    <a:moveTo>
                      <a:pt x="10" y="60"/>
                    </a:moveTo>
                    <a:lnTo>
                      <a:pt x="18" y="58"/>
                    </a:lnTo>
                    <a:lnTo>
                      <a:pt x="22" y="50"/>
                    </a:lnTo>
                    <a:lnTo>
                      <a:pt x="26" y="48"/>
                    </a:lnTo>
                    <a:lnTo>
                      <a:pt x="26" y="48"/>
                    </a:lnTo>
                    <a:lnTo>
                      <a:pt x="30" y="50"/>
                    </a:lnTo>
                    <a:lnTo>
                      <a:pt x="34" y="52"/>
                    </a:lnTo>
                    <a:lnTo>
                      <a:pt x="42" y="56"/>
                    </a:lnTo>
                    <a:lnTo>
                      <a:pt x="42" y="56"/>
                    </a:lnTo>
                    <a:lnTo>
                      <a:pt x="44" y="64"/>
                    </a:lnTo>
                    <a:lnTo>
                      <a:pt x="48" y="74"/>
                    </a:lnTo>
                    <a:lnTo>
                      <a:pt x="54" y="84"/>
                    </a:lnTo>
                    <a:lnTo>
                      <a:pt x="58" y="84"/>
                    </a:lnTo>
                    <a:lnTo>
                      <a:pt x="58" y="84"/>
                    </a:lnTo>
                    <a:lnTo>
                      <a:pt x="67" y="94"/>
                    </a:lnTo>
                    <a:lnTo>
                      <a:pt x="77" y="104"/>
                    </a:lnTo>
                    <a:lnTo>
                      <a:pt x="87" y="104"/>
                    </a:lnTo>
                    <a:lnTo>
                      <a:pt x="87" y="104"/>
                    </a:lnTo>
                    <a:lnTo>
                      <a:pt x="93" y="114"/>
                    </a:lnTo>
                    <a:lnTo>
                      <a:pt x="99" y="114"/>
                    </a:lnTo>
                    <a:lnTo>
                      <a:pt x="101" y="122"/>
                    </a:lnTo>
                    <a:lnTo>
                      <a:pt x="107" y="126"/>
                    </a:lnTo>
                    <a:lnTo>
                      <a:pt x="109" y="124"/>
                    </a:lnTo>
                    <a:lnTo>
                      <a:pt x="115" y="144"/>
                    </a:lnTo>
                    <a:lnTo>
                      <a:pt x="111" y="148"/>
                    </a:lnTo>
                    <a:lnTo>
                      <a:pt x="111" y="150"/>
                    </a:lnTo>
                    <a:lnTo>
                      <a:pt x="109" y="154"/>
                    </a:lnTo>
                    <a:lnTo>
                      <a:pt x="111" y="158"/>
                    </a:lnTo>
                    <a:lnTo>
                      <a:pt x="113" y="158"/>
                    </a:lnTo>
                    <a:lnTo>
                      <a:pt x="113" y="158"/>
                    </a:lnTo>
                    <a:lnTo>
                      <a:pt x="115" y="154"/>
                    </a:lnTo>
                    <a:lnTo>
                      <a:pt x="119" y="152"/>
                    </a:lnTo>
                    <a:lnTo>
                      <a:pt x="121" y="144"/>
                    </a:lnTo>
                    <a:lnTo>
                      <a:pt x="127" y="142"/>
                    </a:lnTo>
                    <a:lnTo>
                      <a:pt x="125" y="134"/>
                    </a:lnTo>
                    <a:lnTo>
                      <a:pt x="119" y="130"/>
                    </a:lnTo>
                    <a:lnTo>
                      <a:pt x="119" y="130"/>
                    </a:lnTo>
                    <a:lnTo>
                      <a:pt x="121" y="122"/>
                    </a:lnTo>
                    <a:lnTo>
                      <a:pt x="127" y="116"/>
                    </a:lnTo>
                    <a:lnTo>
                      <a:pt x="127" y="116"/>
                    </a:lnTo>
                    <a:lnTo>
                      <a:pt x="135" y="120"/>
                    </a:lnTo>
                    <a:lnTo>
                      <a:pt x="141" y="128"/>
                    </a:lnTo>
                    <a:lnTo>
                      <a:pt x="143" y="124"/>
                    </a:lnTo>
                    <a:lnTo>
                      <a:pt x="137" y="112"/>
                    </a:lnTo>
                    <a:lnTo>
                      <a:pt x="113" y="100"/>
                    </a:lnTo>
                    <a:lnTo>
                      <a:pt x="115" y="96"/>
                    </a:lnTo>
                    <a:lnTo>
                      <a:pt x="113" y="92"/>
                    </a:lnTo>
                    <a:lnTo>
                      <a:pt x="103" y="94"/>
                    </a:lnTo>
                    <a:lnTo>
                      <a:pt x="103" y="94"/>
                    </a:lnTo>
                    <a:lnTo>
                      <a:pt x="97" y="88"/>
                    </a:lnTo>
                    <a:lnTo>
                      <a:pt x="91" y="80"/>
                    </a:lnTo>
                    <a:lnTo>
                      <a:pt x="87" y="72"/>
                    </a:lnTo>
                    <a:lnTo>
                      <a:pt x="83" y="64"/>
                    </a:lnTo>
                    <a:lnTo>
                      <a:pt x="71" y="54"/>
                    </a:lnTo>
                    <a:lnTo>
                      <a:pt x="71" y="54"/>
                    </a:lnTo>
                    <a:lnTo>
                      <a:pt x="69" y="42"/>
                    </a:lnTo>
                    <a:lnTo>
                      <a:pt x="69" y="32"/>
                    </a:lnTo>
                    <a:lnTo>
                      <a:pt x="79" y="26"/>
                    </a:lnTo>
                    <a:lnTo>
                      <a:pt x="85" y="28"/>
                    </a:lnTo>
                    <a:lnTo>
                      <a:pt x="89" y="26"/>
                    </a:lnTo>
                    <a:lnTo>
                      <a:pt x="85" y="22"/>
                    </a:lnTo>
                    <a:lnTo>
                      <a:pt x="83" y="16"/>
                    </a:lnTo>
                    <a:lnTo>
                      <a:pt x="85" y="10"/>
                    </a:lnTo>
                    <a:lnTo>
                      <a:pt x="85" y="10"/>
                    </a:lnTo>
                    <a:lnTo>
                      <a:pt x="75" y="8"/>
                    </a:lnTo>
                    <a:lnTo>
                      <a:pt x="67" y="6"/>
                    </a:lnTo>
                    <a:lnTo>
                      <a:pt x="67" y="0"/>
                    </a:lnTo>
                    <a:lnTo>
                      <a:pt x="67" y="0"/>
                    </a:lnTo>
                    <a:lnTo>
                      <a:pt x="54" y="4"/>
                    </a:lnTo>
                    <a:lnTo>
                      <a:pt x="48" y="4"/>
                    </a:lnTo>
                    <a:lnTo>
                      <a:pt x="44" y="4"/>
                    </a:lnTo>
                    <a:lnTo>
                      <a:pt x="44" y="8"/>
                    </a:lnTo>
                    <a:lnTo>
                      <a:pt x="42" y="8"/>
                    </a:lnTo>
                    <a:lnTo>
                      <a:pt x="42" y="14"/>
                    </a:lnTo>
                    <a:lnTo>
                      <a:pt x="32" y="12"/>
                    </a:lnTo>
                    <a:lnTo>
                      <a:pt x="28" y="22"/>
                    </a:lnTo>
                    <a:lnTo>
                      <a:pt x="22" y="16"/>
                    </a:lnTo>
                    <a:lnTo>
                      <a:pt x="22" y="16"/>
                    </a:lnTo>
                    <a:lnTo>
                      <a:pt x="16" y="20"/>
                    </a:lnTo>
                    <a:lnTo>
                      <a:pt x="10" y="20"/>
                    </a:lnTo>
                    <a:lnTo>
                      <a:pt x="6" y="22"/>
                    </a:lnTo>
                    <a:lnTo>
                      <a:pt x="2" y="24"/>
                    </a:lnTo>
                    <a:lnTo>
                      <a:pt x="4" y="34"/>
                    </a:lnTo>
                    <a:lnTo>
                      <a:pt x="2" y="36"/>
                    </a:lnTo>
                    <a:lnTo>
                      <a:pt x="0" y="40"/>
                    </a:lnTo>
                    <a:lnTo>
                      <a:pt x="4" y="42"/>
                    </a:lnTo>
                    <a:lnTo>
                      <a:pt x="4" y="42"/>
                    </a:lnTo>
                    <a:lnTo>
                      <a:pt x="4" y="48"/>
                    </a:lnTo>
                    <a:lnTo>
                      <a:pt x="6" y="52"/>
                    </a:lnTo>
                    <a:lnTo>
                      <a:pt x="10" y="54"/>
                    </a:lnTo>
                    <a:lnTo>
                      <a:pt x="10" y="6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39" name="Freeform 1347">
                <a:extLst>
                  <a:ext uri="{FF2B5EF4-FFF2-40B4-BE49-F238E27FC236}">
                    <a16:creationId xmlns:a16="http://schemas.microsoft.com/office/drawing/2014/main" id="{AC090037-BB9D-4A1B-8B31-6E4C1F2D5456}"/>
                  </a:ext>
                </a:extLst>
              </p:cNvPr>
              <p:cNvSpPr>
                <a:spLocks/>
              </p:cNvSpPr>
              <p:nvPr/>
            </p:nvSpPr>
            <p:spPr bwMode="auto">
              <a:xfrm>
                <a:off x="3141" y="2254"/>
                <a:ext cx="68" cy="64"/>
              </a:xfrm>
              <a:custGeom>
                <a:avLst/>
                <a:gdLst/>
                <a:ahLst/>
                <a:cxnLst>
                  <a:cxn ang="0">
                    <a:pos x="62" y="12"/>
                  </a:cxn>
                  <a:cxn ang="0">
                    <a:pos x="54" y="14"/>
                  </a:cxn>
                  <a:cxn ang="0">
                    <a:pos x="38" y="0"/>
                  </a:cxn>
                  <a:cxn ang="0">
                    <a:pos x="38" y="0"/>
                  </a:cxn>
                  <a:cxn ang="0">
                    <a:pos x="26" y="6"/>
                  </a:cxn>
                  <a:cxn ang="0">
                    <a:pos x="24" y="8"/>
                  </a:cxn>
                  <a:cxn ang="0">
                    <a:pos x="26" y="12"/>
                  </a:cxn>
                  <a:cxn ang="0">
                    <a:pos x="20" y="16"/>
                  </a:cxn>
                  <a:cxn ang="0">
                    <a:pos x="22" y="22"/>
                  </a:cxn>
                  <a:cxn ang="0">
                    <a:pos x="12" y="16"/>
                  </a:cxn>
                  <a:cxn ang="0">
                    <a:pos x="10" y="20"/>
                  </a:cxn>
                  <a:cxn ang="0">
                    <a:pos x="0" y="20"/>
                  </a:cxn>
                  <a:cxn ang="0">
                    <a:pos x="0" y="20"/>
                  </a:cxn>
                  <a:cxn ang="0">
                    <a:pos x="2" y="26"/>
                  </a:cxn>
                  <a:cxn ang="0">
                    <a:pos x="4" y="30"/>
                  </a:cxn>
                  <a:cxn ang="0">
                    <a:pos x="6" y="32"/>
                  </a:cxn>
                  <a:cxn ang="0">
                    <a:pos x="10" y="22"/>
                  </a:cxn>
                  <a:cxn ang="0">
                    <a:pos x="10" y="22"/>
                  </a:cxn>
                  <a:cxn ang="0">
                    <a:pos x="14" y="24"/>
                  </a:cxn>
                  <a:cxn ang="0">
                    <a:pos x="16" y="28"/>
                  </a:cxn>
                  <a:cxn ang="0">
                    <a:pos x="18" y="36"/>
                  </a:cxn>
                  <a:cxn ang="0">
                    <a:pos x="24" y="40"/>
                  </a:cxn>
                  <a:cxn ang="0">
                    <a:pos x="20" y="40"/>
                  </a:cxn>
                  <a:cxn ang="0">
                    <a:pos x="20" y="44"/>
                  </a:cxn>
                  <a:cxn ang="0">
                    <a:pos x="20" y="44"/>
                  </a:cxn>
                  <a:cxn ang="0">
                    <a:pos x="26" y="48"/>
                  </a:cxn>
                  <a:cxn ang="0">
                    <a:pos x="28" y="52"/>
                  </a:cxn>
                  <a:cxn ang="0">
                    <a:pos x="30" y="54"/>
                  </a:cxn>
                  <a:cxn ang="0">
                    <a:pos x="40" y="56"/>
                  </a:cxn>
                  <a:cxn ang="0">
                    <a:pos x="48" y="64"/>
                  </a:cxn>
                  <a:cxn ang="0">
                    <a:pos x="50" y="62"/>
                  </a:cxn>
                  <a:cxn ang="0">
                    <a:pos x="44" y="58"/>
                  </a:cxn>
                  <a:cxn ang="0">
                    <a:pos x="44" y="54"/>
                  </a:cxn>
                  <a:cxn ang="0">
                    <a:pos x="32" y="40"/>
                  </a:cxn>
                  <a:cxn ang="0">
                    <a:pos x="32" y="40"/>
                  </a:cxn>
                  <a:cxn ang="0">
                    <a:pos x="30" y="32"/>
                  </a:cxn>
                  <a:cxn ang="0">
                    <a:pos x="28" y="24"/>
                  </a:cxn>
                  <a:cxn ang="0">
                    <a:pos x="30" y="22"/>
                  </a:cxn>
                  <a:cxn ang="0">
                    <a:pos x="34" y="26"/>
                  </a:cxn>
                  <a:cxn ang="0">
                    <a:pos x="42" y="22"/>
                  </a:cxn>
                  <a:cxn ang="0">
                    <a:pos x="42" y="22"/>
                  </a:cxn>
                  <a:cxn ang="0">
                    <a:pos x="52" y="26"/>
                  </a:cxn>
                  <a:cxn ang="0">
                    <a:pos x="58" y="26"/>
                  </a:cxn>
                  <a:cxn ang="0">
                    <a:pos x="62" y="26"/>
                  </a:cxn>
                  <a:cxn ang="0">
                    <a:pos x="64" y="30"/>
                  </a:cxn>
                  <a:cxn ang="0">
                    <a:pos x="68" y="28"/>
                  </a:cxn>
                  <a:cxn ang="0">
                    <a:pos x="68" y="22"/>
                  </a:cxn>
                  <a:cxn ang="0">
                    <a:pos x="66" y="20"/>
                  </a:cxn>
                  <a:cxn ang="0">
                    <a:pos x="66" y="18"/>
                  </a:cxn>
                  <a:cxn ang="0">
                    <a:pos x="62" y="12"/>
                  </a:cxn>
                </a:cxnLst>
                <a:rect l="0" t="0" r="r" b="b"/>
                <a:pathLst>
                  <a:path w="68" h="64">
                    <a:moveTo>
                      <a:pt x="62" y="12"/>
                    </a:moveTo>
                    <a:lnTo>
                      <a:pt x="54" y="14"/>
                    </a:lnTo>
                    <a:lnTo>
                      <a:pt x="38" y="0"/>
                    </a:lnTo>
                    <a:lnTo>
                      <a:pt x="38" y="0"/>
                    </a:lnTo>
                    <a:lnTo>
                      <a:pt x="26" y="6"/>
                    </a:lnTo>
                    <a:lnTo>
                      <a:pt x="24" y="8"/>
                    </a:lnTo>
                    <a:lnTo>
                      <a:pt x="26" y="12"/>
                    </a:lnTo>
                    <a:lnTo>
                      <a:pt x="20" y="16"/>
                    </a:lnTo>
                    <a:lnTo>
                      <a:pt x="22" y="22"/>
                    </a:lnTo>
                    <a:lnTo>
                      <a:pt x="12" y="16"/>
                    </a:lnTo>
                    <a:lnTo>
                      <a:pt x="10" y="20"/>
                    </a:lnTo>
                    <a:lnTo>
                      <a:pt x="0" y="20"/>
                    </a:lnTo>
                    <a:lnTo>
                      <a:pt x="0" y="20"/>
                    </a:lnTo>
                    <a:lnTo>
                      <a:pt x="2" y="26"/>
                    </a:lnTo>
                    <a:lnTo>
                      <a:pt x="4" y="30"/>
                    </a:lnTo>
                    <a:lnTo>
                      <a:pt x="6" y="32"/>
                    </a:lnTo>
                    <a:lnTo>
                      <a:pt x="10" y="22"/>
                    </a:lnTo>
                    <a:lnTo>
                      <a:pt x="10" y="22"/>
                    </a:lnTo>
                    <a:lnTo>
                      <a:pt x="14" y="24"/>
                    </a:lnTo>
                    <a:lnTo>
                      <a:pt x="16" y="28"/>
                    </a:lnTo>
                    <a:lnTo>
                      <a:pt x="18" y="36"/>
                    </a:lnTo>
                    <a:lnTo>
                      <a:pt x="24" y="40"/>
                    </a:lnTo>
                    <a:lnTo>
                      <a:pt x="20" y="40"/>
                    </a:lnTo>
                    <a:lnTo>
                      <a:pt x="20" y="44"/>
                    </a:lnTo>
                    <a:lnTo>
                      <a:pt x="20" y="44"/>
                    </a:lnTo>
                    <a:lnTo>
                      <a:pt x="26" y="48"/>
                    </a:lnTo>
                    <a:lnTo>
                      <a:pt x="28" y="52"/>
                    </a:lnTo>
                    <a:lnTo>
                      <a:pt x="30" y="54"/>
                    </a:lnTo>
                    <a:lnTo>
                      <a:pt x="40" y="56"/>
                    </a:lnTo>
                    <a:lnTo>
                      <a:pt x="48" y="64"/>
                    </a:lnTo>
                    <a:lnTo>
                      <a:pt x="50" y="62"/>
                    </a:lnTo>
                    <a:lnTo>
                      <a:pt x="44" y="58"/>
                    </a:lnTo>
                    <a:lnTo>
                      <a:pt x="44" y="54"/>
                    </a:lnTo>
                    <a:lnTo>
                      <a:pt x="32" y="40"/>
                    </a:lnTo>
                    <a:lnTo>
                      <a:pt x="32" y="40"/>
                    </a:lnTo>
                    <a:lnTo>
                      <a:pt x="30" y="32"/>
                    </a:lnTo>
                    <a:lnTo>
                      <a:pt x="28" y="24"/>
                    </a:lnTo>
                    <a:lnTo>
                      <a:pt x="30" y="22"/>
                    </a:lnTo>
                    <a:lnTo>
                      <a:pt x="34" y="26"/>
                    </a:lnTo>
                    <a:lnTo>
                      <a:pt x="42" y="22"/>
                    </a:lnTo>
                    <a:lnTo>
                      <a:pt x="42" y="22"/>
                    </a:lnTo>
                    <a:lnTo>
                      <a:pt x="52" y="26"/>
                    </a:lnTo>
                    <a:lnTo>
                      <a:pt x="58" y="26"/>
                    </a:lnTo>
                    <a:lnTo>
                      <a:pt x="62" y="26"/>
                    </a:lnTo>
                    <a:lnTo>
                      <a:pt x="64" y="30"/>
                    </a:lnTo>
                    <a:lnTo>
                      <a:pt x="68" y="28"/>
                    </a:lnTo>
                    <a:lnTo>
                      <a:pt x="68" y="22"/>
                    </a:lnTo>
                    <a:lnTo>
                      <a:pt x="66" y="20"/>
                    </a:lnTo>
                    <a:lnTo>
                      <a:pt x="66" y="18"/>
                    </a:lnTo>
                    <a:lnTo>
                      <a:pt x="62"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0" name="Freeform 1348">
                <a:extLst>
                  <a:ext uri="{FF2B5EF4-FFF2-40B4-BE49-F238E27FC236}">
                    <a16:creationId xmlns:a16="http://schemas.microsoft.com/office/drawing/2014/main" id="{68DD12D8-AB4F-41DD-A75E-4C9AF3926B65}"/>
                  </a:ext>
                </a:extLst>
              </p:cNvPr>
              <p:cNvSpPr>
                <a:spLocks/>
              </p:cNvSpPr>
              <p:nvPr/>
            </p:nvSpPr>
            <p:spPr bwMode="auto">
              <a:xfrm>
                <a:off x="3149" y="2086"/>
                <a:ext cx="118" cy="118"/>
              </a:xfrm>
              <a:custGeom>
                <a:avLst/>
                <a:gdLst/>
                <a:ahLst/>
                <a:cxnLst>
                  <a:cxn ang="0">
                    <a:pos x="0" y="24"/>
                  </a:cxn>
                  <a:cxn ang="0">
                    <a:pos x="2" y="34"/>
                  </a:cxn>
                  <a:cxn ang="0">
                    <a:pos x="2" y="46"/>
                  </a:cxn>
                  <a:cxn ang="0">
                    <a:pos x="4" y="60"/>
                  </a:cxn>
                  <a:cxn ang="0">
                    <a:pos x="6" y="84"/>
                  </a:cxn>
                  <a:cxn ang="0">
                    <a:pos x="12" y="82"/>
                  </a:cxn>
                  <a:cxn ang="0">
                    <a:pos x="18" y="84"/>
                  </a:cxn>
                  <a:cxn ang="0">
                    <a:pos x="24" y="92"/>
                  </a:cxn>
                  <a:cxn ang="0">
                    <a:pos x="32" y="94"/>
                  </a:cxn>
                  <a:cxn ang="0">
                    <a:pos x="42" y="96"/>
                  </a:cxn>
                  <a:cxn ang="0">
                    <a:pos x="58" y="112"/>
                  </a:cxn>
                  <a:cxn ang="0">
                    <a:pos x="68" y="116"/>
                  </a:cxn>
                  <a:cxn ang="0">
                    <a:pos x="78" y="116"/>
                  </a:cxn>
                  <a:cxn ang="0">
                    <a:pos x="98" y="118"/>
                  </a:cxn>
                  <a:cxn ang="0">
                    <a:pos x="102" y="118"/>
                  </a:cxn>
                  <a:cxn ang="0">
                    <a:pos x="106" y="104"/>
                  </a:cxn>
                  <a:cxn ang="0">
                    <a:pos x="118" y="92"/>
                  </a:cxn>
                  <a:cxn ang="0">
                    <a:pos x="118" y="82"/>
                  </a:cxn>
                  <a:cxn ang="0">
                    <a:pos x="112" y="72"/>
                  </a:cxn>
                  <a:cxn ang="0">
                    <a:pos x="112" y="60"/>
                  </a:cxn>
                  <a:cxn ang="0">
                    <a:pos x="116" y="46"/>
                  </a:cxn>
                  <a:cxn ang="0">
                    <a:pos x="116" y="38"/>
                  </a:cxn>
                  <a:cxn ang="0">
                    <a:pos x="110" y="14"/>
                  </a:cxn>
                  <a:cxn ang="0">
                    <a:pos x="102" y="10"/>
                  </a:cxn>
                  <a:cxn ang="0">
                    <a:pos x="84" y="12"/>
                  </a:cxn>
                  <a:cxn ang="0">
                    <a:pos x="64" y="8"/>
                  </a:cxn>
                  <a:cxn ang="0">
                    <a:pos x="52" y="4"/>
                  </a:cxn>
                  <a:cxn ang="0">
                    <a:pos x="54" y="2"/>
                  </a:cxn>
                  <a:cxn ang="0">
                    <a:pos x="48" y="0"/>
                  </a:cxn>
                  <a:cxn ang="0">
                    <a:pos x="36" y="2"/>
                  </a:cxn>
                  <a:cxn ang="0">
                    <a:pos x="22" y="12"/>
                  </a:cxn>
                  <a:cxn ang="0">
                    <a:pos x="2" y="20"/>
                  </a:cxn>
                  <a:cxn ang="0">
                    <a:pos x="4" y="22"/>
                  </a:cxn>
                  <a:cxn ang="0">
                    <a:pos x="0" y="24"/>
                  </a:cxn>
                </a:cxnLst>
                <a:rect l="0" t="0" r="r" b="b"/>
                <a:pathLst>
                  <a:path w="118" h="118">
                    <a:moveTo>
                      <a:pt x="0" y="24"/>
                    </a:moveTo>
                    <a:lnTo>
                      <a:pt x="0" y="24"/>
                    </a:lnTo>
                    <a:lnTo>
                      <a:pt x="2" y="28"/>
                    </a:lnTo>
                    <a:lnTo>
                      <a:pt x="2" y="34"/>
                    </a:lnTo>
                    <a:lnTo>
                      <a:pt x="0" y="44"/>
                    </a:lnTo>
                    <a:lnTo>
                      <a:pt x="2" y="46"/>
                    </a:lnTo>
                    <a:lnTo>
                      <a:pt x="2" y="46"/>
                    </a:lnTo>
                    <a:lnTo>
                      <a:pt x="4" y="60"/>
                    </a:lnTo>
                    <a:lnTo>
                      <a:pt x="8" y="74"/>
                    </a:lnTo>
                    <a:lnTo>
                      <a:pt x="6" y="84"/>
                    </a:lnTo>
                    <a:lnTo>
                      <a:pt x="8" y="86"/>
                    </a:lnTo>
                    <a:lnTo>
                      <a:pt x="12" y="82"/>
                    </a:lnTo>
                    <a:lnTo>
                      <a:pt x="12" y="82"/>
                    </a:lnTo>
                    <a:lnTo>
                      <a:pt x="18" y="84"/>
                    </a:lnTo>
                    <a:lnTo>
                      <a:pt x="26" y="90"/>
                    </a:lnTo>
                    <a:lnTo>
                      <a:pt x="24" y="92"/>
                    </a:lnTo>
                    <a:lnTo>
                      <a:pt x="30" y="98"/>
                    </a:lnTo>
                    <a:lnTo>
                      <a:pt x="32" y="94"/>
                    </a:lnTo>
                    <a:lnTo>
                      <a:pt x="42" y="96"/>
                    </a:lnTo>
                    <a:lnTo>
                      <a:pt x="42" y="96"/>
                    </a:lnTo>
                    <a:lnTo>
                      <a:pt x="50" y="106"/>
                    </a:lnTo>
                    <a:lnTo>
                      <a:pt x="58" y="112"/>
                    </a:lnTo>
                    <a:lnTo>
                      <a:pt x="62" y="110"/>
                    </a:lnTo>
                    <a:lnTo>
                      <a:pt x="68" y="116"/>
                    </a:lnTo>
                    <a:lnTo>
                      <a:pt x="68" y="116"/>
                    </a:lnTo>
                    <a:lnTo>
                      <a:pt x="78" y="116"/>
                    </a:lnTo>
                    <a:lnTo>
                      <a:pt x="88" y="112"/>
                    </a:lnTo>
                    <a:lnTo>
                      <a:pt x="98" y="118"/>
                    </a:lnTo>
                    <a:lnTo>
                      <a:pt x="102" y="118"/>
                    </a:lnTo>
                    <a:lnTo>
                      <a:pt x="102" y="118"/>
                    </a:lnTo>
                    <a:lnTo>
                      <a:pt x="102" y="112"/>
                    </a:lnTo>
                    <a:lnTo>
                      <a:pt x="106" y="104"/>
                    </a:lnTo>
                    <a:lnTo>
                      <a:pt x="112" y="98"/>
                    </a:lnTo>
                    <a:lnTo>
                      <a:pt x="118" y="92"/>
                    </a:lnTo>
                    <a:lnTo>
                      <a:pt x="118" y="82"/>
                    </a:lnTo>
                    <a:lnTo>
                      <a:pt x="118" y="82"/>
                    </a:lnTo>
                    <a:lnTo>
                      <a:pt x="114" y="78"/>
                    </a:lnTo>
                    <a:lnTo>
                      <a:pt x="112" y="72"/>
                    </a:lnTo>
                    <a:lnTo>
                      <a:pt x="112" y="66"/>
                    </a:lnTo>
                    <a:lnTo>
                      <a:pt x="112" y="60"/>
                    </a:lnTo>
                    <a:lnTo>
                      <a:pt x="108" y="54"/>
                    </a:lnTo>
                    <a:lnTo>
                      <a:pt x="116" y="46"/>
                    </a:lnTo>
                    <a:lnTo>
                      <a:pt x="116" y="46"/>
                    </a:lnTo>
                    <a:lnTo>
                      <a:pt x="116" y="38"/>
                    </a:lnTo>
                    <a:lnTo>
                      <a:pt x="114" y="30"/>
                    </a:lnTo>
                    <a:lnTo>
                      <a:pt x="110" y="14"/>
                    </a:lnTo>
                    <a:lnTo>
                      <a:pt x="102" y="10"/>
                    </a:lnTo>
                    <a:lnTo>
                      <a:pt x="102" y="10"/>
                    </a:lnTo>
                    <a:lnTo>
                      <a:pt x="94" y="10"/>
                    </a:lnTo>
                    <a:lnTo>
                      <a:pt x="84" y="12"/>
                    </a:lnTo>
                    <a:lnTo>
                      <a:pt x="74" y="10"/>
                    </a:lnTo>
                    <a:lnTo>
                      <a:pt x="64" y="8"/>
                    </a:lnTo>
                    <a:lnTo>
                      <a:pt x="56" y="12"/>
                    </a:lnTo>
                    <a:lnTo>
                      <a:pt x="52" y="4"/>
                    </a:lnTo>
                    <a:lnTo>
                      <a:pt x="54" y="4"/>
                    </a:lnTo>
                    <a:lnTo>
                      <a:pt x="54" y="2"/>
                    </a:lnTo>
                    <a:lnTo>
                      <a:pt x="54" y="2"/>
                    </a:lnTo>
                    <a:lnTo>
                      <a:pt x="48" y="0"/>
                    </a:lnTo>
                    <a:lnTo>
                      <a:pt x="44" y="0"/>
                    </a:lnTo>
                    <a:lnTo>
                      <a:pt x="36" y="2"/>
                    </a:lnTo>
                    <a:lnTo>
                      <a:pt x="22" y="12"/>
                    </a:lnTo>
                    <a:lnTo>
                      <a:pt x="22" y="12"/>
                    </a:lnTo>
                    <a:lnTo>
                      <a:pt x="2" y="20"/>
                    </a:lnTo>
                    <a:lnTo>
                      <a:pt x="2" y="20"/>
                    </a:lnTo>
                    <a:lnTo>
                      <a:pt x="0" y="22"/>
                    </a:lnTo>
                    <a:lnTo>
                      <a:pt x="4" y="22"/>
                    </a:lnTo>
                    <a:lnTo>
                      <a:pt x="4" y="26"/>
                    </a:lnTo>
                    <a:lnTo>
                      <a:pt x="0" y="2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1" name="Freeform 1349">
                <a:extLst>
                  <a:ext uri="{FF2B5EF4-FFF2-40B4-BE49-F238E27FC236}">
                    <a16:creationId xmlns:a16="http://schemas.microsoft.com/office/drawing/2014/main" id="{E3C8E8D3-A1BF-4E41-A064-C2303D02B3E4}"/>
                  </a:ext>
                </a:extLst>
              </p:cNvPr>
              <p:cNvSpPr>
                <a:spLocks/>
              </p:cNvSpPr>
              <p:nvPr/>
            </p:nvSpPr>
            <p:spPr bwMode="auto">
              <a:xfrm>
                <a:off x="2870" y="2306"/>
                <a:ext cx="150" cy="126"/>
              </a:xfrm>
              <a:custGeom>
                <a:avLst/>
                <a:gdLst/>
                <a:ahLst/>
                <a:cxnLst>
                  <a:cxn ang="0">
                    <a:pos x="20" y="102"/>
                  </a:cxn>
                  <a:cxn ang="0">
                    <a:pos x="24" y="88"/>
                  </a:cxn>
                  <a:cxn ang="0">
                    <a:pos x="22" y="70"/>
                  </a:cxn>
                  <a:cxn ang="0">
                    <a:pos x="28" y="64"/>
                  </a:cxn>
                  <a:cxn ang="0">
                    <a:pos x="28" y="56"/>
                  </a:cxn>
                  <a:cxn ang="0">
                    <a:pos x="30" y="46"/>
                  </a:cxn>
                  <a:cxn ang="0">
                    <a:pos x="36" y="36"/>
                  </a:cxn>
                  <a:cxn ang="0">
                    <a:pos x="14" y="32"/>
                  </a:cxn>
                  <a:cxn ang="0">
                    <a:pos x="6" y="30"/>
                  </a:cxn>
                  <a:cxn ang="0">
                    <a:pos x="4" y="30"/>
                  </a:cxn>
                  <a:cxn ang="0">
                    <a:pos x="4" y="24"/>
                  </a:cxn>
                  <a:cxn ang="0">
                    <a:pos x="0" y="12"/>
                  </a:cxn>
                  <a:cxn ang="0">
                    <a:pos x="2" y="8"/>
                  </a:cxn>
                  <a:cxn ang="0">
                    <a:pos x="18" y="0"/>
                  </a:cxn>
                  <a:cxn ang="0">
                    <a:pos x="24" y="2"/>
                  </a:cxn>
                  <a:cxn ang="0">
                    <a:pos x="60" y="2"/>
                  </a:cxn>
                  <a:cxn ang="0">
                    <a:pos x="84" y="6"/>
                  </a:cxn>
                  <a:cxn ang="0">
                    <a:pos x="102" y="16"/>
                  </a:cxn>
                  <a:cxn ang="0">
                    <a:pos x="110" y="16"/>
                  </a:cxn>
                  <a:cxn ang="0">
                    <a:pos x="126" y="20"/>
                  </a:cxn>
                  <a:cxn ang="0">
                    <a:pos x="148" y="22"/>
                  </a:cxn>
                  <a:cxn ang="0">
                    <a:pos x="148" y="30"/>
                  </a:cxn>
                  <a:cxn ang="0">
                    <a:pos x="134" y="42"/>
                  </a:cxn>
                  <a:cxn ang="0">
                    <a:pos x="106" y="74"/>
                  </a:cxn>
                  <a:cxn ang="0">
                    <a:pos x="112" y="84"/>
                  </a:cxn>
                  <a:cxn ang="0">
                    <a:pos x="110" y="88"/>
                  </a:cxn>
                  <a:cxn ang="0">
                    <a:pos x="102" y="96"/>
                  </a:cxn>
                  <a:cxn ang="0">
                    <a:pos x="94" y="104"/>
                  </a:cxn>
                  <a:cxn ang="0">
                    <a:pos x="90" y="108"/>
                  </a:cxn>
                  <a:cxn ang="0">
                    <a:pos x="58" y="116"/>
                  </a:cxn>
                  <a:cxn ang="0">
                    <a:pos x="50" y="122"/>
                  </a:cxn>
                  <a:cxn ang="0">
                    <a:pos x="38" y="124"/>
                  </a:cxn>
                  <a:cxn ang="0">
                    <a:pos x="36" y="118"/>
                  </a:cxn>
                  <a:cxn ang="0">
                    <a:pos x="28" y="108"/>
                  </a:cxn>
                  <a:cxn ang="0">
                    <a:pos x="22" y="108"/>
                  </a:cxn>
                </a:cxnLst>
                <a:rect l="0" t="0" r="r" b="b"/>
                <a:pathLst>
                  <a:path w="150" h="126">
                    <a:moveTo>
                      <a:pt x="22" y="108"/>
                    </a:moveTo>
                    <a:lnTo>
                      <a:pt x="20" y="102"/>
                    </a:lnTo>
                    <a:lnTo>
                      <a:pt x="28" y="96"/>
                    </a:lnTo>
                    <a:lnTo>
                      <a:pt x="24" y="88"/>
                    </a:lnTo>
                    <a:lnTo>
                      <a:pt x="26" y="78"/>
                    </a:lnTo>
                    <a:lnTo>
                      <a:pt x="22" y="70"/>
                    </a:lnTo>
                    <a:lnTo>
                      <a:pt x="28" y="64"/>
                    </a:lnTo>
                    <a:lnTo>
                      <a:pt x="28" y="64"/>
                    </a:lnTo>
                    <a:lnTo>
                      <a:pt x="28" y="60"/>
                    </a:lnTo>
                    <a:lnTo>
                      <a:pt x="28" y="56"/>
                    </a:lnTo>
                    <a:lnTo>
                      <a:pt x="30" y="46"/>
                    </a:lnTo>
                    <a:lnTo>
                      <a:pt x="30" y="46"/>
                    </a:lnTo>
                    <a:lnTo>
                      <a:pt x="34" y="42"/>
                    </a:lnTo>
                    <a:lnTo>
                      <a:pt x="36" y="36"/>
                    </a:lnTo>
                    <a:lnTo>
                      <a:pt x="32" y="32"/>
                    </a:lnTo>
                    <a:lnTo>
                      <a:pt x="14" y="32"/>
                    </a:lnTo>
                    <a:lnTo>
                      <a:pt x="14" y="28"/>
                    </a:lnTo>
                    <a:lnTo>
                      <a:pt x="6" y="30"/>
                    </a:lnTo>
                    <a:lnTo>
                      <a:pt x="4" y="32"/>
                    </a:lnTo>
                    <a:lnTo>
                      <a:pt x="4" y="30"/>
                    </a:lnTo>
                    <a:lnTo>
                      <a:pt x="6" y="24"/>
                    </a:lnTo>
                    <a:lnTo>
                      <a:pt x="4" y="24"/>
                    </a:lnTo>
                    <a:lnTo>
                      <a:pt x="2" y="16"/>
                    </a:lnTo>
                    <a:lnTo>
                      <a:pt x="0" y="12"/>
                    </a:lnTo>
                    <a:lnTo>
                      <a:pt x="0" y="12"/>
                    </a:lnTo>
                    <a:lnTo>
                      <a:pt x="2" y="8"/>
                    </a:lnTo>
                    <a:lnTo>
                      <a:pt x="8" y="4"/>
                    </a:lnTo>
                    <a:lnTo>
                      <a:pt x="18" y="0"/>
                    </a:lnTo>
                    <a:lnTo>
                      <a:pt x="18" y="0"/>
                    </a:lnTo>
                    <a:lnTo>
                      <a:pt x="24" y="2"/>
                    </a:lnTo>
                    <a:lnTo>
                      <a:pt x="34" y="2"/>
                    </a:lnTo>
                    <a:lnTo>
                      <a:pt x="60" y="2"/>
                    </a:lnTo>
                    <a:lnTo>
                      <a:pt x="74" y="4"/>
                    </a:lnTo>
                    <a:lnTo>
                      <a:pt x="84" y="6"/>
                    </a:lnTo>
                    <a:lnTo>
                      <a:pt x="94" y="10"/>
                    </a:lnTo>
                    <a:lnTo>
                      <a:pt x="102" y="16"/>
                    </a:lnTo>
                    <a:lnTo>
                      <a:pt x="102" y="16"/>
                    </a:lnTo>
                    <a:lnTo>
                      <a:pt x="110" y="16"/>
                    </a:lnTo>
                    <a:lnTo>
                      <a:pt x="118" y="16"/>
                    </a:lnTo>
                    <a:lnTo>
                      <a:pt x="126" y="20"/>
                    </a:lnTo>
                    <a:lnTo>
                      <a:pt x="134" y="24"/>
                    </a:lnTo>
                    <a:lnTo>
                      <a:pt x="148" y="22"/>
                    </a:lnTo>
                    <a:lnTo>
                      <a:pt x="150" y="24"/>
                    </a:lnTo>
                    <a:lnTo>
                      <a:pt x="148" y="30"/>
                    </a:lnTo>
                    <a:lnTo>
                      <a:pt x="148" y="30"/>
                    </a:lnTo>
                    <a:lnTo>
                      <a:pt x="134" y="42"/>
                    </a:lnTo>
                    <a:lnTo>
                      <a:pt x="120" y="50"/>
                    </a:lnTo>
                    <a:lnTo>
                      <a:pt x="106" y="74"/>
                    </a:lnTo>
                    <a:lnTo>
                      <a:pt x="108" y="80"/>
                    </a:lnTo>
                    <a:lnTo>
                      <a:pt x="112" y="84"/>
                    </a:lnTo>
                    <a:lnTo>
                      <a:pt x="112" y="84"/>
                    </a:lnTo>
                    <a:lnTo>
                      <a:pt x="110" y="88"/>
                    </a:lnTo>
                    <a:lnTo>
                      <a:pt x="106" y="92"/>
                    </a:lnTo>
                    <a:lnTo>
                      <a:pt x="102" y="96"/>
                    </a:lnTo>
                    <a:lnTo>
                      <a:pt x="102" y="102"/>
                    </a:lnTo>
                    <a:lnTo>
                      <a:pt x="94" y="104"/>
                    </a:lnTo>
                    <a:lnTo>
                      <a:pt x="94" y="104"/>
                    </a:lnTo>
                    <a:lnTo>
                      <a:pt x="90" y="108"/>
                    </a:lnTo>
                    <a:lnTo>
                      <a:pt x="86" y="116"/>
                    </a:lnTo>
                    <a:lnTo>
                      <a:pt x="58" y="116"/>
                    </a:lnTo>
                    <a:lnTo>
                      <a:pt x="56" y="120"/>
                    </a:lnTo>
                    <a:lnTo>
                      <a:pt x="50" y="122"/>
                    </a:lnTo>
                    <a:lnTo>
                      <a:pt x="44" y="126"/>
                    </a:lnTo>
                    <a:lnTo>
                      <a:pt x="38" y="124"/>
                    </a:lnTo>
                    <a:lnTo>
                      <a:pt x="38" y="124"/>
                    </a:lnTo>
                    <a:lnTo>
                      <a:pt x="36" y="118"/>
                    </a:lnTo>
                    <a:lnTo>
                      <a:pt x="32" y="112"/>
                    </a:lnTo>
                    <a:lnTo>
                      <a:pt x="28" y="108"/>
                    </a:lnTo>
                    <a:lnTo>
                      <a:pt x="22" y="108"/>
                    </a:lnTo>
                    <a:lnTo>
                      <a:pt x="22" y="10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2" name="Freeform 1350">
                <a:extLst>
                  <a:ext uri="{FF2B5EF4-FFF2-40B4-BE49-F238E27FC236}">
                    <a16:creationId xmlns:a16="http://schemas.microsoft.com/office/drawing/2014/main" id="{E3DDA4B5-4F80-4042-97D5-ACC4B9F72AE6}"/>
                  </a:ext>
                </a:extLst>
              </p:cNvPr>
              <p:cNvSpPr>
                <a:spLocks/>
              </p:cNvSpPr>
              <p:nvPr/>
            </p:nvSpPr>
            <p:spPr bwMode="auto">
              <a:xfrm>
                <a:off x="2922" y="2166"/>
                <a:ext cx="152" cy="164"/>
              </a:xfrm>
              <a:custGeom>
                <a:avLst/>
                <a:gdLst/>
                <a:ahLst/>
                <a:cxnLst>
                  <a:cxn ang="0">
                    <a:pos x="78" y="4"/>
                  </a:cxn>
                  <a:cxn ang="0">
                    <a:pos x="78" y="10"/>
                  </a:cxn>
                  <a:cxn ang="0">
                    <a:pos x="78" y="18"/>
                  </a:cxn>
                  <a:cxn ang="0">
                    <a:pos x="62" y="28"/>
                  </a:cxn>
                  <a:cxn ang="0">
                    <a:pos x="64" y="34"/>
                  </a:cxn>
                  <a:cxn ang="0">
                    <a:pos x="54" y="36"/>
                  </a:cxn>
                  <a:cxn ang="0">
                    <a:pos x="42" y="30"/>
                  </a:cxn>
                  <a:cxn ang="0">
                    <a:pos x="36" y="28"/>
                  </a:cxn>
                  <a:cxn ang="0">
                    <a:pos x="42" y="48"/>
                  </a:cxn>
                  <a:cxn ang="0">
                    <a:pos x="40" y="50"/>
                  </a:cxn>
                  <a:cxn ang="0">
                    <a:pos x="34" y="48"/>
                  </a:cxn>
                  <a:cxn ang="0">
                    <a:pos x="22" y="46"/>
                  </a:cxn>
                  <a:cxn ang="0">
                    <a:pos x="16" y="46"/>
                  </a:cxn>
                  <a:cxn ang="0">
                    <a:pos x="0" y="54"/>
                  </a:cxn>
                  <a:cxn ang="0">
                    <a:pos x="2" y="60"/>
                  </a:cxn>
                  <a:cxn ang="0">
                    <a:pos x="6" y="64"/>
                  </a:cxn>
                  <a:cxn ang="0">
                    <a:pos x="28" y="70"/>
                  </a:cxn>
                  <a:cxn ang="0">
                    <a:pos x="38" y="76"/>
                  </a:cxn>
                  <a:cxn ang="0">
                    <a:pos x="32" y="76"/>
                  </a:cxn>
                  <a:cxn ang="0">
                    <a:pos x="36" y="88"/>
                  </a:cxn>
                  <a:cxn ang="0">
                    <a:pos x="46" y="100"/>
                  </a:cxn>
                  <a:cxn ang="0">
                    <a:pos x="50" y="108"/>
                  </a:cxn>
                  <a:cxn ang="0">
                    <a:pos x="46" y="110"/>
                  </a:cxn>
                  <a:cxn ang="0">
                    <a:pos x="46" y="122"/>
                  </a:cxn>
                  <a:cxn ang="0">
                    <a:pos x="36" y="146"/>
                  </a:cxn>
                  <a:cxn ang="0">
                    <a:pos x="50" y="156"/>
                  </a:cxn>
                  <a:cxn ang="0">
                    <a:pos x="66" y="156"/>
                  </a:cxn>
                  <a:cxn ang="0">
                    <a:pos x="82" y="164"/>
                  </a:cxn>
                  <a:cxn ang="0">
                    <a:pos x="96" y="162"/>
                  </a:cxn>
                  <a:cxn ang="0">
                    <a:pos x="96" y="148"/>
                  </a:cxn>
                  <a:cxn ang="0">
                    <a:pos x="106" y="142"/>
                  </a:cxn>
                  <a:cxn ang="0">
                    <a:pos x="118" y="146"/>
                  </a:cxn>
                  <a:cxn ang="0">
                    <a:pos x="130" y="150"/>
                  </a:cxn>
                  <a:cxn ang="0">
                    <a:pos x="136" y="148"/>
                  </a:cxn>
                  <a:cxn ang="0">
                    <a:pos x="142" y="140"/>
                  </a:cxn>
                  <a:cxn ang="0">
                    <a:pos x="146" y="132"/>
                  </a:cxn>
                  <a:cxn ang="0">
                    <a:pos x="142" y="130"/>
                  </a:cxn>
                  <a:cxn ang="0">
                    <a:pos x="140" y="120"/>
                  </a:cxn>
                  <a:cxn ang="0">
                    <a:pos x="138" y="114"/>
                  </a:cxn>
                  <a:cxn ang="0">
                    <a:pos x="138" y="102"/>
                  </a:cxn>
                  <a:cxn ang="0">
                    <a:pos x="140" y="98"/>
                  </a:cxn>
                  <a:cxn ang="0">
                    <a:pos x="138" y="90"/>
                  </a:cxn>
                  <a:cxn ang="0">
                    <a:pos x="128" y="96"/>
                  </a:cxn>
                  <a:cxn ang="0">
                    <a:pos x="140" y="70"/>
                  </a:cxn>
                  <a:cxn ang="0">
                    <a:pos x="146" y="68"/>
                  </a:cxn>
                  <a:cxn ang="0">
                    <a:pos x="150" y="48"/>
                  </a:cxn>
                  <a:cxn ang="0">
                    <a:pos x="136" y="38"/>
                  </a:cxn>
                  <a:cxn ang="0">
                    <a:pos x="132" y="30"/>
                  </a:cxn>
                  <a:cxn ang="0">
                    <a:pos x="116" y="26"/>
                  </a:cxn>
                  <a:cxn ang="0">
                    <a:pos x="112" y="22"/>
                  </a:cxn>
                  <a:cxn ang="0">
                    <a:pos x="106" y="14"/>
                  </a:cxn>
                  <a:cxn ang="0">
                    <a:pos x="96" y="6"/>
                  </a:cxn>
                  <a:cxn ang="0">
                    <a:pos x="90" y="0"/>
                  </a:cxn>
                </a:cxnLst>
                <a:rect l="0" t="0" r="r" b="b"/>
                <a:pathLst>
                  <a:path w="152" h="164">
                    <a:moveTo>
                      <a:pt x="90" y="0"/>
                    </a:moveTo>
                    <a:lnTo>
                      <a:pt x="78" y="4"/>
                    </a:lnTo>
                    <a:lnTo>
                      <a:pt x="78" y="4"/>
                    </a:lnTo>
                    <a:lnTo>
                      <a:pt x="78" y="10"/>
                    </a:lnTo>
                    <a:lnTo>
                      <a:pt x="78" y="18"/>
                    </a:lnTo>
                    <a:lnTo>
                      <a:pt x="78" y="18"/>
                    </a:lnTo>
                    <a:lnTo>
                      <a:pt x="70" y="24"/>
                    </a:lnTo>
                    <a:lnTo>
                      <a:pt x="62" y="28"/>
                    </a:lnTo>
                    <a:lnTo>
                      <a:pt x="60" y="32"/>
                    </a:lnTo>
                    <a:lnTo>
                      <a:pt x="64" y="34"/>
                    </a:lnTo>
                    <a:lnTo>
                      <a:pt x="64" y="34"/>
                    </a:lnTo>
                    <a:lnTo>
                      <a:pt x="54" y="36"/>
                    </a:lnTo>
                    <a:lnTo>
                      <a:pt x="46" y="34"/>
                    </a:lnTo>
                    <a:lnTo>
                      <a:pt x="42" y="30"/>
                    </a:lnTo>
                    <a:lnTo>
                      <a:pt x="42" y="28"/>
                    </a:lnTo>
                    <a:lnTo>
                      <a:pt x="36" y="28"/>
                    </a:lnTo>
                    <a:lnTo>
                      <a:pt x="40" y="46"/>
                    </a:lnTo>
                    <a:lnTo>
                      <a:pt x="42" y="48"/>
                    </a:lnTo>
                    <a:lnTo>
                      <a:pt x="40" y="50"/>
                    </a:lnTo>
                    <a:lnTo>
                      <a:pt x="40" y="50"/>
                    </a:lnTo>
                    <a:lnTo>
                      <a:pt x="38" y="48"/>
                    </a:lnTo>
                    <a:lnTo>
                      <a:pt x="34" y="48"/>
                    </a:lnTo>
                    <a:lnTo>
                      <a:pt x="26" y="50"/>
                    </a:lnTo>
                    <a:lnTo>
                      <a:pt x="22" y="46"/>
                    </a:lnTo>
                    <a:lnTo>
                      <a:pt x="16" y="44"/>
                    </a:lnTo>
                    <a:lnTo>
                      <a:pt x="16" y="46"/>
                    </a:lnTo>
                    <a:lnTo>
                      <a:pt x="2" y="52"/>
                    </a:lnTo>
                    <a:lnTo>
                      <a:pt x="0" y="54"/>
                    </a:lnTo>
                    <a:lnTo>
                      <a:pt x="2" y="56"/>
                    </a:lnTo>
                    <a:lnTo>
                      <a:pt x="2" y="60"/>
                    </a:lnTo>
                    <a:lnTo>
                      <a:pt x="6" y="64"/>
                    </a:lnTo>
                    <a:lnTo>
                      <a:pt x="6" y="64"/>
                    </a:lnTo>
                    <a:lnTo>
                      <a:pt x="16" y="68"/>
                    </a:lnTo>
                    <a:lnTo>
                      <a:pt x="28" y="70"/>
                    </a:lnTo>
                    <a:lnTo>
                      <a:pt x="28" y="74"/>
                    </a:lnTo>
                    <a:lnTo>
                      <a:pt x="38" y="76"/>
                    </a:lnTo>
                    <a:lnTo>
                      <a:pt x="32" y="76"/>
                    </a:lnTo>
                    <a:lnTo>
                      <a:pt x="32" y="76"/>
                    </a:lnTo>
                    <a:lnTo>
                      <a:pt x="34" y="82"/>
                    </a:lnTo>
                    <a:lnTo>
                      <a:pt x="36" y="88"/>
                    </a:lnTo>
                    <a:lnTo>
                      <a:pt x="44" y="92"/>
                    </a:lnTo>
                    <a:lnTo>
                      <a:pt x="46" y="100"/>
                    </a:lnTo>
                    <a:lnTo>
                      <a:pt x="44" y="102"/>
                    </a:lnTo>
                    <a:lnTo>
                      <a:pt x="50" y="108"/>
                    </a:lnTo>
                    <a:lnTo>
                      <a:pt x="50" y="116"/>
                    </a:lnTo>
                    <a:lnTo>
                      <a:pt x="46" y="110"/>
                    </a:lnTo>
                    <a:lnTo>
                      <a:pt x="44" y="120"/>
                    </a:lnTo>
                    <a:lnTo>
                      <a:pt x="46" y="122"/>
                    </a:lnTo>
                    <a:lnTo>
                      <a:pt x="40" y="144"/>
                    </a:lnTo>
                    <a:lnTo>
                      <a:pt x="36" y="146"/>
                    </a:lnTo>
                    <a:lnTo>
                      <a:pt x="50" y="156"/>
                    </a:lnTo>
                    <a:lnTo>
                      <a:pt x="50" y="156"/>
                    </a:lnTo>
                    <a:lnTo>
                      <a:pt x="58" y="156"/>
                    </a:lnTo>
                    <a:lnTo>
                      <a:pt x="66" y="156"/>
                    </a:lnTo>
                    <a:lnTo>
                      <a:pt x="74" y="160"/>
                    </a:lnTo>
                    <a:lnTo>
                      <a:pt x="82" y="164"/>
                    </a:lnTo>
                    <a:lnTo>
                      <a:pt x="96" y="162"/>
                    </a:lnTo>
                    <a:lnTo>
                      <a:pt x="96" y="162"/>
                    </a:lnTo>
                    <a:lnTo>
                      <a:pt x="94" y="156"/>
                    </a:lnTo>
                    <a:lnTo>
                      <a:pt x="96" y="148"/>
                    </a:lnTo>
                    <a:lnTo>
                      <a:pt x="106" y="142"/>
                    </a:lnTo>
                    <a:lnTo>
                      <a:pt x="106" y="142"/>
                    </a:lnTo>
                    <a:lnTo>
                      <a:pt x="112" y="146"/>
                    </a:lnTo>
                    <a:lnTo>
                      <a:pt x="118" y="146"/>
                    </a:lnTo>
                    <a:lnTo>
                      <a:pt x="124" y="148"/>
                    </a:lnTo>
                    <a:lnTo>
                      <a:pt x="130" y="150"/>
                    </a:lnTo>
                    <a:lnTo>
                      <a:pt x="130" y="150"/>
                    </a:lnTo>
                    <a:lnTo>
                      <a:pt x="136" y="148"/>
                    </a:lnTo>
                    <a:lnTo>
                      <a:pt x="138" y="144"/>
                    </a:lnTo>
                    <a:lnTo>
                      <a:pt x="142" y="140"/>
                    </a:lnTo>
                    <a:lnTo>
                      <a:pt x="146" y="138"/>
                    </a:lnTo>
                    <a:lnTo>
                      <a:pt x="146" y="132"/>
                    </a:lnTo>
                    <a:lnTo>
                      <a:pt x="142" y="130"/>
                    </a:lnTo>
                    <a:lnTo>
                      <a:pt x="142" y="130"/>
                    </a:lnTo>
                    <a:lnTo>
                      <a:pt x="140" y="126"/>
                    </a:lnTo>
                    <a:lnTo>
                      <a:pt x="140" y="120"/>
                    </a:lnTo>
                    <a:lnTo>
                      <a:pt x="136" y="118"/>
                    </a:lnTo>
                    <a:lnTo>
                      <a:pt x="138" y="114"/>
                    </a:lnTo>
                    <a:lnTo>
                      <a:pt x="140" y="112"/>
                    </a:lnTo>
                    <a:lnTo>
                      <a:pt x="138" y="102"/>
                    </a:lnTo>
                    <a:lnTo>
                      <a:pt x="140" y="100"/>
                    </a:lnTo>
                    <a:lnTo>
                      <a:pt x="140" y="98"/>
                    </a:lnTo>
                    <a:lnTo>
                      <a:pt x="138" y="98"/>
                    </a:lnTo>
                    <a:lnTo>
                      <a:pt x="138" y="90"/>
                    </a:lnTo>
                    <a:lnTo>
                      <a:pt x="132" y="90"/>
                    </a:lnTo>
                    <a:lnTo>
                      <a:pt x="128" y="96"/>
                    </a:lnTo>
                    <a:lnTo>
                      <a:pt x="128" y="90"/>
                    </a:lnTo>
                    <a:lnTo>
                      <a:pt x="140" y="70"/>
                    </a:lnTo>
                    <a:lnTo>
                      <a:pt x="146" y="68"/>
                    </a:lnTo>
                    <a:lnTo>
                      <a:pt x="146" y="68"/>
                    </a:lnTo>
                    <a:lnTo>
                      <a:pt x="148" y="54"/>
                    </a:lnTo>
                    <a:lnTo>
                      <a:pt x="150" y="48"/>
                    </a:lnTo>
                    <a:lnTo>
                      <a:pt x="152" y="42"/>
                    </a:lnTo>
                    <a:lnTo>
                      <a:pt x="136" y="38"/>
                    </a:lnTo>
                    <a:lnTo>
                      <a:pt x="132" y="30"/>
                    </a:lnTo>
                    <a:lnTo>
                      <a:pt x="132" y="30"/>
                    </a:lnTo>
                    <a:lnTo>
                      <a:pt x="120" y="30"/>
                    </a:lnTo>
                    <a:lnTo>
                      <a:pt x="116" y="26"/>
                    </a:lnTo>
                    <a:lnTo>
                      <a:pt x="116" y="18"/>
                    </a:lnTo>
                    <a:lnTo>
                      <a:pt x="112" y="22"/>
                    </a:lnTo>
                    <a:lnTo>
                      <a:pt x="108" y="22"/>
                    </a:lnTo>
                    <a:lnTo>
                      <a:pt x="106" y="14"/>
                    </a:lnTo>
                    <a:lnTo>
                      <a:pt x="98" y="12"/>
                    </a:lnTo>
                    <a:lnTo>
                      <a:pt x="96" y="6"/>
                    </a:lnTo>
                    <a:lnTo>
                      <a:pt x="90" y="6"/>
                    </a:lnTo>
                    <a:lnTo>
                      <a:pt x="9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3" name="Freeform 1351">
                <a:extLst>
                  <a:ext uri="{FF2B5EF4-FFF2-40B4-BE49-F238E27FC236}">
                    <a16:creationId xmlns:a16="http://schemas.microsoft.com/office/drawing/2014/main" id="{0BA4B583-CAAF-47E5-A01E-0DB9EB8A5454}"/>
                  </a:ext>
                </a:extLst>
              </p:cNvPr>
              <p:cNvSpPr>
                <a:spLocks/>
              </p:cNvSpPr>
              <p:nvPr/>
            </p:nvSpPr>
            <p:spPr bwMode="auto">
              <a:xfrm>
                <a:off x="2868" y="2334"/>
                <a:ext cx="38" cy="84"/>
              </a:xfrm>
              <a:custGeom>
                <a:avLst/>
                <a:gdLst/>
                <a:ahLst/>
                <a:cxnLst>
                  <a:cxn ang="0">
                    <a:pos x="6" y="4"/>
                  </a:cxn>
                  <a:cxn ang="0">
                    <a:pos x="8" y="2"/>
                  </a:cxn>
                  <a:cxn ang="0">
                    <a:pos x="16" y="0"/>
                  </a:cxn>
                  <a:cxn ang="0">
                    <a:pos x="16" y="4"/>
                  </a:cxn>
                  <a:cxn ang="0">
                    <a:pos x="34" y="4"/>
                  </a:cxn>
                  <a:cxn ang="0">
                    <a:pos x="38" y="8"/>
                  </a:cxn>
                  <a:cxn ang="0">
                    <a:pos x="38" y="8"/>
                  </a:cxn>
                  <a:cxn ang="0">
                    <a:pos x="36" y="14"/>
                  </a:cxn>
                  <a:cxn ang="0">
                    <a:pos x="32" y="18"/>
                  </a:cxn>
                  <a:cxn ang="0">
                    <a:pos x="32" y="18"/>
                  </a:cxn>
                  <a:cxn ang="0">
                    <a:pos x="30" y="28"/>
                  </a:cxn>
                  <a:cxn ang="0">
                    <a:pos x="30" y="32"/>
                  </a:cxn>
                  <a:cxn ang="0">
                    <a:pos x="30" y="36"/>
                  </a:cxn>
                  <a:cxn ang="0">
                    <a:pos x="24" y="42"/>
                  </a:cxn>
                  <a:cxn ang="0">
                    <a:pos x="28" y="50"/>
                  </a:cxn>
                  <a:cxn ang="0">
                    <a:pos x="26" y="60"/>
                  </a:cxn>
                  <a:cxn ang="0">
                    <a:pos x="30" y="68"/>
                  </a:cxn>
                  <a:cxn ang="0">
                    <a:pos x="22" y="74"/>
                  </a:cxn>
                  <a:cxn ang="0">
                    <a:pos x="24" y="80"/>
                  </a:cxn>
                  <a:cxn ang="0">
                    <a:pos x="24" y="80"/>
                  </a:cxn>
                  <a:cxn ang="0">
                    <a:pos x="20" y="82"/>
                  </a:cxn>
                  <a:cxn ang="0">
                    <a:pos x="16" y="84"/>
                  </a:cxn>
                  <a:cxn ang="0">
                    <a:pos x="6" y="84"/>
                  </a:cxn>
                  <a:cxn ang="0">
                    <a:pos x="8" y="60"/>
                  </a:cxn>
                  <a:cxn ang="0">
                    <a:pos x="4" y="60"/>
                  </a:cxn>
                  <a:cxn ang="0">
                    <a:pos x="2" y="58"/>
                  </a:cxn>
                  <a:cxn ang="0">
                    <a:pos x="0" y="56"/>
                  </a:cxn>
                  <a:cxn ang="0">
                    <a:pos x="0" y="56"/>
                  </a:cxn>
                  <a:cxn ang="0">
                    <a:pos x="0" y="46"/>
                  </a:cxn>
                  <a:cxn ang="0">
                    <a:pos x="4" y="34"/>
                  </a:cxn>
                  <a:cxn ang="0">
                    <a:pos x="8" y="22"/>
                  </a:cxn>
                  <a:cxn ang="0">
                    <a:pos x="8" y="14"/>
                  </a:cxn>
                  <a:cxn ang="0">
                    <a:pos x="6" y="4"/>
                  </a:cxn>
                  <a:cxn ang="0">
                    <a:pos x="6" y="4"/>
                  </a:cxn>
                </a:cxnLst>
                <a:rect l="0" t="0" r="r" b="b"/>
                <a:pathLst>
                  <a:path w="38" h="84">
                    <a:moveTo>
                      <a:pt x="6" y="4"/>
                    </a:moveTo>
                    <a:lnTo>
                      <a:pt x="8" y="2"/>
                    </a:lnTo>
                    <a:lnTo>
                      <a:pt x="16" y="0"/>
                    </a:lnTo>
                    <a:lnTo>
                      <a:pt x="16" y="4"/>
                    </a:lnTo>
                    <a:lnTo>
                      <a:pt x="34" y="4"/>
                    </a:lnTo>
                    <a:lnTo>
                      <a:pt x="38" y="8"/>
                    </a:lnTo>
                    <a:lnTo>
                      <a:pt x="38" y="8"/>
                    </a:lnTo>
                    <a:lnTo>
                      <a:pt x="36" y="14"/>
                    </a:lnTo>
                    <a:lnTo>
                      <a:pt x="32" y="18"/>
                    </a:lnTo>
                    <a:lnTo>
                      <a:pt x="32" y="18"/>
                    </a:lnTo>
                    <a:lnTo>
                      <a:pt x="30" y="28"/>
                    </a:lnTo>
                    <a:lnTo>
                      <a:pt x="30" y="32"/>
                    </a:lnTo>
                    <a:lnTo>
                      <a:pt x="30" y="36"/>
                    </a:lnTo>
                    <a:lnTo>
                      <a:pt x="24" y="42"/>
                    </a:lnTo>
                    <a:lnTo>
                      <a:pt x="28" y="50"/>
                    </a:lnTo>
                    <a:lnTo>
                      <a:pt x="26" y="60"/>
                    </a:lnTo>
                    <a:lnTo>
                      <a:pt x="30" y="68"/>
                    </a:lnTo>
                    <a:lnTo>
                      <a:pt x="22" y="74"/>
                    </a:lnTo>
                    <a:lnTo>
                      <a:pt x="24" y="80"/>
                    </a:lnTo>
                    <a:lnTo>
                      <a:pt x="24" y="80"/>
                    </a:lnTo>
                    <a:lnTo>
                      <a:pt x="20" y="82"/>
                    </a:lnTo>
                    <a:lnTo>
                      <a:pt x="16" y="84"/>
                    </a:lnTo>
                    <a:lnTo>
                      <a:pt x="6" y="84"/>
                    </a:lnTo>
                    <a:lnTo>
                      <a:pt x="8" y="60"/>
                    </a:lnTo>
                    <a:lnTo>
                      <a:pt x="4" y="60"/>
                    </a:lnTo>
                    <a:lnTo>
                      <a:pt x="2" y="58"/>
                    </a:lnTo>
                    <a:lnTo>
                      <a:pt x="0" y="56"/>
                    </a:lnTo>
                    <a:lnTo>
                      <a:pt x="0" y="56"/>
                    </a:lnTo>
                    <a:lnTo>
                      <a:pt x="0" y="46"/>
                    </a:lnTo>
                    <a:lnTo>
                      <a:pt x="4" y="34"/>
                    </a:lnTo>
                    <a:lnTo>
                      <a:pt x="8" y="22"/>
                    </a:lnTo>
                    <a:lnTo>
                      <a:pt x="8" y="14"/>
                    </a:lnTo>
                    <a:lnTo>
                      <a:pt x="6" y="4"/>
                    </a:lnTo>
                    <a:lnTo>
                      <a:pt x="6"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4" name="Freeform 1352">
                <a:extLst>
                  <a:ext uri="{FF2B5EF4-FFF2-40B4-BE49-F238E27FC236}">
                    <a16:creationId xmlns:a16="http://schemas.microsoft.com/office/drawing/2014/main" id="{2C7968C9-005B-4472-B31A-3580B3F7D451}"/>
                  </a:ext>
                </a:extLst>
              </p:cNvPr>
              <p:cNvSpPr>
                <a:spLocks/>
              </p:cNvSpPr>
              <p:nvPr/>
            </p:nvSpPr>
            <p:spPr bwMode="auto">
              <a:xfrm>
                <a:off x="3046" y="2184"/>
                <a:ext cx="8" cy="12"/>
              </a:xfrm>
              <a:custGeom>
                <a:avLst/>
                <a:gdLst/>
                <a:ahLst/>
                <a:cxnLst>
                  <a:cxn ang="0">
                    <a:pos x="8" y="12"/>
                  </a:cxn>
                  <a:cxn ang="0">
                    <a:pos x="8" y="12"/>
                  </a:cxn>
                  <a:cxn ang="0">
                    <a:pos x="8" y="6"/>
                  </a:cxn>
                  <a:cxn ang="0">
                    <a:pos x="6" y="2"/>
                  </a:cxn>
                  <a:cxn ang="0">
                    <a:pos x="4" y="0"/>
                  </a:cxn>
                  <a:cxn ang="0">
                    <a:pos x="2" y="2"/>
                  </a:cxn>
                  <a:cxn ang="0">
                    <a:pos x="0" y="6"/>
                  </a:cxn>
                  <a:cxn ang="0">
                    <a:pos x="0" y="12"/>
                  </a:cxn>
                  <a:cxn ang="0">
                    <a:pos x="8" y="12"/>
                  </a:cxn>
                </a:cxnLst>
                <a:rect l="0" t="0" r="r" b="b"/>
                <a:pathLst>
                  <a:path w="8" h="12">
                    <a:moveTo>
                      <a:pt x="8" y="12"/>
                    </a:moveTo>
                    <a:lnTo>
                      <a:pt x="8" y="12"/>
                    </a:lnTo>
                    <a:lnTo>
                      <a:pt x="8" y="6"/>
                    </a:lnTo>
                    <a:lnTo>
                      <a:pt x="6" y="2"/>
                    </a:lnTo>
                    <a:lnTo>
                      <a:pt x="4" y="0"/>
                    </a:lnTo>
                    <a:lnTo>
                      <a:pt x="2" y="2"/>
                    </a:lnTo>
                    <a:lnTo>
                      <a:pt x="0" y="6"/>
                    </a:lnTo>
                    <a:lnTo>
                      <a:pt x="0" y="12"/>
                    </a:lnTo>
                    <a:lnTo>
                      <a:pt x="8"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5" name="Freeform 1353">
                <a:extLst>
                  <a:ext uri="{FF2B5EF4-FFF2-40B4-BE49-F238E27FC236}">
                    <a16:creationId xmlns:a16="http://schemas.microsoft.com/office/drawing/2014/main" id="{C7E0EA96-40AF-4168-B262-780330800292}"/>
                  </a:ext>
                </a:extLst>
              </p:cNvPr>
              <p:cNvSpPr>
                <a:spLocks/>
              </p:cNvSpPr>
              <p:nvPr/>
            </p:nvSpPr>
            <p:spPr bwMode="auto">
              <a:xfrm>
                <a:off x="3050" y="2234"/>
                <a:ext cx="52" cy="32"/>
              </a:xfrm>
              <a:custGeom>
                <a:avLst/>
                <a:gdLst/>
                <a:ahLst/>
                <a:cxnLst>
                  <a:cxn ang="0">
                    <a:pos x="52" y="14"/>
                  </a:cxn>
                  <a:cxn ang="0">
                    <a:pos x="52" y="14"/>
                  </a:cxn>
                  <a:cxn ang="0">
                    <a:pos x="46" y="12"/>
                  </a:cxn>
                  <a:cxn ang="0">
                    <a:pos x="40" y="8"/>
                  </a:cxn>
                  <a:cxn ang="0">
                    <a:pos x="44" y="4"/>
                  </a:cxn>
                  <a:cxn ang="0">
                    <a:pos x="44" y="4"/>
                  </a:cxn>
                  <a:cxn ang="0">
                    <a:pos x="40" y="0"/>
                  </a:cxn>
                  <a:cxn ang="0">
                    <a:pos x="32" y="0"/>
                  </a:cxn>
                  <a:cxn ang="0">
                    <a:pos x="20" y="2"/>
                  </a:cxn>
                  <a:cxn ang="0">
                    <a:pos x="18" y="0"/>
                  </a:cxn>
                  <a:cxn ang="0">
                    <a:pos x="12" y="2"/>
                  </a:cxn>
                  <a:cxn ang="0">
                    <a:pos x="0" y="22"/>
                  </a:cxn>
                  <a:cxn ang="0">
                    <a:pos x="0" y="28"/>
                  </a:cxn>
                  <a:cxn ang="0">
                    <a:pos x="4" y="22"/>
                  </a:cxn>
                  <a:cxn ang="0">
                    <a:pos x="10" y="22"/>
                  </a:cxn>
                  <a:cxn ang="0">
                    <a:pos x="10" y="30"/>
                  </a:cxn>
                  <a:cxn ang="0">
                    <a:pos x="12" y="30"/>
                  </a:cxn>
                  <a:cxn ang="0">
                    <a:pos x="12" y="32"/>
                  </a:cxn>
                  <a:cxn ang="0">
                    <a:pos x="12" y="32"/>
                  </a:cxn>
                  <a:cxn ang="0">
                    <a:pos x="22" y="30"/>
                  </a:cxn>
                  <a:cxn ang="0">
                    <a:pos x="30" y="26"/>
                  </a:cxn>
                  <a:cxn ang="0">
                    <a:pos x="36" y="32"/>
                  </a:cxn>
                  <a:cxn ang="0">
                    <a:pos x="40" y="22"/>
                  </a:cxn>
                  <a:cxn ang="0">
                    <a:pos x="50" y="24"/>
                  </a:cxn>
                  <a:cxn ang="0">
                    <a:pos x="50" y="18"/>
                  </a:cxn>
                  <a:cxn ang="0">
                    <a:pos x="52" y="18"/>
                  </a:cxn>
                  <a:cxn ang="0">
                    <a:pos x="52" y="14"/>
                  </a:cxn>
                </a:cxnLst>
                <a:rect l="0" t="0" r="r" b="b"/>
                <a:pathLst>
                  <a:path w="52" h="32">
                    <a:moveTo>
                      <a:pt x="52" y="14"/>
                    </a:moveTo>
                    <a:lnTo>
                      <a:pt x="52" y="14"/>
                    </a:lnTo>
                    <a:lnTo>
                      <a:pt x="46" y="12"/>
                    </a:lnTo>
                    <a:lnTo>
                      <a:pt x="40" y="8"/>
                    </a:lnTo>
                    <a:lnTo>
                      <a:pt x="44" y="4"/>
                    </a:lnTo>
                    <a:lnTo>
                      <a:pt x="44" y="4"/>
                    </a:lnTo>
                    <a:lnTo>
                      <a:pt x="40" y="0"/>
                    </a:lnTo>
                    <a:lnTo>
                      <a:pt x="32" y="0"/>
                    </a:lnTo>
                    <a:lnTo>
                      <a:pt x="20" y="2"/>
                    </a:lnTo>
                    <a:lnTo>
                      <a:pt x="18" y="0"/>
                    </a:lnTo>
                    <a:lnTo>
                      <a:pt x="12" y="2"/>
                    </a:lnTo>
                    <a:lnTo>
                      <a:pt x="0" y="22"/>
                    </a:lnTo>
                    <a:lnTo>
                      <a:pt x="0" y="28"/>
                    </a:lnTo>
                    <a:lnTo>
                      <a:pt x="4" y="22"/>
                    </a:lnTo>
                    <a:lnTo>
                      <a:pt x="10" y="22"/>
                    </a:lnTo>
                    <a:lnTo>
                      <a:pt x="10" y="30"/>
                    </a:lnTo>
                    <a:lnTo>
                      <a:pt x="12" y="30"/>
                    </a:lnTo>
                    <a:lnTo>
                      <a:pt x="12" y="32"/>
                    </a:lnTo>
                    <a:lnTo>
                      <a:pt x="12" y="32"/>
                    </a:lnTo>
                    <a:lnTo>
                      <a:pt x="22" y="30"/>
                    </a:lnTo>
                    <a:lnTo>
                      <a:pt x="30" y="26"/>
                    </a:lnTo>
                    <a:lnTo>
                      <a:pt x="36" y="32"/>
                    </a:lnTo>
                    <a:lnTo>
                      <a:pt x="40" y="22"/>
                    </a:lnTo>
                    <a:lnTo>
                      <a:pt x="50" y="24"/>
                    </a:lnTo>
                    <a:lnTo>
                      <a:pt x="50" y="18"/>
                    </a:lnTo>
                    <a:lnTo>
                      <a:pt x="52" y="18"/>
                    </a:lnTo>
                    <a:lnTo>
                      <a:pt x="52"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6" name="Freeform 1354">
                <a:extLst>
                  <a:ext uri="{FF2B5EF4-FFF2-40B4-BE49-F238E27FC236}">
                    <a16:creationId xmlns:a16="http://schemas.microsoft.com/office/drawing/2014/main" id="{B547CAE8-B001-44ED-A079-32B5C9F9B0B9}"/>
                  </a:ext>
                </a:extLst>
              </p:cNvPr>
              <p:cNvSpPr>
                <a:spLocks/>
              </p:cNvSpPr>
              <p:nvPr/>
            </p:nvSpPr>
            <p:spPr bwMode="auto">
              <a:xfrm>
                <a:off x="3012" y="2158"/>
                <a:ext cx="42" cy="38"/>
              </a:xfrm>
              <a:custGeom>
                <a:avLst/>
                <a:gdLst/>
                <a:ahLst/>
                <a:cxnLst>
                  <a:cxn ang="0">
                    <a:pos x="26" y="34"/>
                  </a:cxn>
                  <a:cxn ang="0">
                    <a:pos x="26" y="26"/>
                  </a:cxn>
                  <a:cxn ang="0">
                    <a:pos x="22" y="30"/>
                  </a:cxn>
                  <a:cxn ang="0">
                    <a:pos x="18" y="30"/>
                  </a:cxn>
                  <a:cxn ang="0">
                    <a:pos x="16" y="22"/>
                  </a:cxn>
                  <a:cxn ang="0">
                    <a:pos x="8" y="20"/>
                  </a:cxn>
                  <a:cxn ang="0">
                    <a:pos x="6" y="14"/>
                  </a:cxn>
                  <a:cxn ang="0">
                    <a:pos x="0" y="14"/>
                  </a:cxn>
                  <a:cxn ang="0">
                    <a:pos x="0" y="8"/>
                  </a:cxn>
                  <a:cxn ang="0">
                    <a:pos x="8" y="2"/>
                  </a:cxn>
                  <a:cxn ang="0">
                    <a:pos x="12" y="4"/>
                  </a:cxn>
                  <a:cxn ang="0">
                    <a:pos x="22" y="0"/>
                  </a:cxn>
                  <a:cxn ang="0">
                    <a:pos x="22" y="0"/>
                  </a:cxn>
                  <a:cxn ang="0">
                    <a:pos x="28" y="2"/>
                  </a:cxn>
                  <a:cxn ang="0">
                    <a:pos x="34" y="6"/>
                  </a:cxn>
                  <a:cxn ang="0">
                    <a:pos x="34" y="14"/>
                  </a:cxn>
                  <a:cxn ang="0">
                    <a:pos x="38" y="14"/>
                  </a:cxn>
                  <a:cxn ang="0">
                    <a:pos x="42" y="20"/>
                  </a:cxn>
                  <a:cxn ang="0">
                    <a:pos x="38" y="26"/>
                  </a:cxn>
                  <a:cxn ang="0">
                    <a:pos x="36" y="28"/>
                  </a:cxn>
                  <a:cxn ang="0">
                    <a:pos x="34" y="32"/>
                  </a:cxn>
                  <a:cxn ang="0">
                    <a:pos x="34" y="38"/>
                  </a:cxn>
                  <a:cxn ang="0">
                    <a:pos x="30" y="38"/>
                  </a:cxn>
                  <a:cxn ang="0">
                    <a:pos x="26" y="34"/>
                  </a:cxn>
                </a:cxnLst>
                <a:rect l="0" t="0" r="r" b="b"/>
                <a:pathLst>
                  <a:path w="42" h="38">
                    <a:moveTo>
                      <a:pt x="26" y="34"/>
                    </a:moveTo>
                    <a:lnTo>
                      <a:pt x="26" y="26"/>
                    </a:lnTo>
                    <a:lnTo>
                      <a:pt x="22" y="30"/>
                    </a:lnTo>
                    <a:lnTo>
                      <a:pt x="18" y="30"/>
                    </a:lnTo>
                    <a:lnTo>
                      <a:pt x="16" y="22"/>
                    </a:lnTo>
                    <a:lnTo>
                      <a:pt x="8" y="20"/>
                    </a:lnTo>
                    <a:lnTo>
                      <a:pt x="6" y="14"/>
                    </a:lnTo>
                    <a:lnTo>
                      <a:pt x="0" y="14"/>
                    </a:lnTo>
                    <a:lnTo>
                      <a:pt x="0" y="8"/>
                    </a:lnTo>
                    <a:lnTo>
                      <a:pt x="8" y="2"/>
                    </a:lnTo>
                    <a:lnTo>
                      <a:pt x="12" y="4"/>
                    </a:lnTo>
                    <a:lnTo>
                      <a:pt x="22" y="0"/>
                    </a:lnTo>
                    <a:lnTo>
                      <a:pt x="22" y="0"/>
                    </a:lnTo>
                    <a:lnTo>
                      <a:pt x="28" y="2"/>
                    </a:lnTo>
                    <a:lnTo>
                      <a:pt x="34" y="6"/>
                    </a:lnTo>
                    <a:lnTo>
                      <a:pt x="34" y="14"/>
                    </a:lnTo>
                    <a:lnTo>
                      <a:pt x="38" y="14"/>
                    </a:lnTo>
                    <a:lnTo>
                      <a:pt x="42" y="20"/>
                    </a:lnTo>
                    <a:lnTo>
                      <a:pt x="38" y="26"/>
                    </a:lnTo>
                    <a:lnTo>
                      <a:pt x="36" y="28"/>
                    </a:lnTo>
                    <a:lnTo>
                      <a:pt x="34" y="32"/>
                    </a:lnTo>
                    <a:lnTo>
                      <a:pt x="34" y="38"/>
                    </a:lnTo>
                    <a:lnTo>
                      <a:pt x="30" y="38"/>
                    </a:lnTo>
                    <a:lnTo>
                      <a:pt x="26" y="3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7" name="Freeform 1355">
                <a:extLst>
                  <a:ext uri="{FF2B5EF4-FFF2-40B4-BE49-F238E27FC236}">
                    <a16:creationId xmlns:a16="http://schemas.microsoft.com/office/drawing/2014/main" id="{E3745E10-7AB6-42BA-8C25-8B856AB8D34B}"/>
                  </a:ext>
                </a:extLst>
              </p:cNvPr>
              <p:cNvSpPr>
                <a:spLocks/>
              </p:cNvSpPr>
              <p:nvPr/>
            </p:nvSpPr>
            <p:spPr bwMode="auto">
              <a:xfrm>
                <a:off x="3020" y="2116"/>
                <a:ext cx="44" cy="56"/>
              </a:xfrm>
              <a:custGeom>
                <a:avLst/>
                <a:gdLst/>
                <a:ahLst/>
                <a:cxnLst>
                  <a:cxn ang="0">
                    <a:pos x="44" y="4"/>
                  </a:cxn>
                  <a:cxn ang="0">
                    <a:pos x="38" y="0"/>
                  </a:cxn>
                  <a:cxn ang="0">
                    <a:pos x="38" y="0"/>
                  </a:cxn>
                  <a:cxn ang="0">
                    <a:pos x="32" y="2"/>
                  </a:cxn>
                  <a:cxn ang="0">
                    <a:pos x="28" y="4"/>
                  </a:cxn>
                  <a:cxn ang="0">
                    <a:pos x="24" y="6"/>
                  </a:cxn>
                  <a:cxn ang="0">
                    <a:pos x="24" y="12"/>
                  </a:cxn>
                  <a:cxn ang="0">
                    <a:pos x="26" y="14"/>
                  </a:cxn>
                  <a:cxn ang="0">
                    <a:pos x="28" y="18"/>
                  </a:cxn>
                  <a:cxn ang="0">
                    <a:pos x="24" y="26"/>
                  </a:cxn>
                  <a:cxn ang="0">
                    <a:pos x="18" y="22"/>
                  </a:cxn>
                  <a:cxn ang="0">
                    <a:pos x="18" y="18"/>
                  </a:cxn>
                  <a:cxn ang="0">
                    <a:pos x="22" y="16"/>
                  </a:cxn>
                  <a:cxn ang="0">
                    <a:pos x="18" y="12"/>
                  </a:cxn>
                  <a:cxn ang="0">
                    <a:pos x="16" y="14"/>
                  </a:cxn>
                  <a:cxn ang="0">
                    <a:pos x="16" y="14"/>
                  </a:cxn>
                  <a:cxn ang="0">
                    <a:pos x="14" y="24"/>
                  </a:cxn>
                  <a:cxn ang="0">
                    <a:pos x="12" y="30"/>
                  </a:cxn>
                  <a:cxn ang="0">
                    <a:pos x="10" y="34"/>
                  </a:cxn>
                  <a:cxn ang="0">
                    <a:pos x="10" y="36"/>
                  </a:cxn>
                  <a:cxn ang="0">
                    <a:pos x="10" y="36"/>
                  </a:cxn>
                  <a:cxn ang="0">
                    <a:pos x="18" y="38"/>
                  </a:cxn>
                  <a:cxn ang="0">
                    <a:pos x="6" y="42"/>
                  </a:cxn>
                  <a:cxn ang="0">
                    <a:pos x="4" y="44"/>
                  </a:cxn>
                  <a:cxn ang="0">
                    <a:pos x="0" y="44"/>
                  </a:cxn>
                  <a:cxn ang="0">
                    <a:pos x="4" y="46"/>
                  </a:cxn>
                  <a:cxn ang="0">
                    <a:pos x="14" y="42"/>
                  </a:cxn>
                  <a:cxn ang="0">
                    <a:pos x="14" y="42"/>
                  </a:cxn>
                  <a:cxn ang="0">
                    <a:pos x="20" y="44"/>
                  </a:cxn>
                  <a:cxn ang="0">
                    <a:pos x="26" y="48"/>
                  </a:cxn>
                  <a:cxn ang="0">
                    <a:pos x="26" y="56"/>
                  </a:cxn>
                  <a:cxn ang="0">
                    <a:pos x="30" y="56"/>
                  </a:cxn>
                  <a:cxn ang="0">
                    <a:pos x="30" y="52"/>
                  </a:cxn>
                  <a:cxn ang="0">
                    <a:pos x="30" y="52"/>
                  </a:cxn>
                  <a:cxn ang="0">
                    <a:pos x="30" y="48"/>
                  </a:cxn>
                  <a:cxn ang="0">
                    <a:pos x="30" y="42"/>
                  </a:cxn>
                  <a:cxn ang="0">
                    <a:pos x="30" y="32"/>
                  </a:cxn>
                  <a:cxn ang="0">
                    <a:pos x="36" y="34"/>
                  </a:cxn>
                  <a:cxn ang="0">
                    <a:pos x="36" y="34"/>
                  </a:cxn>
                  <a:cxn ang="0">
                    <a:pos x="38" y="28"/>
                  </a:cxn>
                  <a:cxn ang="0">
                    <a:pos x="42" y="24"/>
                  </a:cxn>
                  <a:cxn ang="0">
                    <a:pos x="42" y="22"/>
                  </a:cxn>
                  <a:cxn ang="0">
                    <a:pos x="38" y="20"/>
                  </a:cxn>
                  <a:cxn ang="0">
                    <a:pos x="38" y="18"/>
                  </a:cxn>
                  <a:cxn ang="0">
                    <a:pos x="42" y="16"/>
                  </a:cxn>
                  <a:cxn ang="0">
                    <a:pos x="44" y="4"/>
                  </a:cxn>
                </a:cxnLst>
                <a:rect l="0" t="0" r="r" b="b"/>
                <a:pathLst>
                  <a:path w="44" h="56">
                    <a:moveTo>
                      <a:pt x="44" y="4"/>
                    </a:moveTo>
                    <a:lnTo>
                      <a:pt x="38" y="0"/>
                    </a:lnTo>
                    <a:lnTo>
                      <a:pt x="38" y="0"/>
                    </a:lnTo>
                    <a:lnTo>
                      <a:pt x="32" y="2"/>
                    </a:lnTo>
                    <a:lnTo>
                      <a:pt x="28" y="4"/>
                    </a:lnTo>
                    <a:lnTo>
                      <a:pt x="24" y="6"/>
                    </a:lnTo>
                    <a:lnTo>
                      <a:pt x="24" y="12"/>
                    </a:lnTo>
                    <a:lnTo>
                      <a:pt x="26" y="14"/>
                    </a:lnTo>
                    <a:lnTo>
                      <a:pt x="28" y="18"/>
                    </a:lnTo>
                    <a:lnTo>
                      <a:pt x="24" y="26"/>
                    </a:lnTo>
                    <a:lnTo>
                      <a:pt x="18" y="22"/>
                    </a:lnTo>
                    <a:lnTo>
                      <a:pt x="18" y="18"/>
                    </a:lnTo>
                    <a:lnTo>
                      <a:pt x="22" y="16"/>
                    </a:lnTo>
                    <a:lnTo>
                      <a:pt x="18" y="12"/>
                    </a:lnTo>
                    <a:lnTo>
                      <a:pt x="16" y="14"/>
                    </a:lnTo>
                    <a:lnTo>
                      <a:pt x="16" y="14"/>
                    </a:lnTo>
                    <a:lnTo>
                      <a:pt x="14" y="24"/>
                    </a:lnTo>
                    <a:lnTo>
                      <a:pt x="12" y="30"/>
                    </a:lnTo>
                    <a:lnTo>
                      <a:pt x="10" y="34"/>
                    </a:lnTo>
                    <a:lnTo>
                      <a:pt x="10" y="36"/>
                    </a:lnTo>
                    <a:lnTo>
                      <a:pt x="10" y="36"/>
                    </a:lnTo>
                    <a:lnTo>
                      <a:pt x="18" y="38"/>
                    </a:lnTo>
                    <a:lnTo>
                      <a:pt x="6" y="42"/>
                    </a:lnTo>
                    <a:lnTo>
                      <a:pt x="4" y="44"/>
                    </a:lnTo>
                    <a:lnTo>
                      <a:pt x="0" y="44"/>
                    </a:lnTo>
                    <a:lnTo>
                      <a:pt x="4" y="46"/>
                    </a:lnTo>
                    <a:lnTo>
                      <a:pt x="14" y="42"/>
                    </a:lnTo>
                    <a:lnTo>
                      <a:pt x="14" y="42"/>
                    </a:lnTo>
                    <a:lnTo>
                      <a:pt x="20" y="44"/>
                    </a:lnTo>
                    <a:lnTo>
                      <a:pt x="26" y="48"/>
                    </a:lnTo>
                    <a:lnTo>
                      <a:pt x="26" y="56"/>
                    </a:lnTo>
                    <a:lnTo>
                      <a:pt x="30" y="56"/>
                    </a:lnTo>
                    <a:lnTo>
                      <a:pt x="30" y="52"/>
                    </a:lnTo>
                    <a:lnTo>
                      <a:pt x="30" y="52"/>
                    </a:lnTo>
                    <a:lnTo>
                      <a:pt x="30" y="48"/>
                    </a:lnTo>
                    <a:lnTo>
                      <a:pt x="30" y="42"/>
                    </a:lnTo>
                    <a:lnTo>
                      <a:pt x="30" y="32"/>
                    </a:lnTo>
                    <a:lnTo>
                      <a:pt x="36" y="34"/>
                    </a:lnTo>
                    <a:lnTo>
                      <a:pt x="36" y="34"/>
                    </a:lnTo>
                    <a:lnTo>
                      <a:pt x="38" y="28"/>
                    </a:lnTo>
                    <a:lnTo>
                      <a:pt x="42" y="24"/>
                    </a:lnTo>
                    <a:lnTo>
                      <a:pt x="42" y="22"/>
                    </a:lnTo>
                    <a:lnTo>
                      <a:pt x="38" y="20"/>
                    </a:lnTo>
                    <a:lnTo>
                      <a:pt x="38" y="18"/>
                    </a:lnTo>
                    <a:lnTo>
                      <a:pt x="42" y="16"/>
                    </a:lnTo>
                    <a:lnTo>
                      <a:pt x="44"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8" name="Freeform 1356">
                <a:extLst>
                  <a:ext uri="{FF2B5EF4-FFF2-40B4-BE49-F238E27FC236}">
                    <a16:creationId xmlns:a16="http://schemas.microsoft.com/office/drawing/2014/main" id="{C9DE1047-A7D3-4E09-989E-099D36BBD3D1}"/>
                  </a:ext>
                </a:extLst>
              </p:cNvPr>
              <p:cNvSpPr>
                <a:spLocks/>
              </p:cNvSpPr>
              <p:nvPr/>
            </p:nvSpPr>
            <p:spPr bwMode="auto">
              <a:xfrm>
                <a:off x="3050" y="2084"/>
                <a:ext cx="107" cy="154"/>
              </a:xfrm>
              <a:custGeom>
                <a:avLst/>
                <a:gdLst/>
                <a:ahLst/>
                <a:cxnLst>
                  <a:cxn ang="0">
                    <a:pos x="95" y="130"/>
                  </a:cxn>
                  <a:cxn ang="0">
                    <a:pos x="83" y="140"/>
                  </a:cxn>
                  <a:cxn ang="0">
                    <a:pos x="83" y="150"/>
                  </a:cxn>
                  <a:cxn ang="0">
                    <a:pos x="81" y="148"/>
                  </a:cxn>
                  <a:cxn ang="0">
                    <a:pos x="73" y="150"/>
                  </a:cxn>
                  <a:cxn ang="0">
                    <a:pos x="54" y="150"/>
                  </a:cxn>
                  <a:cxn ang="0">
                    <a:pos x="46" y="152"/>
                  </a:cxn>
                  <a:cxn ang="0">
                    <a:pos x="42" y="152"/>
                  </a:cxn>
                  <a:cxn ang="0">
                    <a:pos x="32" y="150"/>
                  </a:cxn>
                  <a:cxn ang="0">
                    <a:pos x="18" y="150"/>
                  </a:cxn>
                  <a:cxn ang="0">
                    <a:pos x="20" y="136"/>
                  </a:cxn>
                  <a:cxn ang="0">
                    <a:pos x="24" y="124"/>
                  </a:cxn>
                  <a:cxn ang="0">
                    <a:pos x="4" y="112"/>
                  </a:cxn>
                  <a:cxn ang="0">
                    <a:pos x="4" y="106"/>
                  </a:cxn>
                  <a:cxn ang="0">
                    <a:pos x="0" y="100"/>
                  </a:cxn>
                  <a:cxn ang="0">
                    <a:pos x="4" y="94"/>
                  </a:cxn>
                  <a:cxn ang="0">
                    <a:pos x="0" y="84"/>
                  </a:cxn>
                  <a:cxn ang="0">
                    <a:pos x="0" y="80"/>
                  </a:cxn>
                  <a:cxn ang="0">
                    <a:pos x="0" y="64"/>
                  </a:cxn>
                  <a:cxn ang="0">
                    <a:pos x="6" y="66"/>
                  </a:cxn>
                  <a:cxn ang="0">
                    <a:pos x="12" y="56"/>
                  </a:cxn>
                  <a:cxn ang="0">
                    <a:pos x="8" y="52"/>
                  </a:cxn>
                  <a:cxn ang="0">
                    <a:pos x="12" y="48"/>
                  </a:cxn>
                  <a:cxn ang="0">
                    <a:pos x="16" y="36"/>
                  </a:cxn>
                  <a:cxn ang="0">
                    <a:pos x="16" y="28"/>
                  </a:cxn>
                  <a:cxn ang="0">
                    <a:pos x="20" y="28"/>
                  </a:cxn>
                  <a:cxn ang="0">
                    <a:pos x="26" y="32"/>
                  </a:cxn>
                  <a:cxn ang="0">
                    <a:pos x="28" y="30"/>
                  </a:cxn>
                  <a:cxn ang="0">
                    <a:pos x="32" y="36"/>
                  </a:cxn>
                  <a:cxn ang="0">
                    <a:pos x="30" y="30"/>
                  </a:cxn>
                  <a:cxn ang="0">
                    <a:pos x="38" y="24"/>
                  </a:cxn>
                  <a:cxn ang="0">
                    <a:pos x="36" y="18"/>
                  </a:cxn>
                  <a:cxn ang="0">
                    <a:pos x="32" y="14"/>
                  </a:cxn>
                  <a:cxn ang="0">
                    <a:pos x="32" y="2"/>
                  </a:cxn>
                  <a:cxn ang="0">
                    <a:pos x="42" y="0"/>
                  </a:cxn>
                  <a:cxn ang="0">
                    <a:pos x="46" y="4"/>
                  </a:cxn>
                  <a:cxn ang="0">
                    <a:pos x="46" y="10"/>
                  </a:cxn>
                  <a:cxn ang="0">
                    <a:pos x="50" y="10"/>
                  </a:cxn>
                  <a:cxn ang="0">
                    <a:pos x="60" y="12"/>
                  </a:cxn>
                  <a:cxn ang="0">
                    <a:pos x="64" y="22"/>
                  </a:cxn>
                  <a:cxn ang="0">
                    <a:pos x="64" y="20"/>
                  </a:cxn>
                  <a:cxn ang="0">
                    <a:pos x="73" y="16"/>
                  </a:cxn>
                  <a:cxn ang="0">
                    <a:pos x="79" y="10"/>
                  </a:cxn>
                  <a:cxn ang="0">
                    <a:pos x="77" y="14"/>
                  </a:cxn>
                  <a:cxn ang="0">
                    <a:pos x="87" y="16"/>
                  </a:cxn>
                  <a:cxn ang="0">
                    <a:pos x="93" y="24"/>
                  </a:cxn>
                  <a:cxn ang="0">
                    <a:pos x="99" y="26"/>
                  </a:cxn>
                  <a:cxn ang="0">
                    <a:pos x="101" y="36"/>
                  </a:cxn>
                  <a:cxn ang="0">
                    <a:pos x="101" y="48"/>
                  </a:cxn>
                  <a:cxn ang="0">
                    <a:pos x="103" y="62"/>
                  </a:cxn>
                  <a:cxn ang="0">
                    <a:pos x="105" y="86"/>
                  </a:cxn>
                  <a:cxn ang="0">
                    <a:pos x="99" y="86"/>
                  </a:cxn>
                  <a:cxn ang="0">
                    <a:pos x="77" y="100"/>
                  </a:cxn>
                  <a:cxn ang="0">
                    <a:pos x="73" y="100"/>
                  </a:cxn>
                  <a:cxn ang="0">
                    <a:pos x="77" y="110"/>
                  </a:cxn>
                  <a:cxn ang="0">
                    <a:pos x="85" y="120"/>
                  </a:cxn>
                  <a:cxn ang="0">
                    <a:pos x="95" y="128"/>
                  </a:cxn>
                </a:cxnLst>
                <a:rect l="0" t="0" r="r" b="b"/>
                <a:pathLst>
                  <a:path w="107" h="154">
                    <a:moveTo>
                      <a:pt x="95" y="128"/>
                    </a:moveTo>
                    <a:lnTo>
                      <a:pt x="95" y="130"/>
                    </a:lnTo>
                    <a:lnTo>
                      <a:pt x="83" y="138"/>
                    </a:lnTo>
                    <a:lnTo>
                      <a:pt x="83" y="140"/>
                    </a:lnTo>
                    <a:lnTo>
                      <a:pt x="85" y="150"/>
                    </a:lnTo>
                    <a:lnTo>
                      <a:pt x="83" y="150"/>
                    </a:lnTo>
                    <a:lnTo>
                      <a:pt x="81" y="148"/>
                    </a:lnTo>
                    <a:lnTo>
                      <a:pt x="81" y="148"/>
                    </a:lnTo>
                    <a:lnTo>
                      <a:pt x="77" y="148"/>
                    </a:lnTo>
                    <a:lnTo>
                      <a:pt x="73" y="150"/>
                    </a:lnTo>
                    <a:lnTo>
                      <a:pt x="62" y="154"/>
                    </a:lnTo>
                    <a:lnTo>
                      <a:pt x="54" y="150"/>
                    </a:lnTo>
                    <a:lnTo>
                      <a:pt x="52" y="154"/>
                    </a:lnTo>
                    <a:lnTo>
                      <a:pt x="46" y="152"/>
                    </a:lnTo>
                    <a:lnTo>
                      <a:pt x="42" y="152"/>
                    </a:lnTo>
                    <a:lnTo>
                      <a:pt x="42" y="152"/>
                    </a:lnTo>
                    <a:lnTo>
                      <a:pt x="38" y="150"/>
                    </a:lnTo>
                    <a:lnTo>
                      <a:pt x="32" y="150"/>
                    </a:lnTo>
                    <a:lnTo>
                      <a:pt x="20" y="152"/>
                    </a:lnTo>
                    <a:lnTo>
                      <a:pt x="18" y="150"/>
                    </a:lnTo>
                    <a:lnTo>
                      <a:pt x="18" y="150"/>
                    </a:lnTo>
                    <a:lnTo>
                      <a:pt x="20" y="136"/>
                    </a:lnTo>
                    <a:lnTo>
                      <a:pt x="22" y="130"/>
                    </a:lnTo>
                    <a:lnTo>
                      <a:pt x="24" y="124"/>
                    </a:lnTo>
                    <a:lnTo>
                      <a:pt x="8" y="120"/>
                    </a:lnTo>
                    <a:lnTo>
                      <a:pt x="4" y="112"/>
                    </a:lnTo>
                    <a:lnTo>
                      <a:pt x="4" y="112"/>
                    </a:lnTo>
                    <a:lnTo>
                      <a:pt x="4" y="106"/>
                    </a:lnTo>
                    <a:lnTo>
                      <a:pt x="2" y="102"/>
                    </a:lnTo>
                    <a:lnTo>
                      <a:pt x="0" y="100"/>
                    </a:lnTo>
                    <a:lnTo>
                      <a:pt x="4" y="94"/>
                    </a:lnTo>
                    <a:lnTo>
                      <a:pt x="4" y="94"/>
                    </a:lnTo>
                    <a:lnTo>
                      <a:pt x="0" y="90"/>
                    </a:lnTo>
                    <a:lnTo>
                      <a:pt x="0" y="84"/>
                    </a:lnTo>
                    <a:lnTo>
                      <a:pt x="0" y="84"/>
                    </a:lnTo>
                    <a:lnTo>
                      <a:pt x="0" y="80"/>
                    </a:lnTo>
                    <a:lnTo>
                      <a:pt x="0" y="74"/>
                    </a:lnTo>
                    <a:lnTo>
                      <a:pt x="0" y="64"/>
                    </a:lnTo>
                    <a:lnTo>
                      <a:pt x="6" y="66"/>
                    </a:lnTo>
                    <a:lnTo>
                      <a:pt x="6" y="66"/>
                    </a:lnTo>
                    <a:lnTo>
                      <a:pt x="8" y="60"/>
                    </a:lnTo>
                    <a:lnTo>
                      <a:pt x="12" y="56"/>
                    </a:lnTo>
                    <a:lnTo>
                      <a:pt x="12" y="54"/>
                    </a:lnTo>
                    <a:lnTo>
                      <a:pt x="8" y="52"/>
                    </a:lnTo>
                    <a:lnTo>
                      <a:pt x="8" y="50"/>
                    </a:lnTo>
                    <a:lnTo>
                      <a:pt x="12" y="48"/>
                    </a:lnTo>
                    <a:lnTo>
                      <a:pt x="14" y="36"/>
                    </a:lnTo>
                    <a:lnTo>
                      <a:pt x="16" y="36"/>
                    </a:lnTo>
                    <a:lnTo>
                      <a:pt x="12" y="32"/>
                    </a:lnTo>
                    <a:lnTo>
                      <a:pt x="16" y="28"/>
                    </a:lnTo>
                    <a:lnTo>
                      <a:pt x="16" y="28"/>
                    </a:lnTo>
                    <a:lnTo>
                      <a:pt x="20" y="28"/>
                    </a:lnTo>
                    <a:lnTo>
                      <a:pt x="24" y="28"/>
                    </a:lnTo>
                    <a:lnTo>
                      <a:pt x="26" y="32"/>
                    </a:lnTo>
                    <a:lnTo>
                      <a:pt x="28" y="32"/>
                    </a:lnTo>
                    <a:lnTo>
                      <a:pt x="28" y="30"/>
                    </a:lnTo>
                    <a:lnTo>
                      <a:pt x="30" y="30"/>
                    </a:lnTo>
                    <a:lnTo>
                      <a:pt x="32" y="36"/>
                    </a:lnTo>
                    <a:lnTo>
                      <a:pt x="32" y="36"/>
                    </a:lnTo>
                    <a:lnTo>
                      <a:pt x="30" y="30"/>
                    </a:lnTo>
                    <a:lnTo>
                      <a:pt x="32" y="26"/>
                    </a:lnTo>
                    <a:lnTo>
                      <a:pt x="38" y="24"/>
                    </a:lnTo>
                    <a:lnTo>
                      <a:pt x="34" y="20"/>
                    </a:lnTo>
                    <a:lnTo>
                      <a:pt x="36" y="18"/>
                    </a:lnTo>
                    <a:lnTo>
                      <a:pt x="34" y="14"/>
                    </a:lnTo>
                    <a:lnTo>
                      <a:pt x="32" y="14"/>
                    </a:lnTo>
                    <a:lnTo>
                      <a:pt x="36" y="10"/>
                    </a:lnTo>
                    <a:lnTo>
                      <a:pt x="32" y="2"/>
                    </a:lnTo>
                    <a:lnTo>
                      <a:pt x="32" y="0"/>
                    </a:lnTo>
                    <a:lnTo>
                      <a:pt x="42" y="0"/>
                    </a:lnTo>
                    <a:lnTo>
                      <a:pt x="40" y="2"/>
                    </a:lnTo>
                    <a:lnTo>
                      <a:pt x="46" y="4"/>
                    </a:lnTo>
                    <a:lnTo>
                      <a:pt x="48" y="6"/>
                    </a:lnTo>
                    <a:lnTo>
                      <a:pt x="46" y="10"/>
                    </a:lnTo>
                    <a:lnTo>
                      <a:pt x="48" y="12"/>
                    </a:lnTo>
                    <a:lnTo>
                      <a:pt x="50" y="10"/>
                    </a:lnTo>
                    <a:lnTo>
                      <a:pt x="54" y="14"/>
                    </a:lnTo>
                    <a:lnTo>
                      <a:pt x="60" y="12"/>
                    </a:lnTo>
                    <a:lnTo>
                      <a:pt x="56" y="22"/>
                    </a:lnTo>
                    <a:lnTo>
                      <a:pt x="64" y="22"/>
                    </a:lnTo>
                    <a:lnTo>
                      <a:pt x="64" y="20"/>
                    </a:lnTo>
                    <a:lnTo>
                      <a:pt x="64" y="20"/>
                    </a:lnTo>
                    <a:lnTo>
                      <a:pt x="68" y="18"/>
                    </a:lnTo>
                    <a:lnTo>
                      <a:pt x="73" y="16"/>
                    </a:lnTo>
                    <a:lnTo>
                      <a:pt x="73" y="18"/>
                    </a:lnTo>
                    <a:lnTo>
                      <a:pt x="79" y="10"/>
                    </a:lnTo>
                    <a:lnTo>
                      <a:pt x="81" y="10"/>
                    </a:lnTo>
                    <a:lnTo>
                      <a:pt x="77" y="14"/>
                    </a:lnTo>
                    <a:lnTo>
                      <a:pt x="83" y="12"/>
                    </a:lnTo>
                    <a:lnTo>
                      <a:pt x="87" y="16"/>
                    </a:lnTo>
                    <a:lnTo>
                      <a:pt x="91" y="18"/>
                    </a:lnTo>
                    <a:lnTo>
                      <a:pt x="93" y="24"/>
                    </a:lnTo>
                    <a:lnTo>
                      <a:pt x="99" y="26"/>
                    </a:lnTo>
                    <a:lnTo>
                      <a:pt x="99" y="26"/>
                    </a:lnTo>
                    <a:lnTo>
                      <a:pt x="101" y="30"/>
                    </a:lnTo>
                    <a:lnTo>
                      <a:pt x="101" y="36"/>
                    </a:lnTo>
                    <a:lnTo>
                      <a:pt x="99" y="46"/>
                    </a:lnTo>
                    <a:lnTo>
                      <a:pt x="101" y="48"/>
                    </a:lnTo>
                    <a:lnTo>
                      <a:pt x="101" y="48"/>
                    </a:lnTo>
                    <a:lnTo>
                      <a:pt x="103" y="62"/>
                    </a:lnTo>
                    <a:lnTo>
                      <a:pt x="107" y="76"/>
                    </a:lnTo>
                    <a:lnTo>
                      <a:pt x="105" y="86"/>
                    </a:lnTo>
                    <a:lnTo>
                      <a:pt x="99" y="80"/>
                    </a:lnTo>
                    <a:lnTo>
                      <a:pt x="99" y="86"/>
                    </a:lnTo>
                    <a:lnTo>
                      <a:pt x="77" y="96"/>
                    </a:lnTo>
                    <a:lnTo>
                      <a:pt x="77" y="100"/>
                    </a:lnTo>
                    <a:lnTo>
                      <a:pt x="73" y="96"/>
                    </a:lnTo>
                    <a:lnTo>
                      <a:pt x="73" y="100"/>
                    </a:lnTo>
                    <a:lnTo>
                      <a:pt x="77" y="104"/>
                    </a:lnTo>
                    <a:lnTo>
                      <a:pt x="77" y="110"/>
                    </a:lnTo>
                    <a:lnTo>
                      <a:pt x="77" y="110"/>
                    </a:lnTo>
                    <a:lnTo>
                      <a:pt x="85" y="120"/>
                    </a:lnTo>
                    <a:lnTo>
                      <a:pt x="95" y="128"/>
                    </a:lnTo>
                    <a:lnTo>
                      <a:pt x="95" y="1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49" name="Freeform 1357">
                <a:extLst>
                  <a:ext uri="{FF2B5EF4-FFF2-40B4-BE49-F238E27FC236}">
                    <a16:creationId xmlns:a16="http://schemas.microsoft.com/office/drawing/2014/main" id="{23D59CB8-2144-437B-A805-736FDF219C23}"/>
                  </a:ext>
                </a:extLst>
              </p:cNvPr>
              <p:cNvSpPr>
                <a:spLocks/>
              </p:cNvSpPr>
              <p:nvPr/>
            </p:nvSpPr>
            <p:spPr bwMode="auto">
              <a:xfrm>
                <a:off x="3110" y="1690"/>
                <a:ext cx="157" cy="384"/>
              </a:xfrm>
              <a:custGeom>
                <a:avLst/>
                <a:gdLst/>
                <a:ahLst/>
                <a:cxnLst>
                  <a:cxn ang="0">
                    <a:pos x="153" y="108"/>
                  </a:cxn>
                  <a:cxn ang="0">
                    <a:pos x="125" y="124"/>
                  </a:cxn>
                  <a:cxn ang="0">
                    <a:pos x="127" y="152"/>
                  </a:cxn>
                  <a:cxn ang="0">
                    <a:pos x="125" y="152"/>
                  </a:cxn>
                  <a:cxn ang="0">
                    <a:pos x="105" y="178"/>
                  </a:cxn>
                  <a:cxn ang="0">
                    <a:pos x="87" y="196"/>
                  </a:cxn>
                  <a:cxn ang="0">
                    <a:pos x="77" y="208"/>
                  </a:cxn>
                  <a:cxn ang="0">
                    <a:pos x="73" y="228"/>
                  </a:cxn>
                  <a:cxn ang="0">
                    <a:pos x="75" y="250"/>
                  </a:cxn>
                  <a:cxn ang="0">
                    <a:pos x="75" y="254"/>
                  </a:cxn>
                  <a:cxn ang="0">
                    <a:pos x="71" y="268"/>
                  </a:cxn>
                  <a:cxn ang="0">
                    <a:pos x="93" y="276"/>
                  </a:cxn>
                  <a:cxn ang="0">
                    <a:pos x="79" y="284"/>
                  </a:cxn>
                  <a:cxn ang="0">
                    <a:pos x="63" y="286"/>
                  </a:cxn>
                  <a:cxn ang="0">
                    <a:pos x="73" y="288"/>
                  </a:cxn>
                  <a:cxn ang="0">
                    <a:pos x="91" y="290"/>
                  </a:cxn>
                  <a:cxn ang="0">
                    <a:pos x="79" y="298"/>
                  </a:cxn>
                  <a:cxn ang="0">
                    <a:pos x="71" y="306"/>
                  </a:cxn>
                  <a:cxn ang="0">
                    <a:pos x="69" y="308"/>
                  </a:cxn>
                  <a:cxn ang="0">
                    <a:pos x="67" y="310"/>
                  </a:cxn>
                  <a:cxn ang="0">
                    <a:pos x="69" y="324"/>
                  </a:cxn>
                  <a:cxn ang="0">
                    <a:pos x="65" y="332"/>
                  </a:cxn>
                  <a:cxn ang="0">
                    <a:pos x="65" y="342"/>
                  </a:cxn>
                  <a:cxn ang="0">
                    <a:pos x="59" y="366"/>
                  </a:cxn>
                  <a:cxn ang="0">
                    <a:pos x="41" y="368"/>
                  </a:cxn>
                  <a:cxn ang="0">
                    <a:pos x="37" y="384"/>
                  </a:cxn>
                  <a:cxn ang="0">
                    <a:pos x="19" y="364"/>
                  </a:cxn>
                  <a:cxn ang="0">
                    <a:pos x="23" y="358"/>
                  </a:cxn>
                  <a:cxn ang="0">
                    <a:pos x="17" y="348"/>
                  </a:cxn>
                  <a:cxn ang="0">
                    <a:pos x="11" y="338"/>
                  </a:cxn>
                  <a:cxn ang="0">
                    <a:pos x="8" y="320"/>
                  </a:cxn>
                  <a:cxn ang="0">
                    <a:pos x="2" y="310"/>
                  </a:cxn>
                  <a:cxn ang="0">
                    <a:pos x="4" y="300"/>
                  </a:cxn>
                  <a:cxn ang="0">
                    <a:pos x="8" y="292"/>
                  </a:cxn>
                  <a:cxn ang="0">
                    <a:pos x="17" y="270"/>
                  </a:cxn>
                  <a:cxn ang="0">
                    <a:pos x="19" y="258"/>
                  </a:cxn>
                  <a:cxn ang="0">
                    <a:pos x="15" y="226"/>
                  </a:cxn>
                  <a:cxn ang="0">
                    <a:pos x="13" y="198"/>
                  </a:cxn>
                  <a:cxn ang="0">
                    <a:pos x="13" y="182"/>
                  </a:cxn>
                  <a:cxn ang="0">
                    <a:pos x="25" y="164"/>
                  </a:cxn>
                  <a:cxn ang="0">
                    <a:pos x="33" y="144"/>
                  </a:cxn>
                  <a:cxn ang="0">
                    <a:pos x="43" y="124"/>
                  </a:cxn>
                  <a:cxn ang="0">
                    <a:pos x="51" y="96"/>
                  </a:cxn>
                  <a:cxn ang="0">
                    <a:pos x="57" y="82"/>
                  </a:cxn>
                  <a:cxn ang="0">
                    <a:pos x="63" y="58"/>
                  </a:cxn>
                  <a:cxn ang="0">
                    <a:pos x="69" y="42"/>
                  </a:cxn>
                  <a:cxn ang="0">
                    <a:pos x="83" y="38"/>
                  </a:cxn>
                  <a:cxn ang="0">
                    <a:pos x="89" y="20"/>
                  </a:cxn>
                  <a:cxn ang="0">
                    <a:pos x="107" y="16"/>
                  </a:cxn>
                  <a:cxn ang="0">
                    <a:pos x="117" y="0"/>
                  </a:cxn>
                  <a:cxn ang="0">
                    <a:pos x="151" y="38"/>
                  </a:cxn>
                  <a:cxn ang="0">
                    <a:pos x="153" y="66"/>
                  </a:cxn>
                  <a:cxn ang="0">
                    <a:pos x="153" y="92"/>
                  </a:cxn>
                </a:cxnLst>
                <a:rect l="0" t="0" r="r" b="b"/>
                <a:pathLst>
                  <a:path w="157" h="384">
                    <a:moveTo>
                      <a:pt x="157" y="106"/>
                    </a:moveTo>
                    <a:lnTo>
                      <a:pt x="157" y="110"/>
                    </a:lnTo>
                    <a:lnTo>
                      <a:pt x="153" y="108"/>
                    </a:lnTo>
                    <a:lnTo>
                      <a:pt x="137" y="106"/>
                    </a:lnTo>
                    <a:lnTo>
                      <a:pt x="135" y="116"/>
                    </a:lnTo>
                    <a:lnTo>
                      <a:pt x="125" y="124"/>
                    </a:lnTo>
                    <a:lnTo>
                      <a:pt x="127" y="130"/>
                    </a:lnTo>
                    <a:lnTo>
                      <a:pt x="123" y="140"/>
                    </a:lnTo>
                    <a:lnTo>
                      <a:pt x="127" y="152"/>
                    </a:lnTo>
                    <a:lnTo>
                      <a:pt x="125" y="154"/>
                    </a:lnTo>
                    <a:lnTo>
                      <a:pt x="125" y="152"/>
                    </a:lnTo>
                    <a:lnTo>
                      <a:pt x="125" y="152"/>
                    </a:lnTo>
                    <a:lnTo>
                      <a:pt x="121" y="162"/>
                    </a:lnTo>
                    <a:lnTo>
                      <a:pt x="113" y="170"/>
                    </a:lnTo>
                    <a:lnTo>
                      <a:pt x="105" y="178"/>
                    </a:lnTo>
                    <a:lnTo>
                      <a:pt x="97" y="184"/>
                    </a:lnTo>
                    <a:lnTo>
                      <a:pt x="93" y="184"/>
                    </a:lnTo>
                    <a:lnTo>
                      <a:pt x="87" y="196"/>
                    </a:lnTo>
                    <a:lnTo>
                      <a:pt x="81" y="194"/>
                    </a:lnTo>
                    <a:lnTo>
                      <a:pt x="79" y="208"/>
                    </a:lnTo>
                    <a:lnTo>
                      <a:pt x="77" y="208"/>
                    </a:lnTo>
                    <a:lnTo>
                      <a:pt x="77" y="230"/>
                    </a:lnTo>
                    <a:lnTo>
                      <a:pt x="73" y="228"/>
                    </a:lnTo>
                    <a:lnTo>
                      <a:pt x="73" y="228"/>
                    </a:lnTo>
                    <a:lnTo>
                      <a:pt x="73" y="234"/>
                    </a:lnTo>
                    <a:lnTo>
                      <a:pt x="73" y="242"/>
                    </a:lnTo>
                    <a:lnTo>
                      <a:pt x="75" y="250"/>
                    </a:lnTo>
                    <a:lnTo>
                      <a:pt x="73" y="254"/>
                    </a:lnTo>
                    <a:lnTo>
                      <a:pt x="75" y="254"/>
                    </a:lnTo>
                    <a:lnTo>
                      <a:pt x="75" y="254"/>
                    </a:lnTo>
                    <a:lnTo>
                      <a:pt x="69" y="262"/>
                    </a:lnTo>
                    <a:lnTo>
                      <a:pt x="63" y="268"/>
                    </a:lnTo>
                    <a:lnTo>
                      <a:pt x="71" y="268"/>
                    </a:lnTo>
                    <a:lnTo>
                      <a:pt x="79" y="256"/>
                    </a:lnTo>
                    <a:lnTo>
                      <a:pt x="83" y="258"/>
                    </a:lnTo>
                    <a:lnTo>
                      <a:pt x="93" y="276"/>
                    </a:lnTo>
                    <a:lnTo>
                      <a:pt x="89" y="284"/>
                    </a:lnTo>
                    <a:lnTo>
                      <a:pt x="83" y="288"/>
                    </a:lnTo>
                    <a:lnTo>
                      <a:pt x="79" y="284"/>
                    </a:lnTo>
                    <a:lnTo>
                      <a:pt x="79" y="284"/>
                    </a:lnTo>
                    <a:lnTo>
                      <a:pt x="71" y="284"/>
                    </a:lnTo>
                    <a:lnTo>
                      <a:pt x="63" y="286"/>
                    </a:lnTo>
                    <a:lnTo>
                      <a:pt x="63" y="286"/>
                    </a:lnTo>
                    <a:lnTo>
                      <a:pt x="69" y="288"/>
                    </a:lnTo>
                    <a:lnTo>
                      <a:pt x="73" y="288"/>
                    </a:lnTo>
                    <a:lnTo>
                      <a:pt x="75" y="292"/>
                    </a:lnTo>
                    <a:lnTo>
                      <a:pt x="91" y="290"/>
                    </a:lnTo>
                    <a:lnTo>
                      <a:pt x="91" y="290"/>
                    </a:lnTo>
                    <a:lnTo>
                      <a:pt x="83" y="300"/>
                    </a:lnTo>
                    <a:lnTo>
                      <a:pt x="79" y="300"/>
                    </a:lnTo>
                    <a:lnTo>
                      <a:pt x="79" y="298"/>
                    </a:lnTo>
                    <a:lnTo>
                      <a:pt x="79" y="296"/>
                    </a:lnTo>
                    <a:lnTo>
                      <a:pt x="77" y="302"/>
                    </a:lnTo>
                    <a:lnTo>
                      <a:pt x="71" y="306"/>
                    </a:lnTo>
                    <a:lnTo>
                      <a:pt x="63" y="306"/>
                    </a:lnTo>
                    <a:lnTo>
                      <a:pt x="61" y="308"/>
                    </a:lnTo>
                    <a:lnTo>
                      <a:pt x="69" y="308"/>
                    </a:lnTo>
                    <a:lnTo>
                      <a:pt x="69" y="310"/>
                    </a:lnTo>
                    <a:lnTo>
                      <a:pt x="69" y="310"/>
                    </a:lnTo>
                    <a:lnTo>
                      <a:pt x="67" y="310"/>
                    </a:lnTo>
                    <a:lnTo>
                      <a:pt x="65" y="312"/>
                    </a:lnTo>
                    <a:lnTo>
                      <a:pt x="69" y="314"/>
                    </a:lnTo>
                    <a:lnTo>
                      <a:pt x="69" y="324"/>
                    </a:lnTo>
                    <a:lnTo>
                      <a:pt x="65" y="324"/>
                    </a:lnTo>
                    <a:lnTo>
                      <a:pt x="67" y="330"/>
                    </a:lnTo>
                    <a:lnTo>
                      <a:pt x="65" y="332"/>
                    </a:lnTo>
                    <a:lnTo>
                      <a:pt x="67" y="336"/>
                    </a:lnTo>
                    <a:lnTo>
                      <a:pt x="67" y="336"/>
                    </a:lnTo>
                    <a:lnTo>
                      <a:pt x="65" y="342"/>
                    </a:lnTo>
                    <a:lnTo>
                      <a:pt x="63" y="350"/>
                    </a:lnTo>
                    <a:lnTo>
                      <a:pt x="61" y="358"/>
                    </a:lnTo>
                    <a:lnTo>
                      <a:pt x="59" y="366"/>
                    </a:lnTo>
                    <a:lnTo>
                      <a:pt x="47" y="364"/>
                    </a:lnTo>
                    <a:lnTo>
                      <a:pt x="43" y="368"/>
                    </a:lnTo>
                    <a:lnTo>
                      <a:pt x="41" y="368"/>
                    </a:lnTo>
                    <a:lnTo>
                      <a:pt x="39" y="374"/>
                    </a:lnTo>
                    <a:lnTo>
                      <a:pt x="39" y="380"/>
                    </a:lnTo>
                    <a:lnTo>
                      <a:pt x="37" y="384"/>
                    </a:lnTo>
                    <a:lnTo>
                      <a:pt x="23" y="384"/>
                    </a:lnTo>
                    <a:lnTo>
                      <a:pt x="23" y="378"/>
                    </a:lnTo>
                    <a:lnTo>
                      <a:pt x="19" y="364"/>
                    </a:lnTo>
                    <a:lnTo>
                      <a:pt x="21" y="364"/>
                    </a:lnTo>
                    <a:lnTo>
                      <a:pt x="19" y="360"/>
                    </a:lnTo>
                    <a:lnTo>
                      <a:pt x="23" y="358"/>
                    </a:lnTo>
                    <a:lnTo>
                      <a:pt x="23" y="358"/>
                    </a:lnTo>
                    <a:lnTo>
                      <a:pt x="23" y="358"/>
                    </a:lnTo>
                    <a:lnTo>
                      <a:pt x="17" y="348"/>
                    </a:lnTo>
                    <a:lnTo>
                      <a:pt x="13" y="342"/>
                    </a:lnTo>
                    <a:lnTo>
                      <a:pt x="13" y="338"/>
                    </a:lnTo>
                    <a:lnTo>
                      <a:pt x="11" y="338"/>
                    </a:lnTo>
                    <a:lnTo>
                      <a:pt x="11" y="326"/>
                    </a:lnTo>
                    <a:lnTo>
                      <a:pt x="8" y="328"/>
                    </a:lnTo>
                    <a:lnTo>
                      <a:pt x="8" y="320"/>
                    </a:lnTo>
                    <a:lnTo>
                      <a:pt x="4" y="320"/>
                    </a:lnTo>
                    <a:lnTo>
                      <a:pt x="4" y="314"/>
                    </a:lnTo>
                    <a:lnTo>
                      <a:pt x="2" y="310"/>
                    </a:lnTo>
                    <a:lnTo>
                      <a:pt x="0" y="298"/>
                    </a:lnTo>
                    <a:lnTo>
                      <a:pt x="2" y="296"/>
                    </a:lnTo>
                    <a:lnTo>
                      <a:pt x="4" y="300"/>
                    </a:lnTo>
                    <a:lnTo>
                      <a:pt x="6" y="300"/>
                    </a:lnTo>
                    <a:lnTo>
                      <a:pt x="6" y="300"/>
                    </a:lnTo>
                    <a:lnTo>
                      <a:pt x="8" y="292"/>
                    </a:lnTo>
                    <a:lnTo>
                      <a:pt x="6" y="284"/>
                    </a:lnTo>
                    <a:lnTo>
                      <a:pt x="11" y="276"/>
                    </a:lnTo>
                    <a:lnTo>
                      <a:pt x="17" y="270"/>
                    </a:lnTo>
                    <a:lnTo>
                      <a:pt x="17" y="270"/>
                    </a:lnTo>
                    <a:lnTo>
                      <a:pt x="17" y="264"/>
                    </a:lnTo>
                    <a:lnTo>
                      <a:pt x="19" y="258"/>
                    </a:lnTo>
                    <a:lnTo>
                      <a:pt x="15" y="248"/>
                    </a:lnTo>
                    <a:lnTo>
                      <a:pt x="21" y="232"/>
                    </a:lnTo>
                    <a:lnTo>
                      <a:pt x="15" y="226"/>
                    </a:lnTo>
                    <a:lnTo>
                      <a:pt x="15" y="226"/>
                    </a:lnTo>
                    <a:lnTo>
                      <a:pt x="13" y="208"/>
                    </a:lnTo>
                    <a:lnTo>
                      <a:pt x="13" y="198"/>
                    </a:lnTo>
                    <a:lnTo>
                      <a:pt x="17" y="190"/>
                    </a:lnTo>
                    <a:lnTo>
                      <a:pt x="13" y="182"/>
                    </a:lnTo>
                    <a:lnTo>
                      <a:pt x="13" y="182"/>
                    </a:lnTo>
                    <a:lnTo>
                      <a:pt x="15" y="176"/>
                    </a:lnTo>
                    <a:lnTo>
                      <a:pt x="17" y="172"/>
                    </a:lnTo>
                    <a:lnTo>
                      <a:pt x="25" y="164"/>
                    </a:lnTo>
                    <a:lnTo>
                      <a:pt x="37" y="162"/>
                    </a:lnTo>
                    <a:lnTo>
                      <a:pt x="39" y="152"/>
                    </a:lnTo>
                    <a:lnTo>
                      <a:pt x="33" y="144"/>
                    </a:lnTo>
                    <a:lnTo>
                      <a:pt x="33" y="144"/>
                    </a:lnTo>
                    <a:lnTo>
                      <a:pt x="39" y="136"/>
                    </a:lnTo>
                    <a:lnTo>
                      <a:pt x="43" y="124"/>
                    </a:lnTo>
                    <a:lnTo>
                      <a:pt x="43" y="112"/>
                    </a:lnTo>
                    <a:lnTo>
                      <a:pt x="43" y="100"/>
                    </a:lnTo>
                    <a:lnTo>
                      <a:pt x="51" y="96"/>
                    </a:lnTo>
                    <a:lnTo>
                      <a:pt x="51" y="96"/>
                    </a:lnTo>
                    <a:lnTo>
                      <a:pt x="53" y="90"/>
                    </a:lnTo>
                    <a:lnTo>
                      <a:pt x="57" y="82"/>
                    </a:lnTo>
                    <a:lnTo>
                      <a:pt x="65" y="68"/>
                    </a:lnTo>
                    <a:lnTo>
                      <a:pt x="65" y="64"/>
                    </a:lnTo>
                    <a:lnTo>
                      <a:pt x="63" y="58"/>
                    </a:lnTo>
                    <a:lnTo>
                      <a:pt x="63" y="58"/>
                    </a:lnTo>
                    <a:lnTo>
                      <a:pt x="67" y="50"/>
                    </a:lnTo>
                    <a:lnTo>
                      <a:pt x="69" y="42"/>
                    </a:lnTo>
                    <a:lnTo>
                      <a:pt x="77" y="34"/>
                    </a:lnTo>
                    <a:lnTo>
                      <a:pt x="83" y="38"/>
                    </a:lnTo>
                    <a:lnTo>
                      <a:pt x="83" y="38"/>
                    </a:lnTo>
                    <a:lnTo>
                      <a:pt x="87" y="30"/>
                    </a:lnTo>
                    <a:lnTo>
                      <a:pt x="87" y="22"/>
                    </a:lnTo>
                    <a:lnTo>
                      <a:pt x="89" y="20"/>
                    </a:lnTo>
                    <a:lnTo>
                      <a:pt x="109" y="22"/>
                    </a:lnTo>
                    <a:lnTo>
                      <a:pt x="111" y="20"/>
                    </a:lnTo>
                    <a:lnTo>
                      <a:pt x="107" y="16"/>
                    </a:lnTo>
                    <a:lnTo>
                      <a:pt x="111" y="6"/>
                    </a:lnTo>
                    <a:lnTo>
                      <a:pt x="109" y="0"/>
                    </a:lnTo>
                    <a:lnTo>
                      <a:pt x="117" y="0"/>
                    </a:lnTo>
                    <a:lnTo>
                      <a:pt x="117" y="0"/>
                    </a:lnTo>
                    <a:lnTo>
                      <a:pt x="151" y="38"/>
                    </a:lnTo>
                    <a:lnTo>
                      <a:pt x="151" y="38"/>
                    </a:lnTo>
                    <a:lnTo>
                      <a:pt x="151" y="46"/>
                    </a:lnTo>
                    <a:lnTo>
                      <a:pt x="151" y="52"/>
                    </a:lnTo>
                    <a:lnTo>
                      <a:pt x="153" y="66"/>
                    </a:lnTo>
                    <a:lnTo>
                      <a:pt x="155" y="80"/>
                    </a:lnTo>
                    <a:lnTo>
                      <a:pt x="155" y="86"/>
                    </a:lnTo>
                    <a:lnTo>
                      <a:pt x="153" y="92"/>
                    </a:lnTo>
                    <a:lnTo>
                      <a:pt x="157" y="10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0" name="Freeform 1358">
                <a:extLst>
                  <a:ext uri="{FF2B5EF4-FFF2-40B4-BE49-F238E27FC236}">
                    <a16:creationId xmlns:a16="http://schemas.microsoft.com/office/drawing/2014/main" id="{6DF13BFB-97CF-4E76-9AEC-EB4610175114}"/>
                  </a:ext>
                </a:extLst>
              </p:cNvPr>
              <p:cNvSpPr>
                <a:spLocks/>
              </p:cNvSpPr>
              <p:nvPr/>
            </p:nvSpPr>
            <p:spPr bwMode="auto">
              <a:xfrm>
                <a:off x="3076" y="2020"/>
                <a:ext cx="32" cy="64"/>
              </a:xfrm>
              <a:custGeom>
                <a:avLst/>
                <a:gdLst/>
                <a:ahLst/>
                <a:cxnLst>
                  <a:cxn ang="0">
                    <a:pos x="6" y="64"/>
                  </a:cxn>
                  <a:cxn ang="0">
                    <a:pos x="6" y="64"/>
                  </a:cxn>
                  <a:cxn ang="0">
                    <a:pos x="18" y="64"/>
                  </a:cxn>
                  <a:cxn ang="0">
                    <a:pos x="14" y="60"/>
                  </a:cxn>
                  <a:cxn ang="0">
                    <a:pos x="18" y="58"/>
                  </a:cxn>
                  <a:cxn ang="0">
                    <a:pos x="16" y="52"/>
                  </a:cxn>
                  <a:cxn ang="0">
                    <a:pos x="18" y="48"/>
                  </a:cxn>
                  <a:cxn ang="0">
                    <a:pos x="16" y="46"/>
                  </a:cxn>
                  <a:cxn ang="0">
                    <a:pos x="20" y="46"/>
                  </a:cxn>
                  <a:cxn ang="0">
                    <a:pos x="20" y="42"/>
                  </a:cxn>
                  <a:cxn ang="0">
                    <a:pos x="24" y="40"/>
                  </a:cxn>
                  <a:cxn ang="0">
                    <a:pos x="26" y="34"/>
                  </a:cxn>
                  <a:cxn ang="0">
                    <a:pos x="28" y="38"/>
                  </a:cxn>
                  <a:cxn ang="0">
                    <a:pos x="32" y="32"/>
                  </a:cxn>
                  <a:cxn ang="0">
                    <a:pos x="32" y="28"/>
                  </a:cxn>
                  <a:cxn ang="0">
                    <a:pos x="24" y="30"/>
                  </a:cxn>
                  <a:cxn ang="0">
                    <a:pos x="24" y="26"/>
                  </a:cxn>
                  <a:cxn ang="0">
                    <a:pos x="24" y="26"/>
                  </a:cxn>
                  <a:cxn ang="0">
                    <a:pos x="22" y="26"/>
                  </a:cxn>
                  <a:cxn ang="0">
                    <a:pos x="24" y="24"/>
                  </a:cxn>
                  <a:cxn ang="0">
                    <a:pos x="24" y="24"/>
                  </a:cxn>
                  <a:cxn ang="0">
                    <a:pos x="24" y="16"/>
                  </a:cxn>
                  <a:cxn ang="0">
                    <a:pos x="28" y="10"/>
                  </a:cxn>
                  <a:cxn ang="0">
                    <a:pos x="28" y="10"/>
                  </a:cxn>
                  <a:cxn ang="0">
                    <a:pos x="26" y="6"/>
                  </a:cxn>
                  <a:cxn ang="0">
                    <a:pos x="26" y="0"/>
                  </a:cxn>
                  <a:cxn ang="0">
                    <a:pos x="26" y="0"/>
                  </a:cxn>
                  <a:cxn ang="0">
                    <a:pos x="20" y="4"/>
                  </a:cxn>
                  <a:cxn ang="0">
                    <a:pos x="14" y="12"/>
                  </a:cxn>
                  <a:cxn ang="0">
                    <a:pos x="4" y="14"/>
                  </a:cxn>
                  <a:cxn ang="0">
                    <a:pos x="4" y="14"/>
                  </a:cxn>
                  <a:cxn ang="0">
                    <a:pos x="0" y="22"/>
                  </a:cxn>
                  <a:cxn ang="0">
                    <a:pos x="0" y="32"/>
                  </a:cxn>
                  <a:cxn ang="0">
                    <a:pos x="0" y="50"/>
                  </a:cxn>
                  <a:cxn ang="0">
                    <a:pos x="4" y="50"/>
                  </a:cxn>
                  <a:cxn ang="0">
                    <a:pos x="6" y="54"/>
                  </a:cxn>
                  <a:cxn ang="0">
                    <a:pos x="6" y="64"/>
                  </a:cxn>
                </a:cxnLst>
                <a:rect l="0" t="0" r="r" b="b"/>
                <a:pathLst>
                  <a:path w="32" h="64">
                    <a:moveTo>
                      <a:pt x="6" y="64"/>
                    </a:moveTo>
                    <a:lnTo>
                      <a:pt x="6" y="64"/>
                    </a:lnTo>
                    <a:lnTo>
                      <a:pt x="18" y="64"/>
                    </a:lnTo>
                    <a:lnTo>
                      <a:pt x="14" y="60"/>
                    </a:lnTo>
                    <a:lnTo>
                      <a:pt x="18" y="58"/>
                    </a:lnTo>
                    <a:lnTo>
                      <a:pt x="16" y="52"/>
                    </a:lnTo>
                    <a:lnTo>
                      <a:pt x="18" y="48"/>
                    </a:lnTo>
                    <a:lnTo>
                      <a:pt x="16" y="46"/>
                    </a:lnTo>
                    <a:lnTo>
                      <a:pt x="20" y="46"/>
                    </a:lnTo>
                    <a:lnTo>
                      <a:pt x="20" y="42"/>
                    </a:lnTo>
                    <a:lnTo>
                      <a:pt x="24" y="40"/>
                    </a:lnTo>
                    <a:lnTo>
                      <a:pt x="26" y="34"/>
                    </a:lnTo>
                    <a:lnTo>
                      <a:pt x="28" y="38"/>
                    </a:lnTo>
                    <a:lnTo>
                      <a:pt x="32" y="32"/>
                    </a:lnTo>
                    <a:lnTo>
                      <a:pt x="32" y="28"/>
                    </a:lnTo>
                    <a:lnTo>
                      <a:pt x="24" y="30"/>
                    </a:lnTo>
                    <a:lnTo>
                      <a:pt x="24" y="26"/>
                    </a:lnTo>
                    <a:lnTo>
                      <a:pt x="24" y="26"/>
                    </a:lnTo>
                    <a:lnTo>
                      <a:pt x="22" y="26"/>
                    </a:lnTo>
                    <a:lnTo>
                      <a:pt x="24" y="24"/>
                    </a:lnTo>
                    <a:lnTo>
                      <a:pt x="24" y="24"/>
                    </a:lnTo>
                    <a:lnTo>
                      <a:pt x="24" y="16"/>
                    </a:lnTo>
                    <a:lnTo>
                      <a:pt x="28" y="10"/>
                    </a:lnTo>
                    <a:lnTo>
                      <a:pt x="28" y="10"/>
                    </a:lnTo>
                    <a:lnTo>
                      <a:pt x="26" y="6"/>
                    </a:lnTo>
                    <a:lnTo>
                      <a:pt x="26" y="0"/>
                    </a:lnTo>
                    <a:lnTo>
                      <a:pt x="26" y="0"/>
                    </a:lnTo>
                    <a:lnTo>
                      <a:pt x="20" y="4"/>
                    </a:lnTo>
                    <a:lnTo>
                      <a:pt x="14" y="12"/>
                    </a:lnTo>
                    <a:lnTo>
                      <a:pt x="4" y="14"/>
                    </a:lnTo>
                    <a:lnTo>
                      <a:pt x="4" y="14"/>
                    </a:lnTo>
                    <a:lnTo>
                      <a:pt x="0" y="22"/>
                    </a:lnTo>
                    <a:lnTo>
                      <a:pt x="0" y="32"/>
                    </a:lnTo>
                    <a:lnTo>
                      <a:pt x="0" y="50"/>
                    </a:lnTo>
                    <a:lnTo>
                      <a:pt x="4" y="50"/>
                    </a:lnTo>
                    <a:lnTo>
                      <a:pt x="6" y="54"/>
                    </a:lnTo>
                    <a:lnTo>
                      <a:pt x="6" y="6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1" name="Freeform 1359">
                <a:extLst>
                  <a:ext uri="{FF2B5EF4-FFF2-40B4-BE49-F238E27FC236}">
                    <a16:creationId xmlns:a16="http://schemas.microsoft.com/office/drawing/2014/main" id="{372FA6B0-E830-45CD-90B8-FBFFF4182538}"/>
                  </a:ext>
                </a:extLst>
              </p:cNvPr>
              <p:cNvSpPr>
                <a:spLocks/>
              </p:cNvSpPr>
              <p:nvPr/>
            </p:nvSpPr>
            <p:spPr bwMode="auto">
              <a:xfrm>
                <a:off x="2856" y="2078"/>
                <a:ext cx="50" cy="80"/>
              </a:xfrm>
              <a:custGeom>
                <a:avLst/>
                <a:gdLst/>
                <a:ahLst/>
                <a:cxnLst>
                  <a:cxn ang="0">
                    <a:pos x="50" y="26"/>
                  </a:cxn>
                  <a:cxn ang="0">
                    <a:pos x="46" y="18"/>
                  </a:cxn>
                  <a:cxn ang="0">
                    <a:pos x="34" y="24"/>
                  </a:cxn>
                  <a:cxn ang="0">
                    <a:pos x="30" y="18"/>
                  </a:cxn>
                  <a:cxn ang="0">
                    <a:pos x="30" y="14"/>
                  </a:cxn>
                  <a:cxn ang="0">
                    <a:pos x="32" y="12"/>
                  </a:cxn>
                  <a:cxn ang="0">
                    <a:pos x="34" y="6"/>
                  </a:cxn>
                  <a:cxn ang="0">
                    <a:pos x="26" y="2"/>
                  </a:cxn>
                  <a:cxn ang="0">
                    <a:pos x="26" y="14"/>
                  </a:cxn>
                  <a:cxn ang="0">
                    <a:pos x="22" y="20"/>
                  </a:cxn>
                  <a:cxn ang="0">
                    <a:pos x="8" y="20"/>
                  </a:cxn>
                  <a:cxn ang="0">
                    <a:pos x="6" y="28"/>
                  </a:cxn>
                  <a:cxn ang="0">
                    <a:pos x="10" y="32"/>
                  </a:cxn>
                  <a:cxn ang="0">
                    <a:pos x="6" y="42"/>
                  </a:cxn>
                  <a:cxn ang="0">
                    <a:pos x="12" y="48"/>
                  </a:cxn>
                  <a:cxn ang="0">
                    <a:pos x="6" y="58"/>
                  </a:cxn>
                  <a:cxn ang="0">
                    <a:pos x="18" y="52"/>
                  </a:cxn>
                  <a:cxn ang="0">
                    <a:pos x="20" y="56"/>
                  </a:cxn>
                  <a:cxn ang="0">
                    <a:pos x="6" y="64"/>
                  </a:cxn>
                  <a:cxn ang="0">
                    <a:pos x="0" y="68"/>
                  </a:cxn>
                  <a:cxn ang="0">
                    <a:pos x="0" y="74"/>
                  </a:cxn>
                  <a:cxn ang="0">
                    <a:pos x="4" y="78"/>
                  </a:cxn>
                  <a:cxn ang="0">
                    <a:pos x="10" y="78"/>
                  </a:cxn>
                  <a:cxn ang="0">
                    <a:pos x="8" y="80"/>
                  </a:cxn>
                  <a:cxn ang="0">
                    <a:pos x="16" y="78"/>
                  </a:cxn>
                  <a:cxn ang="0">
                    <a:pos x="24" y="72"/>
                  </a:cxn>
                  <a:cxn ang="0">
                    <a:pos x="32" y="72"/>
                  </a:cxn>
                  <a:cxn ang="0">
                    <a:pos x="46" y="66"/>
                  </a:cxn>
                  <a:cxn ang="0">
                    <a:pos x="46" y="62"/>
                  </a:cxn>
                  <a:cxn ang="0">
                    <a:pos x="50" y="50"/>
                  </a:cxn>
                  <a:cxn ang="0">
                    <a:pos x="50" y="44"/>
                  </a:cxn>
                  <a:cxn ang="0">
                    <a:pos x="50" y="38"/>
                  </a:cxn>
                  <a:cxn ang="0">
                    <a:pos x="50" y="26"/>
                  </a:cxn>
                </a:cxnLst>
                <a:rect l="0" t="0" r="r" b="b"/>
                <a:pathLst>
                  <a:path w="50" h="80">
                    <a:moveTo>
                      <a:pt x="50" y="26"/>
                    </a:moveTo>
                    <a:lnTo>
                      <a:pt x="50" y="26"/>
                    </a:lnTo>
                    <a:lnTo>
                      <a:pt x="48" y="22"/>
                    </a:lnTo>
                    <a:lnTo>
                      <a:pt x="46" y="18"/>
                    </a:lnTo>
                    <a:lnTo>
                      <a:pt x="38" y="18"/>
                    </a:lnTo>
                    <a:lnTo>
                      <a:pt x="34" y="24"/>
                    </a:lnTo>
                    <a:lnTo>
                      <a:pt x="32" y="22"/>
                    </a:lnTo>
                    <a:lnTo>
                      <a:pt x="30" y="18"/>
                    </a:lnTo>
                    <a:lnTo>
                      <a:pt x="26" y="16"/>
                    </a:lnTo>
                    <a:lnTo>
                      <a:pt x="30" y="14"/>
                    </a:lnTo>
                    <a:lnTo>
                      <a:pt x="30" y="12"/>
                    </a:lnTo>
                    <a:lnTo>
                      <a:pt x="32" y="12"/>
                    </a:lnTo>
                    <a:lnTo>
                      <a:pt x="32" y="12"/>
                    </a:lnTo>
                    <a:lnTo>
                      <a:pt x="34" y="6"/>
                    </a:lnTo>
                    <a:lnTo>
                      <a:pt x="32" y="0"/>
                    </a:lnTo>
                    <a:lnTo>
                      <a:pt x="26" y="2"/>
                    </a:lnTo>
                    <a:lnTo>
                      <a:pt x="18" y="12"/>
                    </a:lnTo>
                    <a:lnTo>
                      <a:pt x="26" y="14"/>
                    </a:lnTo>
                    <a:lnTo>
                      <a:pt x="26" y="16"/>
                    </a:lnTo>
                    <a:lnTo>
                      <a:pt x="22" y="20"/>
                    </a:lnTo>
                    <a:lnTo>
                      <a:pt x="22" y="22"/>
                    </a:lnTo>
                    <a:lnTo>
                      <a:pt x="8" y="20"/>
                    </a:lnTo>
                    <a:lnTo>
                      <a:pt x="6" y="24"/>
                    </a:lnTo>
                    <a:lnTo>
                      <a:pt x="6" y="28"/>
                    </a:lnTo>
                    <a:lnTo>
                      <a:pt x="2" y="28"/>
                    </a:lnTo>
                    <a:lnTo>
                      <a:pt x="10" y="32"/>
                    </a:lnTo>
                    <a:lnTo>
                      <a:pt x="4" y="36"/>
                    </a:lnTo>
                    <a:lnTo>
                      <a:pt x="6" y="42"/>
                    </a:lnTo>
                    <a:lnTo>
                      <a:pt x="16" y="44"/>
                    </a:lnTo>
                    <a:lnTo>
                      <a:pt x="12" y="48"/>
                    </a:lnTo>
                    <a:lnTo>
                      <a:pt x="10" y="54"/>
                    </a:lnTo>
                    <a:lnTo>
                      <a:pt x="6" y="58"/>
                    </a:lnTo>
                    <a:lnTo>
                      <a:pt x="14" y="56"/>
                    </a:lnTo>
                    <a:lnTo>
                      <a:pt x="18" y="52"/>
                    </a:lnTo>
                    <a:lnTo>
                      <a:pt x="18" y="56"/>
                    </a:lnTo>
                    <a:lnTo>
                      <a:pt x="20" y="56"/>
                    </a:lnTo>
                    <a:lnTo>
                      <a:pt x="8" y="58"/>
                    </a:lnTo>
                    <a:lnTo>
                      <a:pt x="6" y="64"/>
                    </a:lnTo>
                    <a:lnTo>
                      <a:pt x="0" y="66"/>
                    </a:lnTo>
                    <a:lnTo>
                      <a:pt x="0" y="68"/>
                    </a:lnTo>
                    <a:lnTo>
                      <a:pt x="6" y="68"/>
                    </a:lnTo>
                    <a:lnTo>
                      <a:pt x="0" y="74"/>
                    </a:lnTo>
                    <a:lnTo>
                      <a:pt x="8" y="72"/>
                    </a:lnTo>
                    <a:lnTo>
                      <a:pt x="4" y="78"/>
                    </a:lnTo>
                    <a:lnTo>
                      <a:pt x="10" y="76"/>
                    </a:lnTo>
                    <a:lnTo>
                      <a:pt x="10" y="78"/>
                    </a:lnTo>
                    <a:lnTo>
                      <a:pt x="6" y="78"/>
                    </a:lnTo>
                    <a:lnTo>
                      <a:pt x="8" y="80"/>
                    </a:lnTo>
                    <a:lnTo>
                      <a:pt x="8" y="80"/>
                    </a:lnTo>
                    <a:lnTo>
                      <a:pt x="16" y="78"/>
                    </a:lnTo>
                    <a:lnTo>
                      <a:pt x="24" y="76"/>
                    </a:lnTo>
                    <a:lnTo>
                      <a:pt x="24" y="72"/>
                    </a:lnTo>
                    <a:lnTo>
                      <a:pt x="26" y="74"/>
                    </a:lnTo>
                    <a:lnTo>
                      <a:pt x="32" y="72"/>
                    </a:lnTo>
                    <a:lnTo>
                      <a:pt x="34" y="68"/>
                    </a:lnTo>
                    <a:lnTo>
                      <a:pt x="46" y="66"/>
                    </a:lnTo>
                    <a:lnTo>
                      <a:pt x="46" y="66"/>
                    </a:lnTo>
                    <a:lnTo>
                      <a:pt x="46" y="62"/>
                    </a:lnTo>
                    <a:lnTo>
                      <a:pt x="48" y="58"/>
                    </a:lnTo>
                    <a:lnTo>
                      <a:pt x="50" y="50"/>
                    </a:lnTo>
                    <a:lnTo>
                      <a:pt x="50" y="50"/>
                    </a:lnTo>
                    <a:lnTo>
                      <a:pt x="50" y="44"/>
                    </a:lnTo>
                    <a:lnTo>
                      <a:pt x="50" y="40"/>
                    </a:lnTo>
                    <a:lnTo>
                      <a:pt x="50" y="38"/>
                    </a:lnTo>
                    <a:lnTo>
                      <a:pt x="48" y="30"/>
                    </a:lnTo>
                    <a:lnTo>
                      <a:pt x="50"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2" name="Freeform 1360">
                <a:extLst>
                  <a:ext uri="{FF2B5EF4-FFF2-40B4-BE49-F238E27FC236}">
                    <a16:creationId xmlns:a16="http://schemas.microsoft.com/office/drawing/2014/main" id="{A3604751-63C9-423F-B54A-9364D2783C6C}"/>
                  </a:ext>
                </a:extLst>
              </p:cNvPr>
              <p:cNvSpPr>
                <a:spLocks/>
              </p:cNvSpPr>
              <p:nvPr/>
            </p:nvSpPr>
            <p:spPr bwMode="auto">
              <a:xfrm>
                <a:off x="3221" y="2222"/>
                <a:ext cx="114" cy="84"/>
              </a:xfrm>
              <a:custGeom>
                <a:avLst/>
                <a:gdLst/>
                <a:ahLst/>
                <a:cxnLst>
                  <a:cxn ang="0">
                    <a:pos x="78" y="0"/>
                  </a:cxn>
                  <a:cxn ang="0">
                    <a:pos x="58" y="8"/>
                  </a:cxn>
                  <a:cxn ang="0">
                    <a:pos x="52" y="4"/>
                  </a:cxn>
                  <a:cxn ang="0">
                    <a:pos x="32" y="6"/>
                  </a:cxn>
                  <a:cxn ang="0">
                    <a:pos x="32" y="6"/>
                  </a:cxn>
                  <a:cxn ang="0">
                    <a:pos x="24" y="10"/>
                  </a:cxn>
                  <a:cxn ang="0">
                    <a:pos x="18" y="18"/>
                  </a:cxn>
                  <a:cxn ang="0">
                    <a:pos x="12" y="36"/>
                  </a:cxn>
                  <a:cxn ang="0">
                    <a:pos x="0" y="40"/>
                  </a:cxn>
                  <a:cxn ang="0">
                    <a:pos x="0" y="40"/>
                  </a:cxn>
                  <a:cxn ang="0">
                    <a:pos x="4" y="42"/>
                  </a:cxn>
                  <a:cxn ang="0">
                    <a:pos x="8" y="46"/>
                  </a:cxn>
                  <a:cxn ang="0">
                    <a:pos x="10" y="54"/>
                  </a:cxn>
                  <a:cxn ang="0">
                    <a:pos x="14" y="56"/>
                  </a:cxn>
                  <a:cxn ang="0">
                    <a:pos x="16" y="62"/>
                  </a:cxn>
                  <a:cxn ang="0">
                    <a:pos x="28" y="66"/>
                  </a:cxn>
                  <a:cxn ang="0">
                    <a:pos x="30" y="68"/>
                  </a:cxn>
                  <a:cxn ang="0">
                    <a:pos x="28" y="70"/>
                  </a:cxn>
                  <a:cxn ang="0">
                    <a:pos x="28" y="74"/>
                  </a:cxn>
                  <a:cxn ang="0">
                    <a:pos x="28" y="74"/>
                  </a:cxn>
                  <a:cxn ang="0">
                    <a:pos x="34" y="76"/>
                  </a:cxn>
                  <a:cxn ang="0">
                    <a:pos x="34" y="82"/>
                  </a:cxn>
                  <a:cxn ang="0">
                    <a:pos x="34" y="82"/>
                  </a:cxn>
                  <a:cxn ang="0">
                    <a:pos x="46" y="84"/>
                  </a:cxn>
                  <a:cxn ang="0">
                    <a:pos x="56" y="84"/>
                  </a:cxn>
                  <a:cxn ang="0">
                    <a:pos x="66" y="82"/>
                  </a:cxn>
                  <a:cxn ang="0">
                    <a:pos x="74" y="80"/>
                  </a:cxn>
                  <a:cxn ang="0">
                    <a:pos x="80" y="78"/>
                  </a:cxn>
                  <a:cxn ang="0">
                    <a:pos x="86" y="76"/>
                  </a:cxn>
                  <a:cxn ang="0">
                    <a:pos x="92" y="78"/>
                  </a:cxn>
                  <a:cxn ang="0">
                    <a:pos x="98" y="82"/>
                  </a:cxn>
                  <a:cxn ang="0">
                    <a:pos x="102" y="82"/>
                  </a:cxn>
                  <a:cxn ang="0">
                    <a:pos x="102" y="82"/>
                  </a:cxn>
                  <a:cxn ang="0">
                    <a:pos x="102" y="72"/>
                  </a:cxn>
                  <a:cxn ang="0">
                    <a:pos x="104" y="60"/>
                  </a:cxn>
                  <a:cxn ang="0">
                    <a:pos x="106" y="60"/>
                  </a:cxn>
                  <a:cxn ang="0">
                    <a:pos x="106" y="60"/>
                  </a:cxn>
                  <a:cxn ang="0">
                    <a:pos x="106" y="64"/>
                  </a:cxn>
                  <a:cxn ang="0">
                    <a:pos x="106" y="68"/>
                  </a:cxn>
                  <a:cxn ang="0">
                    <a:pos x="106" y="70"/>
                  </a:cxn>
                  <a:cxn ang="0">
                    <a:pos x="114" y="62"/>
                  </a:cxn>
                  <a:cxn ang="0">
                    <a:pos x="114" y="62"/>
                  </a:cxn>
                  <a:cxn ang="0">
                    <a:pos x="114" y="58"/>
                  </a:cxn>
                  <a:cxn ang="0">
                    <a:pos x="114" y="52"/>
                  </a:cxn>
                  <a:cxn ang="0">
                    <a:pos x="110" y="52"/>
                  </a:cxn>
                  <a:cxn ang="0">
                    <a:pos x="100" y="56"/>
                  </a:cxn>
                  <a:cxn ang="0">
                    <a:pos x="98" y="52"/>
                  </a:cxn>
                  <a:cxn ang="0">
                    <a:pos x="96" y="52"/>
                  </a:cxn>
                  <a:cxn ang="0">
                    <a:pos x="96" y="52"/>
                  </a:cxn>
                  <a:cxn ang="0">
                    <a:pos x="94" y="40"/>
                  </a:cxn>
                  <a:cxn ang="0">
                    <a:pos x="94" y="26"/>
                  </a:cxn>
                  <a:cxn ang="0">
                    <a:pos x="92" y="20"/>
                  </a:cxn>
                  <a:cxn ang="0">
                    <a:pos x="90" y="12"/>
                  </a:cxn>
                  <a:cxn ang="0">
                    <a:pos x="86" y="6"/>
                  </a:cxn>
                  <a:cxn ang="0">
                    <a:pos x="78" y="0"/>
                  </a:cxn>
                  <a:cxn ang="0">
                    <a:pos x="78" y="0"/>
                  </a:cxn>
                </a:cxnLst>
                <a:rect l="0" t="0" r="r" b="b"/>
                <a:pathLst>
                  <a:path w="114" h="84">
                    <a:moveTo>
                      <a:pt x="78" y="0"/>
                    </a:moveTo>
                    <a:lnTo>
                      <a:pt x="58" y="8"/>
                    </a:lnTo>
                    <a:lnTo>
                      <a:pt x="52" y="4"/>
                    </a:lnTo>
                    <a:lnTo>
                      <a:pt x="32" y="6"/>
                    </a:lnTo>
                    <a:lnTo>
                      <a:pt x="32" y="6"/>
                    </a:lnTo>
                    <a:lnTo>
                      <a:pt x="24" y="10"/>
                    </a:lnTo>
                    <a:lnTo>
                      <a:pt x="18" y="18"/>
                    </a:lnTo>
                    <a:lnTo>
                      <a:pt x="12" y="36"/>
                    </a:lnTo>
                    <a:lnTo>
                      <a:pt x="0" y="40"/>
                    </a:lnTo>
                    <a:lnTo>
                      <a:pt x="0" y="40"/>
                    </a:lnTo>
                    <a:lnTo>
                      <a:pt x="4" y="42"/>
                    </a:lnTo>
                    <a:lnTo>
                      <a:pt x="8" y="46"/>
                    </a:lnTo>
                    <a:lnTo>
                      <a:pt x="10" y="54"/>
                    </a:lnTo>
                    <a:lnTo>
                      <a:pt x="14" y="56"/>
                    </a:lnTo>
                    <a:lnTo>
                      <a:pt x="16" y="62"/>
                    </a:lnTo>
                    <a:lnTo>
                      <a:pt x="28" y="66"/>
                    </a:lnTo>
                    <a:lnTo>
                      <a:pt x="30" y="68"/>
                    </a:lnTo>
                    <a:lnTo>
                      <a:pt x="28" y="70"/>
                    </a:lnTo>
                    <a:lnTo>
                      <a:pt x="28" y="74"/>
                    </a:lnTo>
                    <a:lnTo>
                      <a:pt x="28" y="74"/>
                    </a:lnTo>
                    <a:lnTo>
                      <a:pt x="34" y="76"/>
                    </a:lnTo>
                    <a:lnTo>
                      <a:pt x="34" y="82"/>
                    </a:lnTo>
                    <a:lnTo>
                      <a:pt x="34" y="82"/>
                    </a:lnTo>
                    <a:lnTo>
                      <a:pt x="46" y="84"/>
                    </a:lnTo>
                    <a:lnTo>
                      <a:pt x="56" y="84"/>
                    </a:lnTo>
                    <a:lnTo>
                      <a:pt x="66" y="82"/>
                    </a:lnTo>
                    <a:lnTo>
                      <a:pt x="74" y="80"/>
                    </a:lnTo>
                    <a:lnTo>
                      <a:pt x="80" y="78"/>
                    </a:lnTo>
                    <a:lnTo>
                      <a:pt x="86" y="76"/>
                    </a:lnTo>
                    <a:lnTo>
                      <a:pt x="92" y="78"/>
                    </a:lnTo>
                    <a:lnTo>
                      <a:pt x="98" y="82"/>
                    </a:lnTo>
                    <a:lnTo>
                      <a:pt x="102" y="82"/>
                    </a:lnTo>
                    <a:lnTo>
                      <a:pt x="102" y="82"/>
                    </a:lnTo>
                    <a:lnTo>
                      <a:pt x="102" y="72"/>
                    </a:lnTo>
                    <a:lnTo>
                      <a:pt x="104" y="60"/>
                    </a:lnTo>
                    <a:lnTo>
                      <a:pt x="106" y="60"/>
                    </a:lnTo>
                    <a:lnTo>
                      <a:pt x="106" y="60"/>
                    </a:lnTo>
                    <a:lnTo>
                      <a:pt x="106" y="64"/>
                    </a:lnTo>
                    <a:lnTo>
                      <a:pt x="106" y="68"/>
                    </a:lnTo>
                    <a:lnTo>
                      <a:pt x="106" y="70"/>
                    </a:lnTo>
                    <a:lnTo>
                      <a:pt x="114" y="62"/>
                    </a:lnTo>
                    <a:lnTo>
                      <a:pt x="114" y="62"/>
                    </a:lnTo>
                    <a:lnTo>
                      <a:pt x="114" y="58"/>
                    </a:lnTo>
                    <a:lnTo>
                      <a:pt x="114" y="52"/>
                    </a:lnTo>
                    <a:lnTo>
                      <a:pt x="110" y="52"/>
                    </a:lnTo>
                    <a:lnTo>
                      <a:pt x="100" y="56"/>
                    </a:lnTo>
                    <a:lnTo>
                      <a:pt x="98" y="52"/>
                    </a:lnTo>
                    <a:lnTo>
                      <a:pt x="96" y="52"/>
                    </a:lnTo>
                    <a:lnTo>
                      <a:pt x="96" y="52"/>
                    </a:lnTo>
                    <a:lnTo>
                      <a:pt x="94" y="40"/>
                    </a:lnTo>
                    <a:lnTo>
                      <a:pt x="94" y="26"/>
                    </a:lnTo>
                    <a:lnTo>
                      <a:pt x="92" y="20"/>
                    </a:lnTo>
                    <a:lnTo>
                      <a:pt x="90" y="12"/>
                    </a:lnTo>
                    <a:lnTo>
                      <a:pt x="86" y="6"/>
                    </a:lnTo>
                    <a:lnTo>
                      <a:pt x="78" y="0"/>
                    </a:lnTo>
                    <a:lnTo>
                      <a:pt x="7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3" name="Freeform 1361">
                <a:extLst>
                  <a:ext uri="{FF2B5EF4-FFF2-40B4-BE49-F238E27FC236}">
                    <a16:creationId xmlns:a16="http://schemas.microsoft.com/office/drawing/2014/main" id="{5DA76767-9FBB-459A-B03C-D42AE79DF4EA}"/>
                  </a:ext>
                </a:extLst>
              </p:cNvPr>
              <p:cNvSpPr>
                <a:spLocks/>
              </p:cNvSpPr>
              <p:nvPr/>
            </p:nvSpPr>
            <p:spPr bwMode="auto">
              <a:xfrm>
                <a:off x="2882" y="2076"/>
                <a:ext cx="32" cy="28"/>
              </a:xfrm>
              <a:custGeom>
                <a:avLst/>
                <a:gdLst/>
                <a:ahLst/>
                <a:cxnLst>
                  <a:cxn ang="0">
                    <a:pos x="24" y="28"/>
                  </a:cxn>
                  <a:cxn ang="0">
                    <a:pos x="26" y="26"/>
                  </a:cxn>
                  <a:cxn ang="0">
                    <a:pos x="28" y="24"/>
                  </a:cxn>
                  <a:cxn ang="0">
                    <a:pos x="30" y="24"/>
                  </a:cxn>
                  <a:cxn ang="0">
                    <a:pos x="32" y="22"/>
                  </a:cxn>
                  <a:cxn ang="0">
                    <a:pos x="30" y="20"/>
                  </a:cxn>
                  <a:cxn ang="0">
                    <a:pos x="32" y="20"/>
                  </a:cxn>
                  <a:cxn ang="0">
                    <a:pos x="32" y="18"/>
                  </a:cxn>
                  <a:cxn ang="0">
                    <a:pos x="30" y="14"/>
                  </a:cxn>
                  <a:cxn ang="0">
                    <a:pos x="26" y="16"/>
                  </a:cxn>
                  <a:cxn ang="0">
                    <a:pos x="26" y="16"/>
                  </a:cxn>
                  <a:cxn ang="0">
                    <a:pos x="28" y="12"/>
                  </a:cxn>
                  <a:cxn ang="0">
                    <a:pos x="28" y="8"/>
                  </a:cxn>
                  <a:cxn ang="0">
                    <a:pos x="24" y="4"/>
                  </a:cxn>
                  <a:cxn ang="0">
                    <a:pos x="20" y="2"/>
                  </a:cxn>
                  <a:cxn ang="0">
                    <a:pos x="12" y="6"/>
                  </a:cxn>
                  <a:cxn ang="0">
                    <a:pos x="12" y="4"/>
                  </a:cxn>
                  <a:cxn ang="0">
                    <a:pos x="14" y="2"/>
                  </a:cxn>
                  <a:cxn ang="0">
                    <a:pos x="12" y="0"/>
                  </a:cxn>
                  <a:cxn ang="0">
                    <a:pos x="10" y="0"/>
                  </a:cxn>
                  <a:cxn ang="0">
                    <a:pos x="10" y="0"/>
                  </a:cxn>
                  <a:cxn ang="0">
                    <a:pos x="8" y="4"/>
                  </a:cxn>
                  <a:cxn ang="0">
                    <a:pos x="8" y="8"/>
                  </a:cxn>
                  <a:cxn ang="0">
                    <a:pos x="8" y="8"/>
                  </a:cxn>
                  <a:cxn ang="0">
                    <a:pos x="6" y="14"/>
                  </a:cxn>
                  <a:cxn ang="0">
                    <a:pos x="4" y="14"/>
                  </a:cxn>
                  <a:cxn ang="0">
                    <a:pos x="4" y="16"/>
                  </a:cxn>
                  <a:cxn ang="0">
                    <a:pos x="0" y="18"/>
                  </a:cxn>
                  <a:cxn ang="0">
                    <a:pos x="4" y="20"/>
                  </a:cxn>
                  <a:cxn ang="0">
                    <a:pos x="6" y="24"/>
                  </a:cxn>
                  <a:cxn ang="0">
                    <a:pos x="8" y="26"/>
                  </a:cxn>
                  <a:cxn ang="0">
                    <a:pos x="12" y="20"/>
                  </a:cxn>
                  <a:cxn ang="0">
                    <a:pos x="20" y="20"/>
                  </a:cxn>
                  <a:cxn ang="0">
                    <a:pos x="20" y="20"/>
                  </a:cxn>
                  <a:cxn ang="0">
                    <a:pos x="22" y="24"/>
                  </a:cxn>
                  <a:cxn ang="0">
                    <a:pos x="24" y="28"/>
                  </a:cxn>
                  <a:cxn ang="0">
                    <a:pos x="24" y="28"/>
                  </a:cxn>
                </a:cxnLst>
                <a:rect l="0" t="0" r="r" b="b"/>
                <a:pathLst>
                  <a:path w="32" h="28">
                    <a:moveTo>
                      <a:pt x="24" y="28"/>
                    </a:moveTo>
                    <a:lnTo>
                      <a:pt x="26" y="26"/>
                    </a:lnTo>
                    <a:lnTo>
                      <a:pt x="28" y="24"/>
                    </a:lnTo>
                    <a:lnTo>
                      <a:pt x="30" y="24"/>
                    </a:lnTo>
                    <a:lnTo>
                      <a:pt x="32" y="22"/>
                    </a:lnTo>
                    <a:lnTo>
                      <a:pt x="30" y="20"/>
                    </a:lnTo>
                    <a:lnTo>
                      <a:pt x="32" y="20"/>
                    </a:lnTo>
                    <a:lnTo>
                      <a:pt x="32" y="18"/>
                    </a:lnTo>
                    <a:lnTo>
                      <a:pt x="30" y="14"/>
                    </a:lnTo>
                    <a:lnTo>
                      <a:pt x="26" y="16"/>
                    </a:lnTo>
                    <a:lnTo>
                      <a:pt x="26" y="16"/>
                    </a:lnTo>
                    <a:lnTo>
                      <a:pt x="28" y="12"/>
                    </a:lnTo>
                    <a:lnTo>
                      <a:pt x="28" y="8"/>
                    </a:lnTo>
                    <a:lnTo>
                      <a:pt x="24" y="4"/>
                    </a:lnTo>
                    <a:lnTo>
                      <a:pt x="20" y="2"/>
                    </a:lnTo>
                    <a:lnTo>
                      <a:pt x="12" y="6"/>
                    </a:lnTo>
                    <a:lnTo>
                      <a:pt x="12" y="4"/>
                    </a:lnTo>
                    <a:lnTo>
                      <a:pt x="14" y="2"/>
                    </a:lnTo>
                    <a:lnTo>
                      <a:pt x="12" y="0"/>
                    </a:lnTo>
                    <a:lnTo>
                      <a:pt x="10" y="0"/>
                    </a:lnTo>
                    <a:lnTo>
                      <a:pt x="10" y="0"/>
                    </a:lnTo>
                    <a:lnTo>
                      <a:pt x="8" y="4"/>
                    </a:lnTo>
                    <a:lnTo>
                      <a:pt x="8" y="8"/>
                    </a:lnTo>
                    <a:lnTo>
                      <a:pt x="8" y="8"/>
                    </a:lnTo>
                    <a:lnTo>
                      <a:pt x="6" y="14"/>
                    </a:lnTo>
                    <a:lnTo>
                      <a:pt x="4" y="14"/>
                    </a:lnTo>
                    <a:lnTo>
                      <a:pt x="4" y="16"/>
                    </a:lnTo>
                    <a:lnTo>
                      <a:pt x="0" y="18"/>
                    </a:lnTo>
                    <a:lnTo>
                      <a:pt x="4" y="20"/>
                    </a:lnTo>
                    <a:lnTo>
                      <a:pt x="6" y="24"/>
                    </a:lnTo>
                    <a:lnTo>
                      <a:pt x="8" y="26"/>
                    </a:lnTo>
                    <a:lnTo>
                      <a:pt x="12" y="20"/>
                    </a:lnTo>
                    <a:lnTo>
                      <a:pt x="20" y="20"/>
                    </a:lnTo>
                    <a:lnTo>
                      <a:pt x="20" y="20"/>
                    </a:lnTo>
                    <a:lnTo>
                      <a:pt x="22" y="24"/>
                    </a:lnTo>
                    <a:lnTo>
                      <a:pt x="24" y="28"/>
                    </a:lnTo>
                    <a:lnTo>
                      <a:pt x="24" y="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4" name="Freeform 1362">
                <a:extLst>
                  <a:ext uri="{FF2B5EF4-FFF2-40B4-BE49-F238E27FC236}">
                    <a16:creationId xmlns:a16="http://schemas.microsoft.com/office/drawing/2014/main" id="{0DF42C92-5FAF-423B-B07B-8E7CA92A8F7A}"/>
                  </a:ext>
                </a:extLst>
              </p:cNvPr>
              <p:cNvSpPr>
                <a:spLocks/>
              </p:cNvSpPr>
              <p:nvPr/>
            </p:nvSpPr>
            <p:spPr bwMode="auto">
              <a:xfrm>
                <a:off x="3313" y="2426"/>
                <a:ext cx="6" cy="10"/>
              </a:xfrm>
              <a:custGeom>
                <a:avLst/>
                <a:gdLst/>
                <a:ahLst/>
                <a:cxnLst>
                  <a:cxn ang="0">
                    <a:pos x="4" y="8"/>
                  </a:cxn>
                  <a:cxn ang="0">
                    <a:pos x="6" y="0"/>
                  </a:cxn>
                  <a:cxn ang="0">
                    <a:pos x="0" y="6"/>
                  </a:cxn>
                  <a:cxn ang="0">
                    <a:pos x="0" y="10"/>
                  </a:cxn>
                  <a:cxn ang="0">
                    <a:pos x="4" y="8"/>
                  </a:cxn>
                </a:cxnLst>
                <a:rect l="0" t="0" r="r" b="b"/>
                <a:pathLst>
                  <a:path w="6" h="10">
                    <a:moveTo>
                      <a:pt x="4" y="8"/>
                    </a:moveTo>
                    <a:lnTo>
                      <a:pt x="6" y="0"/>
                    </a:lnTo>
                    <a:lnTo>
                      <a:pt x="0" y="6"/>
                    </a:lnTo>
                    <a:lnTo>
                      <a:pt x="0" y="10"/>
                    </a:lnTo>
                    <a:lnTo>
                      <a:pt x="4"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5" name="Freeform 1363">
                <a:extLst>
                  <a:ext uri="{FF2B5EF4-FFF2-40B4-BE49-F238E27FC236}">
                    <a16:creationId xmlns:a16="http://schemas.microsoft.com/office/drawing/2014/main" id="{34921752-9AA1-4BBC-A98A-D1196482F0E2}"/>
                  </a:ext>
                </a:extLst>
              </p:cNvPr>
              <p:cNvSpPr>
                <a:spLocks/>
              </p:cNvSpPr>
              <p:nvPr/>
            </p:nvSpPr>
            <p:spPr bwMode="auto">
              <a:xfrm>
                <a:off x="3367" y="2438"/>
                <a:ext cx="28" cy="18"/>
              </a:xfrm>
              <a:custGeom>
                <a:avLst/>
                <a:gdLst/>
                <a:ahLst/>
                <a:cxnLst>
                  <a:cxn ang="0">
                    <a:pos x="28" y="0"/>
                  </a:cxn>
                  <a:cxn ang="0">
                    <a:pos x="28" y="4"/>
                  </a:cxn>
                  <a:cxn ang="0">
                    <a:pos x="28" y="4"/>
                  </a:cxn>
                  <a:cxn ang="0">
                    <a:pos x="20" y="12"/>
                  </a:cxn>
                  <a:cxn ang="0">
                    <a:pos x="10" y="18"/>
                  </a:cxn>
                  <a:cxn ang="0">
                    <a:pos x="2" y="16"/>
                  </a:cxn>
                  <a:cxn ang="0">
                    <a:pos x="0" y="12"/>
                  </a:cxn>
                  <a:cxn ang="0">
                    <a:pos x="8" y="8"/>
                  </a:cxn>
                  <a:cxn ang="0">
                    <a:pos x="8" y="6"/>
                  </a:cxn>
                  <a:cxn ang="0">
                    <a:pos x="8" y="6"/>
                  </a:cxn>
                  <a:cxn ang="0">
                    <a:pos x="18" y="4"/>
                  </a:cxn>
                  <a:cxn ang="0">
                    <a:pos x="28" y="0"/>
                  </a:cxn>
                  <a:cxn ang="0">
                    <a:pos x="28" y="0"/>
                  </a:cxn>
                </a:cxnLst>
                <a:rect l="0" t="0" r="r" b="b"/>
                <a:pathLst>
                  <a:path w="28" h="18">
                    <a:moveTo>
                      <a:pt x="28" y="0"/>
                    </a:moveTo>
                    <a:lnTo>
                      <a:pt x="28" y="4"/>
                    </a:lnTo>
                    <a:lnTo>
                      <a:pt x="28" y="4"/>
                    </a:lnTo>
                    <a:lnTo>
                      <a:pt x="20" y="12"/>
                    </a:lnTo>
                    <a:lnTo>
                      <a:pt x="10" y="18"/>
                    </a:lnTo>
                    <a:lnTo>
                      <a:pt x="2" y="16"/>
                    </a:lnTo>
                    <a:lnTo>
                      <a:pt x="0" y="12"/>
                    </a:lnTo>
                    <a:lnTo>
                      <a:pt x="8" y="8"/>
                    </a:lnTo>
                    <a:lnTo>
                      <a:pt x="8" y="6"/>
                    </a:lnTo>
                    <a:lnTo>
                      <a:pt x="8" y="6"/>
                    </a:lnTo>
                    <a:lnTo>
                      <a:pt x="18" y="4"/>
                    </a:lnTo>
                    <a:lnTo>
                      <a:pt x="28" y="0"/>
                    </a:lnTo>
                    <a:lnTo>
                      <a:pt x="2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6" name="Freeform 1364">
                <a:extLst>
                  <a:ext uri="{FF2B5EF4-FFF2-40B4-BE49-F238E27FC236}">
                    <a16:creationId xmlns:a16="http://schemas.microsoft.com/office/drawing/2014/main" id="{9A2A9B23-E460-4F48-907E-A5671B5E48B2}"/>
                  </a:ext>
                </a:extLst>
              </p:cNvPr>
              <p:cNvSpPr>
                <a:spLocks/>
              </p:cNvSpPr>
              <p:nvPr/>
            </p:nvSpPr>
            <p:spPr bwMode="auto">
              <a:xfrm>
                <a:off x="3261" y="2440"/>
                <a:ext cx="34" cy="12"/>
              </a:xfrm>
              <a:custGeom>
                <a:avLst/>
                <a:gdLst/>
                <a:ahLst/>
                <a:cxnLst>
                  <a:cxn ang="0">
                    <a:pos x="8" y="4"/>
                  </a:cxn>
                  <a:cxn ang="0">
                    <a:pos x="8" y="0"/>
                  </a:cxn>
                  <a:cxn ang="0">
                    <a:pos x="6" y="2"/>
                  </a:cxn>
                  <a:cxn ang="0">
                    <a:pos x="2" y="0"/>
                  </a:cxn>
                  <a:cxn ang="0">
                    <a:pos x="2" y="2"/>
                  </a:cxn>
                  <a:cxn ang="0">
                    <a:pos x="2" y="2"/>
                  </a:cxn>
                  <a:cxn ang="0">
                    <a:pos x="0" y="6"/>
                  </a:cxn>
                  <a:cxn ang="0">
                    <a:pos x="12" y="8"/>
                  </a:cxn>
                  <a:cxn ang="0">
                    <a:pos x="16" y="12"/>
                  </a:cxn>
                  <a:cxn ang="0">
                    <a:pos x="30" y="10"/>
                  </a:cxn>
                  <a:cxn ang="0">
                    <a:pos x="32" y="10"/>
                  </a:cxn>
                  <a:cxn ang="0">
                    <a:pos x="34" y="6"/>
                  </a:cxn>
                  <a:cxn ang="0">
                    <a:pos x="30" y="8"/>
                  </a:cxn>
                  <a:cxn ang="0">
                    <a:pos x="26" y="6"/>
                  </a:cxn>
                  <a:cxn ang="0">
                    <a:pos x="26" y="6"/>
                  </a:cxn>
                  <a:cxn ang="0">
                    <a:pos x="16" y="4"/>
                  </a:cxn>
                  <a:cxn ang="0">
                    <a:pos x="10" y="4"/>
                  </a:cxn>
                  <a:cxn ang="0">
                    <a:pos x="8" y="4"/>
                  </a:cxn>
                  <a:cxn ang="0">
                    <a:pos x="8" y="4"/>
                  </a:cxn>
                </a:cxnLst>
                <a:rect l="0" t="0" r="r" b="b"/>
                <a:pathLst>
                  <a:path w="34" h="12">
                    <a:moveTo>
                      <a:pt x="8" y="4"/>
                    </a:moveTo>
                    <a:lnTo>
                      <a:pt x="8" y="0"/>
                    </a:lnTo>
                    <a:lnTo>
                      <a:pt x="6" y="2"/>
                    </a:lnTo>
                    <a:lnTo>
                      <a:pt x="2" y="0"/>
                    </a:lnTo>
                    <a:lnTo>
                      <a:pt x="2" y="2"/>
                    </a:lnTo>
                    <a:lnTo>
                      <a:pt x="2" y="2"/>
                    </a:lnTo>
                    <a:lnTo>
                      <a:pt x="0" y="6"/>
                    </a:lnTo>
                    <a:lnTo>
                      <a:pt x="12" y="8"/>
                    </a:lnTo>
                    <a:lnTo>
                      <a:pt x="16" y="12"/>
                    </a:lnTo>
                    <a:lnTo>
                      <a:pt x="30" y="10"/>
                    </a:lnTo>
                    <a:lnTo>
                      <a:pt x="32" y="10"/>
                    </a:lnTo>
                    <a:lnTo>
                      <a:pt x="34" y="6"/>
                    </a:lnTo>
                    <a:lnTo>
                      <a:pt x="30" y="8"/>
                    </a:lnTo>
                    <a:lnTo>
                      <a:pt x="26" y="6"/>
                    </a:lnTo>
                    <a:lnTo>
                      <a:pt x="26" y="6"/>
                    </a:lnTo>
                    <a:lnTo>
                      <a:pt x="16" y="4"/>
                    </a:lnTo>
                    <a:lnTo>
                      <a:pt x="10" y="4"/>
                    </a:lnTo>
                    <a:lnTo>
                      <a:pt x="8" y="4"/>
                    </a:lnTo>
                    <a:lnTo>
                      <a:pt x="8"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7" name="Freeform 1365">
                <a:extLst>
                  <a:ext uri="{FF2B5EF4-FFF2-40B4-BE49-F238E27FC236}">
                    <a16:creationId xmlns:a16="http://schemas.microsoft.com/office/drawing/2014/main" id="{452F59F6-FC6E-4C22-A3E6-8E41E5E980B8}"/>
                  </a:ext>
                </a:extLst>
              </p:cNvPr>
              <p:cNvSpPr>
                <a:spLocks/>
              </p:cNvSpPr>
              <p:nvPr/>
            </p:nvSpPr>
            <p:spPr bwMode="auto">
              <a:xfrm>
                <a:off x="3233" y="2398"/>
                <a:ext cx="28" cy="30"/>
              </a:xfrm>
              <a:custGeom>
                <a:avLst/>
                <a:gdLst/>
                <a:ahLst/>
                <a:cxnLst>
                  <a:cxn ang="0">
                    <a:pos x="10" y="0"/>
                  </a:cxn>
                  <a:cxn ang="0">
                    <a:pos x="4" y="2"/>
                  </a:cxn>
                  <a:cxn ang="0">
                    <a:pos x="2" y="2"/>
                  </a:cxn>
                  <a:cxn ang="0">
                    <a:pos x="0" y="8"/>
                  </a:cxn>
                  <a:cxn ang="0">
                    <a:pos x="6" y="16"/>
                  </a:cxn>
                  <a:cxn ang="0">
                    <a:pos x="6" y="22"/>
                  </a:cxn>
                  <a:cxn ang="0">
                    <a:pos x="8" y="24"/>
                  </a:cxn>
                  <a:cxn ang="0">
                    <a:pos x="10" y="20"/>
                  </a:cxn>
                  <a:cxn ang="0">
                    <a:pos x="10" y="20"/>
                  </a:cxn>
                  <a:cxn ang="0">
                    <a:pos x="14" y="24"/>
                  </a:cxn>
                  <a:cxn ang="0">
                    <a:pos x="14" y="30"/>
                  </a:cxn>
                  <a:cxn ang="0">
                    <a:pos x="16" y="30"/>
                  </a:cxn>
                  <a:cxn ang="0">
                    <a:pos x="16" y="26"/>
                  </a:cxn>
                  <a:cxn ang="0">
                    <a:pos x="18" y="24"/>
                  </a:cxn>
                  <a:cxn ang="0">
                    <a:pos x="24" y="30"/>
                  </a:cxn>
                  <a:cxn ang="0">
                    <a:pos x="24" y="30"/>
                  </a:cxn>
                  <a:cxn ang="0">
                    <a:pos x="22" y="20"/>
                  </a:cxn>
                  <a:cxn ang="0">
                    <a:pos x="18" y="12"/>
                  </a:cxn>
                  <a:cxn ang="0">
                    <a:pos x="24" y="16"/>
                  </a:cxn>
                  <a:cxn ang="0">
                    <a:pos x="28" y="14"/>
                  </a:cxn>
                  <a:cxn ang="0">
                    <a:pos x="28" y="12"/>
                  </a:cxn>
                  <a:cxn ang="0">
                    <a:pos x="24" y="10"/>
                  </a:cxn>
                  <a:cxn ang="0">
                    <a:pos x="24" y="4"/>
                  </a:cxn>
                  <a:cxn ang="0">
                    <a:pos x="24" y="4"/>
                  </a:cxn>
                  <a:cxn ang="0">
                    <a:pos x="16" y="2"/>
                  </a:cxn>
                  <a:cxn ang="0">
                    <a:pos x="10" y="0"/>
                  </a:cxn>
                  <a:cxn ang="0">
                    <a:pos x="10" y="0"/>
                  </a:cxn>
                </a:cxnLst>
                <a:rect l="0" t="0" r="r" b="b"/>
                <a:pathLst>
                  <a:path w="28" h="30">
                    <a:moveTo>
                      <a:pt x="10" y="0"/>
                    </a:moveTo>
                    <a:lnTo>
                      <a:pt x="4" y="2"/>
                    </a:lnTo>
                    <a:lnTo>
                      <a:pt x="2" y="2"/>
                    </a:lnTo>
                    <a:lnTo>
                      <a:pt x="0" y="8"/>
                    </a:lnTo>
                    <a:lnTo>
                      <a:pt x="6" y="16"/>
                    </a:lnTo>
                    <a:lnTo>
                      <a:pt x="6" y="22"/>
                    </a:lnTo>
                    <a:lnTo>
                      <a:pt x="8" y="24"/>
                    </a:lnTo>
                    <a:lnTo>
                      <a:pt x="10" y="20"/>
                    </a:lnTo>
                    <a:lnTo>
                      <a:pt x="10" y="20"/>
                    </a:lnTo>
                    <a:lnTo>
                      <a:pt x="14" y="24"/>
                    </a:lnTo>
                    <a:lnTo>
                      <a:pt x="14" y="30"/>
                    </a:lnTo>
                    <a:lnTo>
                      <a:pt x="16" y="30"/>
                    </a:lnTo>
                    <a:lnTo>
                      <a:pt x="16" y="26"/>
                    </a:lnTo>
                    <a:lnTo>
                      <a:pt x="18" y="24"/>
                    </a:lnTo>
                    <a:lnTo>
                      <a:pt x="24" y="30"/>
                    </a:lnTo>
                    <a:lnTo>
                      <a:pt x="24" y="30"/>
                    </a:lnTo>
                    <a:lnTo>
                      <a:pt x="22" y="20"/>
                    </a:lnTo>
                    <a:lnTo>
                      <a:pt x="18" y="12"/>
                    </a:lnTo>
                    <a:lnTo>
                      <a:pt x="24" y="16"/>
                    </a:lnTo>
                    <a:lnTo>
                      <a:pt x="28" y="14"/>
                    </a:lnTo>
                    <a:lnTo>
                      <a:pt x="28" y="12"/>
                    </a:lnTo>
                    <a:lnTo>
                      <a:pt x="24" y="10"/>
                    </a:lnTo>
                    <a:lnTo>
                      <a:pt x="24" y="4"/>
                    </a:lnTo>
                    <a:lnTo>
                      <a:pt x="24" y="4"/>
                    </a:lnTo>
                    <a:lnTo>
                      <a:pt x="16" y="2"/>
                    </a:lnTo>
                    <a:lnTo>
                      <a:pt x="10" y="0"/>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8" name="Freeform 1366">
                <a:extLst>
                  <a:ext uri="{FF2B5EF4-FFF2-40B4-BE49-F238E27FC236}">
                    <a16:creationId xmlns:a16="http://schemas.microsoft.com/office/drawing/2014/main" id="{16BD46B9-78E4-4C53-9CC8-14E121AAC9FA}"/>
                  </a:ext>
                </a:extLst>
              </p:cNvPr>
              <p:cNvSpPr>
                <a:spLocks/>
              </p:cNvSpPr>
              <p:nvPr/>
            </p:nvSpPr>
            <p:spPr bwMode="auto">
              <a:xfrm>
                <a:off x="3257" y="2386"/>
                <a:ext cx="18" cy="18"/>
              </a:xfrm>
              <a:custGeom>
                <a:avLst/>
                <a:gdLst/>
                <a:ahLst/>
                <a:cxnLst>
                  <a:cxn ang="0">
                    <a:pos x="18" y="14"/>
                  </a:cxn>
                  <a:cxn ang="0">
                    <a:pos x="16" y="12"/>
                  </a:cxn>
                  <a:cxn ang="0">
                    <a:pos x="14" y="6"/>
                  </a:cxn>
                  <a:cxn ang="0">
                    <a:pos x="8" y="4"/>
                  </a:cxn>
                  <a:cxn ang="0">
                    <a:pos x="4" y="0"/>
                  </a:cxn>
                  <a:cxn ang="0">
                    <a:pos x="0" y="2"/>
                  </a:cxn>
                  <a:cxn ang="0">
                    <a:pos x="2" y="2"/>
                  </a:cxn>
                  <a:cxn ang="0">
                    <a:pos x="2" y="2"/>
                  </a:cxn>
                  <a:cxn ang="0">
                    <a:pos x="6" y="8"/>
                  </a:cxn>
                  <a:cxn ang="0">
                    <a:pos x="14" y="12"/>
                  </a:cxn>
                  <a:cxn ang="0">
                    <a:pos x="16" y="16"/>
                  </a:cxn>
                  <a:cxn ang="0">
                    <a:pos x="18" y="18"/>
                  </a:cxn>
                  <a:cxn ang="0">
                    <a:pos x="18" y="18"/>
                  </a:cxn>
                  <a:cxn ang="0">
                    <a:pos x="18" y="14"/>
                  </a:cxn>
                  <a:cxn ang="0">
                    <a:pos x="18" y="14"/>
                  </a:cxn>
                </a:cxnLst>
                <a:rect l="0" t="0" r="r" b="b"/>
                <a:pathLst>
                  <a:path w="18" h="18">
                    <a:moveTo>
                      <a:pt x="18" y="14"/>
                    </a:moveTo>
                    <a:lnTo>
                      <a:pt x="16" y="12"/>
                    </a:lnTo>
                    <a:lnTo>
                      <a:pt x="14" y="6"/>
                    </a:lnTo>
                    <a:lnTo>
                      <a:pt x="8" y="4"/>
                    </a:lnTo>
                    <a:lnTo>
                      <a:pt x="4" y="0"/>
                    </a:lnTo>
                    <a:lnTo>
                      <a:pt x="0" y="2"/>
                    </a:lnTo>
                    <a:lnTo>
                      <a:pt x="2" y="2"/>
                    </a:lnTo>
                    <a:lnTo>
                      <a:pt x="2" y="2"/>
                    </a:lnTo>
                    <a:lnTo>
                      <a:pt x="6" y="8"/>
                    </a:lnTo>
                    <a:lnTo>
                      <a:pt x="14" y="12"/>
                    </a:lnTo>
                    <a:lnTo>
                      <a:pt x="16" y="16"/>
                    </a:lnTo>
                    <a:lnTo>
                      <a:pt x="18" y="18"/>
                    </a:lnTo>
                    <a:lnTo>
                      <a:pt x="18" y="18"/>
                    </a:lnTo>
                    <a:lnTo>
                      <a:pt x="18" y="14"/>
                    </a:lnTo>
                    <a:lnTo>
                      <a:pt x="18"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59" name="Freeform 1367">
                <a:extLst>
                  <a:ext uri="{FF2B5EF4-FFF2-40B4-BE49-F238E27FC236}">
                    <a16:creationId xmlns:a16="http://schemas.microsoft.com/office/drawing/2014/main" id="{49A62BA9-66F8-4C5A-880F-63C18CCCAFFB}"/>
                  </a:ext>
                </a:extLst>
              </p:cNvPr>
              <p:cNvSpPr>
                <a:spLocks/>
              </p:cNvSpPr>
              <p:nvPr/>
            </p:nvSpPr>
            <p:spPr bwMode="auto">
              <a:xfrm>
                <a:off x="3129" y="2398"/>
                <a:ext cx="38" cy="24"/>
              </a:xfrm>
              <a:custGeom>
                <a:avLst/>
                <a:gdLst/>
                <a:ahLst/>
                <a:cxnLst>
                  <a:cxn ang="0">
                    <a:pos x="38" y="0"/>
                  </a:cxn>
                  <a:cxn ang="0">
                    <a:pos x="32" y="14"/>
                  </a:cxn>
                  <a:cxn ang="0">
                    <a:pos x="34" y="20"/>
                  </a:cxn>
                  <a:cxn ang="0">
                    <a:pos x="32" y="24"/>
                  </a:cxn>
                  <a:cxn ang="0">
                    <a:pos x="26" y="24"/>
                  </a:cxn>
                  <a:cxn ang="0">
                    <a:pos x="26" y="24"/>
                  </a:cxn>
                  <a:cxn ang="0">
                    <a:pos x="22" y="20"/>
                  </a:cxn>
                  <a:cxn ang="0">
                    <a:pos x="14" y="16"/>
                  </a:cxn>
                  <a:cxn ang="0">
                    <a:pos x="2" y="10"/>
                  </a:cxn>
                  <a:cxn ang="0">
                    <a:pos x="0" y="6"/>
                  </a:cxn>
                  <a:cxn ang="0">
                    <a:pos x="2" y="2"/>
                  </a:cxn>
                  <a:cxn ang="0">
                    <a:pos x="4" y="2"/>
                  </a:cxn>
                  <a:cxn ang="0">
                    <a:pos x="10" y="0"/>
                  </a:cxn>
                  <a:cxn ang="0">
                    <a:pos x="14" y="4"/>
                  </a:cxn>
                  <a:cxn ang="0">
                    <a:pos x="38" y="0"/>
                  </a:cxn>
                </a:cxnLst>
                <a:rect l="0" t="0" r="r" b="b"/>
                <a:pathLst>
                  <a:path w="38" h="24">
                    <a:moveTo>
                      <a:pt x="38" y="0"/>
                    </a:moveTo>
                    <a:lnTo>
                      <a:pt x="32" y="14"/>
                    </a:lnTo>
                    <a:lnTo>
                      <a:pt x="34" y="20"/>
                    </a:lnTo>
                    <a:lnTo>
                      <a:pt x="32" y="24"/>
                    </a:lnTo>
                    <a:lnTo>
                      <a:pt x="26" y="24"/>
                    </a:lnTo>
                    <a:lnTo>
                      <a:pt x="26" y="24"/>
                    </a:lnTo>
                    <a:lnTo>
                      <a:pt x="22" y="20"/>
                    </a:lnTo>
                    <a:lnTo>
                      <a:pt x="14" y="16"/>
                    </a:lnTo>
                    <a:lnTo>
                      <a:pt x="2" y="10"/>
                    </a:lnTo>
                    <a:lnTo>
                      <a:pt x="0" y="6"/>
                    </a:lnTo>
                    <a:lnTo>
                      <a:pt x="2" y="2"/>
                    </a:lnTo>
                    <a:lnTo>
                      <a:pt x="4" y="2"/>
                    </a:lnTo>
                    <a:lnTo>
                      <a:pt x="10" y="0"/>
                    </a:lnTo>
                    <a:lnTo>
                      <a:pt x="14" y="4"/>
                    </a:lnTo>
                    <a:lnTo>
                      <a:pt x="3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0" name="Freeform 1368">
                <a:extLst>
                  <a:ext uri="{FF2B5EF4-FFF2-40B4-BE49-F238E27FC236}">
                    <a16:creationId xmlns:a16="http://schemas.microsoft.com/office/drawing/2014/main" id="{21DF5DD3-72AF-409B-8558-0CBB984C6F51}"/>
                  </a:ext>
                </a:extLst>
              </p:cNvPr>
              <p:cNvSpPr>
                <a:spLocks/>
              </p:cNvSpPr>
              <p:nvPr/>
            </p:nvSpPr>
            <p:spPr bwMode="auto">
              <a:xfrm>
                <a:off x="3076" y="2348"/>
                <a:ext cx="18" cy="40"/>
              </a:xfrm>
              <a:custGeom>
                <a:avLst/>
                <a:gdLst/>
                <a:ahLst/>
                <a:cxnLst>
                  <a:cxn ang="0">
                    <a:pos x="12" y="0"/>
                  </a:cxn>
                  <a:cxn ang="0">
                    <a:pos x="16" y="2"/>
                  </a:cxn>
                  <a:cxn ang="0">
                    <a:pos x="16" y="2"/>
                  </a:cxn>
                  <a:cxn ang="0">
                    <a:pos x="18" y="8"/>
                  </a:cxn>
                  <a:cxn ang="0">
                    <a:pos x="18" y="20"/>
                  </a:cxn>
                  <a:cxn ang="0">
                    <a:pos x="18" y="30"/>
                  </a:cxn>
                  <a:cxn ang="0">
                    <a:pos x="16" y="36"/>
                  </a:cxn>
                  <a:cxn ang="0">
                    <a:pos x="14" y="34"/>
                  </a:cxn>
                  <a:cxn ang="0">
                    <a:pos x="14" y="34"/>
                  </a:cxn>
                  <a:cxn ang="0">
                    <a:pos x="10" y="38"/>
                  </a:cxn>
                  <a:cxn ang="0">
                    <a:pos x="8" y="40"/>
                  </a:cxn>
                  <a:cxn ang="0">
                    <a:pos x="8" y="40"/>
                  </a:cxn>
                  <a:cxn ang="0">
                    <a:pos x="4" y="32"/>
                  </a:cxn>
                  <a:cxn ang="0">
                    <a:pos x="4" y="26"/>
                  </a:cxn>
                  <a:cxn ang="0">
                    <a:pos x="4" y="22"/>
                  </a:cxn>
                  <a:cxn ang="0">
                    <a:pos x="4" y="14"/>
                  </a:cxn>
                  <a:cxn ang="0">
                    <a:pos x="0" y="10"/>
                  </a:cxn>
                  <a:cxn ang="0">
                    <a:pos x="0" y="6"/>
                  </a:cxn>
                  <a:cxn ang="0">
                    <a:pos x="6" y="6"/>
                  </a:cxn>
                  <a:cxn ang="0">
                    <a:pos x="12" y="0"/>
                  </a:cxn>
                </a:cxnLst>
                <a:rect l="0" t="0" r="r" b="b"/>
                <a:pathLst>
                  <a:path w="18" h="40">
                    <a:moveTo>
                      <a:pt x="12" y="0"/>
                    </a:moveTo>
                    <a:lnTo>
                      <a:pt x="16" y="2"/>
                    </a:lnTo>
                    <a:lnTo>
                      <a:pt x="16" y="2"/>
                    </a:lnTo>
                    <a:lnTo>
                      <a:pt x="18" y="8"/>
                    </a:lnTo>
                    <a:lnTo>
                      <a:pt x="18" y="20"/>
                    </a:lnTo>
                    <a:lnTo>
                      <a:pt x="18" y="30"/>
                    </a:lnTo>
                    <a:lnTo>
                      <a:pt x="16" y="36"/>
                    </a:lnTo>
                    <a:lnTo>
                      <a:pt x="14" y="34"/>
                    </a:lnTo>
                    <a:lnTo>
                      <a:pt x="14" y="34"/>
                    </a:lnTo>
                    <a:lnTo>
                      <a:pt x="10" y="38"/>
                    </a:lnTo>
                    <a:lnTo>
                      <a:pt x="8" y="40"/>
                    </a:lnTo>
                    <a:lnTo>
                      <a:pt x="8" y="40"/>
                    </a:lnTo>
                    <a:lnTo>
                      <a:pt x="4" y="32"/>
                    </a:lnTo>
                    <a:lnTo>
                      <a:pt x="4" y="26"/>
                    </a:lnTo>
                    <a:lnTo>
                      <a:pt x="4" y="22"/>
                    </a:lnTo>
                    <a:lnTo>
                      <a:pt x="4" y="14"/>
                    </a:lnTo>
                    <a:lnTo>
                      <a:pt x="0" y="10"/>
                    </a:lnTo>
                    <a:lnTo>
                      <a:pt x="0" y="6"/>
                    </a:lnTo>
                    <a:lnTo>
                      <a:pt x="6" y="6"/>
                    </a:lnTo>
                    <a:lnTo>
                      <a:pt x="1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1" name="Freeform 1369">
                <a:extLst>
                  <a:ext uri="{FF2B5EF4-FFF2-40B4-BE49-F238E27FC236}">
                    <a16:creationId xmlns:a16="http://schemas.microsoft.com/office/drawing/2014/main" id="{881A9453-10B7-470B-994A-B7F6542DE15A}"/>
                  </a:ext>
                </a:extLst>
              </p:cNvPr>
              <p:cNvSpPr>
                <a:spLocks/>
              </p:cNvSpPr>
              <p:nvPr/>
            </p:nvSpPr>
            <p:spPr bwMode="auto">
              <a:xfrm>
                <a:off x="3082" y="2318"/>
                <a:ext cx="10" cy="28"/>
              </a:xfrm>
              <a:custGeom>
                <a:avLst/>
                <a:gdLst/>
                <a:ahLst/>
                <a:cxnLst>
                  <a:cxn ang="0">
                    <a:pos x="8" y="0"/>
                  </a:cxn>
                  <a:cxn ang="0">
                    <a:pos x="10" y="0"/>
                  </a:cxn>
                  <a:cxn ang="0">
                    <a:pos x="10" y="0"/>
                  </a:cxn>
                  <a:cxn ang="0">
                    <a:pos x="10" y="6"/>
                  </a:cxn>
                  <a:cxn ang="0">
                    <a:pos x="10" y="14"/>
                  </a:cxn>
                  <a:cxn ang="0">
                    <a:pos x="6" y="28"/>
                  </a:cxn>
                  <a:cxn ang="0">
                    <a:pos x="2" y="22"/>
                  </a:cxn>
                  <a:cxn ang="0">
                    <a:pos x="2" y="22"/>
                  </a:cxn>
                  <a:cxn ang="0">
                    <a:pos x="0" y="14"/>
                  </a:cxn>
                  <a:cxn ang="0">
                    <a:pos x="0" y="10"/>
                  </a:cxn>
                  <a:cxn ang="0">
                    <a:pos x="0" y="6"/>
                  </a:cxn>
                  <a:cxn ang="0">
                    <a:pos x="8" y="4"/>
                  </a:cxn>
                  <a:cxn ang="0">
                    <a:pos x="8" y="0"/>
                  </a:cxn>
                </a:cxnLst>
                <a:rect l="0" t="0" r="r" b="b"/>
                <a:pathLst>
                  <a:path w="10" h="28">
                    <a:moveTo>
                      <a:pt x="8" y="0"/>
                    </a:moveTo>
                    <a:lnTo>
                      <a:pt x="10" y="0"/>
                    </a:lnTo>
                    <a:lnTo>
                      <a:pt x="10" y="0"/>
                    </a:lnTo>
                    <a:lnTo>
                      <a:pt x="10" y="6"/>
                    </a:lnTo>
                    <a:lnTo>
                      <a:pt x="10" y="14"/>
                    </a:lnTo>
                    <a:lnTo>
                      <a:pt x="6" y="28"/>
                    </a:lnTo>
                    <a:lnTo>
                      <a:pt x="2" y="22"/>
                    </a:lnTo>
                    <a:lnTo>
                      <a:pt x="2" y="22"/>
                    </a:lnTo>
                    <a:lnTo>
                      <a:pt x="0" y="14"/>
                    </a:lnTo>
                    <a:lnTo>
                      <a:pt x="0" y="10"/>
                    </a:lnTo>
                    <a:lnTo>
                      <a:pt x="0" y="6"/>
                    </a:lnTo>
                    <a:lnTo>
                      <a:pt x="8" y="4"/>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2" name="Freeform 1370">
                <a:extLst>
                  <a:ext uri="{FF2B5EF4-FFF2-40B4-BE49-F238E27FC236}">
                    <a16:creationId xmlns:a16="http://schemas.microsoft.com/office/drawing/2014/main" id="{28E70D34-1110-49BB-A572-C34B4F6167F7}"/>
                  </a:ext>
                </a:extLst>
              </p:cNvPr>
              <p:cNvSpPr>
                <a:spLocks/>
              </p:cNvSpPr>
              <p:nvPr/>
            </p:nvSpPr>
            <p:spPr bwMode="auto">
              <a:xfrm>
                <a:off x="3008" y="2370"/>
                <a:ext cx="12" cy="12"/>
              </a:xfrm>
              <a:custGeom>
                <a:avLst/>
                <a:gdLst/>
                <a:ahLst/>
                <a:cxnLst>
                  <a:cxn ang="0">
                    <a:pos x="10" y="0"/>
                  </a:cxn>
                  <a:cxn ang="0">
                    <a:pos x="10" y="4"/>
                  </a:cxn>
                  <a:cxn ang="0">
                    <a:pos x="12" y="4"/>
                  </a:cxn>
                  <a:cxn ang="0">
                    <a:pos x="8" y="12"/>
                  </a:cxn>
                  <a:cxn ang="0">
                    <a:pos x="4" y="6"/>
                  </a:cxn>
                  <a:cxn ang="0">
                    <a:pos x="2" y="8"/>
                  </a:cxn>
                  <a:cxn ang="0">
                    <a:pos x="0" y="6"/>
                  </a:cxn>
                  <a:cxn ang="0">
                    <a:pos x="0" y="6"/>
                  </a:cxn>
                  <a:cxn ang="0">
                    <a:pos x="4" y="2"/>
                  </a:cxn>
                  <a:cxn ang="0">
                    <a:pos x="10" y="0"/>
                  </a:cxn>
                  <a:cxn ang="0">
                    <a:pos x="10" y="0"/>
                  </a:cxn>
                </a:cxnLst>
                <a:rect l="0" t="0" r="r" b="b"/>
                <a:pathLst>
                  <a:path w="12" h="12">
                    <a:moveTo>
                      <a:pt x="10" y="0"/>
                    </a:moveTo>
                    <a:lnTo>
                      <a:pt x="10" y="4"/>
                    </a:lnTo>
                    <a:lnTo>
                      <a:pt x="12" y="4"/>
                    </a:lnTo>
                    <a:lnTo>
                      <a:pt x="8" y="12"/>
                    </a:lnTo>
                    <a:lnTo>
                      <a:pt x="4" y="6"/>
                    </a:lnTo>
                    <a:lnTo>
                      <a:pt x="2" y="8"/>
                    </a:lnTo>
                    <a:lnTo>
                      <a:pt x="0" y="6"/>
                    </a:lnTo>
                    <a:lnTo>
                      <a:pt x="0" y="6"/>
                    </a:lnTo>
                    <a:lnTo>
                      <a:pt x="4" y="2"/>
                    </a:lnTo>
                    <a:lnTo>
                      <a:pt x="10" y="0"/>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3" name="Freeform 1371">
                <a:extLst>
                  <a:ext uri="{FF2B5EF4-FFF2-40B4-BE49-F238E27FC236}">
                    <a16:creationId xmlns:a16="http://schemas.microsoft.com/office/drawing/2014/main" id="{090A9CD8-5E9E-4DC9-8DE3-86DD67A7CC66}"/>
                  </a:ext>
                </a:extLst>
              </p:cNvPr>
              <p:cNvSpPr>
                <a:spLocks/>
              </p:cNvSpPr>
              <p:nvPr/>
            </p:nvSpPr>
            <p:spPr bwMode="auto">
              <a:xfrm>
                <a:off x="3038" y="2114"/>
                <a:ext cx="18" cy="12"/>
              </a:xfrm>
              <a:custGeom>
                <a:avLst/>
                <a:gdLst/>
                <a:ahLst/>
                <a:cxnLst>
                  <a:cxn ang="0">
                    <a:pos x="2" y="6"/>
                  </a:cxn>
                  <a:cxn ang="0">
                    <a:pos x="0" y="12"/>
                  </a:cxn>
                  <a:cxn ang="0">
                    <a:pos x="2" y="12"/>
                  </a:cxn>
                  <a:cxn ang="0">
                    <a:pos x="4" y="6"/>
                  </a:cxn>
                  <a:cxn ang="0">
                    <a:pos x="4" y="6"/>
                  </a:cxn>
                  <a:cxn ang="0">
                    <a:pos x="10" y="2"/>
                  </a:cxn>
                  <a:cxn ang="0">
                    <a:pos x="18" y="2"/>
                  </a:cxn>
                  <a:cxn ang="0">
                    <a:pos x="18" y="0"/>
                  </a:cxn>
                  <a:cxn ang="0">
                    <a:pos x="18" y="0"/>
                  </a:cxn>
                  <a:cxn ang="0">
                    <a:pos x="10" y="2"/>
                  </a:cxn>
                  <a:cxn ang="0">
                    <a:pos x="2" y="6"/>
                  </a:cxn>
                  <a:cxn ang="0">
                    <a:pos x="2" y="6"/>
                  </a:cxn>
                </a:cxnLst>
                <a:rect l="0" t="0" r="r" b="b"/>
                <a:pathLst>
                  <a:path w="18" h="12">
                    <a:moveTo>
                      <a:pt x="2" y="6"/>
                    </a:moveTo>
                    <a:lnTo>
                      <a:pt x="0" y="12"/>
                    </a:lnTo>
                    <a:lnTo>
                      <a:pt x="2" y="12"/>
                    </a:lnTo>
                    <a:lnTo>
                      <a:pt x="4" y="6"/>
                    </a:lnTo>
                    <a:lnTo>
                      <a:pt x="4" y="6"/>
                    </a:lnTo>
                    <a:lnTo>
                      <a:pt x="10" y="2"/>
                    </a:lnTo>
                    <a:lnTo>
                      <a:pt x="18" y="2"/>
                    </a:lnTo>
                    <a:lnTo>
                      <a:pt x="18" y="0"/>
                    </a:lnTo>
                    <a:lnTo>
                      <a:pt x="18" y="0"/>
                    </a:lnTo>
                    <a:lnTo>
                      <a:pt x="10" y="2"/>
                    </a:lnTo>
                    <a:lnTo>
                      <a:pt x="2" y="6"/>
                    </a:lnTo>
                    <a:lnTo>
                      <a:pt x="2"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4" name="Freeform 1372">
                <a:extLst>
                  <a:ext uri="{FF2B5EF4-FFF2-40B4-BE49-F238E27FC236}">
                    <a16:creationId xmlns:a16="http://schemas.microsoft.com/office/drawing/2014/main" id="{1F5F648B-E41F-4131-BF96-354B9209EA57}"/>
                  </a:ext>
                </a:extLst>
              </p:cNvPr>
              <p:cNvSpPr>
                <a:spLocks/>
              </p:cNvSpPr>
              <p:nvPr/>
            </p:nvSpPr>
            <p:spPr bwMode="auto">
              <a:xfrm>
                <a:off x="3024" y="2152"/>
                <a:ext cx="6" cy="4"/>
              </a:xfrm>
              <a:custGeom>
                <a:avLst/>
                <a:gdLst/>
                <a:ahLst/>
                <a:cxnLst>
                  <a:cxn ang="0">
                    <a:pos x="2" y="0"/>
                  </a:cxn>
                  <a:cxn ang="0">
                    <a:pos x="0" y="4"/>
                  </a:cxn>
                  <a:cxn ang="0">
                    <a:pos x="6" y="2"/>
                  </a:cxn>
                  <a:cxn ang="0">
                    <a:pos x="2" y="0"/>
                  </a:cxn>
                </a:cxnLst>
                <a:rect l="0" t="0" r="r" b="b"/>
                <a:pathLst>
                  <a:path w="6" h="4">
                    <a:moveTo>
                      <a:pt x="2" y="0"/>
                    </a:moveTo>
                    <a:lnTo>
                      <a:pt x="0" y="4"/>
                    </a:lnTo>
                    <a:lnTo>
                      <a:pt x="6" y="2"/>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5" name="Freeform 1373">
                <a:extLst>
                  <a:ext uri="{FF2B5EF4-FFF2-40B4-BE49-F238E27FC236}">
                    <a16:creationId xmlns:a16="http://schemas.microsoft.com/office/drawing/2014/main" id="{433E6448-E622-4E4F-9D4F-9188BD4A574B}"/>
                  </a:ext>
                </a:extLst>
              </p:cNvPr>
              <p:cNvSpPr>
                <a:spLocks/>
              </p:cNvSpPr>
              <p:nvPr/>
            </p:nvSpPr>
            <p:spPr bwMode="auto">
              <a:xfrm>
                <a:off x="3175" y="2028"/>
                <a:ext cx="10" cy="26"/>
              </a:xfrm>
              <a:custGeom>
                <a:avLst/>
                <a:gdLst/>
                <a:ahLst/>
                <a:cxnLst>
                  <a:cxn ang="0">
                    <a:pos x="0" y="26"/>
                  </a:cxn>
                  <a:cxn ang="0">
                    <a:pos x="6" y="24"/>
                  </a:cxn>
                  <a:cxn ang="0">
                    <a:pos x="10" y="0"/>
                  </a:cxn>
                  <a:cxn ang="0">
                    <a:pos x="10" y="0"/>
                  </a:cxn>
                  <a:cxn ang="0">
                    <a:pos x="4" y="12"/>
                  </a:cxn>
                  <a:cxn ang="0">
                    <a:pos x="2" y="20"/>
                  </a:cxn>
                  <a:cxn ang="0">
                    <a:pos x="0" y="26"/>
                  </a:cxn>
                  <a:cxn ang="0">
                    <a:pos x="0" y="26"/>
                  </a:cxn>
                </a:cxnLst>
                <a:rect l="0" t="0" r="r" b="b"/>
                <a:pathLst>
                  <a:path w="10" h="26">
                    <a:moveTo>
                      <a:pt x="0" y="26"/>
                    </a:moveTo>
                    <a:lnTo>
                      <a:pt x="6" y="24"/>
                    </a:lnTo>
                    <a:lnTo>
                      <a:pt x="10" y="0"/>
                    </a:lnTo>
                    <a:lnTo>
                      <a:pt x="10" y="0"/>
                    </a:lnTo>
                    <a:lnTo>
                      <a:pt x="4" y="12"/>
                    </a:lnTo>
                    <a:lnTo>
                      <a:pt x="2" y="20"/>
                    </a:lnTo>
                    <a:lnTo>
                      <a:pt x="0" y="26"/>
                    </a:lnTo>
                    <a:lnTo>
                      <a:pt x="0"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6" name="Freeform 1374">
                <a:extLst>
                  <a:ext uri="{FF2B5EF4-FFF2-40B4-BE49-F238E27FC236}">
                    <a16:creationId xmlns:a16="http://schemas.microsoft.com/office/drawing/2014/main" id="{C8BB1CA5-6591-4433-8D11-2C0DA7CB4B1D}"/>
                  </a:ext>
                </a:extLst>
              </p:cNvPr>
              <p:cNvSpPr>
                <a:spLocks/>
              </p:cNvSpPr>
              <p:nvPr/>
            </p:nvSpPr>
            <p:spPr bwMode="auto">
              <a:xfrm>
                <a:off x="3155" y="2076"/>
                <a:ext cx="4" cy="6"/>
              </a:xfrm>
              <a:custGeom>
                <a:avLst/>
                <a:gdLst/>
                <a:ahLst/>
                <a:cxnLst>
                  <a:cxn ang="0">
                    <a:pos x="4" y="6"/>
                  </a:cxn>
                  <a:cxn ang="0">
                    <a:pos x="4" y="2"/>
                  </a:cxn>
                  <a:cxn ang="0">
                    <a:pos x="0" y="0"/>
                  </a:cxn>
                  <a:cxn ang="0">
                    <a:pos x="0" y="4"/>
                  </a:cxn>
                  <a:cxn ang="0">
                    <a:pos x="4" y="6"/>
                  </a:cxn>
                </a:cxnLst>
                <a:rect l="0" t="0" r="r" b="b"/>
                <a:pathLst>
                  <a:path w="4" h="6">
                    <a:moveTo>
                      <a:pt x="4" y="6"/>
                    </a:moveTo>
                    <a:lnTo>
                      <a:pt x="4" y="2"/>
                    </a:lnTo>
                    <a:lnTo>
                      <a:pt x="0" y="0"/>
                    </a:lnTo>
                    <a:lnTo>
                      <a:pt x="0" y="4"/>
                    </a:lnTo>
                    <a:lnTo>
                      <a:pt x="4"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7" name="Freeform 1375">
                <a:extLst>
                  <a:ext uri="{FF2B5EF4-FFF2-40B4-BE49-F238E27FC236}">
                    <a16:creationId xmlns:a16="http://schemas.microsoft.com/office/drawing/2014/main" id="{E5F758C0-FD73-4AE2-A2BA-8125FDCC9F24}"/>
                  </a:ext>
                </a:extLst>
              </p:cNvPr>
              <p:cNvSpPr>
                <a:spLocks/>
              </p:cNvSpPr>
              <p:nvPr/>
            </p:nvSpPr>
            <p:spPr bwMode="auto">
              <a:xfrm>
                <a:off x="3108" y="2060"/>
                <a:ext cx="19" cy="22"/>
              </a:xfrm>
              <a:custGeom>
                <a:avLst/>
                <a:gdLst/>
                <a:ahLst/>
                <a:cxnLst>
                  <a:cxn ang="0">
                    <a:pos x="6" y="0"/>
                  </a:cxn>
                  <a:cxn ang="0">
                    <a:pos x="10" y="0"/>
                  </a:cxn>
                  <a:cxn ang="0">
                    <a:pos x="10" y="4"/>
                  </a:cxn>
                  <a:cxn ang="0">
                    <a:pos x="10" y="8"/>
                  </a:cxn>
                  <a:cxn ang="0">
                    <a:pos x="15" y="8"/>
                  </a:cxn>
                  <a:cxn ang="0">
                    <a:pos x="15" y="2"/>
                  </a:cxn>
                  <a:cxn ang="0">
                    <a:pos x="19" y="2"/>
                  </a:cxn>
                  <a:cxn ang="0">
                    <a:pos x="19" y="8"/>
                  </a:cxn>
                  <a:cxn ang="0">
                    <a:pos x="17" y="10"/>
                  </a:cxn>
                  <a:cxn ang="0">
                    <a:pos x="19" y="16"/>
                  </a:cxn>
                  <a:cxn ang="0">
                    <a:pos x="15" y="18"/>
                  </a:cxn>
                  <a:cxn ang="0">
                    <a:pos x="15" y="22"/>
                  </a:cxn>
                  <a:cxn ang="0">
                    <a:pos x="10" y="22"/>
                  </a:cxn>
                  <a:cxn ang="0">
                    <a:pos x="8" y="20"/>
                  </a:cxn>
                  <a:cxn ang="0">
                    <a:pos x="10" y="18"/>
                  </a:cxn>
                  <a:cxn ang="0">
                    <a:pos x="4" y="18"/>
                  </a:cxn>
                  <a:cxn ang="0">
                    <a:pos x="2" y="14"/>
                  </a:cxn>
                  <a:cxn ang="0">
                    <a:pos x="4" y="8"/>
                  </a:cxn>
                  <a:cxn ang="0">
                    <a:pos x="0" y="6"/>
                  </a:cxn>
                  <a:cxn ang="0">
                    <a:pos x="8" y="2"/>
                  </a:cxn>
                  <a:cxn ang="0">
                    <a:pos x="6" y="0"/>
                  </a:cxn>
                </a:cxnLst>
                <a:rect l="0" t="0" r="r" b="b"/>
                <a:pathLst>
                  <a:path w="19" h="22">
                    <a:moveTo>
                      <a:pt x="6" y="0"/>
                    </a:moveTo>
                    <a:lnTo>
                      <a:pt x="10" y="0"/>
                    </a:lnTo>
                    <a:lnTo>
                      <a:pt x="10" y="4"/>
                    </a:lnTo>
                    <a:lnTo>
                      <a:pt x="10" y="8"/>
                    </a:lnTo>
                    <a:lnTo>
                      <a:pt x="15" y="8"/>
                    </a:lnTo>
                    <a:lnTo>
                      <a:pt x="15" y="2"/>
                    </a:lnTo>
                    <a:lnTo>
                      <a:pt x="19" y="2"/>
                    </a:lnTo>
                    <a:lnTo>
                      <a:pt x="19" y="8"/>
                    </a:lnTo>
                    <a:lnTo>
                      <a:pt x="17" y="10"/>
                    </a:lnTo>
                    <a:lnTo>
                      <a:pt x="19" y="16"/>
                    </a:lnTo>
                    <a:lnTo>
                      <a:pt x="15" y="18"/>
                    </a:lnTo>
                    <a:lnTo>
                      <a:pt x="15" y="22"/>
                    </a:lnTo>
                    <a:lnTo>
                      <a:pt x="10" y="22"/>
                    </a:lnTo>
                    <a:lnTo>
                      <a:pt x="8" y="20"/>
                    </a:lnTo>
                    <a:lnTo>
                      <a:pt x="10" y="18"/>
                    </a:lnTo>
                    <a:lnTo>
                      <a:pt x="4" y="18"/>
                    </a:lnTo>
                    <a:lnTo>
                      <a:pt x="2" y="14"/>
                    </a:lnTo>
                    <a:lnTo>
                      <a:pt x="4" y="8"/>
                    </a:lnTo>
                    <a:lnTo>
                      <a:pt x="0" y="6"/>
                    </a:lnTo>
                    <a:lnTo>
                      <a:pt x="8" y="2"/>
                    </a:lnTo>
                    <a:lnTo>
                      <a:pt x="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8" name="Freeform 1376">
                <a:extLst>
                  <a:ext uri="{FF2B5EF4-FFF2-40B4-BE49-F238E27FC236}">
                    <a16:creationId xmlns:a16="http://schemas.microsoft.com/office/drawing/2014/main" id="{949B6408-9D56-4042-A3E2-4E49035EE565}"/>
                  </a:ext>
                </a:extLst>
              </p:cNvPr>
              <p:cNvSpPr>
                <a:spLocks/>
              </p:cNvSpPr>
              <p:nvPr/>
            </p:nvSpPr>
            <p:spPr bwMode="auto">
              <a:xfrm>
                <a:off x="3121" y="2084"/>
                <a:ext cx="4" cy="8"/>
              </a:xfrm>
              <a:custGeom>
                <a:avLst/>
                <a:gdLst/>
                <a:ahLst/>
                <a:cxnLst>
                  <a:cxn ang="0">
                    <a:pos x="0" y="0"/>
                  </a:cxn>
                  <a:cxn ang="0">
                    <a:pos x="4" y="2"/>
                  </a:cxn>
                  <a:cxn ang="0">
                    <a:pos x="2" y="8"/>
                  </a:cxn>
                  <a:cxn ang="0">
                    <a:pos x="0" y="0"/>
                  </a:cxn>
                  <a:cxn ang="0">
                    <a:pos x="0" y="0"/>
                  </a:cxn>
                </a:cxnLst>
                <a:rect l="0" t="0" r="r" b="b"/>
                <a:pathLst>
                  <a:path w="4" h="8">
                    <a:moveTo>
                      <a:pt x="0" y="0"/>
                    </a:moveTo>
                    <a:lnTo>
                      <a:pt x="4" y="2"/>
                    </a:lnTo>
                    <a:lnTo>
                      <a:pt x="2" y="8"/>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69" name="Freeform 1377">
                <a:extLst>
                  <a:ext uri="{FF2B5EF4-FFF2-40B4-BE49-F238E27FC236}">
                    <a16:creationId xmlns:a16="http://schemas.microsoft.com/office/drawing/2014/main" id="{340D5BA6-D688-4039-8ADA-F96A8719343F}"/>
                  </a:ext>
                </a:extLst>
              </p:cNvPr>
              <p:cNvSpPr>
                <a:spLocks/>
              </p:cNvSpPr>
              <p:nvPr/>
            </p:nvSpPr>
            <p:spPr bwMode="auto">
              <a:xfrm>
                <a:off x="3110" y="2084"/>
                <a:ext cx="11" cy="8"/>
              </a:xfrm>
              <a:custGeom>
                <a:avLst/>
                <a:gdLst/>
                <a:ahLst/>
                <a:cxnLst>
                  <a:cxn ang="0">
                    <a:pos x="4" y="0"/>
                  </a:cxn>
                  <a:cxn ang="0">
                    <a:pos x="6" y="4"/>
                  </a:cxn>
                  <a:cxn ang="0">
                    <a:pos x="8" y="2"/>
                  </a:cxn>
                  <a:cxn ang="0">
                    <a:pos x="11" y="8"/>
                  </a:cxn>
                  <a:cxn ang="0">
                    <a:pos x="6" y="8"/>
                  </a:cxn>
                  <a:cxn ang="0">
                    <a:pos x="2" y="6"/>
                  </a:cxn>
                  <a:cxn ang="0">
                    <a:pos x="2" y="4"/>
                  </a:cxn>
                  <a:cxn ang="0">
                    <a:pos x="0" y="2"/>
                  </a:cxn>
                  <a:cxn ang="0">
                    <a:pos x="4" y="0"/>
                  </a:cxn>
                </a:cxnLst>
                <a:rect l="0" t="0" r="r" b="b"/>
                <a:pathLst>
                  <a:path w="11" h="8">
                    <a:moveTo>
                      <a:pt x="4" y="0"/>
                    </a:moveTo>
                    <a:lnTo>
                      <a:pt x="6" y="4"/>
                    </a:lnTo>
                    <a:lnTo>
                      <a:pt x="8" y="2"/>
                    </a:lnTo>
                    <a:lnTo>
                      <a:pt x="11" y="8"/>
                    </a:lnTo>
                    <a:lnTo>
                      <a:pt x="6" y="8"/>
                    </a:lnTo>
                    <a:lnTo>
                      <a:pt x="2" y="6"/>
                    </a:lnTo>
                    <a:lnTo>
                      <a:pt x="2" y="4"/>
                    </a:lnTo>
                    <a:lnTo>
                      <a:pt x="0"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0" name="Freeform 1378">
                <a:extLst>
                  <a:ext uri="{FF2B5EF4-FFF2-40B4-BE49-F238E27FC236}">
                    <a16:creationId xmlns:a16="http://schemas.microsoft.com/office/drawing/2014/main" id="{359CB147-19D5-40C5-9ED1-CF0507C90931}"/>
                  </a:ext>
                </a:extLst>
              </p:cNvPr>
              <p:cNvSpPr>
                <a:spLocks/>
              </p:cNvSpPr>
              <p:nvPr/>
            </p:nvSpPr>
            <p:spPr bwMode="auto">
              <a:xfrm>
                <a:off x="3096" y="2068"/>
                <a:ext cx="12" cy="12"/>
              </a:xfrm>
              <a:custGeom>
                <a:avLst/>
                <a:gdLst/>
                <a:ahLst/>
                <a:cxnLst>
                  <a:cxn ang="0">
                    <a:pos x="8" y="2"/>
                  </a:cxn>
                  <a:cxn ang="0">
                    <a:pos x="10" y="0"/>
                  </a:cxn>
                  <a:cxn ang="0">
                    <a:pos x="12" y="8"/>
                  </a:cxn>
                  <a:cxn ang="0">
                    <a:pos x="12" y="12"/>
                  </a:cxn>
                  <a:cxn ang="0">
                    <a:pos x="4" y="12"/>
                  </a:cxn>
                  <a:cxn ang="0">
                    <a:pos x="4" y="10"/>
                  </a:cxn>
                  <a:cxn ang="0">
                    <a:pos x="2" y="10"/>
                  </a:cxn>
                  <a:cxn ang="0">
                    <a:pos x="0" y="4"/>
                  </a:cxn>
                  <a:cxn ang="0">
                    <a:pos x="0" y="4"/>
                  </a:cxn>
                  <a:cxn ang="0">
                    <a:pos x="4" y="2"/>
                  </a:cxn>
                  <a:cxn ang="0">
                    <a:pos x="8" y="2"/>
                  </a:cxn>
                  <a:cxn ang="0">
                    <a:pos x="8" y="2"/>
                  </a:cxn>
                </a:cxnLst>
                <a:rect l="0" t="0" r="r" b="b"/>
                <a:pathLst>
                  <a:path w="12" h="12">
                    <a:moveTo>
                      <a:pt x="8" y="2"/>
                    </a:moveTo>
                    <a:lnTo>
                      <a:pt x="10" y="0"/>
                    </a:lnTo>
                    <a:lnTo>
                      <a:pt x="12" y="8"/>
                    </a:lnTo>
                    <a:lnTo>
                      <a:pt x="12" y="12"/>
                    </a:lnTo>
                    <a:lnTo>
                      <a:pt x="4" y="12"/>
                    </a:lnTo>
                    <a:lnTo>
                      <a:pt x="4" y="10"/>
                    </a:lnTo>
                    <a:lnTo>
                      <a:pt x="2" y="10"/>
                    </a:lnTo>
                    <a:lnTo>
                      <a:pt x="0" y="4"/>
                    </a:lnTo>
                    <a:lnTo>
                      <a:pt x="0" y="4"/>
                    </a:lnTo>
                    <a:lnTo>
                      <a:pt x="4" y="2"/>
                    </a:lnTo>
                    <a:lnTo>
                      <a:pt x="8" y="2"/>
                    </a:lnTo>
                    <a:lnTo>
                      <a:pt x="8"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1" name="Freeform 1379">
                <a:extLst>
                  <a:ext uri="{FF2B5EF4-FFF2-40B4-BE49-F238E27FC236}">
                    <a16:creationId xmlns:a16="http://schemas.microsoft.com/office/drawing/2014/main" id="{8358438C-0DCE-43E3-9DC1-9B0C87EAB1B0}"/>
                  </a:ext>
                </a:extLst>
              </p:cNvPr>
              <p:cNvSpPr>
                <a:spLocks/>
              </p:cNvSpPr>
              <p:nvPr/>
            </p:nvSpPr>
            <p:spPr bwMode="auto">
              <a:xfrm>
                <a:off x="3106" y="2078"/>
                <a:ext cx="4" cy="10"/>
              </a:xfrm>
              <a:custGeom>
                <a:avLst/>
                <a:gdLst/>
                <a:ahLst/>
                <a:cxnLst>
                  <a:cxn ang="0">
                    <a:pos x="4" y="0"/>
                  </a:cxn>
                  <a:cxn ang="0">
                    <a:pos x="4" y="0"/>
                  </a:cxn>
                  <a:cxn ang="0">
                    <a:pos x="4" y="6"/>
                  </a:cxn>
                  <a:cxn ang="0">
                    <a:pos x="2" y="10"/>
                  </a:cxn>
                  <a:cxn ang="0">
                    <a:pos x="0" y="8"/>
                  </a:cxn>
                  <a:cxn ang="0">
                    <a:pos x="0" y="8"/>
                  </a:cxn>
                  <a:cxn ang="0">
                    <a:pos x="4" y="0"/>
                  </a:cxn>
                  <a:cxn ang="0">
                    <a:pos x="4" y="0"/>
                  </a:cxn>
                </a:cxnLst>
                <a:rect l="0" t="0" r="r" b="b"/>
                <a:pathLst>
                  <a:path w="4" h="10">
                    <a:moveTo>
                      <a:pt x="4" y="0"/>
                    </a:moveTo>
                    <a:lnTo>
                      <a:pt x="4" y="0"/>
                    </a:lnTo>
                    <a:lnTo>
                      <a:pt x="4" y="6"/>
                    </a:lnTo>
                    <a:lnTo>
                      <a:pt x="2" y="10"/>
                    </a:lnTo>
                    <a:lnTo>
                      <a:pt x="0" y="8"/>
                    </a:lnTo>
                    <a:lnTo>
                      <a:pt x="0" y="8"/>
                    </a:lnTo>
                    <a:lnTo>
                      <a:pt x="4" y="0"/>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2" name="Freeform 1380">
                <a:extLst>
                  <a:ext uri="{FF2B5EF4-FFF2-40B4-BE49-F238E27FC236}">
                    <a16:creationId xmlns:a16="http://schemas.microsoft.com/office/drawing/2014/main" id="{1080DD82-9B7B-4A1A-B413-B262BBA4602E}"/>
                  </a:ext>
                </a:extLst>
              </p:cNvPr>
              <p:cNvSpPr>
                <a:spLocks/>
              </p:cNvSpPr>
              <p:nvPr/>
            </p:nvSpPr>
            <p:spPr bwMode="auto">
              <a:xfrm>
                <a:off x="3135" y="2086"/>
                <a:ext cx="8" cy="8"/>
              </a:xfrm>
              <a:custGeom>
                <a:avLst/>
                <a:gdLst/>
                <a:ahLst/>
                <a:cxnLst>
                  <a:cxn ang="0">
                    <a:pos x="8" y="8"/>
                  </a:cxn>
                  <a:cxn ang="0">
                    <a:pos x="0" y="8"/>
                  </a:cxn>
                  <a:cxn ang="0">
                    <a:pos x="0" y="4"/>
                  </a:cxn>
                  <a:cxn ang="0">
                    <a:pos x="4" y="4"/>
                  </a:cxn>
                  <a:cxn ang="0">
                    <a:pos x="2" y="0"/>
                  </a:cxn>
                  <a:cxn ang="0">
                    <a:pos x="6" y="2"/>
                  </a:cxn>
                  <a:cxn ang="0">
                    <a:pos x="6" y="2"/>
                  </a:cxn>
                  <a:cxn ang="0">
                    <a:pos x="6" y="6"/>
                  </a:cxn>
                  <a:cxn ang="0">
                    <a:pos x="8" y="8"/>
                  </a:cxn>
                  <a:cxn ang="0">
                    <a:pos x="8" y="8"/>
                  </a:cxn>
                </a:cxnLst>
                <a:rect l="0" t="0" r="r" b="b"/>
                <a:pathLst>
                  <a:path w="8" h="8">
                    <a:moveTo>
                      <a:pt x="8" y="8"/>
                    </a:moveTo>
                    <a:lnTo>
                      <a:pt x="0" y="8"/>
                    </a:lnTo>
                    <a:lnTo>
                      <a:pt x="0" y="4"/>
                    </a:lnTo>
                    <a:lnTo>
                      <a:pt x="4" y="4"/>
                    </a:lnTo>
                    <a:lnTo>
                      <a:pt x="2" y="0"/>
                    </a:lnTo>
                    <a:lnTo>
                      <a:pt x="6" y="2"/>
                    </a:lnTo>
                    <a:lnTo>
                      <a:pt x="6" y="2"/>
                    </a:lnTo>
                    <a:lnTo>
                      <a:pt x="6" y="6"/>
                    </a:lnTo>
                    <a:lnTo>
                      <a:pt x="8" y="8"/>
                    </a:lnTo>
                    <a:lnTo>
                      <a:pt x="8"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3" name="Freeform 1381">
                <a:extLst>
                  <a:ext uri="{FF2B5EF4-FFF2-40B4-BE49-F238E27FC236}">
                    <a16:creationId xmlns:a16="http://schemas.microsoft.com/office/drawing/2014/main" id="{EAEE428A-2141-4398-9B69-12090712D8A3}"/>
                  </a:ext>
                </a:extLst>
              </p:cNvPr>
              <p:cNvSpPr>
                <a:spLocks/>
              </p:cNvSpPr>
              <p:nvPr/>
            </p:nvSpPr>
            <p:spPr bwMode="auto">
              <a:xfrm>
                <a:off x="3245" y="1958"/>
                <a:ext cx="4" cy="6"/>
              </a:xfrm>
              <a:custGeom>
                <a:avLst/>
                <a:gdLst/>
                <a:ahLst/>
                <a:cxnLst>
                  <a:cxn ang="0">
                    <a:pos x="2" y="6"/>
                  </a:cxn>
                  <a:cxn ang="0">
                    <a:pos x="4" y="0"/>
                  </a:cxn>
                  <a:cxn ang="0">
                    <a:pos x="0" y="2"/>
                  </a:cxn>
                  <a:cxn ang="0">
                    <a:pos x="0" y="6"/>
                  </a:cxn>
                  <a:cxn ang="0">
                    <a:pos x="2" y="6"/>
                  </a:cxn>
                </a:cxnLst>
                <a:rect l="0" t="0" r="r" b="b"/>
                <a:pathLst>
                  <a:path w="4" h="6">
                    <a:moveTo>
                      <a:pt x="2" y="6"/>
                    </a:moveTo>
                    <a:lnTo>
                      <a:pt x="4" y="0"/>
                    </a:lnTo>
                    <a:lnTo>
                      <a:pt x="0" y="2"/>
                    </a:lnTo>
                    <a:lnTo>
                      <a:pt x="0" y="6"/>
                    </a:lnTo>
                    <a:lnTo>
                      <a:pt x="2"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4" name="Freeform 1382">
                <a:extLst>
                  <a:ext uri="{FF2B5EF4-FFF2-40B4-BE49-F238E27FC236}">
                    <a16:creationId xmlns:a16="http://schemas.microsoft.com/office/drawing/2014/main" id="{A1D6CE67-3CED-4666-9571-F0FF0198AB47}"/>
                  </a:ext>
                </a:extLst>
              </p:cNvPr>
              <p:cNvSpPr>
                <a:spLocks/>
              </p:cNvSpPr>
              <p:nvPr/>
            </p:nvSpPr>
            <p:spPr bwMode="auto">
              <a:xfrm>
                <a:off x="2896" y="2002"/>
                <a:ext cx="10" cy="16"/>
              </a:xfrm>
              <a:custGeom>
                <a:avLst/>
                <a:gdLst/>
                <a:ahLst/>
                <a:cxnLst>
                  <a:cxn ang="0">
                    <a:pos x="8" y="0"/>
                  </a:cxn>
                  <a:cxn ang="0">
                    <a:pos x="2" y="4"/>
                  </a:cxn>
                  <a:cxn ang="0">
                    <a:pos x="2" y="6"/>
                  </a:cxn>
                  <a:cxn ang="0">
                    <a:pos x="0" y="6"/>
                  </a:cxn>
                  <a:cxn ang="0">
                    <a:pos x="0" y="16"/>
                  </a:cxn>
                  <a:cxn ang="0">
                    <a:pos x="6" y="12"/>
                  </a:cxn>
                  <a:cxn ang="0">
                    <a:pos x="6" y="8"/>
                  </a:cxn>
                  <a:cxn ang="0">
                    <a:pos x="10" y="6"/>
                  </a:cxn>
                  <a:cxn ang="0">
                    <a:pos x="8" y="4"/>
                  </a:cxn>
                  <a:cxn ang="0">
                    <a:pos x="8" y="0"/>
                  </a:cxn>
                </a:cxnLst>
                <a:rect l="0" t="0" r="r" b="b"/>
                <a:pathLst>
                  <a:path w="10" h="16">
                    <a:moveTo>
                      <a:pt x="8" y="0"/>
                    </a:moveTo>
                    <a:lnTo>
                      <a:pt x="2" y="4"/>
                    </a:lnTo>
                    <a:lnTo>
                      <a:pt x="2" y="6"/>
                    </a:lnTo>
                    <a:lnTo>
                      <a:pt x="0" y="6"/>
                    </a:lnTo>
                    <a:lnTo>
                      <a:pt x="0" y="16"/>
                    </a:lnTo>
                    <a:lnTo>
                      <a:pt x="6" y="12"/>
                    </a:lnTo>
                    <a:lnTo>
                      <a:pt x="6" y="8"/>
                    </a:lnTo>
                    <a:lnTo>
                      <a:pt x="10" y="6"/>
                    </a:lnTo>
                    <a:lnTo>
                      <a:pt x="8" y="4"/>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5" name="Freeform 1383">
                <a:extLst>
                  <a:ext uri="{FF2B5EF4-FFF2-40B4-BE49-F238E27FC236}">
                    <a16:creationId xmlns:a16="http://schemas.microsoft.com/office/drawing/2014/main" id="{6A54759D-36D1-44AE-B757-177A77BE4B96}"/>
                  </a:ext>
                </a:extLst>
              </p:cNvPr>
              <p:cNvSpPr>
                <a:spLocks/>
              </p:cNvSpPr>
              <p:nvPr/>
            </p:nvSpPr>
            <p:spPr bwMode="auto">
              <a:xfrm>
                <a:off x="2906" y="1998"/>
                <a:ext cx="94" cy="190"/>
              </a:xfrm>
              <a:custGeom>
                <a:avLst/>
                <a:gdLst/>
                <a:ahLst/>
                <a:cxnLst>
                  <a:cxn ang="0">
                    <a:pos x="58" y="172"/>
                  </a:cxn>
                  <a:cxn ang="0">
                    <a:pos x="90" y="166"/>
                  </a:cxn>
                  <a:cxn ang="0">
                    <a:pos x="80" y="160"/>
                  </a:cxn>
                  <a:cxn ang="0">
                    <a:pos x="88" y="154"/>
                  </a:cxn>
                  <a:cxn ang="0">
                    <a:pos x="94" y="138"/>
                  </a:cxn>
                  <a:cxn ang="0">
                    <a:pos x="78" y="134"/>
                  </a:cxn>
                  <a:cxn ang="0">
                    <a:pos x="70" y="114"/>
                  </a:cxn>
                  <a:cxn ang="0">
                    <a:pos x="74" y="112"/>
                  </a:cxn>
                  <a:cxn ang="0">
                    <a:pos x="60" y="94"/>
                  </a:cxn>
                  <a:cxn ang="0">
                    <a:pos x="54" y="72"/>
                  </a:cxn>
                  <a:cxn ang="0">
                    <a:pos x="42" y="62"/>
                  </a:cxn>
                  <a:cxn ang="0">
                    <a:pos x="42" y="56"/>
                  </a:cxn>
                  <a:cxn ang="0">
                    <a:pos x="42" y="50"/>
                  </a:cxn>
                  <a:cxn ang="0">
                    <a:pos x="48" y="34"/>
                  </a:cxn>
                  <a:cxn ang="0">
                    <a:pos x="50" y="24"/>
                  </a:cxn>
                  <a:cxn ang="0">
                    <a:pos x="24" y="26"/>
                  </a:cxn>
                  <a:cxn ang="0">
                    <a:pos x="28" y="20"/>
                  </a:cxn>
                  <a:cxn ang="0">
                    <a:pos x="36" y="6"/>
                  </a:cxn>
                  <a:cxn ang="0">
                    <a:pos x="32" y="0"/>
                  </a:cxn>
                  <a:cxn ang="0">
                    <a:pos x="12" y="10"/>
                  </a:cxn>
                  <a:cxn ang="0">
                    <a:pos x="8" y="14"/>
                  </a:cxn>
                  <a:cxn ang="0">
                    <a:pos x="4" y="26"/>
                  </a:cxn>
                  <a:cxn ang="0">
                    <a:pos x="4" y="30"/>
                  </a:cxn>
                  <a:cxn ang="0">
                    <a:pos x="8" y="32"/>
                  </a:cxn>
                  <a:cxn ang="0">
                    <a:pos x="6" y="52"/>
                  </a:cxn>
                  <a:cxn ang="0">
                    <a:pos x="8" y="68"/>
                  </a:cxn>
                  <a:cxn ang="0">
                    <a:pos x="6" y="76"/>
                  </a:cxn>
                  <a:cxn ang="0">
                    <a:pos x="8" y="62"/>
                  </a:cxn>
                  <a:cxn ang="0">
                    <a:pos x="14" y="64"/>
                  </a:cxn>
                  <a:cxn ang="0">
                    <a:pos x="16" y="64"/>
                  </a:cxn>
                  <a:cxn ang="0">
                    <a:pos x="14" y="86"/>
                  </a:cxn>
                  <a:cxn ang="0">
                    <a:pos x="14" y="92"/>
                  </a:cxn>
                  <a:cxn ang="0">
                    <a:pos x="22" y="88"/>
                  </a:cxn>
                  <a:cxn ang="0">
                    <a:pos x="30" y="96"/>
                  </a:cxn>
                  <a:cxn ang="0">
                    <a:pos x="38" y="112"/>
                  </a:cxn>
                  <a:cxn ang="0">
                    <a:pos x="38" y="120"/>
                  </a:cxn>
                  <a:cxn ang="0">
                    <a:pos x="18" y="132"/>
                  </a:cxn>
                  <a:cxn ang="0">
                    <a:pos x="26" y="138"/>
                  </a:cxn>
                  <a:cxn ang="0">
                    <a:pos x="14" y="158"/>
                  </a:cxn>
                  <a:cxn ang="0">
                    <a:pos x="28" y="156"/>
                  </a:cxn>
                  <a:cxn ang="0">
                    <a:pos x="42" y="156"/>
                  </a:cxn>
                  <a:cxn ang="0">
                    <a:pos x="8" y="188"/>
                  </a:cxn>
                  <a:cxn ang="0">
                    <a:pos x="30" y="184"/>
                  </a:cxn>
                  <a:cxn ang="0">
                    <a:pos x="44" y="180"/>
                  </a:cxn>
                </a:cxnLst>
                <a:rect l="0" t="0" r="r" b="b"/>
                <a:pathLst>
                  <a:path w="94" h="190">
                    <a:moveTo>
                      <a:pt x="44" y="180"/>
                    </a:moveTo>
                    <a:lnTo>
                      <a:pt x="58" y="174"/>
                    </a:lnTo>
                    <a:lnTo>
                      <a:pt x="58" y="172"/>
                    </a:lnTo>
                    <a:lnTo>
                      <a:pt x="64" y="176"/>
                    </a:lnTo>
                    <a:lnTo>
                      <a:pt x="86" y="172"/>
                    </a:lnTo>
                    <a:lnTo>
                      <a:pt x="90" y="166"/>
                    </a:lnTo>
                    <a:lnTo>
                      <a:pt x="90" y="164"/>
                    </a:lnTo>
                    <a:lnTo>
                      <a:pt x="82" y="162"/>
                    </a:lnTo>
                    <a:lnTo>
                      <a:pt x="80" y="160"/>
                    </a:lnTo>
                    <a:lnTo>
                      <a:pt x="84" y="156"/>
                    </a:lnTo>
                    <a:lnTo>
                      <a:pt x="82" y="154"/>
                    </a:lnTo>
                    <a:lnTo>
                      <a:pt x="88" y="154"/>
                    </a:lnTo>
                    <a:lnTo>
                      <a:pt x="88" y="150"/>
                    </a:lnTo>
                    <a:lnTo>
                      <a:pt x="92" y="146"/>
                    </a:lnTo>
                    <a:lnTo>
                      <a:pt x="94" y="138"/>
                    </a:lnTo>
                    <a:lnTo>
                      <a:pt x="88" y="130"/>
                    </a:lnTo>
                    <a:lnTo>
                      <a:pt x="80" y="130"/>
                    </a:lnTo>
                    <a:lnTo>
                      <a:pt x="78" y="134"/>
                    </a:lnTo>
                    <a:lnTo>
                      <a:pt x="74" y="132"/>
                    </a:lnTo>
                    <a:lnTo>
                      <a:pt x="78" y="122"/>
                    </a:lnTo>
                    <a:lnTo>
                      <a:pt x="70" y="114"/>
                    </a:lnTo>
                    <a:lnTo>
                      <a:pt x="76" y="116"/>
                    </a:lnTo>
                    <a:lnTo>
                      <a:pt x="76" y="116"/>
                    </a:lnTo>
                    <a:lnTo>
                      <a:pt x="74" y="112"/>
                    </a:lnTo>
                    <a:lnTo>
                      <a:pt x="72" y="106"/>
                    </a:lnTo>
                    <a:lnTo>
                      <a:pt x="66" y="96"/>
                    </a:lnTo>
                    <a:lnTo>
                      <a:pt x="60" y="94"/>
                    </a:lnTo>
                    <a:lnTo>
                      <a:pt x="60" y="94"/>
                    </a:lnTo>
                    <a:lnTo>
                      <a:pt x="56" y="84"/>
                    </a:lnTo>
                    <a:lnTo>
                      <a:pt x="54" y="72"/>
                    </a:lnTo>
                    <a:lnTo>
                      <a:pt x="54" y="72"/>
                    </a:lnTo>
                    <a:lnTo>
                      <a:pt x="50" y="66"/>
                    </a:lnTo>
                    <a:lnTo>
                      <a:pt x="42" y="62"/>
                    </a:lnTo>
                    <a:lnTo>
                      <a:pt x="34" y="62"/>
                    </a:lnTo>
                    <a:lnTo>
                      <a:pt x="36" y="58"/>
                    </a:lnTo>
                    <a:lnTo>
                      <a:pt x="42" y="56"/>
                    </a:lnTo>
                    <a:lnTo>
                      <a:pt x="38" y="52"/>
                    </a:lnTo>
                    <a:lnTo>
                      <a:pt x="42" y="50"/>
                    </a:lnTo>
                    <a:lnTo>
                      <a:pt x="42" y="50"/>
                    </a:lnTo>
                    <a:lnTo>
                      <a:pt x="44" y="46"/>
                    </a:lnTo>
                    <a:lnTo>
                      <a:pt x="46" y="40"/>
                    </a:lnTo>
                    <a:lnTo>
                      <a:pt x="48" y="34"/>
                    </a:lnTo>
                    <a:lnTo>
                      <a:pt x="52" y="30"/>
                    </a:lnTo>
                    <a:lnTo>
                      <a:pt x="50" y="24"/>
                    </a:lnTo>
                    <a:lnTo>
                      <a:pt x="50" y="24"/>
                    </a:lnTo>
                    <a:lnTo>
                      <a:pt x="36" y="22"/>
                    </a:lnTo>
                    <a:lnTo>
                      <a:pt x="30" y="24"/>
                    </a:lnTo>
                    <a:lnTo>
                      <a:pt x="24" y="26"/>
                    </a:lnTo>
                    <a:lnTo>
                      <a:pt x="24" y="24"/>
                    </a:lnTo>
                    <a:lnTo>
                      <a:pt x="22" y="22"/>
                    </a:lnTo>
                    <a:lnTo>
                      <a:pt x="28" y="20"/>
                    </a:lnTo>
                    <a:lnTo>
                      <a:pt x="24" y="20"/>
                    </a:lnTo>
                    <a:lnTo>
                      <a:pt x="24" y="18"/>
                    </a:lnTo>
                    <a:lnTo>
                      <a:pt x="36" y="6"/>
                    </a:lnTo>
                    <a:lnTo>
                      <a:pt x="36" y="0"/>
                    </a:lnTo>
                    <a:lnTo>
                      <a:pt x="36" y="0"/>
                    </a:lnTo>
                    <a:lnTo>
                      <a:pt x="32" y="0"/>
                    </a:lnTo>
                    <a:lnTo>
                      <a:pt x="26" y="0"/>
                    </a:lnTo>
                    <a:lnTo>
                      <a:pt x="14" y="2"/>
                    </a:lnTo>
                    <a:lnTo>
                      <a:pt x="12" y="10"/>
                    </a:lnTo>
                    <a:lnTo>
                      <a:pt x="10" y="10"/>
                    </a:lnTo>
                    <a:lnTo>
                      <a:pt x="10" y="12"/>
                    </a:lnTo>
                    <a:lnTo>
                      <a:pt x="8" y="14"/>
                    </a:lnTo>
                    <a:lnTo>
                      <a:pt x="10" y="16"/>
                    </a:lnTo>
                    <a:lnTo>
                      <a:pt x="4" y="20"/>
                    </a:lnTo>
                    <a:lnTo>
                      <a:pt x="4" y="26"/>
                    </a:lnTo>
                    <a:lnTo>
                      <a:pt x="6" y="26"/>
                    </a:lnTo>
                    <a:lnTo>
                      <a:pt x="4" y="26"/>
                    </a:lnTo>
                    <a:lnTo>
                      <a:pt x="4" y="30"/>
                    </a:lnTo>
                    <a:lnTo>
                      <a:pt x="8" y="30"/>
                    </a:lnTo>
                    <a:lnTo>
                      <a:pt x="6" y="32"/>
                    </a:lnTo>
                    <a:lnTo>
                      <a:pt x="8" y="32"/>
                    </a:lnTo>
                    <a:lnTo>
                      <a:pt x="4" y="44"/>
                    </a:lnTo>
                    <a:lnTo>
                      <a:pt x="0" y="46"/>
                    </a:lnTo>
                    <a:lnTo>
                      <a:pt x="6" y="52"/>
                    </a:lnTo>
                    <a:lnTo>
                      <a:pt x="10" y="48"/>
                    </a:lnTo>
                    <a:lnTo>
                      <a:pt x="6" y="64"/>
                    </a:lnTo>
                    <a:lnTo>
                      <a:pt x="8" y="68"/>
                    </a:lnTo>
                    <a:lnTo>
                      <a:pt x="4" y="78"/>
                    </a:lnTo>
                    <a:lnTo>
                      <a:pt x="6" y="76"/>
                    </a:lnTo>
                    <a:lnTo>
                      <a:pt x="6" y="76"/>
                    </a:lnTo>
                    <a:lnTo>
                      <a:pt x="10" y="70"/>
                    </a:lnTo>
                    <a:lnTo>
                      <a:pt x="10" y="66"/>
                    </a:lnTo>
                    <a:lnTo>
                      <a:pt x="8" y="62"/>
                    </a:lnTo>
                    <a:lnTo>
                      <a:pt x="12" y="58"/>
                    </a:lnTo>
                    <a:lnTo>
                      <a:pt x="10" y="66"/>
                    </a:lnTo>
                    <a:lnTo>
                      <a:pt x="14" y="64"/>
                    </a:lnTo>
                    <a:lnTo>
                      <a:pt x="14" y="60"/>
                    </a:lnTo>
                    <a:lnTo>
                      <a:pt x="18" y="64"/>
                    </a:lnTo>
                    <a:lnTo>
                      <a:pt x="16" y="64"/>
                    </a:lnTo>
                    <a:lnTo>
                      <a:pt x="16" y="70"/>
                    </a:lnTo>
                    <a:lnTo>
                      <a:pt x="18" y="74"/>
                    </a:lnTo>
                    <a:lnTo>
                      <a:pt x="14" y="86"/>
                    </a:lnTo>
                    <a:lnTo>
                      <a:pt x="12" y="86"/>
                    </a:lnTo>
                    <a:lnTo>
                      <a:pt x="14" y="92"/>
                    </a:lnTo>
                    <a:lnTo>
                      <a:pt x="14" y="92"/>
                    </a:lnTo>
                    <a:lnTo>
                      <a:pt x="16" y="88"/>
                    </a:lnTo>
                    <a:lnTo>
                      <a:pt x="20" y="92"/>
                    </a:lnTo>
                    <a:lnTo>
                      <a:pt x="22" y="88"/>
                    </a:lnTo>
                    <a:lnTo>
                      <a:pt x="36" y="86"/>
                    </a:lnTo>
                    <a:lnTo>
                      <a:pt x="34" y="88"/>
                    </a:lnTo>
                    <a:lnTo>
                      <a:pt x="30" y="96"/>
                    </a:lnTo>
                    <a:lnTo>
                      <a:pt x="34" y="104"/>
                    </a:lnTo>
                    <a:lnTo>
                      <a:pt x="40" y="102"/>
                    </a:lnTo>
                    <a:lnTo>
                      <a:pt x="38" y="112"/>
                    </a:lnTo>
                    <a:lnTo>
                      <a:pt x="40" y="112"/>
                    </a:lnTo>
                    <a:lnTo>
                      <a:pt x="38" y="118"/>
                    </a:lnTo>
                    <a:lnTo>
                      <a:pt x="38" y="120"/>
                    </a:lnTo>
                    <a:lnTo>
                      <a:pt x="38" y="122"/>
                    </a:lnTo>
                    <a:lnTo>
                      <a:pt x="28" y="122"/>
                    </a:lnTo>
                    <a:lnTo>
                      <a:pt x="18" y="132"/>
                    </a:lnTo>
                    <a:lnTo>
                      <a:pt x="24" y="130"/>
                    </a:lnTo>
                    <a:lnTo>
                      <a:pt x="24" y="136"/>
                    </a:lnTo>
                    <a:lnTo>
                      <a:pt x="26" y="138"/>
                    </a:lnTo>
                    <a:lnTo>
                      <a:pt x="24" y="144"/>
                    </a:lnTo>
                    <a:lnTo>
                      <a:pt x="10" y="152"/>
                    </a:lnTo>
                    <a:lnTo>
                      <a:pt x="14" y="158"/>
                    </a:lnTo>
                    <a:lnTo>
                      <a:pt x="20" y="154"/>
                    </a:lnTo>
                    <a:lnTo>
                      <a:pt x="22" y="158"/>
                    </a:lnTo>
                    <a:lnTo>
                      <a:pt x="28" y="156"/>
                    </a:lnTo>
                    <a:lnTo>
                      <a:pt x="32" y="162"/>
                    </a:lnTo>
                    <a:lnTo>
                      <a:pt x="42" y="154"/>
                    </a:lnTo>
                    <a:lnTo>
                      <a:pt x="42" y="156"/>
                    </a:lnTo>
                    <a:lnTo>
                      <a:pt x="38" y="166"/>
                    </a:lnTo>
                    <a:lnTo>
                      <a:pt x="24" y="166"/>
                    </a:lnTo>
                    <a:lnTo>
                      <a:pt x="8" y="188"/>
                    </a:lnTo>
                    <a:lnTo>
                      <a:pt x="12" y="190"/>
                    </a:lnTo>
                    <a:lnTo>
                      <a:pt x="18" y="184"/>
                    </a:lnTo>
                    <a:lnTo>
                      <a:pt x="30" y="184"/>
                    </a:lnTo>
                    <a:lnTo>
                      <a:pt x="32" y="178"/>
                    </a:lnTo>
                    <a:lnTo>
                      <a:pt x="40" y="176"/>
                    </a:lnTo>
                    <a:lnTo>
                      <a:pt x="44" y="18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6" name="Freeform 1384">
                <a:extLst>
                  <a:ext uri="{FF2B5EF4-FFF2-40B4-BE49-F238E27FC236}">
                    <a16:creationId xmlns:a16="http://schemas.microsoft.com/office/drawing/2014/main" id="{4FB3B160-7741-4E17-92C5-919184C917D4}"/>
                  </a:ext>
                </a:extLst>
              </p:cNvPr>
              <p:cNvSpPr>
                <a:spLocks/>
              </p:cNvSpPr>
              <p:nvPr/>
            </p:nvSpPr>
            <p:spPr bwMode="auto">
              <a:xfrm>
                <a:off x="2900" y="2020"/>
                <a:ext cx="10" cy="16"/>
              </a:xfrm>
              <a:custGeom>
                <a:avLst/>
                <a:gdLst/>
                <a:ahLst/>
                <a:cxnLst>
                  <a:cxn ang="0">
                    <a:pos x="4" y="0"/>
                  </a:cxn>
                  <a:cxn ang="0">
                    <a:pos x="2" y="6"/>
                  </a:cxn>
                  <a:cxn ang="0">
                    <a:pos x="0" y="4"/>
                  </a:cxn>
                  <a:cxn ang="0">
                    <a:pos x="0" y="8"/>
                  </a:cxn>
                  <a:cxn ang="0">
                    <a:pos x="2" y="8"/>
                  </a:cxn>
                  <a:cxn ang="0">
                    <a:pos x="4" y="14"/>
                  </a:cxn>
                  <a:cxn ang="0">
                    <a:pos x="10" y="16"/>
                  </a:cxn>
                  <a:cxn ang="0">
                    <a:pos x="10" y="12"/>
                  </a:cxn>
                  <a:cxn ang="0">
                    <a:pos x="8" y="10"/>
                  </a:cxn>
                  <a:cxn ang="0">
                    <a:pos x="4" y="0"/>
                  </a:cxn>
                </a:cxnLst>
                <a:rect l="0" t="0" r="r" b="b"/>
                <a:pathLst>
                  <a:path w="10" h="16">
                    <a:moveTo>
                      <a:pt x="4" y="0"/>
                    </a:moveTo>
                    <a:lnTo>
                      <a:pt x="2" y="6"/>
                    </a:lnTo>
                    <a:lnTo>
                      <a:pt x="0" y="4"/>
                    </a:lnTo>
                    <a:lnTo>
                      <a:pt x="0" y="8"/>
                    </a:lnTo>
                    <a:lnTo>
                      <a:pt x="2" y="8"/>
                    </a:lnTo>
                    <a:lnTo>
                      <a:pt x="4" y="14"/>
                    </a:lnTo>
                    <a:lnTo>
                      <a:pt x="10" y="16"/>
                    </a:lnTo>
                    <a:lnTo>
                      <a:pt x="10" y="12"/>
                    </a:lnTo>
                    <a:lnTo>
                      <a:pt x="8" y="10"/>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7" name="Freeform 1385">
                <a:extLst>
                  <a:ext uri="{FF2B5EF4-FFF2-40B4-BE49-F238E27FC236}">
                    <a16:creationId xmlns:a16="http://schemas.microsoft.com/office/drawing/2014/main" id="{90A23C72-9274-4FFF-BD79-DE380B996E23}"/>
                  </a:ext>
                </a:extLst>
              </p:cNvPr>
              <p:cNvSpPr>
                <a:spLocks/>
              </p:cNvSpPr>
              <p:nvPr/>
            </p:nvSpPr>
            <p:spPr bwMode="auto">
              <a:xfrm>
                <a:off x="3185" y="2318"/>
                <a:ext cx="16" cy="8"/>
              </a:xfrm>
              <a:custGeom>
                <a:avLst/>
                <a:gdLst/>
                <a:ahLst/>
                <a:cxnLst>
                  <a:cxn ang="0">
                    <a:pos x="4" y="2"/>
                  </a:cxn>
                  <a:cxn ang="0">
                    <a:pos x="2" y="0"/>
                  </a:cxn>
                  <a:cxn ang="0">
                    <a:pos x="0" y="0"/>
                  </a:cxn>
                  <a:cxn ang="0">
                    <a:pos x="0" y="2"/>
                  </a:cxn>
                  <a:cxn ang="0">
                    <a:pos x="0" y="2"/>
                  </a:cxn>
                  <a:cxn ang="0">
                    <a:pos x="6" y="6"/>
                  </a:cxn>
                  <a:cxn ang="0">
                    <a:pos x="8" y="4"/>
                  </a:cxn>
                  <a:cxn ang="0">
                    <a:pos x="16" y="8"/>
                  </a:cxn>
                  <a:cxn ang="0">
                    <a:pos x="16" y="6"/>
                  </a:cxn>
                  <a:cxn ang="0">
                    <a:pos x="16" y="6"/>
                  </a:cxn>
                  <a:cxn ang="0">
                    <a:pos x="14" y="6"/>
                  </a:cxn>
                  <a:cxn ang="0">
                    <a:pos x="14" y="6"/>
                  </a:cxn>
                  <a:cxn ang="0">
                    <a:pos x="8" y="2"/>
                  </a:cxn>
                  <a:cxn ang="0">
                    <a:pos x="4" y="2"/>
                  </a:cxn>
                  <a:cxn ang="0">
                    <a:pos x="4" y="2"/>
                  </a:cxn>
                </a:cxnLst>
                <a:rect l="0" t="0" r="r" b="b"/>
                <a:pathLst>
                  <a:path w="16" h="8">
                    <a:moveTo>
                      <a:pt x="4" y="2"/>
                    </a:moveTo>
                    <a:lnTo>
                      <a:pt x="2" y="0"/>
                    </a:lnTo>
                    <a:lnTo>
                      <a:pt x="0" y="0"/>
                    </a:lnTo>
                    <a:lnTo>
                      <a:pt x="0" y="2"/>
                    </a:lnTo>
                    <a:lnTo>
                      <a:pt x="0" y="2"/>
                    </a:lnTo>
                    <a:lnTo>
                      <a:pt x="6" y="6"/>
                    </a:lnTo>
                    <a:lnTo>
                      <a:pt x="8" y="4"/>
                    </a:lnTo>
                    <a:lnTo>
                      <a:pt x="16" y="8"/>
                    </a:lnTo>
                    <a:lnTo>
                      <a:pt x="16" y="6"/>
                    </a:lnTo>
                    <a:lnTo>
                      <a:pt x="16" y="6"/>
                    </a:lnTo>
                    <a:lnTo>
                      <a:pt x="14" y="6"/>
                    </a:lnTo>
                    <a:lnTo>
                      <a:pt x="14" y="6"/>
                    </a:lnTo>
                    <a:lnTo>
                      <a:pt x="8" y="2"/>
                    </a:lnTo>
                    <a:lnTo>
                      <a:pt x="4" y="2"/>
                    </a:lnTo>
                    <a:lnTo>
                      <a:pt x="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8" name="Freeform 1386">
                <a:extLst>
                  <a:ext uri="{FF2B5EF4-FFF2-40B4-BE49-F238E27FC236}">
                    <a16:creationId xmlns:a16="http://schemas.microsoft.com/office/drawing/2014/main" id="{063506D5-219C-4363-BE69-1FE5E5D75B96}"/>
                  </a:ext>
                </a:extLst>
              </p:cNvPr>
              <p:cNvSpPr>
                <a:spLocks/>
              </p:cNvSpPr>
              <p:nvPr/>
            </p:nvSpPr>
            <p:spPr bwMode="auto">
              <a:xfrm>
                <a:off x="2694" y="1806"/>
                <a:ext cx="132" cy="96"/>
              </a:xfrm>
              <a:custGeom>
                <a:avLst/>
                <a:gdLst/>
                <a:ahLst/>
                <a:cxnLst>
                  <a:cxn ang="0">
                    <a:pos x="24" y="82"/>
                  </a:cxn>
                  <a:cxn ang="0">
                    <a:pos x="26" y="78"/>
                  </a:cxn>
                  <a:cxn ang="0">
                    <a:pos x="34" y="66"/>
                  </a:cxn>
                  <a:cxn ang="0">
                    <a:pos x="34" y="60"/>
                  </a:cxn>
                  <a:cxn ang="0">
                    <a:pos x="24" y="52"/>
                  </a:cxn>
                  <a:cxn ang="0">
                    <a:pos x="8" y="50"/>
                  </a:cxn>
                  <a:cxn ang="0">
                    <a:pos x="20" y="46"/>
                  </a:cxn>
                  <a:cxn ang="0">
                    <a:pos x="32" y="46"/>
                  </a:cxn>
                  <a:cxn ang="0">
                    <a:pos x="32" y="44"/>
                  </a:cxn>
                  <a:cxn ang="0">
                    <a:pos x="34" y="34"/>
                  </a:cxn>
                  <a:cxn ang="0">
                    <a:pos x="26" y="28"/>
                  </a:cxn>
                  <a:cxn ang="0">
                    <a:pos x="12" y="34"/>
                  </a:cxn>
                  <a:cxn ang="0">
                    <a:pos x="2" y="28"/>
                  </a:cxn>
                  <a:cxn ang="0">
                    <a:pos x="8" y="26"/>
                  </a:cxn>
                  <a:cxn ang="0">
                    <a:pos x="12" y="28"/>
                  </a:cxn>
                  <a:cxn ang="0">
                    <a:pos x="14" y="26"/>
                  </a:cxn>
                  <a:cxn ang="0">
                    <a:pos x="10" y="20"/>
                  </a:cxn>
                  <a:cxn ang="0">
                    <a:pos x="8" y="14"/>
                  </a:cxn>
                  <a:cxn ang="0">
                    <a:pos x="12" y="14"/>
                  </a:cxn>
                  <a:cxn ang="0">
                    <a:pos x="12" y="12"/>
                  </a:cxn>
                  <a:cxn ang="0">
                    <a:pos x="18" y="16"/>
                  </a:cxn>
                  <a:cxn ang="0">
                    <a:pos x="24" y="22"/>
                  </a:cxn>
                  <a:cxn ang="0">
                    <a:pos x="26" y="22"/>
                  </a:cxn>
                  <a:cxn ang="0">
                    <a:pos x="26" y="14"/>
                  </a:cxn>
                  <a:cxn ang="0">
                    <a:pos x="22" y="6"/>
                  </a:cxn>
                  <a:cxn ang="0">
                    <a:pos x="22" y="4"/>
                  </a:cxn>
                  <a:cxn ang="0">
                    <a:pos x="18" y="2"/>
                  </a:cxn>
                  <a:cxn ang="0">
                    <a:pos x="38" y="16"/>
                  </a:cxn>
                  <a:cxn ang="0">
                    <a:pos x="40" y="20"/>
                  </a:cxn>
                  <a:cxn ang="0">
                    <a:pos x="36" y="26"/>
                  </a:cxn>
                  <a:cxn ang="0">
                    <a:pos x="44" y="34"/>
                  </a:cxn>
                  <a:cxn ang="0">
                    <a:pos x="50" y="32"/>
                  </a:cxn>
                  <a:cxn ang="0">
                    <a:pos x="52" y="22"/>
                  </a:cxn>
                  <a:cxn ang="0">
                    <a:pos x="52" y="12"/>
                  </a:cxn>
                  <a:cxn ang="0">
                    <a:pos x="62" y="24"/>
                  </a:cxn>
                  <a:cxn ang="0">
                    <a:pos x="62" y="14"/>
                  </a:cxn>
                  <a:cxn ang="0">
                    <a:pos x="78" y="26"/>
                  </a:cxn>
                  <a:cxn ang="0">
                    <a:pos x="78" y="18"/>
                  </a:cxn>
                  <a:cxn ang="0">
                    <a:pos x="80" y="12"/>
                  </a:cxn>
                  <a:cxn ang="0">
                    <a:pos x="88" y="10"/>
                  </a:cxn>
                  <a:cxn ang="0">
                    <a:pos x="96" y="2"/>
                  </a:cxn>
                  <a:cxn ang="0">
                    <a:pos x="106" y="4"/>
                  </a:cxn>
                  <a:cxn ang="0">
                    <a:pos x="110" y="10"/>
                  </a:cxn>
                  <a:cxn ang="0">
                    <a:pos x="120" y="4"/>
                  </a:cxn>
                  <a:cxn ang="0">
                    <a:pos x="114" y="16"/>
                  </a:cxn>
                  <a:cxn ang="0">
                    <a:pos x="118" y="24"/>
                  </a:cxn>
                  <a:cxn ang="0">
                    <a:pos x="124" y="28"/>
                  </a:cxn>
                  <a:cxn ang="0">
                    <a:pos x="128" y="26"/>
                  </a:cxn>
                  <a:cxn ang="0">
                    <a:pos x="128" y="38"/>
                  </a:cxn>
                  <a:cxn ang="0">
                    <a:pos x="132" y="40"/>
                  </a:cxn>
                  <a:cxn ang="0">
                    <a:pos x="132" y="46"/>
                  </a:cxn>
                  <a:cxn ang="0">
                    <a:pos x="122" y="56"/>
                  </a:cxn>
                  <a:cxn ang="0">
                    <a:pos x="124" y="58"/>
                  </a:cxn>
                  <a:cxn ang="0">
                    <a:pos x="110" y="64"/>
                  </a:cxn>
                  <a:cxn ang="0">
                    <a:pos x="100" y="78"/>
                  </a:cxn>
                  <a:cxn ang="0">
                    <a:pos x="90" y="80"/>
                  </a:cxn>
                  <a:cxn ang="0">
                    <a:pos x="76" y="92"/>
                  </a:cxn>
                  <a:cxn ang="0">
                    <a:pos x="72" y="96"/>
                  </a:cxn>
                  <a:cxn ang="0">
                    <a:pos x="40" y="80"/>
                  </a:cxn>
                </a:cxnLst>
                <a:rect l="0" t="0" r="r" b="b"/>
                <a:pathLst>
                  <a:path w="132" h="96">
                    <a:moveTo>
                      <a:pt x="40" y="80"/>
                    </a:moveTo>
                    <a:lnTo>
                      <a:pt x="24" y="82"/>
                    </a:lnTo>
                    <a:lnTo>
                      <a:pt x="22" y="76"/>
                    </a:lnTo>
                    <a:lnTo>
                      <a:pt x="26" y="78"/>
                    </a:lnTo>
                    <a:lnTo>
                      <a:pt x="34" y="72"/>
                    </a:lnTo>
                    <a:lnTo>
                      <a:pt x="34" y="66"/>
                    </a:lnTo>
                    <a:lnTo>
                      <a:pt x="30" y="68"/>
                    </a:lnTo>
                    <a:lnTo>
                      <a:pt x="34" y="60"/>
                    </a:lnTo>
                    <a:lnTo>
                      <a:pt x="30" y="62"/>
                    </a:lnTo>
                    <a:lnTo>
                      <a:pt x="24" y="52"/>
                    </a:lnTo>
                    <a:lnTo>
                      <a:pt x="8" y="54"/>
                    </a:lnTo>
                    <a:lnTo>
                      <a:pt x="8" y="50"/>
                    </a:lnTo>
                    <a:lnTo>
                      <a:pt x="8" y="50"/>
                    </a:lnTo>
                    <a:lnTo>
                      <a:pt x="20" y="46"/>
                    </a:lnTo>
                    <a:lnTo>
                      <a:pt x="26" y="46"/>
                    </a:lnTo>
                    <a:lnTo>
                      <a:pt x="32" y="46"/>
                    </a:lnTo>
                    <a:lnTo>
                      <a:pt x="34" y="40"/>
                    </a:lnTo>
                    <a:lnTo>
                      <a:pt x="32" y="44"/>
                    </a:lnTo>
                    <a:lnTo>
                      <a:pt x="24" y="42"/>
                    </a:lnTo>
                    <a:lnTo>
                      <a:pt x="34" y="34"/>
                    </a:lnTo>
                    <a:lnTo>
                      <a:pt x="28" y="32"/>
                    </a:lnTo>
                    <a:lnTo>
                      <a:pt x="26" y="28"/>
                    </a:lnTo>
                    <a:lnTo>
                      <a:pt x="20" y="28"/>
                    </a:lnTo>
                    <a:lnTo>
                      <a:pt x="12" y="34"/>
                    </a:lnTo>
                    <a:lnTo>
                      <a:pt x="0" y="34"/>
                    </a:lnTo>
                    <a:lnTo>
                      <a:pt x="2" y="28"/>
                    </a:lnTo>
                    <a:lnTo>
                      <a:pt x="8" y="28"/>
                    </a:lnTo>
                    <a:lnTo>
                      <a:pt x="8" y="26"/>
                    </a:lnTo>
                    <a:lnTo>
                      <a:pt x="6" y="22"/>
                    </a:lnTo>
                    <a:lnTo>
                      <a:pt x="12" y="28"/>
                    </a:lnTo>
                    <a:lnTo>
                      <a:pt x="16" y="26"/>
                    </a:lnTo>
                    <a:lnTo>
                      <a:pt x="14" y="26"/>
                    </a:lnTo>
                    <a:lnTo>
                      <a:pt x="16" y="22"/>
                    </a:lnTo>
                    <a:lnTo>
                      <a:pt x="10" y="20"/>
                    </a:lnTo>
                    <a:lnTo>
                      <a:pt x="12" y="20"/>
                    </a:lnTo>
                    <a:lnTo>
                      <a:pt x="8" y="14"/>
                    </a:lnTo>
                    <a:lnTo>
                      <a:pt x="12" y="16"/>
                    </a:lnTo>
                    <a:lnTo>
                      <a:pt x="12" y="14"/>
                    </a:lnTo>
                    <a:lnTo>
                      <a:pt x="14" y="14"/>
                    </a:lnTo>
                    <a:lnTo>
                      <a:pt x="12" y="12"/>
                    </a:lnTo>
                    <a:lnTo>
                      <a:pt x="18" y="12"/>
                    </a:lnTo>
                    <a:lnTo>
                      <a:pt x="18" y="16"/>
                    </a:lnTo>
                    <a:lnTo>
                      <a:pt x="22" y="16"/>
                    </a:lnTo>
                    <a:lnTo>
                      <a:pt x="24" y="22"/>
                    </a:lnTo>
                    <a:lnTo>
                      <a:pt x="24" y="18"/>
                    </a:lnTo>
                    <a:lnTo>
                      <a:pt x="26" y="22"/>
                    </a:lnTo>
                    <a:lnTo>
                      <a:pt x="26" y="18"/>
                    </a:lnTo>
                    <a:lnTo>
                      <a:pt x="26" y="14"/>
                    </a:lnTo>
                    <a:lnTo>
                      <a:pt x="20" y="10"/>
                    </a:lnTo>
                    <a:lnTo>
                      <a:pt x="22" y="6"/>
                    </a:lnTo>
                    <a:lnTo>
                      <a:pt x="26" y="8"/>
                    </a:lnTo>
                    <a:lnTo>
                      <a:pt x="22" y="4"/>
                    </a:lnTo>
                    <a:lnTo>
                      <a:pt x="18" y="6"/>
                    </a:lnTo>
                    <a:lnTo>
                      <a:pt x="18" y="2"/>
                    </a:lnTo>
                    <a:lnTo>
                      <a:pt x="26" y="2"/>
                    </a:lnTo>
                    <a:lnTo>
                      <a:pt x="38" y="16"/>
                    </a:lnTo>
                    <a:lnTo>
                      <a:pt x="36" y="18"/>
                    </a:lnTo>
                    <a:lnTo>
                      <a:pt x="40" y="20"/>
                    </a:lnTo>
                    <a:lnTo>
                      <a:pt x="40" y="22"/>
                    </a:lnTo>
                    <a:lnTo>
                      <a:pt x="36" y="26"/>
                    </a:lnTo>
                    <a:lnTo>
                      <a:pt x="40" y="34"/>
                    </a:lnTo>
                    <a:lnTo>
                      <a:pt x="44" y="34"/>
                    </a:lnTo>
                    <a:lnTo>
                      <a:pt x="46" y="26"/>
                    </a:lnTo>
                    <a:lnTo>
                      <a:pt x="50" y="32"/>
                    </a:lnTo>
                    <a:lnTo>
                      <a:pt x="50" y="32"/>
                    </a:lnTo>
                    <a:lnTo>
                      <a:pt x="52" y="22"/>
                    </a:lnTo>
                    <a:lnTo>
                      <a:pt x="50" y="14"/>
                    </a:lnTo>
                    <a:lnTo>
                      <a:pt x="52" y="12"/>
                    </a:lnTo>
                    <a:lnTo>
                      <a:pt x="62" y="24"/>
                    </a:lnTo>
                    <a:lnTo>
                      <a:pt x="62" y="24"/>
                    </a:lnTo>
                    <a:lnTo>
                      <a:pt x="62" y="20"/>
                    </a:lnTo>
                    <a:lnTo>
                      <a:pt x="62" y="14"/>
                    </a:lnTo>
                    <a:lnTo>
                      <a:pt x="70" y="10"/>
                    </a:lnTo>
                    <a:lnTo>
                      <a:pt x="78" y="26"/>
                    </a:lnTo>
                    <a:lnTo>
                      <a:pt x="78" y="26"/>
                    </a:lnTo>
                    <a:lnTo>
                      <a:pt x="78" y="18"/>
                    </a:lnTo>
                    <a:lnTo>
                      <a:pt x="76" y="12"/>
                    </a:lnTo>
                    <a:lnTo>
                      <a:pt x="80" y="12"/>
                    </a:lnTo>
                    <a:lnTo>
                      <a:pt x="84" y="16"/>
                    </a:lnTo>
                    <a:lnTo>
                      <a:pt x="88" y="10"/>
                    </a:lnTo>
                    <a:lnTo>
                      <a:pt x="98" y="12"/>
                    </a:lnTo>
                    <a:lnTo>
                      <a:pt x="96" y="2"/>
                    </a:lnTo>
                    <a:lnTo>
                      <a:pt x="100" y="0"/>
                    </a:lnTo>
                    <a:lnTo>
                      <a:pt x="106" y="4"/>
                    </a:lnTo>
                    <a:lnTo>
                      <a:pt x="106" y="8"/>
                    </a:lnTo>
                    <a:lnTo>
                      <a:pt x="110" y="10"/>
                    </a:lnTo>
                    <a:lnTo>
                      <a:pt x="120" y="4"/>
                    </a:lnTo>
                    <a:lnTo>
                      <a:pt x="120" y="4"/>
                    </a:lnTo>
                    <a:lnTo>
                      <a:pt x="114" y="14"/>
                    </a:lnTo>
                    <a:lnTo>
                      <a:pt x="114" y="16"/>
                    </a:lnTo>
                    <a:lnTo>
                      <a:pt x="118" y="14"/>
                    </a:lnTo>
                    <a:lnTo>
                      <a:pt x="118" y="24"/>
                    </a:lnTo>
                    <a:lnTo>
                      <a:pt x="124" y="24"/>
                    </a:lnTo>
                    <a:lnTo>
                      <a:pt x="124" y="28"/>
                    </a:lnTo>
                    <a:lnTo>
                      <a:pt x="126" y="30"/>
                    </a:lnTo>
                    <a:lnTo>
                      <a:pt x="128" y="26"/>
                    </a:lnTo>
                    <a:lnTo>
                      <a:pt x="130" y="34"/>
                    </a:lnTo>
                    <a:lnTo>
                      <a:pt x="128" y="38"/>
                    </a:lnTo>
                    <a:lnTo>
                      <a:pt x="130" y="42"/>
                    </a:lnTo>
                    <a:lnTo>
                      <a:pt x="132" y="40"/>
                    </a:lnTo>
                    <a:lnTo>
                      <a:pt x="132" y="40"/>
                    </a:lnTo>
                    <a:lnTo>
                      <a:pt x="132" y="46"/>
                    </a:lnTo>
                    <a:lnTo>
                      <a:pt x="130" y="50"/>
                    </a:lnTo>
                    <a:lnTo>
                      <a:pt x="122" y="56"/>
                    </a:lnTo>
                    <a:lnTo>
                      <a:pt x="120" y="58"/>
                    </a:lnTo>
                    <a:lnTo>
                      <a:pt x="124" y="58"/>
                    </a:lnTo>
                    <a:lnTo>
                      <a:pt x="116" y="70"/>
                    </a:lnTo>
                    <a:lnTo>
                      <a:pt x="110" y="64"/>
                    </a:lnTo>
                    <a:lnTo>
                      <a:pt x="110" y="68"/>
                    </a:lnTo>
                    <a:lnTo>
                      <a:pt x="100" y="78"/>
                    </a:lnTo>
                    <a:lnTo>
                      <a:pt x="90" y="80"/>
                    </a:lnTo>
                    <a:lnTo>
                      <a:pt x="90" y="80"/>
                    </a:lnTo>
                    <a:lnTo>
                      <a:pt x="82" y="88"/>
                    </a:lnTo>
                    <a:lnTo>
                      <a:pt x="76" y="92"/>
                    </a:lnTo>
                    <a:lnTo>
                      <a:pt x="72" y="96"/>
                    </a:lnTo>
                    <a:lnTo>
                      <a:pt x="72" y="96"/>
                    </a:lnTo>
                    <a:lnTo>
                      <a:pt x="56" y="90"/>
                    </a:lnTo>
                    <a:lnTo>
                      <a:pt x="40" y="80"/>
                    </a:lnTo>
                    <a:lnTo>
                      <a:pt x="40" y="8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79" name="Freeform 1387">
                <a:extLst>
                  <a:ext uri="{FF2B5EF4-FFF2-40B4-BE49-F238E27FC236}">
                    <a16:creationId xmlns:a16="http://schemas.microsoft.com/office/drawing/2014/main" id="{F48B9C20-6771-4345-9802-A3BA8B623C24}"/>
                  </a:ext>
                </a:extLst>
              </p:cNvPr>
              <p:cNvSpPr>
                <a:spLocks/>
              </p:cNvSpPr>
              <p:nvPr/>
            </p:nvSpPr>
            <p:spPr bwMode="auto">
              <a:xfrm>
                <a:off x="2100" y="1278"/>
                <a:ext cx="616" cy="728"/>
              </a:xfrm>
              <a:custGeom>
                <a:avLst/>
                <a:gdLst/>
                <a:ahLst/>
                <a:cxnLst>
                  <a:cxn ang="0">
                    <a:pos x="306" y="678"/>
                  </a:cxn>
                  <a:cxn ang="0">
                    <a:pos x="296" y="726"/>
                  </a:cxn>
                  <a:cxn ang="0">
                    <a:pos x="270" y="714"/>
                  </a:cxn>
                  <a:cxn ang="0">
                    <a:pos x="264" y="710"/>
                  </a:cxn>
                  <a:cxn ang="0">
                    <a:pos x="234" y="700"/>
                  </a:cxn>
                  <a:cxn ang="0">
                    <a:pos x="228" y="680"/>
                  </a:cxn>
                  <a:cxn ang="0">
                    <a:pos x="208" y="660"/>
                  </a:cxn>
                  <a:cxn ang="0">
                    <a:pos x="214" y="622"/>
                  </a:cxn>
                  <a:cxn ang="0">
                    <a:pos x="192" y="614"/>
                  </a:cxn>
                  <a:cxn ang="0">
                    <a:pos x="176" y="576"/>
                  </a:cxn>
                  <a:cxn ang="0">
                    <a:pos x="174" y="556"/>
                  </a:cxn>
                  <a:cxn ang="0">
                    <a:pos x="198" y="516"/>
                  </a:cxn>
                  <a:cxn ang="0">
                    <a:pos x="202" y="508"/>
                  </a:cxn>
                  <a:cxn ang="0">
                    <a:pos x="212" y="462"/>
                  </a:cxn>
                  <a:cxn ang="0">
                    <a:pos x="202" y="450"/>
                  </a:cxn>
                  <a:cxn ang="0">
                    <a:pos x="182" y="398"/>
                  </a:cxn>
                  <a:cxn ang="0">
                    <a:pos x="154" y="416"/>
                  </a:cxn>
                  <a:cxn ang="0">
                    <a:pos x="162" y="362"/>
                  </a:cxn>
                  <a:cxn ang="0">
                    <a:pos x="124" y="282"/>
                  </a:cxn>
                  <a:cxn ang="0">
                    <a:pos x="52" y="264"/>
                  </a:cxn>
                  <a:cxn ang="0">
                    <a:pos x="20" y="272"/>
                  </a:cxn>
                  <a:cxn ang="0">
                    <a:pos x="46" y="182"/>
                  </a:cxn>
                  <a:cxn ang="0">
                    <a:pos x="118" y="116"/>
                  </a:cxn>
                  <a:cxn ang="0">
                    <a:pos x="156" y="102"/>
                  </a:cxn>
                  <a:cxn ang="0">
                    <a:pos x="230" y="164"/>
                  </a:cxn>
                  <a:cxn ang="0">
                    <a:pos x="260" y="106"/>
                  </a:cxn>
                  <a:cxn ang="0">
                    <a:pos x="282" y="90"/>
                  </a:cxn>
                  <a:cxn ang="0">
                    <a:pos x="218" y="50"/>
                  </a:cxn>
                  <a:cxn ang="0">
                    <a:pos x="296" y="80"/>
                  </a:cxn>
                  <a:cxn ang="0">
                    <a:pos x="294" y="36"/>
                  </a:cxn>
                  <a:cxn ang="0">
                    <a:pos x="320" y="6"/>
                  </a:cxn>
                  <a:cxn ang="0">
                    <a:pos x="410" y="20"/>
                  </a:cxn>
                  <a:cxn ang="0">
                    <a:pos x="334" y="70"/>
                  </a:cxn>
                  <a:cxn ang="0">
                    <a:pos x="414" y="54"/>
                  </a:cxn>
                  <a:cxn ang="0">
                    <a:pos x="470" y="82"/>
                  </a:cxn>
                  <a:cxn ang="0">
                    <a:pos x="362" y="172"/>
                  </a:cxn>
                  <a:cxn ang="0">
                    <a:pos x="470" y="152"/>
                  </a:cxn>
                  <a:cxn ang="0">
                    <a:pos x="552" y="178"/>
                  </a:cxn>
                  <a:cxn ang="0">
                    <a:pos x="590" y="208"/>
                  </a:cxn>
                  <a:cxn ang="0">
                    <a:pos x="554" y="248"/>
                  </a:cxn>
                  <a:cxn ang="0">
                    <a:pos x="578" y="280"/>
                  </a:cxn>
                  <a:cxn ang="0">
                    <a:pos x="560" y="298"/>
                  </a:cxn>
                  <a:cxn ang="0">
                    <a:pos x="536" y="348"/>
                  </a:cxn>
                  <a:cxn ang="0">
                    <a:pos x="508" y="370"/>
                  </a:cxn>
                  <a:cxn ang="0">
                    <a:pos x="534" y="398"/>
                  </a:cxn>
                  <a:cxn ang="0">
                    <a:pos x="546" y="420"/>
                  </a:cxn>
                  <a:cxn ang="0">
                    <a:pos x="516" y="432"/>
                  </a:cxn>
                  <a:cxn ang="0">
                    <a:pos x="484" y="416"/>
                  </a:cxn>
                  <a:cxn ang="0">
                    <a:pos x="460" y="448"/>
                  </a:cxn>
                  <a:cxn ang="0">
                    <a:pos x="478" y="462"/>
                  </a:cxn>
                  <a:cxn ang="0">
                    <a:pos x="520" y="458"/>
                  </a:cxn>
                  <a:cxn ang="0">
                    <a:pos x="514" y="476"/>
                  </a:cxn>
                  <a:cxn ang="0">
                    <a:pos x="450" y="512"/>
                  </a:cxn>
                  <a:cxn ang="0">
                    <a:pos x="420" y="528"/>
                  </a:cxn>
                  <a:cxn ang="0">
                    <a:pos x="374" y="580"/>
                  </a:cxn>
                  <a:cxn ang="0">
                    <a:pos x="366" y="572"/>
                  </a:cxn>
                  <a:cxn ang="0">
                    <a:pos x="350" y="584"/>
                  </a:cxn>
                  <a:cxn ang="0">
                    <a:pos x="336" y="590"/>
                  </a:cxn>
                  <a:cxn ang="0">
                    <a:pos x="320" y="610"/>
                  </a:cxn>
                  <a:cxn ang="0">
                    <a:pos x="326" y="640"/>
                  </a:cxn>
                  <a:cxn ang="0">
                    <a:pos x="318" y="654"/>
                  </a:cxn>
                  <a:cxn ang="0">
                    <a:pos x="308" y="656"/>
                  </a:cxn>
                </a:cxnLst>
                <a:rect l="0" t="0" r="r" b="b"/>
                <a:pathLst>
                  <a:path w="616" h="728">
                    <a:moveTo>
                      <a:pt x="314" y="662"/>
                    </a:moveTo>
                    <a:lnTo>
                      <a:pt x="314" y="662"/>
                    </a:lnTo>
                    <a:lnTo>
                      <a:pt x="306" y="662"/>
                    </a:lnTo>
                    <a:lnTo>
                      <a:pt x="302" y="664"/>
                    </a:lnTo>
                    <a:lnTo>
                      <a:pt x="300" y="668"/>
                    </a:lnTo>
                    <a:lnTo>
                      <a:pt x="304" y="668"/>
                    </a:lnTo>
                    <a:lnTo>
                      <a:pt x="304" y="668"/>
                    </a:lnTo>
                    <a:lnTo>
                      <a:pt x="306" y="678"/>
                    </a:lnTo>
                    <a:lnTo>
                      <a:pt x="308" y="688"/>
                    </a:lnTo>
                    <a:lnTo>
                      <a:pt x="308" y="688"/>
                    </a:lnTo>
                    <a:lnTo>
                      <a:pt x="304" y="694"/>
                    </a:lnTo>
                    <a:lnTo>
                      <a:pt x="300" y="700"/>
                    </a:lnTo>
                    <a:lnTo>
                      <a:pt x="300" y="708"/>
                    </a:lnTo>
                    <a:lnTo>
                      <a:pt x="300" y="716"/>
                    </a:lnTo>
                    <a:lnTo>
                      <a:pt x="294" y="720"/>
                    </a:lnTo>
                    <a:lnTo>
                      <a:pt x="296" y="726"/>
                    </a:lnTo>
                    <a:lnTo>
                      <a:pt x="286" y="726"/>
                    </a:lnTo>
                    <a:lnTo>
                      <a:pt x="286" y="722"/>
                    </a:lnTo>
                    <a:lnTo>
                      <a:pt x="278" y="728"/>
                    </a:lnTo>
                    <a:lnTo>
                      <a:pt x="272" y="724"/>
                    </a:lnTo>
                    <a:lnTo>
                      <a:pt x="276" y="716"/>
                    </a:lnTo>
                    <a:lnTo>
                      <a:pt x="272" y="720"/>
                    </a:lnTo>
                    <a:lnTo>
                      <a:pt x="272" y="714"/>
                    </a:lnTo>
                    <a:lnTo>
                      <a:pt x="270" y="714"/>
                    </a:lnTo>
                    <a:lnTo>
                      <a:pt x="268" y="718"/>
                    </a:lnTo>
                    <a:lnTo>
                      <a:pt x="266" y="714"/>
                    </a:lnTo>
                    <a:lnTo>
                      <a:pt x="270" y="710"/>
                    </a:lnTo>
                    <a:lnTo>
                      <a:pt x="270" y="708"/>
                    </a:lnTo>
                    <a:lnTo>
                      <a:pt x="262" y="712"/>
                    </a:lnTo>
                    <a:lnTo>
                      <a:pt x="260" y="712"/>
                    </a:lnTo>
                    <a:lnTo>
                      <a:pt x="260" y="712"/>
                    </a:lnTo>
                    <a:lnTo>
                      <a:pt x="264" y="710"/>
                    </a:lnTo>
                    <a:lnTo>
                      <a:pt x="268" y="706"/>
                    </a:lnTo>
                    <a:lnTo>
                      <a:pt x="262" y="708"/>
                    </a:lnTo>
                    <a:lnTo>
                      <a:pt x="264" y="704"/>
                    </a:lnTo>
                    <a:lnTo>
                      <a:pt x="238" y="710"/>
                    </a:lnTo>
                    <a:lnTo>
                      <a:pt x="244" y="706"/>
                    </a:lnTo>
                    <a:lnTo>
                      <a:pt x="236" y="700"/>
                    </a:lnTo>
                    <a:lnTo>
                      <a:pt x="236" y="700"/>
                    </a:lnTo>
                    <a:lnTo>
                      <a:pt x="234" y="700"/>
                    </a:lnTo>
                    <a:lnTo>
                      <a:pt x="232" y="700"/>
                    </a:lnTo>
                    <a:lnTo>
                      <a:pt x="232" y="698"/>
                    </a:lnTo>
                    <a:lnTo>
                      <a:pt x="228" y="698"/>
                    </a:lnTo>
                    <a:lnTo>
                      <a:pt x="236" y="694"/>
                    </a:lnTo>
                    <a:lnTo>
                      <a:pt x="226" y="694"/>
                    </a:lnTo>
                    <a:lnTo>
                      <a:pt x="228" y="690"/>
                    </a:lnTo>
                    <a:lnTo>
                      <a:pt x="224" y="686"/>
                    </a:lnTo>
                    <a:lnTo>
                      <a:pt x="228" y="680"/>
                    </a:lnTo>
                    <a:lnTo>
                      <a:pt x="220" y="684"/>
                    </a:lnTo>
                    <a:lnTo>
                      <a:pt x="220" y="684"/>
                    </a:lnTo>
                    <a:lnTo>
                      <a:pt x="220" y="680"/>
                    </a:lnTo>
                    <a:lnTo>
                      <a:pt x="220" y="678"/>
                    </a:lnTo>
                    <a:lnTo>
                      <a:pt x="222" y="678"/>
                    </a:lnTo>
                    <a:lnTo>
                      <a:pt x="212" y="660"/>
                    </a:lnTo>
                    <a:lnTo>
                      <a:pt x="208" y="660"/>
                    </a:lnTo>
                    <a:lnTo>
                      <a:pt x="208" y="660"/>
                    </a:lnTo>
                    <a:lnTo>
                      <a:pt x="204" y="650"/>
                    </a:lnTo>
                    <a:lnTo>
                      <a:pt x="200" y="644"/>
                    </a:lnTo>
                    <a:lnTo>
                      <a:pt x="202" y="640"/>
                    </a:lnTo>
                    <a:lnTo>
                      <a:pt x="198" y="642"/>
                    </a:lnTo>
                    <a:lnTo>
                      <a:pt x="198" y="632"/>
                    </a:lnTo>
                    <a:lnTo>
                      <a:pt x="204" y="628"/>
                    </a:lnTo>
                    <a:lnTo>
                      <a:pt x="206" y="626"/>
                    </a:lnTo>
                    <a:lnTo>
                      <a:pt x="214" y="622"/>
                    </a:lnTo>
                    <a:lnTo>
                      <a:pt x="216" y="618"/>
                    </a:lnTo>
                    <a:lnTo>
                      <a:pt x="208" y="614"/>
                    </a:lnTo>
                    <a:lnTo>
                      <a:pt x="202" y="616"/>
                    </a:lnTo>
                    <a:lnTo>
                      <a:pt x="196" y="628"/>
                    </a:lnTo>
                    <a:lnTo>
                      <a:pt x="192" y="628"/>
                    </a:lnTo>
                    <a:lnTo>
                      <a:pt x="192" y="618"/>
                    </a:lnTo>
                    <a:lnTo>
                      <a:pt x="194" y="614"/>
                    </a:lnTo>
                    <a:lnTo>
                      <a:pt x="192" y="614"/>
                    </a:lnTo>
                    <a:lnTo>
                      <a:pt x="192" y="608"/>
                    </a:lnTo>
                    <a:lnTo>
                      <a:pt x="190" y="608"/>
                    </a:lnTo>
                    <a:lnTo>
                      <a:pt x="190" y="608"/>
                    </a:lnTo>
                    <a:lnTo>
                      <a:pt x="186" y="600"/>
                    </a:lnTo>
                    <a:lnTo>
                      <a:pt x="182" y="592"/>
                    </a:lnTo>
                    <a:lnTo>
                      <a:pt x="178" y="584"/>
                    </a:lnTo>
                    <a:lnTo>
                      <a:pt x="176" y="576"/>
                    </a:lnTo>
                    <a:lnTo>
                      <a:pt x="176" y="576"/>
                    </a:lnTo>
                    <a:lnTo>
                      <a:pt x="176" y="576"/>
                    </a:lnTo>
                    <a:lnTo>
                      <a:pt x="176" y="574"/>
                    </a:lnTo>
                    <a:lnTo>
                      <a:pt x="176" y="572"/>
                    </a:lnTo>
                    <a:lnTo>
                      <a:pt x="174" y="572"/>
                    </a:lnTo>
                    <a:lnTo>
                      <a:pt x="174" y="572"/>
                    </a:lnTo>
                    <a:lnTo>
                      <a:pt x="176" y="564"/>
                    </a:lnTo>
                    <a:lnTo>
                      <a:pt x="180" y="556"/>
                    </a:lnTo>
                    <a:lnTo>
                      <a:pt x="174" y="556"/>
                    </a:lnTo>
                    <a:lnTo>
                      <a:pt x="174" y="554"/>
                    </a:lnTo>
                    <a:lnTo>
                      <a:pt x="170" y="546"/>
                    </a:lnTo>
                    <a:lnTo>
                      <a:pt x="170" y="546"/>
                    </a:lnTo>
                    <a:lnTo>
                      <a:pt x="174" y="536"/>
                    </a:lnTo>
                    <a:lnTo>
                      <a:pt x="180" y="526"/>
                    </a:lnTo>
                    <a:lnTo>
                      <a:pt x="176" y="522"/>
                    </a:lnTo>
                    <a:lnTo>
                      <a:pt x="204" y="522"/>
                    </a:lnTo>
                    <a:lnTo>
                      <a:pt x="198" y="516"/>
                    </a:lnTo>
                    <a:lnTo>
                      <a:pt x="202" y="514"/>
                    </a:lnTo>
                    <a:lnTo>
                      <a:pt x="202" y="512"/>
                    </a:lnTo>
                    <a:lnTo>
                      <a:pt x="198" y="512"/>
                    </a:lnTo>
                    <a:lnTo>
                      <a:pt x="200" y="516"/>
                    </a:lnTo>
                    <a:lnTo>
                      <a:pt x="184" y="518"/>
                    </a:lnTo>
                    <a:lnTo>
                      <a:pt x="182" y="514"/>
                    </a:lnTo>
                    <a:lnTo>
                      <a:pt x="186" y="508"/>
                    </a:lnTo>
                    <a:lnTo>
                      <a:pt x="202" y="508"/>
                    </a:lnTo>
                    <a:lnTo>
                      <a:pt x="204" y="502"/>
                    </a:lnTo>
                    <a:lnTo>
                      <a:pt x="202" y="502"/>
                    </a:lnTo>
                    <a:lnTo>
                      <a:pt x="202" y="502"/>
                    </a:lnTo>
                    <a:lnTo>
                      <a:pt x="202" y="492"/>
                    </a:lnTo>
                    <a:lnTo>
                      <a:pt x="206" y="482"/>
                    </a:lnTo>
                    <a:lnTo>
                      <a:pt x="208" y="472"/>
                    </a:lnTo>
                    <a:lnTo>
                      <a:pt x="212" y="462"/>
                    </a:lnTo>
                    <a:lnTo>
                      <a:pt x="212" y="462"/>
                    </a:lnTo>
                    <a:lnTo>
                      <a:pt x="192" y="456"/>
                    </a:lnTo>
                    <a:lnTo>
                      <a:pt x="170" y="450"/>
                    </a:lnTo>
                    <a:lnTo>
                      <a:pt x="164" y="440"/>
                    </a:lnTo>
                    <a:lnTo>
                      <a:pt x="170" y="436"/>
                    </a:lnTo>
                    <a:lnTo>
                      <a:pt x="184" y="438"/>
                    </a:lnTo>
                    <a:lnTo>
                      <a:pt x="184" y="438"/>
                    </a:lnTo>
                    <a:lnTo>
                      <a:pt x="194" y="448"/>
                    </a:lnTo>
                    <a:lnTo>
                      <a:pt x="202" y="450"/>
                    </a:lnTo>
                    <a:lnTo>
                      <a:pt x="208" y="452"/>
                    </a:lnTo>
                    <a:lnTo>
                      <a:pt x="208" y="452"/>
                    </a:lnTo>
                    <a:lnTo>
                      <a:pt x="208" y="444"/>
                    </a:lnTo>
                    <a:lnTo>
                      <a:pt x="206" y="436"/>
                    </a:lnTo>
                    <a:lnTo>
                      <a:pt x="198" y="436"/>
                    </a:lnTo>
                    <a:lnTo>
                      <a:pt x="194" y="406"/>
                    </a:lnTo>
                    <a:lnTo>
                      <a:pt x="184" y="408"/>
                    </a:lnTo>
                    <a:lnTo>
                      <a:pt x="182" y="398"/>
                    </a:lnTo>
                    <a:lnTo>
                      <a:pt x="178" y="402"/>
                    </a:lnTo>
                    <a:lnTo>
                      <a:pt x="174" y="394"/>
                    </a:lnTo>
                    <a:lnTo>
                      <a:pt x="174" y="400"/>
                    </a:lnTo>
                    <a:lnTo>
                      <a:pt x="168" y="408"/>
                    </a:lnTo>
                    <a:lnTo>
                      <a:pt x="170" y="410"/>
                    </a:lnTo>
                    <a:lnTo>
                      <a:pt x="170" y="414"/>
                    </a:lnTo>
                    <a:lnTo>
                      <a:pt x="164" y="416"/>
                    </a:lnTo>
                    <a:lnTo>
                      <a:pt x="154" y="416"/>
                    </a:lnTo>
                    <a:lnTo>
                      <a:pt x="150" y="406"/>
                    </a:lnTo>
                    <a:lnTo>
                      <a:pt x="156" y="396"/>
                    </a:lnTo>
                    <a:lnTo>
                      <a:pt x="152" y="394"/>
                    </a:lnTo>
                    <a:lnTo>
                      <a:pt x="152" y="394"/>
                    </a:lnTo>
                    <a:lnTo>
                      <a:pt x="156" y="384"/>
                    </a:lnTo>
                    <a:lnTo>
                      <a:pt x="160" y="380"/>
                    </a:lnTo>
                    <a:lnTo>
                      <a:pt x="162" y="378"/>
                    </a:lnTo>
                    <a:lnTo>
                      <a:pt x="162" y="362"/>
                    </a:lnTo>
                    <a:lnTo>
                      <a:pt x="150" y="356"/>
                    </a:lnTo>
                    <a:lnTo>
                      <a:pt x="156" y="342"/>
                    </a:lnTo>
                    <a:lnTo>
                      <a:pt x="152" y="338"/>
                    </a:lnTo>
                    <a:lnTo>
                      <a:pt x="148" y="324"/>
                    </a:lnTo>
                    <a:lnTo>
                      <a:pt x="144" y="320"/>
                    </a:lnTo>
                    <a:lnTo>
                      <a:pt x="144" y="298"/>
                    </a:lnTo>
                    <a:lnTo>
                      <a:pt x="132" y="298"/>
                    </a:lnTo>
                    <a:lnTo>
                      <a:pt x="124" y="282"/>
                    </a:lnTo>
                    <a:lnTo>
                      <a:pt x="118" y="284"/>
                    </a:lnTo>
                    <a:lnTo>
                      <a:pt x="118" y="278"/>
                    </a:lnTo>
                    <a:lnTo>
                      <a:pt x="78" y="260"/>
                    </a:lnTo>
                    <a:lnTo>
                      <a:pt x="70" y="268"/>
                    </a:lnTo>
                    <a:lnTo>
                      <a:pt x="68" y="262"/>
                    </a:lnTo>
                    <a:lnTo>
                      <a:pt x="54" y="276"/>
                    </a:lnTo>
                    <a:lnTo>
                      <a:pt x="50" y="272"/>
                    </a:lnTo>
                    <a:lnTo>
                      <a:pt x="52" y="264"/>
                    </a:lnTo>
                    <a:lnTo>
                      <a:pt x="46" y="262"/>
                    </a:lnTo>
                    <a:lnTo>
                      <a:pt x="42" y="270"/>
                    </a:lnTo>
                    <a:lnTo>
                      <a:pt x="34" y="264"/>
                    </a:lnTo>
                    <a:lnTo>
                      <a:pt x="30" y="268"/>
                    </a:lnTo>
                    <a:lnTo>
                      <a:pt x="42" y="282"/>
                    </a:lnTo>
                    <a:lnTo>
                      <a:pt x="42" y="282"/>
                    </a:lnTo>
                    <a:lnTo>
                      <a:pt x="30" y="278"/>
                    </a:lnTo>
                    <a:lnTo>
                      <a:pt x="20" y="272"/>
                    </a:lnTo>
                    <a:lnTo>
                      <a:pt x="10" y="266"/>
                    </a:lnTo>
                    <a:lnTo>
                      <a:pt x="4" y="256"/>
                    </a:lnTo>
                    <a:lnTo>
                      <a:pt x="20" y="242"/>
                    </a:lnTo>
                    <a:lnTo>
                      <a:pt x="0" y="226"/>
                    </a:lnTo>
                    <a:lnTo>
                      <a:pt x="40" y="222"/>
                    </a:lnTo>
                    <a:lnTo>
                      <a:pt x="22" y="206"/>
                    </a:lnTo>
                    <a:lnTo>
                      <a:pt x="40" y="194"/>
                    </a:lnTo>
                    <a:lnTo>
                      <a:pt x="46" y="182"/>
                    </a:lnTo>
                    <a:lnTo>
                      <a:pt x="38" y="166"/>
                    </a:lnTo>
                    <a:lnTo>
                      <a:pt x="52" y="150"/>
                    </a:lnTo>
                    <a:lnTo>
                      <a:pt x="52" y="150"/>
                    </a:lnTo>
                    <a:lnTo>
                      <a:pt x="60" y="154"/>
                    </a:lnTo>
                    <a:lnTo>
                      <a:pt x="68" y="158"/>
                    </a:lnTo>
                    <a:lnTo>
                      <a:pt x="80" y="170"/>
                    </a:lnTo>
                    <a:lnTo>
                      <a:pt x="76" y="148"/>
                    </a:lnTo>
                    <a:lnTo>
                      <a:pt x="118" y="116"/>
                    </a:lnTo>
                    <a:lnTo>
                      <a:pt x="128" y="180"/>
                    </a:lnTo>
                    <a:lnTo>
                      <a:pt x="132" y="178"/>
                    </a:lnTo>
                    <a:lnTo>
                      <a:pt x="136" y="144"/>
                    </a:lnTo>
                    <a:lnTo>
                      <a:pt x="170" y="168"/>
                    </a:lnTo>
                    <a:lnTo>
                      <a:pt x="158" y="150"/>
                    </a:lnTo>
                    <a:lnTo>
                      <a:pt x="174" y="152"/>
                    </a:lnTo>
                    <a:lnTo>
                      <a:pt x="156" y="104"/>
                    </a:lnTo>
                    <a:lnTo>
                      <a:pt x="156" y="102"/>
                    </a:lnTo>
                    <a:lnTo>
                      <a:pt x="178" y="106"/>
                    </a:lnTo>
                    <a:lnTo>
                      <a:pt x="196" y="130"/>
                    </a:lnTo>
                    <a:lnTo>
                      <a:pt x="196" y="130"/>
                    </a:lnTo>
                    <a:lnTo>
                      <a:pt x="200" y="132"/>
                    </a:lnTo>
                    <a:lnTo>
                      <a:pt x="206" y="136"/>
                    </a:lnTo>
                    <a:lnTo>
                      <a:pt x="216" y="144"/>
                    </a:lnTo>
                    <a:lnTo>
                      <a:pt x="224" y="154"/>
                    </a:lnTo>
                    <a:lnTo>
                      <a:pt x="230" y="164"/>
                    </a:lnTo>
                    <a:lnTo>
                      <a:pt x="234" y="156"/>
                    </a:lnTo>
                    <a:lnTo>
                      <a:pt x="226" y="144"/>
                    </a:lnTo>
                    <a:lnTo>
                      <a:pt x="230" y="122"/>
                    </a:lnTo>
                    <a:lnTo>
                      <a:pt x="238" y="118"/>
                    </a:lnTo>
                    <a:lnTo>
                      <a:pt x="240" y="112"/>
                    </a:lnTo>
                    <a:lnTo>
                      <a:pt x="218" y="80"/>
                    </a:lnTo>
                    <a:lnTo>
                      <a:pt x="260" y="88"/>
                    </a:lnTo>
                    <a:lnTo>
                      <a:pt x="260" y="106"/>
                    </a:lnTo>
                    <a:lnTo>
                      <a:pt x="262" y="102"/>
                    </a:lnTo>
                    <a:lnTo>
                      <a:pt x="260" y="84"/>
                    </a:lnTo>
                    <a:lnTo>
                      <a:pt x="262" y="82"/>
                    </a:lnTo>
                    <a:lnTo>
                      <a:pt x="282" y="112"/>
                    </a:lnTo>
                    <a:lnTo>
                      <a:pt x="282" y="112"/>
                    </a:lnTo>
                    <a:lnTo>
                      <a:pt x="282" y="100"/>
                    </a:lnTo>
                    <a:lnTo>
                      <a:pt x="282" y="90"/>
                    </a:lnTo>
                    <a:lnTo>
                      <a:pt x="282" y="90"/>
                    </a:lnTo>
                    <a:lnTo>
                      <a:pt x="278" y="86"/>
                    </a:lnTo>
                    <a:lnTo>
                      <a:pt x="272" y="82"/>
                    </a:lnTo>
                    <a:lnTo>
                      <a:pt x="258" y="78"/>
                    </a:lnTo>
                    <a:lnTo>
                      <a:pt x="242" y="74"/>
                    </a:lnTo>
                    <a:lnTo>
                      <a:pt x="230" y="74"/>
                    </a:lnTo>
                    <a:lnTo>
                      <a:pt x="230" y="74"/>
                    </a:lnTo>
                    <a:lnTo>
                      <a:pt x="224" y="62"/>
                    </a:lnTo>
                    <a:lnTo>
                      <a:pt x="218" y="50"/>
                    </a:lnTo>
                    <a:lnTo>
                      <a:pt x="220" y="46"/>
                    </a:lnTo>
                    <a:lnTo>
                      <a:pt x="220" y="46"/>
                    </a:lnTo>
                    <a:lnTo>
                      <a:pt x="236" y="42"/>
                    </a:lnTo>
                    <a:lnTo>
                      <a:pt x="250" y="34"/>
                    </a:lnTo>
                    <a:lnTo>
                      <a:pt x="260" y="42"/>
                    </a:lnTo>
                    <a:lnTo>
                      <a:pt x="258" y="52"/>
                    </a:lnTo>
                    <a:lnTo>
                      <a:pt x="288" y="66"/>
                    </a:lnTo>
                    <a:lnTo>
                      <a:pt x="296" y="80"/>
                    </a:lnTo>
                    <a:lnTo>
                      <a:pt x="298" y="76"/>
                    </a:lnTo>
                    <a:lnTo>
                      <a:pt x="292" y="62"/>
                    </a:lnTo>
                    <a:lnTo>
                      <a:pt x="296" y="54"/>
                    </a:lnTo>
                    <a:lnTo>
                      <a:pt x="314" y="46"/>
                    </a:lnTo>
                    <a:lnTo>
                      <a:pt x="314" y="46"/>
                    </a:lnTo>
                    <a:lnTo>
                      <a:pt x="300" y="42"/>
                    </a:lnTo>
                    <a:lnTo>
                      <a:pt x="294" y="38"/>
                    </a:lnTo>
                    <a:lnTo>
                      <a:pt x="294" y="36"/>
                    </a:lnTo>
                    <a:lnTo>
                      <a:pt x="292" y="32"/>
                    </a:lnTo>
                    <a:lnTo>
                      <a:pt x="294" y="18"/>
                    </a:lnTo>
                    <a:lnTo>
                      <a:pt x="302" y="18"/>
                    </a:lnTo>
                    <a:lnTo>
                      <a:pt x="306" y="10"/>
                    </a:lnTo>
                    <a:lnTo>
                      <a:pt x="322" y="26"/>
                    </a:lnTo>
                    <a:lnTo>
                      <a:pt x="316" y="10"/>
                    </a:lnTo>
                    <a:lnTo>
                      <a:pt x="316" y="10"/>
                    </a:lnTo>
                    <a:lnTo>
                      <a:pt x="320" y="6"/>
                    </a:lnTo>
                    <a:lnTo>
                      <a:pt x="328" y="4"/>
                    </a:lnTo>
                    <a:lnTo>
                      <a:pt x="340" y="2"/>
                    </a:lnTo>
                    <a:lnTo>
                      <a:pt x="350" y="16"/>
                    </a:lnTo>
                    <a:lnTo>
                      <a:pt x="348" y="6"/>
                    </a:lnTo>
                    <a:lnTo>
                      <a:pt x="354" y="0"/>
                    </a:lnTo>
                    <a:lnTo>
                      <a:pt x="410" y="12"/>
                    </a:lnTo>
                    <a:lnTo>
                      <a:pt x="406" y="14"/>
                    </a:lnTo>
                    <a:lnTo>
                      <a:pt x="410" y="20"/>
                    </a:lnTo>
                    <a:lnTo>
                      <a:pt x="436" y="20"/>
                    </a:lnTo>
                    <a:lnTo>
                      <a:pt x="448" y="30"/>
                    </a:lnTo>
                    <a:lnTo>
                      <a:pt x="442" y="40"/>
                    </a:lnTo>
                    <a:lnTo>
                      <a:pt x="442" y="40"/>
                    </a:lnTo>
                    <a:lnTo>
                      <a:pt x="408" y="44"/>
                    </a:lnTo>
                    <a:lnTo>
                      <a:pt x="386" y="48"/>
                    </a:lnTo>
                    <a:lnTo>
                      <a:pt x="366" y="56"/>
                    </a:lnTo>
                    <a:lnTo>
                      <a:pt x="334" y="70"/>
                    </a:lnTo>
                    <a:lnTo>
                      <a:pt x="334" y="76"/>
                    </a:lnTo>
                    <a:lnTo>
                      <a:pt x="342" y="68"/>
                    </a:lnTo>
                    <a:lnTo>
                      <a:pt x="348" y="70"/>
                    </a:lnTo>
                    <a:lnTo>
                      <a:pt x="350" y="78"/>
                    </a:lnTo>
                    <a:lnTo>
                      <a:pt x="356" y="66"/>
                    </a:lnTo>
                    <a:lnTo>
                      <a:pt x="374" y="68"/>
                    </a:lnTo>
                    <a:lnTo>
                      <a:pt x="396" y="50"/>
                    </a:lnTo>
                    <a:lnTo>
                      <a:pt x="414" y="54"/>
                    </a:lnTo>
                    <a:lnTo>
                      <a:pt x="414" y="60"/>
                    </a:lnTo>
                    <a:lnTo>
                      <a:pt x="454" y="46"/>
                    </a:lnTo>
                    <a:lnTo>
                      <a:pt x="458" y="50"/>
                    </a:lnTo>
                    <a:lnTo>
                      <a:pt x="458" y="54"/>
                    </a:lnTo>
                    <a:lnTo>
                      <a:pt x="460" y="60"/>
                    </a:lnTo>
                    <a:lnTo>
                      <a:pt x="442" y="82"/>
                    </a:lnTo>
                    <a:lnTo>
                      <a:pt x="470" y="70"/>
                    </a:lnTo>
                    <a:lnTo>
                      <a:pt x="470" y="82"/>
                    </a:lnTo>
                    <a:lnTo>
                      <a:pt x="478" y="74"/>
                    </a:lnTo>
                    <a:lnTo>
                      <a:pt x="488" y="78"/>
                    </a:lnTo>
                    <a:lnTo>
                      <a:pt x="502" y="98"/>
                    </a:lnTo>
                    <a:lnTo>
                      <a:pt x="480" y="122"/>
                    </a:lnTo>
                    <a:lnTo>
                      <a:pt x="470" y="110"/>
                    </a:lnTo>
                    <a:lnTo>
                      <a:pt x="370" y="152"/>
                    </a:lnTo>
                    <a:lnTo>
                      <a:pt x="362" y="172"/>
                    </a:lnTo>
                    <a:lnTo>
                      <a:pt x="362" y="172"/>
                    </a:lnTo>
                    <a:lnTo>
                      <a:pt x="368" y="170"/>
                    </a:lnTo>
                    <a:lnTo>
                      <a:pt x="368" y="170"/>
                    </a:lnTo>
                    <a:lnTo>
                      <a:pt x="454" y="152"/>
                    </a:lnTo>
                    <a:lnTo>
                      <a:pt x="454" y="160"/>
                    </a:lnTo>
                    <a:lnTo>
                      <a:pt x="430" y="186"/>
                    </a:lnTo>
                    <a:lnTo>
                      <a:pt x="436" y="190"/>
                    </a:lnTo>
                    <a:lnTo>
                      <a:pt x="472" y="166"/>
                    </a:lnTo>
                    <a:lnTo>
                      <a:pt x="470" y="152"/>
                    </a:lnTo>
                    <a:lnTo>
                      <a:pt x="474" y="146"/>
                    </a:lnTo>
                    <a:lnTo>
                      <a:pt x="492" y="142"/>
                    </a:lnTo>
                    <a:lnTo>
                      <a:pt x="522" y="172"/>
                    </a:lnTo>
                    <a:lnTo>
                      <a:pt x="520" y="188"/>
                    </a:lnTo>
                    <a:lnTo>
                      <a:pt x="528" y="180"/>
                    </a:lnTo>
                    <a:lnTo>
                      <a:pt x="546" y="186"/>
                    </a:lnTo>
                    <a:lnTo>
                      <a:pt x="546" y="180"/>
                    </a:lnTo>
                    <a:lnTo>
                      <a:pt x="552" y="178"/>
                    </a:lnTo>
                    <a:lnTo>
                      <a:pt x="548" y="166"/>
                    </a:lnTo>
                    <a:lnTo>
                      <a:pt x="552" y="166"/>
                    </a:lnTo>
                    <a:lnTo>
                      <a:pt x="554" y="158"/>
                    </a:lnTo>
                    <a:lnTo>
                      <a:pt x="582" y="152"/>
                    </a:lnTo>
                    <a:lnTo>
                      <a:pt x="608" y="164"/>
                    </a:lnTo>
                    <a:lnTo>
                      <a:pt x="616" y="178"/>
                    </a:lnTo>
                    <a:lnTo>
                      <a:pt x="616" y="178"/>
                    </a:lnTo>
                    <a:lnTo>
                      <a:pt x="590" y="208"/>
                    </a:lnTo>
                    <a:lnTo>
                      <a:pt x="576" y="226"/>
                    </a:lnTo>
                    <a:lnTo>
                      <a:pt x="570" y="232"/>
                    </a:lnTo>
                    <a:lnTo>
                      <a:pt x="570" y="236"/>
                    </a:lnTo>
                    <a:lnTo>
                      <a:pt x="560" y="244"/>
                    </a:lnTo>
                    <a:lnTo>
                      <a:pt x="554" y="236"/>
                    </a:lnTo>
                    <a:lnTo>
                      <a:pt x="548" y="242"/>
                    </a:lnTo>
                    <a:lnTo>
                      <a:pt x="550" y="250"/>
                    </a:lnTo>
                    <a:lnTo>
                      <a:pt x="554" y="248"/>
                    </a:lnTo>
                    <a:lnTo>
                      <a:pt x="560" y="256"/>
                    </a:lnTo>
                    <a:lnTo>
                      <a:pt x="560" y="264"/>
                    </a:lnTo>
                    <a:lnTo>
                      <a:pt x="572" y="268"/>
                    </a:lnTo>
                    <a:lnTo>
                      <a:pt x="568" y="262"/>
                    </a:lnTo>
                    <a:lnTo>
                      <a:pt x="580" y="264"/>
                    </a:lnTo>
                    <a:lnTo>
                      <a:pt x="582" y="270"/>
                    </a:lnTo>
                    <a:lnTo>
                      <a:pt x="566" y="276"/>
                    </a:lnTo>
                    <a:lnTo>
                      <a:pt x="578" y="280"/>
                    </a:lnTo>
                    <a:lnTo>
                      <a:pt x="578" y="280"/>
                    </a:lnTo>
                    <a:lnTo>
                      <a:pt x="580" y="286"/>
                    </a:lnTo>
                    <a:lnTo>
                      <a:pt x="580" y="292"/>
                    </a:lnTo>
                    <a:lnTo>
                      <a:pt x="580" y="298"/>
                    </a:lnTo>
                    <a:lnTo>
                      <a:pt x="576" y="304"/>
                    </a:lnTo>
                    <a:lnTo>
                      <a:pt x="576" y="304"/>
                    </a:lnTo>
                    <a:lnTo>
                      <a:pt x="566" y="300"/>
                    </a:lnTo>
                    <a:lnTo>
                      <a:pt x="560" y="298"/>
                    </a:lnTo>
                    <a:lnTo>
                      <a:pt x="554" y="298"/>
                    </a:lnTo>
                    <a:lnTo>
                      <a:pt x="554" y="298"/>
                    </a:lnTo>
                    <a:lnTo>
                      <a:pt x="556" y="312"/>
                    </a:lnTo>
                    <a:lnTo>
                      <a:pt x="556" y="320"/>
                    </a:lnTo>
                    <a:lnTo>
                      <a:pt x="560" y="324"/>
                    </a:lnTo>
                    <a:lnTo>
                      <a:pt x="558" y="338"/>
                    </a:lnTo>
                    <a:lnTo>
                      <a:pt x="548" y="338"/>
                    </a:lnTo>
                    <a:lnTo>
                      <a:pt x="536" y="348"/>
                    </a:lnTo>
                    <a:lnTo>
                      <a:pt x="514" y="328"/>
                    </a:lnTo>
                    <a:lnTo>
                      <a:pt x="496" y="348"/>
                    </a:lnTo>
                    <a:lnTo>
                      <a:pt x="482" y="348"/>
                    </a:lnTo>
                    <a:lnTo>
                      <a:pt x="484" y="354"/>
                    </a:lnTo>
                    <a:lnTo>
                      <a:pt x="506" y="356"/>
                    </a:lnTo>
                    <a:lnTo>
                      <a:pt x="486" y="364"/>
                    </a:lnTo>
                    <a:lnTo>
                      <a:pt x="490" y="372"/>
                    </a:lnTo>
                    <a:lnTo>
                      <a:pt x="508" y="370"/>
                    </a:lnTo>
                    <a:lnTo>
                      <a:pt x="508" y="376"/>
                    </a:lnTo>
                    <a:lnTo>
                      <a:pt x="500" y="378"/>
                    </a:lnTo>
                    <a:lnTo>
                      <a:pt x="500" y="392"/>
                    </a:lnTo>
                    <a:lnTo>
                      <a:pt x="510" y="384"/>
                    </a:lnTo>
                    <a:lnTo>
                      <a:pt x="510" y="384"/>
                    </a:lnTo>
                    <a:lnTo>
                      <a:pt x="514" y="390"/>
                    </a:lnTo>
                    <a:lnTo>
                      <a:pt x="520" y="392"/>
                    </a:lnTo>
                    <a:lnTo>
                      <a:pt x="534" y="398"/>
                    </a:lnTo>
                    <a:lnTo>
                      <a:pt x="536" y="402"/>
                    </a:lnTo>
                    <a:lnTo>
                      <a:pt x="540" y="404"/>
                    </a:lnTo>
                    <a:lnTo>
                      <a:pt x="540" y="404"/>
                    </a:lnTo>
                    <a:lnTo>
                      <a:pt x="536" y="412"/>
                    </a:lnTo>
                    <a:lnTo>
                      <a:pt x="534" y="416"/>
                    </a:lnTo>
                    <a:lnTo>
                      <a:pt x="534" y="420"/>
                    </a:lnTo>
                    <a:lnTo>
                      <a:pt x="546" y="420"/>
                    </a:lnTo>
                    <a:lnTo>
                      <a:pt x="546" y="420"/>
                    </a:lnTo>
                    <a:lnTo>
                      <a:pt x="544" y="426"/>
                    </a:lnTo>
                    <a:lnTo>
                      <a:pt x="544" y="434"/>
                    </a:lnTo>
                    <a:lnTo>
                      <a:pt x="544" y="442"/>
                    </a:lnTo>
                    <a:lnTo>
                      <a:pt x="546" y="448"/>
                    </a:lnTo>
                    <a:lnTo>
                      <a:pt x="524" y="446"/>
                    </a:lnTo>
                    <a:lnTo>
                      <a:pt x="516" y="438"/>
                    </a:lnTo>
                    <a:lnTo>
                      <a:pt x="516" y="438"/>
                    </a:lnTo>
                    <a:lnTo>
                      <a:pt x="516" y="432"/>
                    </a:lnTo>
                    <a:lnTo>
                      <a:pt x="512" y="426"/>
                    </a:lnTo>
                    <a:lnTo>
                      <a:pt x="500" y="414"/>
                    </a:lnTo>
                    <a:lnTo>
                      <a:pt x="486" y="406"/>
                    </a:lnTo>
                    <a:lnTo>
                      <a:pt x="476" y="402"/>
                    </a:lnTo>
                    <a:lnTo>
                      <a:pt x="474" y="408"/>
                    </a:lnTo>
                    <a:lnTo>
                      <a:pt x="474" y="408"/>
                    </a:lnTo>
                    <a:lnTo>
                      <a:pt x="478" y="412"/>
                    </a:lnTo>
                    <a:lnTo>
                      <a:pt x="484" y="416"/>
                    </a:lnTo>
                    <a:lnTo>
                      <a:pt x="496" y="420"/>
                    </a:lnTo>
                    <a:lnTo>
                      <a:pt x="498" y="424"/>
                    </a:lnTo>
                    <a:lnTo>
                      <a:pt x="486" y="430"/>
                    </a:lnTo>
                    <a:lnTo>
                      <a:pt x="486" y="430"/>
                    </a:lnTo>
                    <a:lnTo>
                      <a:pt x="478" y="432"/>
                    </a:lnTo>
                    <a:lnTo>
                      <a:pt x="468" y="432"/>
                    </a:lnTo>
                    <a:lnTo>
                      <a:pt x="468" y="442"/>
                    </a:lnTo>
                    <a:lnTo>
                      <a:pt x="460" y="448"/>
                    </a:lnTo>
                    <a:lnTo>
                      <a:pt x="460" y="448"/>
                    </a:lnTo>
                    <a:lnTo>
                      <a:pt x="466" y="450"/>
                    </a:lnTo>
                    <a:lnTo>
                      <a:pt x="474" y="450"/>
                    </a:lnTo>
                    <a:lnTo>
                      <a:pt x="486" y="450"/>
                    </a:lnTo>
                    <a:lnTo>
                      <a:pt x="488" y="452"/>
                    </a:lnTo>
                    <a:lnTo>
                      <a:pt x="464" y="462"/>
                    </a:lnTo>
                    <a:lnTo>
                      <a:pt x="464" y="462"/>
                    </a:lnTo>
                    <a:lnTo>
                      <a:pt x="478" y="462"/>
                    </a:lnTo>
                    <a:lnTo>
                      <a:pt x="480" y="458"/>
                    </a:lnTo>
                    <a:lnTo>
                      <a:pt x="480" y="458"/>
                    </a:lnTo>
                    <a:lnTo>
                      <a:pt x="486" y="458"/>
                    </a:lnTo>
                    <a:lnTo>
                      <a:pt x="492" y="456"/>
                    </a:lnTo>
                    <a:lnTo>
                      <a:pt x="500" y="450"/>
                    </a:lnTo>
                    <a:lnTo>
                      <a:pt x="500" y="450"/>
                    </a:lnTo>
                    <a:lnTo>
                      <a:pt x="510" y="456"/>
                    </a:lnTo>
                    <a:lnTo>
                      <a:pt x="520" y="458"/>
                    </a:lnTo>
                    <a:lnTo>
                      <a:pt x="530" y="460"/>
                    </a:lnTo>
                    <a:lnTo>
                      <a:pt x="540" y="458"/>
                    </a:lnTo>
                    <a:lnTo>
                      <a:pt x="536" y="464"/>
                    </a:lnTo>
                    <a:lnTo>
                      <a:pt x="528" y="464"/>
                    </a:lnTo>
                    <a:lnTo>
                      <a:pt x="520" y="472"/>
                    </a:lnTo>
                    <a:lnTo>
                      <a:pt x="522" y="474"/>
                    </a:lnTo>
                    <a:lnTo>
                      <a:pt x="520" y="478"/>
                    </a:lnTo>
                    <a:lnTo>
                      <a:pt x="514" y="476"/>
                    </a:lnTo>
                    <a:lnTo>
                      <a:pt x="516" y="482"/>
                    </a:lnTo>
                    <a:lnTo>
                      <a:pt x="498" y="492"/>
                    </a:lnTo>
                    <a:lnTo>
                      <a:pt x="500" y="496"/>
                    </a:lnTo>
                    <a:lnTo>
                      <a:pt x="474" y="510"/>
                    </a:lnTo>
                    <a:lnTo>
                      <a:pt x="472" y="508"/>
                    </a:lnTo>
                    <a:lnTo>
                      <a:pt x="454" y="518"/>
                    </a:lnTo>
                    <a:lnTo>
                      <a:pt x="450" y="512"/>
                    </a:lnTo>
                    <a:lnTo>
                      <a:pt x="450" y="512"/>
                    </a:lnTo>
                    <a:lnTo>
                      <a:pt x="446" y="516"/>
                    </a:lnTo>
                    <a:lnTo>
                      <a:pt x="446" y="522"/>
                    </a:lnTo>
                    <a:lnTo>
                      <a:pt x="418" y="506"/>
                    </a:lnTo>
                    <a:lnTo>
                      <a:pt x="418" y="508"/>
                    </a:lnTo>
                    <a:lnTo>
                      <a:pt x="416" y="508"/>
                    </a:lnTo>
                    <a:lnTo>
                      <a:pt x="416" y="508"/>
                    </a:lnTo>
                    <a:lnTo>
                      <a:pt x="420" y="518"/>
                    </a:lnTo>
                    <a:lnTo>
                      <a:pt x="420" y="528"/>
                    </a:lnTo>
                    <a:lnTo>
                      <a:pt x="420" y="528"/>
                    </a:lnTo>
                    <a:lnTo>
                      <a:pt x="400" y="550"/>
                    </a:lnTo>
                    <a:lnTo>
                      <a:pt x="380" y="570"/>
                    </a:lnTo>
                    <a:lnTo>
                      <a:pt x="380" y="572"/>
                    </a:lnTo>
                    <a:lnTo>
                      <a:pt x="382" y="576"/>
                    </a:lnTo>
                    <a:lnTo>
                      <a:pt x="378" y="584"/>
                    </a:lnTo>
                    <a:lnTo>
                      <a:pt x="374" y="584"/>
                    </a:lnTo>
                    <a:lnTo>
                      <a:pt x="374" y="580"/>
                    </a:lnTo>
                    <a:lnTo>
                      <a:pt x="372" y="580"/>
                    </a:lnTo>
                    <a:lnTo>
                      <a:pt x="370" y="586"/>
                    </a:lnTo>
                    <a:lnTo>
                      <a:pt x="364" y="578"/>
                    </a:lnTo>
                    <a:lnTo>
                      <a:pt x="364" y="584"/>
                    </a:lnTo>
                    <a:lnTo>
                      <a:pt x="362" y="584"/>
                    </a:lnTo>
                    <a:lnTo>
                      <a:pt x="364" y="586"/>
                    </a:lnTo>
                    <a:lnTo>
                      <a:pt x="358" y="582"/>
                    </a:lnTo>
                    <a:lnTo>
                      <a:pt x="366" y="572"/>
                    </a:lnTo>
                    <a:lnTo>
                      <a:pt x="360" y="574"/>
                    </a:lnTo>
                    <a:lnTo>
                      <a:pt x="358" y="570"/>
                    </a:lnTo>
                    <a:lnTo>
                      <a:pt x="354" y="572"/>
                    </a:lnTo>
                    <a:lnTo>
                      <a:pt x="358" y="576"/>
                    </a:lnTo>
                    <a:lnTo>
                      <a:pt x="354" y="578"/>
                    </a:lnTo>
                    <a:lnTo>
                      <a:pt x="354" y="584"/>
                    </a:lnTo>
                    <a:lnTo>
                      <a:pt x="350" y="582"/>
                    </a:lnTo>
                    <a:lnTo>
                      <a:pt x="350" y="584"/>
                    </a:lnTo>
                    <a:lnTo>
                      <a:pt x="354" y="588"/>
                    </a:lnTo>
                    <a:lnTo>
                      <a:pt x="352" y="592"/>
                    </a:lnTo>
                    <a:lnTo>
                      <a:pt x="346" y="590"/>
                    </a:lnTo>
                    <a:lnTo>
                      <a:pt x="348" y="592"/>
                    </a:lnTo>
                    <a:lnTo>
                      <a:pt x="342" y="594"/>
                    </a:lnTo>
                    <a:lnTo>
                      <a:pt x="340" y="590"/>
                    </a:lnTo>
                    <a:lnTo>
                      <a:pt x="338" y="594"/>
                    </a:lnTo>
                    <a:lnTo>
                      <a:pt x="336" y="590"/>
                    </a:lnTo>
                    <a:lnTo>
                      <a:pt x="334" y="594"/>
                    </a:lnTo>
                    <a:lnTo>
                      <a:pt x="330" y="596"/>
                    </a:lnTo>
                    <a:lnTo>
                      <a:pt x="332" y="596"/>
                    </a:lnTo>
                    <a:lnTo>
                      <a:pt x="334" y="602"/>
                    </a:lnTo>
                    <a:lnTo>
                      <a:pt x="330" y="608"/>
                    </a:lnTo>
                    <a:lnTo>
                      <a:pt x="320" y="606"/>
                    </a:lnTo>
                    <a:lnTo>
                      <a:pt x="318" y="610"/>
                    </a:lnTo>
                    <a:lnTo>
                      <a:pt x="320" y="610"/>
                    </a:lnTo>
                    <a:lnTo>
                      <a:pt x="324" y="622"/>
                    </a:lnTo>
                    <a:lnTo>
                      <a:pt x="328" y="624"/>
                    </a:lnTo>
                    <a:lnTo>
                      <a:pt x="314" y="626"/>
                    </a:lnTo>
                    <a:lnTo>
                      <a:pt x="316" y="630"/>
                    </a:lnTo>
                    <a:lnTo>
                      <a:pt x="324" y="630"/>
                    </a:lnTo>
                    <a:lnTo>
                      <a:pt x="324" y="630"/>
                    </a:lnTo>
                    <a:lnTo>
                      <a:pt x="324" y="636"/>
                    </a:lnTo>
                    <a:lnTo>
                      <a:pt x="326" y="640"/>
                    </a:lnTo>
                    <a:lnTo>
                      <a:pt x="316" y="640"/>
                    </a:lnTo>
                    <a:lnTo>
                      <a:pt x="322" y="642"/>
                    </a:lnTo>
                    <a:lnTo>
                      <a:pt x="324" y="646"/>
                    </a:lnTo>
                    <a:lnTo>
                      <a:pt x="322" y="648"/>
                    </a:lnTo>
                    <a:lnTo>
                      <a:pt x="322" y="648"/>
                    </a:lnTo>
                    <a:lnTo>
                      <a:pt x="320" y="648"/>
                    </a:lnTo>
                    <a:lnTo>
                      <a:pt x="320" y="650"/>
                    </a:lnTo>
                    <a:lnTo>
                      <a:pt x="318" y="654"/>
                    </a:lnTo>
                    <a:lnTo>
                      <a:pt x="314" y="652"/>
                    </a:lnTo>
                    <a:lnTo>
                      <a:pt x="314" y="652"/>
                    </a:lnTo>
                    <a:lnTo>
                      <a:pt x="314" y="652"/>
                    </a:lnTo>
                    <a:lnTo>
                      <a:pt x="314" y="654"/>
                    </a:lnTo>
                    <a:lnTo>
                      <a:pt x="314" y="656"/>
                    </a:lnTo>
                    <a:lnTo>
                      <a:pt x="316" y="658"/>
                    </a:lnTo>
                    <a:lnTo>
                      <a:pt x="308" y="656"/>
                    </a:lnTo>
                    <a:lnTo>
                      <a:pt x="308" y="656"/>
                    </a:lnTo>
                    <a:lnTo>
                      <a:pt x="314" y="662"/>
                    </a:lnTo>
                    <a:lnTo>
                      <a:pt x="314" y="66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0" name="Freeform 1388">
                <a:extLst>
                  <a:ext uri="{FF2B5EF4-FFF2-40B4-BE49-F238E27FC236}">
                    <a16:creationId xmlns:a16="http://schemas.microsoft.com/office/drawing/2014/main" id="{113FD4C3-294A-425F-BE4E-73EAF32D9A45}"/>
                  </a:ext>
                </a:extLst>
              </p:cNvPr>
              <p:cNvSpPr>
                <a:spLocks/>
              </p:cNvSpPr>
              <p:nvPr/>
            </p:nvSpPr>
            <p:spPr bwMode="auto">
              <a:xfrm>
                <a:off x="1540" y="1962"/>
                <a:ext cx="120" cy="246"/>
              </a:xfrm>
              <a:custGeom>
                <a:avLst/>
                <a:gdLst/>
                <a:ahLst/>
                <a:cxnLst>
                  <a:cxn ang="0">
                    <a:pos x="0" y="0"/>
                  </a:cxn>
                  <a:cxn ang="0">
                    <a:pos x="0" y="146"/>
                  </a:cxn>
                  <a:cxn ang="0">
                    <a:pos x="4" y="150"/>
                  </a:cxn>
                  <a:cxn ang="0">
                    <a:pos x="2" y="152"/>
                  </a:cxn>
                  <a:cxn ang="0">
                    <a:pos x="12" y="160"/>
                  </a:cxn>
                  <a:cxn ang="0">
                    <a:pos x="12" y="158"/>
                  </a:cxn>
                  <a:cxn ang="0">
                    <a:pos x="12" y="158"/>
                  </a:cxn>
                  <a:cxn ang="0">
                    <a:pos x="16" y="162"/>
                  </a:cxn>
                  <a:cxn ang="0">
                    <a:pos x="18" y="168"/>
                  </a:cxn>
                  <a:cxn ang="0">
                    <a:pos x="22" y="178"/>
                  </a:cxn>
                  <a:cxn ang="0">
                    <a:pos x="24" y="174"/>
                  </a:cxn>
                  <a:cxn ang="0">
                    <a:pos x="24" y="174"/>
                  </a:cxn>
                  <a:cxn ang="0">
                    <a:pos x="32" y="182"/>
                  </a:cxn>
                  <a:cxn ang="0">
                    <a:pos x="36" y="190"/>
                  </a:cxn>
                  <a:cxn ang="0">
                    <a:pos x="40" y="188"/>
                  </a:cxn>
                  <a:cxn ang="0">
                    <a:pos x="40" y="188"/>
                  </a:cxn>
                  <a:cxn ang="0">
                    <a:pos x="44" y="196"/>
                  </a:cxn>
                  <a:cxn ang="0">
                    <a:pos x="48" y="202"/>
                  </a:cxn>
                  <a:cxn ang="0">
                    <a:pos x="54" y="208"/>
                  </a:cxn>
                  <a:cxn ang="0">
                    <a:pos x="58" y="214"/>
                  </a:cxn>
                  <a:cxn ang="0">
                    <a:pos x="60" y="214"/>
                  </a:cxn>
                  <a:cxn ang="0">
                    <a:pos x="64" y="232"/>
                  </a:cxn>
                  <a:cxn ang="0">
                    <a:pos x="64" y="234"/>
                  </a:cxn>
                  <a:cxn ang="0">
                    <a:pos x="66" y="234"/>
                  </a:cxn>
                  <a:cxn ang="0">
                    <a:pos x="66" y="238"/>
                  </a:cxn>
                  <a:cxn ang="0">
                    <a:pos x="72" y="246"/>
                  </a:cxn>
                  <a:cxn ang="0">
                    <a:pos x="120" y="246"/>
                  </a:cxn>
                  <a:cxn ang="0">
                    <a:pos x="120" y="0"/>
                  </a:cxn>
                  <a:cxn ang="0">
                    <a:pos x="0" y="0"/>
                  </a:cxn>
                </a:cxnLst>
                <a:rect l="0" t="0" r="r" b="b"/>
                <a:pathLst>
                  <a:path w="120" h="246">
                    <a:moveTo>
                      <a:pt x="0" y="0"/>
                    </a:moveTo>
                    <a:lnTo>
                      <a:pt x="0" y="146"/>
                    </a:lnTo>
                    <a:lnTo>
                      <a:pt x="4" y="150"/>
                    </a:lnTo>
                    <a:lnTo>
                      <a:pt x="2" y="152"/>
                    </a:lnTo>
                    <a:lnTo>
                      <a:pt x="12" y="160"/>
                    </a:lnTo>
                    <a:lnTo>
                      <a:pt x="12" y="158"/>
                    </a:lnTo>
                    <a:lnTo>
                      <a:pt x="12" y="158"/>
                    </a:lnTo>
                    <a:lnTo>
                      <a:pt x="16" y="162"/>
                    </a:lnTo>
                    <a:lnTo>
                      <a:pt x="18" y="168"/>
                    </a:lnTo>
                    <a:lnTo>
                      <a:pt x="22" y="178"/>
                    </a:lnTo>
                    <a:lnTo>
                      <a:pt x="24" y="174"/>
                    </a:lnTo>
                    <a:lnTo>
                      <a:pt x="24" y="174"/>
                    </a:lnTo>
                    <a:lnTo>
                      <a:pt x="32" y="182"/>
                    </a:lnTo>
                    <a:lnTo>
                      <a:pt x="36" y="190"/>
                    </a:lnTo>
                    <a:lnTo>
                      <a:pt x="40" y="188"/>
                    </a:lnTo>
                    <a:lnTo>
                      <a:pt x="40" y="188"/>
                    </a:lnTo>
                    <a:lnTo>
                      <a:pt x="44" y="196"/>
                    </a:lnTo>
                    <a:lnTo>
                      <a:pt x="48" y="202"/>
                    </a:lnTo>
                    <a:lnTo>
                      <a:pt x="54" y="208"/>
                    </a:lnTo>
                    <a:lnTo>
                      <a:pt x="58" y="214"/>
                    </a:lnTo>
                    <a:lnTo>
                      <a:pt x="60" y="214"/>
                    </a:lnTo>
                    <a:lnTo>
                      <a:pt x="64" y="232"/>
                    </a:lnTo>
                    <a:lnTo>
                      <a:pt x="64" y="234"/>
                    </a:lnTo>
                    <a:lnTo>
                      <a:pt x="66" y="234"/>
                    </a:lnTo>
                    <a:lnTo>
                      <a:pt x="66" y="238"/>
                    </a:lnTo>
                    <a:lnTo>
                      <a:pt x="72" y="246"/>
                    </a:lnTo>
                    <a:lnTo>
                      <a:pt x="120" y="246"/>
                    </a:lnTo>
                    <a:lnTo>
                      <a:pt x="12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1" name="Freeform 1389">
                <a:extLst>
                  <a:ext uri="{FF2B5EF4-FFF2-40B4-BE49-F238E27FC236}">
                    <a16:creationId xmlns:a16="http://schemas.microsoft.com/office/drawing/2014/main" id="{1AB437CA-563B-4EDA-B461-4747A23A891C}"/>
                  </a:ext>
                </a:extLst>
              </p:cNvPr>
              <p:cNvSpPr>
                <a:spLocks/>
              </p:cNvSpPr>
              <p:nvPr/>
            </p:nvSpPr>
            <p:spPr bwMode="auto">
              <a:xfrm>
                <a:off x="1660" y="1962"/>
                <a:ext cx="104" cy="246"/>
              </a:xfrm>
              <a:custGeom>
                <a:avLst/>
                <a:gdLst/>
                <a:ahLst/>
                <a:cxnLst>
                  <a:cxn ang="0">
                    <a:pos x="104" y="246"/>
                  </a:cxn>
                  <a:cxn ang="0">
                    <a:pos x="104" y="246"/>
                  </a:cxn>
                  <a:cxn ang="0">
                    <a:pos x="100" y="184"/>
                  </a:cxn>
                  <a:cxn ang="0">
                    <a:pos x="96" y="124"/>
                  </a:cxn>
                  <a:cxn ang="0">
                    <a:pos x="96" y="62"/>
                  </a:cxn>
                  <a:cxn ang="0">
                    <a:pos x="96" y="0"/>
                  </a:cxn>
                  <a:cxn ang="0">
                    <a:pos x="0" y="0"/>
                  </a:cxn>
                  <a:cxn ang="0">
                    <a:pos x="0" y="246"/>
                  </a:cxn>
                  <a:cxn ang="0">
                    <a:pos x="104" y="246"/>
                  </a:cxn>
                </a:cxnLst>
                <a:rect l="0" t="0" r="r" b="b"/>
                <a:pathLst>
                  <a:path w="104" h="246">
                    <a:moveTo>
                      <a:pt x="104" y="246"/>
                    </a:moveTo>
                    <a:lnTo>
                      <a:pt x="104" y="246"/>
                    </a:lnTo>
                    <a:lnTo>
                      <a:pt x="100" y="184"/>
                    </a:lnTo>
                    <a:lnTo>
                      <a:pt x="96" y="124"/>
                    </a:lnTo>
                    <a:lnTo>
                      <a:pt x="96" y="62"/>
                    </a:lnTo>
                    <a:lnTo>
                      <a:pt x="96" y="0"/>
                    </a:lnTo>
                    <a:lnTo>
                      <a:pt x="0" y="0"/>
                    </a:lnTo>
                    <a:lnTo>
                      <a:pt x="0" y="246"/>
                    </a:lnTo>
                    <a:lnTo>
                      <a:pt x="104" y="24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2" name="Freeform 1390">
                <a:extLst>
                  <a:ext uri="{FF2B5EF4-FFF2-40B4-BE49-F238E27FC236}">
                    <a16:creationId xmlns:a16="http://schemas.microsoft.com/office/drawing/2014/main" id="{A93876A5-7106-4DD5-A1EF-5BF7CE103813}"/>
                  </a:ext>
                </a:extLst>
              </p:cNvPr>
              <p:cNvSpPr>
                <a:spLocks/>
              </p:cNvSpPr>
              <p:nvPr/>
            </p:nvSpPr>
            <p:spPr bwMode="auto">
              <a:xfrm>
                <a:off x="1312" y="1962"/>
                <a:ext cx="300" cy="246"/>
              </a:xfrm>
              <a:custGeom>
                <a:avLst/>
                <a:gdLst/>
                <a:ahLst/>
                <a:cxnLst>
                  <a:cxn ang="0">
                    <a:pos x="228" y="146"/>
                  </a:cxn>
                  <a:cxn ang="0">
                    <a:pos x="230" y="152"/>
                  </a:cxn>
                  <a:cxn ang="0">
                    <a:pos x="240" y="158"/>
                  </a:cxn>
                  <a:cxn ang="0">
                    <a:pos x="244" y="162"/>
                  </a:cxn>
                  <a:cxn ang="0">
                    <a:pos x="250" y="178"/>
                  </a:cxn>
                  <a:cxn ang="0">
                    <a:pos x="252" y="174"/>
                  </a:cxn>
                  <a:cxn ang="0">
                    <a:pos x="264" y="190"/>
                  </a:cxn>
                  <a:cxn ang="0">
                    <a:pos x="268" y="188"/>
                  </a:cxn>
                  <a:cxn ang="0">
                    <a:pos x="276" y="202"/>
                  </a:cxn>
                  <a:cxn ang="0">
                    <a:pos x="286" y="214"/>
                  </a:cxn>
                  <a:cxn ang="0">
                    <a:pos x="292" y="232"/>
                  </a:cxn>
                  <a:cxn ang="0">
                    <a:pos x="294" y="234"/>
                  </a:cxn>
                  <a:cxn ang="0">
                    <a:pos x="300" y="246"/>
                  </a:cxn>
                  <a:cxn ang="0">
                    <a:pos x="192" y="244"/>
                  </a:cxn>
                  <a:cxn ang="0">
                    <a:pos x="198" y="242"/>
                  </a:cxn>
                  <a:cxn ang="0">
                    <a:pos x="190" y="240"/>
                  </a:cxn>
                  <a:cxn ang="0">
                    <a:pos x="190" y="230"/>
                  </a:cxn>
                  <a:cxn ang="0">
                    <a:pos x="186" y="236"/>
                  </a:cxn>
                  <a:cxn ang="0">
                    <a:pos x="176" y="230"/>
                  </a:cxn>
                  <a:cxn ang="0">
                    <a:pos x="170" y="218"/>
                  </a:cxn>
                  <a:cxn ang="0">
                    <a:pos x="160" y="214"/>
                  </a:cxn>
                  <a:cxn ang="0">
                    <a:pos x="152" y="214"/>
                  </a:cxn>
                  <a:cxn ang="0">
                    <a:pos x="156" y="210"/>
                  </a:cxn>
                  <a:cxn ang="0">
                    <a:pos x="136" y="200"/>
                  </a:cxn>
                  <a:cxn ang="0">
                    <a:pos x="140" y="192"/>
                  </a:cxn>
                  <a:cxn ang="0">
                    <a:pos x="136" y="192"/>
                  </a:cxn>
                  <a:cxn ang="0">
                    <a:pos x="134" y="176"/>
                  </a:cxn>
                  <a:cxn ang="0">
                    <a:pos x="130" y="174"/>
                  </a:cxn>
                  <a:cxn ang="0">
                    <a:pos x="120" y="164"/>
                  </a:cxn>
                  <a:cxn ang="0">
                    <a:pos x="118" y="154"/>
                  </a:cxn>
                  <a:cxn ang="0">
                    <a:pos x="110" y="138"/>
                  </a:cxn>
                  <a:cxn ang="0">
                    <a:pos x="106" y="138"/>
                  </a:cxn>
                  <a:cxn ang="0">
                    <a:pos x="104" y="128"/>
                  </a:cxn>
                  <a:cxn ang="0">
                    <a:pos x="108" y="122"/>
                  </a:cxn>
                  <a:cxn ang="0">
                    <a:pos x="108" y="118"/>
                  </a:cxn>
                  <a:cxn ang="0">
                    <a:pos x="108" y="98"/>
                  </a:cxn>
                  <a:cxn ang="0">
                    <a:pos x="84" y="74"/>
                  </a:cxn>
                  <a:cxn ang="0">
                    <a:pos x="82" y="72"/>
                  </a:cxn>
                  <a:cxn ang="0">
                    <a:pos x="72" y="52"/>
                  </a:cxn>
                  <a:cxn ang="0">
                    <a:pos x="60" y="32"/>
                  </a:cxn>
                  <a:cxn ang="0">
                    <a:pos x="56" y="30"/>
                  </a:cxn>
                  <a:cxn ang="0">
                    <a:pos x="50" y="18"/>
                  </a:cxn>
                  <a:cxn ang="0">
                    <a:pos x="32" y="12"/>
                  </a:cxn>
                  <a:cxn ang="0">
                    <a:pos x="18" y="28"/>
                  </a:cxn>
                  <a:cxn ang="0">
                    <a:pos x="16" y="22"/>
                  </a:cxn>
                  <a:cxn ang="0">
                    <a:pos x="0" y="0"/>
                  </a:cxn>
                  <a:cxn ang="0">
                    <a:pos x="228" y="0"/>
                  </a:cxn>
                </a:cxnLst>
                <a:rect l="0" t="0" r="r" b="b"/>
                <a:pathLst>
                  <a:path w="300" h="246">
                    <a:moveTo>
                      <a:pt x="228" y="0"/>
                    </a:moveTo>
                    <a:lnTo>
                      <a:pt x="228" y="146"/>
                    </a:lnTo>
                    <a:lnTo>
                      <a:pt x="232" y="150"/>
                    </a:lnTo>
                    <a:lnTo>
                      <a:pt x="230" y="152"/>
                    </a:lnTo>
                    <a:lnTo>
                      <a:pt x="240" y="160"/>
                    </a:lnTo>
                    <a:lnTo>
                      <a:pt x="240" y="158"/>
                    </a:lnTo>
                    <a:lnTo>
                      <a:pt x="240" y="158"/>
                    </a:lnTo>
                    <a:lnTo>
                      <a:pt x="244" y="162"/>
                    </a:lnTo>
                    <a:lnTo>
                      <a:pt x="246" y="168"/>
                    </a:lnTo>
                    <a:lnTo>
                      <a:pt x="250" y="178"/>
                    </a:lnTo>
                    <a:lnTo>
                      <a:pt x="252" y="174"/>
                    </a:lnTo>
                    <a:lnTo>
                      <a:pt x="252" y="174"/>
                    </a:lnTo>
                    <a:lnTo>
                      <a:pt x="260" y="182"/>
                    </a:lnTo>
                    <a:lnTo>
                      <a:pt x="264" y="190"/>
                    </a:lnTo>
                    <a:lnTo>
                      <a:pt x="268" y="188"/>
                    </a:lnTo>
                    <a:lnTo>
                      <a:pt x="268" y="188"/>
                    </a:lnTo>
                    <a:lnTo>
                      <a:pt x="272" y="196"/>
                    </a:lnTo>
                    <a:lnTo>
                      <a:pt x="276" y="202"/>
                    </a:lnTo>
                    <a:lnTo>
                      <a:pt x="282" y="208"/>
                    </a:lnTo>
                    <a:lnTo>
                      <a:pt x="286" y="214"/>
                    </a:lnTo>
                    <a:lnTo>
                      <a:pt x="288" y="214"/>
                    </a:lnTo>
                    <a:lnTo>
                      <a:pt x="292" y="232"/>
                    </a:lnTo>
                    <a:lnTo>
                      <a:pt x="292" y="234"/>
                    </a:lnTo>
                    <a:lnTo>
                      <a:pt x="294" y="234"/>
                    </a:lnTo>
                    <a:lnTo>
                      <a:pt x="294" y="238"/>
                    </a:lnTo>
                    <a:lnTo>
                      <a:pt x="300" y="246"/>
                    </a:lnTo>
                    <a:lnTo>
                      <a:pt x="196" y="246"/>
                    </a:lnTo>
                    <a:lnTo>
                      <a:pt x="192" y="244"/>
                    </a:lnTo>
                    <a:lnTo>
                      <a:pt x="192" y="242"/>
                    </a:lnTo>
                    <a:lnTo>
                      <a:pt x="198" y="242"/>
                    </a:lnTo>
                    <a:lnTo>
                      <a:pt x="198" y="240"/>
                    </a:lnTo>
                    <a:lnTo>
                      <a:pt x="190" y="240"/>
                    </a:lnTo>
                    <a:lnTo>
                      <a:pt x="190" y="232"/>
                    </a:lnTo>
                    <a:lnTo>
                      <a:pt x="190" y="230"/>
                    </a:lnTo>
                    <a:lnTo>
                      <a:pt x="186" y="236"/>
                    </a:lnTo>
                    <a:lnTo>
                      <a:pt x="186" y="236"/>
                    </a:lnTo>
                    <a:lnTo>
                      <a:pt x="186" y="232"/>
                    </a:lnTo>
                    <a:lnTo>
                      <a:pt x="176" y="230"/>
                    </a:lnTo>
                    <a:lnTo>
                      <a:pt x="174" y="216"/>
                    </a:lnTo>
                    <a:lnTo>
                      <a:pt x="170" y="218"/>
                    </a:lnTo>
                    <a:lnTo>
                      <a:pt x="168" y="214"/>
                    </a:lnTo>
                    <a:lnTo>
                      <a:pt x="160" y="214"/>
                    </a:lnTo>
                    <a:lnTo>
                      <a:pt x="160" y="216"/>
                    </a:lnTo>
                    <a:lnTo>
                      <a:pt x="152" y="214"/>
                    </a:lnTo>
                    <a:lnTo>
                      <a:pt x="152" y="214"/>
                    </a:lnTo>
                    <a:lnTo>
                      <a:pt x="156" y="210"/>
                    </a:lnTo>
                    <a:lnTo>
                      <a:pt x="136" y="202"/>
                    </a:lnTo>
                    <a:lnTo>
                      <a:pt x="136" y="200"/>
                    </a:lnTo>
                    <a:lnTo>
                      <a:pt x="136" y="200"/>
                    </a:lnTo>
                    <a:lnTo>
                      <a:pt x="140" y="192"/>
                    </a:lnTo>
                    <a:lnTo>
                      <a:pt x="140" y="190"/>
                    </a:lnTo>
                    <a:lnTo>
                      <a:pt x="136" y="192"/>
                    </a:lnTo>
                    <a:lnTo>
                      <a:pt x="136" y="192"/>
                    </a:lnTo>
                    <a:lnTo>
                      <a:pt x="134" y="176"/>
                    </a:lnTo>
                    <a:lnTo>
                      <a:pt x="130" y="178"/>
                    </a:lnTo>
                    <a:lnTo>
                      <a:pt x="130" y="174"/>
                    </a:lnTo>
                    <a:lnTo>
                      <a:pt x="124" y="174"/>
                    </a:lnTo>
                    <a:lnTo>
                      <a:pt x="120" y="164"/>
                    </a:lnTo>
                    <a:lnTo>
                      <a:pt x="120" y="154"/>
                    </a:lnTo>
                    <a:lnTo>
                      <a:pt x="118" y="154"/>
                    </a:lnTo>
                    <a:lnTo>
                      <a:pt x="108" y="144"/>
                    </a:lnTo>
                    <a:lnTo>
                      <a:pt x="110" y="138"/>
                    </a:lnTo>
                    <a:lnTo>
                      <a:pt x="110" y="138"/>
                    </a:lnTo>
                    <a:lnTo>
                      <a:pt x="106" y="138"/>
                    </a:lnTo>
                    <a:lnTo>
                      <a:pt x="104" y="130"/>
                    </a:lnTo>
                    <a:lnTo>
                      <a:pt x="104" y="128"/>
                    </a:lnTo>
                    <a:lnTo>
                      <a:pt x="108" y="128"/>
                    </a:lnTo>
                    <a:lnTo>
                      <a:pt x="108" y="122"/>
                    </a:lnTo>
                    <a:lnTo>
                      <a:pt x="108" y="122"/>
                    </a:lnTo>
                    <a:lnTo>
                      <a:pt x="108" y="118"/>
                    </a:lnTo>
                    <a:lnTo>
                      <a:pt x="108" y="110"/>
                    </a:lnTo>
                    <a:lnTo>
                      <a:pt x="108" y="98"/>
                    </a:lnTo>
                    <a:lnTo>
                      <a:pt x="86" y="84"/>
                    </a:lnTo>
                    <a:lnTo>
                      <a:pt x="84" y="74"/>
                    </a:lnTo>
                    <a:lnTo>
                      <a:pt x="84" y="74"/>
                    </a:lnTo>
                    <a:lnTo>
                      <a:pt x="82" y="72"/>
                    </a:lnTo>
                    <a:lnTo>
                      <a:pt x="78" y="66"/>
                    </a:lnTo>
                    <a:lnTo>
                      <a:pt x="72" y="52"/>
                    </a:lnTo>
                    <a:lnTo>
                      <a:pt x="64" y="36"/>
                    </a:lnTo>
                    <a:lnTo>
                      <a:pt x="60" y="32"/>
                    </a:lnTo>
                    <a:lnTo>
                      <a:pt x="56" y="30"/>
                    </a:lnTo>
                    <a:lnTo>
                      <a:pt x="56" y="30"/>
                    </a:lnTo>
                    <a:lnTo>
                      <a:pt x="54" y="24"/>
                    </a:lnTo>
                    <a:lnTo>
                      <a:pt x="50" y="18"/>
                    </a:lnTo>
                    <a:lnTo>
                      <a:pt x="44" y="6"/>
                    </a:lnTo>
                    <a:lnTo>
                      <a:pt x="32" y="12"/>
                    </a:lnTo>
                    <a:lnTo>
                      <a:pt x="28" y="22"/>
                    </a:lnTo>
                    <a:lnTo>
                      <a:pt x="18" y="28"/>
                    </a:lnTo>
                    <a:lnTo>
                      <a:pt x="18" y="28"/>
                    </a:lnTo>
                    <a:lnTo>
                      <a:pt x="16" y="22"/>
                    </a:lnTo>
                    <a:lnTo>
                      <a:pt x="10" y="14"/>
                    </a:lnTo>
                    <a:lnTo>
                      <a:pt x="0" y="0"/>
                    </a:lnTo>
                    <a:lnTo>
                      <a:pt x="0" y="0"/>
                    </a:lnTo>
                    <a:lnTo>
                      <a:pt x="228" y="0"/>
                    </a:lnTo>
                    <a:lnTo>
                      <a:pt x="22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3" name="Freeform 1391">
                <a:extLst>
                  <a:ext uri="{FF2B5EF4-FFF2-40B4-BE49-F238E27FC236}">
                    <a16:creationId xmlns:a16="http://schemas.microsoft.com/office/drawing/2014/main" id="{46A4ED14-AF43-433E-80E9-83B076F4D023}"/>
                  </a:ext>
                </a:extLst>
              </p:cNvPr>
              <p:cNvSpPr>
                <a:spLocks/>
              </p:cNvSpPr>
              <p:nvPr/>
            </p:nvSpPr>
            <p:spPr bwMode="auto">
              <a:xfrm>
                <a:off x="1756" y="1962"/>
                <a:ext cx="154" cy="246"/>
              </a:xfrm>
              <a:custGeom>
                <a:avLst/>
                <a:gdLst/>
                <a:ahLst/>
                <a:cxnLst>
                  <a:cxn ang="0">
                    <a:pos x="82" y="168"/>
                  </a:cxn>
                  <a:cxn ang="0">
                    <a:pos x="82" y="168"/>
                  </a:cxn>
                  <a:cxn ang="0">
                    <a:pos x="120" y="124"/>
                  </a:cxn>
                  <a:cxn ang="0">
                    <a:pos x="138" y="102"/>
                  </a:cxn>
                  <a:cxn ang="0">
                    <a:pos x="154" y="80"/>
                  </a:cxn>
                  <a:cxn ang="0">
                    <a:pos x="154" y="80"/>
                  </a:cxn>
                  <a:cxn ang="0">
                    <a:pos x="148" y="78"/>
                  </a:cxn>
                  <a:cxn ang="0">
                    <a:pos x="140" y="74"/>
                  </a:cxn>
                  <a:cxn ang="0">
                    <a:pos x="134" y="70"/>
                  </a:cxn>
                  <a:cxn ang="0">
                    <a:pos x="130" y="68"/>
                  </a:cxn>
                  <a:cxn ang="0">
                    <a:pos x="116" y="76"/>
                  </a:cxn>
                  <a:cxn ang="0">
                    <a:pos x="116" y="74"/>
                  </a:cxn>
                  <a:cxn ang="0">
                    <a:pos x="110" y="78"/>
                  </a:cxn>
                  <a:cxn ang="0">
                    <a:pos x="114" y="72"/>
                  </a:cxn>
                  <a:cxn ang="0">
                    <a:pos x="114" y="64"/>
                  </a:cxn>
                  <a:cxn ang="0">
                    <a:pos x="112" y="60"/>
                  </a:cxn>
                  <a:cxn ang="0">
                    <a:pos x="112" y="60"/>
                  </a:cxn>
                  <a:cxn ang="0">
                    <a:pos x="112" y="52"/>
                  </a:cxn>
                  <a:cxn ang="0">
                    <a:pos x="110" y="46"/>
                  </a:cxn>
                  <a:cxn ang="0">
                    <a:pos x="106" y="40"/>
                  </a:cxn>
                  <a:cxn ang="0">
                    <a:pos x="106" y="32"/>
                  </a:cxn>
                  <a:cxn ang="0">
                    <a:pos x="94" y="32"/>
                  </a:cxn>
                  <a:cxn ang="0">
                    <a:pos x="92" y="38"/>
                  </a:cxn>
                  <a:cxn ang="0">
                    <a:pos x="92" y="32"/>
                  </a:cxn>
                  <a:cxn ang="0">
                    <a:pos x="90" y="32"/>
                  </a:cxn>
                  <a:cxn ang="0">
                    <a:pos x="86" y="26"/>
                  </a:cxn>
                  <a:cxn ang="0">
                    <a:pos x="84" y="26"/>
                  </a:cxn>
                  <a:cxn ang="0">
                    <a:pos x="84" y="26"/>
                  </a:cxn>
                  <a:cxn ang="0">
                    <a:pos x="86" y="22"/>
                  </a:cxn>
                  <a:cxn ang="0">
                    <a:pos x="86" y="14"/>
                  </a:cxn>
                  <a:cxn ang="0">
                    <a:pos x="88" y="0"/>
                  </a:cxn>
                  <a:cxn ang="0">
                    <a:pos x="0" y="0"/>
                  </a:cxn>
                  <a:cxn ang="0">
                    <a:pos x="0" y="0"/>
                  </a:cxn>
                  <a:cxn ang="0">
                    <a:pos x="0" y="62"/>
                  </a:cxn>
                  <a:cxn ang="0">
                    <a:pos x="0" y="124"/>
                  </a:cxn>
                  <a:cxn ang="0">
                    <a:pos x="4" y="184"/>
                  </a:cxn>
                  <a:cxn ang="0">
                    <a:pos x="8" y="246"/>
                  </a:cxn>
                  <a:cxn ang="0">
                    <a:pos x="82" y="246"/>
                  </a:cxn>
                  <a:cxn ang="0">
                    <a:pos x="82" y="168"/>
                  </a:cxn>
                </a:cxnLst>
                <a:rect l="0" t="0" r="r" b="b"/>
                <a:pathLst>
                  <a:path w="154" h="246">
                    <a:moveTo>
                      <a:pt x="82" y="168"/>
                    </a:moveTo>
                    <a:lnTo>
                      <a:pt x="82" y="168"/>
                    </a:lnTo>
                    <a:lnTo>
                      <a:pt x="120" y="124"/>
                    </a:lnTo>
                    <a:lnTo>
                      <a:pt x="138" y="102"/>
                    </a:lnTo>
                    <a:lnTo>
                      <a:pt x="154" y="80"/>
                    </a:lnTo>
                    <a:lnTo>
                      <a:pt x="154" y="80"/>
                    </a:lnTo>
                    <a:lnTo>
                      <a:pt x="148" y="78"/>
                    </a:lnTo>
                    <a:lnTo>
                      <a:pt x="140" y="74"/>
                    </a:lnTo>
                    <a:lnTo>
                      <a:pt x="134" y="70"/>
                    </a:lnTo>
                    <a:lnTo>
                      <a:pt x="130" y="68"/>
                    </a:lnTo>
                    <a:lnTo>
                      <a:pt x="116" y="76"/>
                    </a:lnTo>
                    <a:lnTo>
                      <a:pt x="116" y="74"/>
                    </a:lnTo>
                    <a:lnTo>
                      <a:pt x="110" y="78"/>
                    </a:lnTo>
                    <a:lnTo>
                      <a:pt x="114" y="72"/>
                    </a:lnTo>
                    <a:lnTo>
                      <a:pt x="114" y="64"/>
                    </a:lnTo>
                    <a:lnTo>
                      <a:pt x="112" y="60"/>
                    </a:lnTo>
                    <a:lnTo>
                      <a:pt x="112" y="60"/>
                    </a:lnTo>
                    <a:lnTo>
                      <a:pt x="112" y="52"/>
                    </a:lnTo>
                    <a:lnTo>
                      <a:pt x="110" y="46"/>
                    </a:lnTo>
                    <a:lnTo>
                      <a:pt x="106" y="40"/>
                    </a:lnTo>
                    <a:lnTo>
                      <a:pt x="106" y="32"/>
                    </a:lnTo>
                    <a:lnTo>
                      <a:pt x="94" y="32"/>
                    </a:lnTo>
                    <a:lnTo>
                      <a:pt x="92" y="38"/>
                    </a:lnTo>
                    <a:lnTo>
                      <a:pt x="92" y="32"/>
                    </a:lnTo>
                    <a:lnTo>
                      <a:pt x="90" y="32"/>
                    </a:lnTo>
                    <a:lnTo>
                      <a:pt x="86" y="26"/>
                    </a:lnTo>
                    <a:lnTo>
                      <a:pt x="84" y="26"/>
                    </a:lnTo>
                    <a:lnTo>
                      <a:pt x="84" y="26"/>
                    </a:lnTo>
                    <a:lnTo>
                      <a:pt x="86" y="22"/>
                    </a:lnTo>
                    <a:lnTo>
                      <a:pt x="86" y="14"/>
                    </a:lnTo>
                    <a:lnTo>
                      <a:pt x="88" y="0"/>
                    </a:lnTo>
                    <a:lnTo>
                      <a:pt x="0" y="0"/>
                    </a:lnTo>
                    <a:lnTo>
                      <a:pt x="0" y="0"/>
                    </a:lnTo>
                    <a:lnTo>
                      <a:pt x="0" y="62"/>
                    </a:lnTo>
                    <a:lnTo>
                      <a:pt x="0" y="124"/>
                    </a:lnTo>
                    <a:lnTo>
                      <a:pt x="4" y="184"/>
                    </a:lnTo>
                    <a:lnTo>
                      <a:pt x="8" y="246"/>
                    </a:lnTo>
                    <a:lnTo>
                      <a:pt x="82" y="246"/>
                    </a:lnTo>
                    <a:lnTo>
                      <a:pt x="82" y="16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4" name="Freeform 1392">
                <a:extLst>
                  <a:ext uri="{FF2B5EF4-FFF2-40B4-BE49-F238E27FC236}">
                    <a16:creationId xmlns:a16="http://schemas.microsoft.com/office/drawing/2014/main" id="{E84A4796-1DFB-4ACC-A0CD-3EFBC5BA8096}"/>
                  </a:ext>
                </a:extLst>
              </p:cNvPr>
              <p:cNvSpPr>
                <a:spLocks/>
              </p:cNvSpPr>
              <p:nvPr/>
            </p:nvSpPr>
            <p:spPr bwMode="auto">
              <a:xfrm>
                <a:off x="2024" y="1898"/>
                <a:ext cx="270" cy="384"/>
              </a:xfrm>
              <a:custGeom>
                <a:avLst/>
                <a:gdLst/>
                <a:ahLst/>
                <a:cxnLst>
                  <a:cxn ang="0">
                    <a:pos x="190" y="242"/>
                  </a:cxn>
                  <a:cxn ang="0">
                    <a:pos x="192" y="232"/>
                  </a:cxn>
                  <a:cxn ang="0">
                    <a:pos x="188" y="230"/>
                  </a:cxn>
                  <a:cxn ang="0">
                    <a:pos x="186" y="242"/>
                  </a:cxn>
                  <a:cxn ang="0">
                    <a:pos x="184" y="254"/>
                  </a:cxn>
                  <a:cxn ang="0">
                    <a:pos x="174" y="246"/>
                  </a:cxn>
                  <a:cxn ang="0">
                    <a:pos x="160" y="246"/>
                  </a:cxn>
                  <a:cxn ang="0">
                    <a:pos x="158" y="234"/>
                  </a:cxn>
                  <a:cxn ang="0">
                    <a:pos x="160" y="230"/>
                  </a:cxn>
                  <a:cxn ang="0">
                    <a:pos x="156" y="234"/>
                  </a:cxn>
                  <a:cxn ang="0">
                    <a:pos x="150" y="234"/>
                  </a:cxn>
                  <a:cxn ang="0">
                    <a:pos x="150" y="220"/>
                  </a:cxn>
                  <a:cxn ang="0">
                    <a:pos x="142" y="206"/>
                  </a:cxn>
                  <a:cxn ang="0">
                    <a:pos x="144" y="194"/>
                  </a:cxn>
                  <a:cxn ang="0">
                    <a:pos x="146" y="184"/>
                  </a:cxn>
                  <a:cxn ang="0">
                    <a:pos x="150" y="188"/>
                  </a:cxn>
                  <a:cxn ang="0">
                    <a:pos x="156" y="182"/>
                  </a:cxn>
                  <a:cxn ang="0">
                    <a:pos x="190" y="134"/>
                  </a:cxn>
                  <a:cxn ang="0">
                    <a:pos x="188" y="120"/>
                  </a:cxn>
                  <a:cxn ang="0">
                    <a:pos x="182" y="114"/>
                  </a:cxn>
                  <a:cxn ang="0">
                    <a:pos x="186" y="102"/>
                  </a:cxn>
                  <a:cxn ang="0">
                    <a:pos x="186" y="98"/>
                  </a:cxn>
                  <a:cxn ang="0">
                    <a:pos x="184" y="92"/>
                  </a:cxn>
                  <a:cxn ang="0">
                    <a:pos x="178" y="80"/>
                  </a:cxn>
                  <a:cxn ang="0">
                    <a:pos x="176" y="66"/>
                  </a:cxn>
                  <a:cxn ang="0">
                    <a:pos x="178" y="58"/>
                  </a:cxn>
                  <a:cxn ang="0">
                    <a:pos x="164" y="100"/>
                  </a:cxn>
                  <a:cxn ang="0">
                    <a:pos x="136" y="110"/>
                  </a:cxn>
                  <a:cxn ang="0">
                    <a:pos x="126" y="90"/>
                  </a:cxn>
                  <a:cxn ang="0">
                    <a:pos x="122" y="62"/>
                  </a:cxn>
                  <a:cxn ang="0">
                    <a:pos x="112" y="38"/>
                  </a:cxn>
                  <a:cxn ang="0">
                    <a:pos x="94" y="26"/>
                  </a:cxn>
                  <a:cxn ang="0">
                    <a:pos x="70" y="0"/>
                  </a:cxn>
                  <a:cxn ang="0">
                    <a:pos x="16" y="6"/>
                  </a:cxn>
                  <a:cxn ang="0">
                    <a:pos x="26" y="72"/>
                  </a:cxn>
                  <a:cxn ang="0">
                    <a:pos x="26" y="108"/>
                  </a:cxn>
                  <a:cxn ang="0">
                    <a:pos x="34" y="158"/>
                  </a:cxn>
                  <a:cxn ang="0">
                    <a:pos x="10" y="188"/>
                  </a:cxn>
                  <a:cxn ang="0">
                    <a:pos x="6" y="206"/>
                  </a:cxn>
                  <a:cxn ang="0">
                    <a:pos x="8" y="252"/>
                  </a:cxn>
                  <a:cxn ang="0">
                    <a:pos x="2" y="258"/>
                  </a:cxn>
                  <a:cxn ang="0">
                    <a:pos x="0" y="340"/>
                  </a:cxn>
                  <a:cxn ang="0">
                    <a:pos x="8" y="356"/>
                  </a:cxn>
                  <a:cxn ang="0">
                    <a:pos x="60" y="372"/>
                  </a:cxn>
                  <a:cxn ang="0">
                    <a:pos x="100" y="380"/>
                  </a:cxn>
                  <a:cxn ang="0">
                    <a:pos x="110" y="372"/>
                  </a:cxn>
                  <a:cxn ang="0">
                    <a:pos x="124" y="340"/>
                  </a:cxn>
                  <a:cxn ang="0">
                    <a:pos x="134" y="336"/>
                  </a:cxn>
                  <a:cxn ang="0">
                    <a:pos x="144" y="328"/>
                  </a:cxn>
                  <a:cxn ang="0">
                    <a:pos x="156" y="328"/>
                  </a:cxn>
                  <a:cxn ang="0">
                    <a:pos x="174" y="326"/>
                  </a:cxn>
                  <a:cxn ang="0">
                    <a:pos x="186" y="312"/>
                  </a:cxn>
                  <a:cxn ang="0">
                    <a:pos x="172" y="304"/>
                  </a:cxn>
                  <a:cxn ang="0">
                    <a:pos x="134" y="320"/>
                  </a:cxn>
                  <a:cxn ang="0">
                    <a:pos x="102" y="350"/>
                  </a:cxn>
                  <a:cxn ang="0">
                    <a:pos x="118" y="324"/>
                  </a:cxn>
                  <a:cxn ang="0">
                    <a:pos x="140" y="302"/>
                  </a:cxn>
                  <a:cxn ang="0">
                    <a:pos x="154" y="288"/>
                  </a:cxn>
                  <a:cxn ang="0">
                    <a:pos x="188" y="282"/>
                  </a:cxn>
                  <a:cxn ang="0">
                    <a:pos x="236" y="284"/>
                  </a:cxn>
                  <a:cxn ang="0">
                    <a:pos x="250" y="268"/>
                  </a:cxn>
                  <a:cxn ang="0">
                    <a:pos x="190" y="248"/>
                  </a:cxn>
                </a:cxnLst>
                <a:rect l="0" t="0" r="r" b="b"/>
                <a:pathLst>
                  <a:path w="270" h="384">
                    <a:moveTo>
                      <a:pt x="190" y="248"/>
                    </a:moveTo>
                    <a:lnTo>
                      <a:pt x="190" y="248"/>
                    </a:lnTo>
                    <a:lnTo>
                      <a:pt x="192" y="248"/>
                    </a:lnTo>
                    <a:lnTo>
                      <a:pt x="190" y="242"/>
                    </a:lnTo>
                    <a:lnTo>
                      <a:pt x="186" y="240"/>
                    </a:lnTo>
                    <a:lnTo>
                      <a:pt x="190" y="236"/>
                    </a:lnTo>
                    <a:lnTo>
                      <a:pt x="194" y="236"/>
                    </a:lnTo>
                    <a:lnTo>
                      <a:pt x="192" y="232"/>
                    </a:lnTo>
                    <a:lnTo>
                      <a:pt x="192" y="228"/>
                    </a:lnTo>
                    <a:lnTo>
                      <a:pt x="190" y="226"/>
                    </a:lnTo>
                    <a:lnTo>
                      <a:pt x="188" y="226"/>
                    </a:lnTo>
                    <a:lnTo>
                      <a:pt x="188" y="230"/>
                    </a:lnTo>
                    <a:lnTo>
                      <a:pt x="186" y="232"/>
                    </a:lnTo>
                    <a:lnTo>
                      <a:pt x="186" y="232"/>
                    </a:lnTo>
                    <a:lnTo>
                      <a:pt x="184" y="236"/>
                    </a:lnTo>
                    <a:lnTo>
                      <a:pt x="186" y="242"/>
                    </a:lnTo>
                    <a:lnTo>
                      <a:pt x="186" y="242"/>
                    </a:lnTo>
                    <a:lnTo>
                      <a:pt x="184" y="246"/>
                    </a:lnTo>
                    <a:lnTo>
                      <a:pt x="182" y="252"/>
                    </a:lnTo>
                    <a:lnTo>
                      <a:pt x="184" y="254"/>
                    </a:lnTo>
                    <a:lnTo>
                      <a:pt x="180" y="258"/>
                    </a:lnTo>
                    <a:lnTo>
                      <a:pt x="178" y="254"/>
                    </a:lnTo>
                    <a:lnTo>
                      <a:pt x="180" y="252"/>
                    </a:lnTo>
                    <a:lnTo>
                      <a:pt x="174" y="246"/>
                    </a:lnTo>
                    <a:lnTo>
                      <a:pt x="170" y="244"/>
                    </a:lnTo>
                    <a:lnTo>
                      <a:pt x="168" y="248"/>
                    </a:lnTo>
                    <a:lnTo>
                      <a:pt x="160" y="242"/>
                    </a:lnTo>
                    <a:lnTo>
                      <a:pt x="160" y="246"/>
                    </a:lnTo>
                    <a:lnTo>
                      <a:pt x="158" y="244"/>
                    </a:lnTo>
                    <a:lnTo>
                      <a:pt x="158" y="242"/>
                    </a:lnTo>
                    <a:lnTo>
                      <a:pt x="158" y="240"/>
                    </a:lnTo>
                    <a:lnTo>
                      <a:pt x="158" y="234"/>
                    </a:lnTo>
                    <a:lnTo>
                      <a:pt x="160" y="234"/>
                    </a:lnTo>
                    <a:lnTo>
                      <a:pt x="158" y="232"/>
                    </a:lnTo>
                    <a:lnTo>
                      <a:pt x="160" y="230"/>
                    </a:lnTo>
                    <a:lnTo>
                      <a:pt x="160" y="230"/>
                    </a:lnTo>
                    <a:lnTo>
                      <a:pt x="158" y="228"/>
                    </a:lnTo>
                    <a:lnTo>
                      <a:pt x="156" y="230"/>
                    </a:lnTo>
                    <a:lnTo>
                      <a:pt x="156" y="230"/>
                    </a:lnTo>
                    <a:lnTo>
                      <a:pt x="156" y="234"/>
                    </a:lnTo>
                    <a:lnTo>
                      <a:pt x="154" y="236"/>
                    </a:lnTo>
                    <a:lnTo>
                      <a:pt x="152" y="234"/>
                    </a:lnTo>
                    <a:lnTo>
                      <a:pt x="152" y="234"/>
                    </a:lnTo>
                    <a:lnTo>
                      <a:pt x="150" y="234"/>
                    </a:lnTo>
                    <a:lnTo>
                      <a:pt x="150" y="234"/>
                    </a:lnTo>
                    <a:lnTo>
                      <a:pt x="150" y="228"/>
                    </a:lnTo>
                    <a:lnTo>
                      <a:pt x="152" y="222"/>
                    </a:lnTo>
                    <a:lnTo>
                      <a:pt x="150" y="220"/>
                    </a:lnTo>
                    <a:lnTo>
                      <a:pt x="150" y="216"/>
                    </a:lnTo>
                    <a:lnTo>
                      <a:pt x="146" y="216"/>
                    </a:lnTo>
                    <a:lnTo>
                      <a:pt x="146" y="212"/>
                    </a:lnTo>
                    <a:lnTo>
                      <a:pt x="142" y="206"/>
                    </a:lnTo>
                    <a:lnTo>
                      <a:pt x="146" y="202"/>
                    </a:lnTo>
                    <a:lnTo>
                      <a:pt x="146" y="202"/>
                    </a:lnTo>
                    <a:lnTo>
                      <a:pt x="144" y="198"/>
                    </a:lnTo>
                    <a:lnTo>
                      <a:pt x="144" y="194"/>
                    </a:lnTo>
                    <a:lnTo>
                      <a:pt x="148" y="196"/>
                    </a:lnTo>
                    <a:lnTo>
                      <a:pt x="150" y="192"/>
                    </a:lnTo>
                    <a:lnTo>
                      <a:pt x="148" y="192"/>
                    </a:lnTo>
                    <a:lnTo>
                      <a:pt x="146" y="184"/>
                    </a:lnTo>
                    <a:lnTo>
                      <a:pt x="148" y="184"/>
                    </a:lnTo>
                    <a:lnTo>
                      <a:pt x="148" y="184"/>
                    </a:lnTo>
                    <a:lnTo>
                      <a:pt x="148" y="184"/>
                    </a:lnTo>
                    <a:lnTo>
                      <a:pt x="150" y="188"/>
                    </a:lnTo>
                    <a:lnTo>
                      <a:pt x="154" y="190"/>
                    </a:lnTo>
                    <a:lnTo>
                      <a:pt x="156" y="188"/>
                    </a:lnTo>
                    <a:lnTo>
                      <a:pt x="156" y="188"/>
                    </a:lnTo>
                    <a:lnTo>
                      <a:pt x="156" y="182"/>
                    </a:lnTo>
                    <a:lnTo>
                      <a:pt x="154" y="178"/>
                    </a:lnTo>
                    <a:lnTo>
                      <a:pt x="154" y="178"/>
                    </a:lnTo>
                    <a:lnTo>
                      <a:pt x="190" y="194"/>
                    </a:lnTo>
                    <a:lnTo>
                      <a:pt x="190" y="134"/>
                    </a:lnTo>
                    <a:lnTo>
                      <a:pt x="188" y="134"/>
                    </a:lnTo>
                    <a:lnTo>
                      <a:pt x="188" y="134"/>
                    </a:lnTo>
                    <a:lnTo>
                      <a:pt x="194" y="124"/>
                    </a:lnTo>
                    <a:lnTo>
                      <a:pt x="188" y="120"/>
                    </a:lnTo>
                    <a:lnTo>
                      <a:pt x="186" y="122"/>
                    </a:lnTo>
                    <a:lnTo>
                      <a:pt x="184" y="114"/>
                    </a:lnTo>
                    <a:lnTo>
                      <a:pt x="182" y="114"/>
                    </a:lnTo>
                    <a:lnTo>
                      <a:pt x="182" y="114"/>
                    </a:lnTo>
                    <a:lnTo>
                      <a:pt x="184" y="108"/>
                    </a:lnTo>
                    <a:lnTo>
                      <a:pt x="190" y="104"/>
                    </a:lnTo>
                    <a:lnTo>
                      <a:pt x="188" y="102"/>
                    </a:lnTo>
                    <a:lnTo>
                      <a:pt x="186" y="102"/>
                    </a:lnTo>
                    <a:lnTo>
                      <a:pt x="186" y="100"/>
                    </a:lnTo>
                    <a:lnTo>
                      <a:pt x="194" y="98"/>
                    </a:lnTo>
                    <a:lnTo>
                      <a:pt x="190" y="94"/>
                    </a:lnTo>
                    <a:lnTo>
                      <a:pt x="186" y="98"/>
                    </a:lnTo>
                    <a:lnTo>
                      <a:pt x="184" y="94"/>
                    </a:lnTo>
                    <a:lnTo>
                      <a:pt x="176" y="92"/>
                    </a:lnTo>
                    <a:lnTo>
                      <a:pt x="178" y="90"/>
                    </a:lnTo>
                    <a:lnTo>
                      <a:pt x="184" y="92"/>
                    </a:lnTo>
                    <a:lnTo>
                      <a:pt x="180" y="86"/>
                    </a:lnTo>
                    <a:lnTo>
                      <a:pt x="182" y="80"/>
                    </a:lnTo>
                    <a:lnTo>
                      <a:pt x="184" y="78"/>
                    </a:lnTo>
                    <a:lnTo>
                      <a:pt x="178" y="80"/>
                    </a:lnTo>
                    <a:lnTo>
                      <a:pt x="178" y="78"/>
                    </a:lnTo>
                    <a:lnTo>
                      <a:pt x="178" y="70"/>
                    </a:lnTo>
                    <a:lnTo>
                      <a:pt x="180" y="68"/>
                    </a:lnTo>
                    <a:lnTo>
                      <a:pt x="176" y="66"/>
                    </a:lnTo>
                    <a:lnTo>
                      <a:pt x="180" y="64"/>
                    </a:lnTo>
                    <a:lnTo>
                      <a:pt x="178" y="60"/>
                    </a:lnTo>
                    <a:lnTo>
                      <a:pt x="182" y="58"/>
                    </a:lnTo>
                    <a:lnTo>
                      <a:pt x="178" y="58"/>
                    </a:lnTo>
                    <a:lnTo>
                      <a:pt x="168" y="72"/>
                    </a:lnTo>
                    <a:lnTo>
                      <a:pt x="174" y="78"/>
                    </a:lnTo>
                    <a:lnTo>
                      <a:pt x="164" y="100"/>
                    </a:lnTo>
                    <a:lnTo>
                      <a:pt x="164" y="100"/>
                    </a:lnTo>
                    <a:lnTo>
                      <a:pt x="158" y="102"/>
                    </a:lnTo>
                    <a:lnTo>
                      <a:pt x="152" y="102"/>
                    </a:lnTo>
                    <a:lnTo>
                      <a:pt x="140" y="100"/>
                    </a:lnTo>
                    <a:lnTo>
                      <a:pt x="136" y="110"/>
                    </a:lnTo>
                    <a:lnTo>
                      <a:pt x="134" y="94"/>
                    </a:lnTo>
                    <a:lnTo>
                      <a:pt x="118" y="98"/>
                    </a:lnTo>
                    <a:lnTo>
                      <a:pt x="112" y="96"/>
                    </a:lnTo>
                    <a:lnTo>
                      <a:pt x="126" y="90"/>
                    </a:lnTo>
                    <a:lnTo>
                      <a:pt x="120" y="82"/>
                    </a:lnTo>
                    <a:lnTo>
                      <a:pt x="122" y="74"/>
                    </a:lnTo>
                    <a:lnTo>
                      <a:pt x="116" y="66"/>
                    </a:lnTo>
                    <a:lnTo>
                      <a:pt x="122" y="62"/>
                    </a:lnTo>
                    <a:lnTo>
                      <a:pt x="120" y="54"/>
                    </a:lnTo>
                    <a:lnTo>
                      <a:pt x="122" y="42"/>
                    </a:lnTo>
                    <a:lnTo>
                      <a:pt x="114" y="42"/>
                    </a:lnTo>
                    <a:lnTo>
                      <a:pt x="112" y="38"/>
                    </a:lnTo>
                    <a:lnTo>
                      <a:pt x="112" y="38"/>
                    </a:lnTo>
                    <a:lnTo>
                      <a:pt x="104" y="34"/>
                    </a:lnTo>
                    <a:lnTo>
                      <a:pt x="96" y="34"/>
                    </a:lnTo>
                    <a:lnTo>
                      <a:pt x="94" y="26"/>
                    </a:lnTo>
                    <a:lnTo>
                      <a:pt x="96" y="24"/>
                    </a:lnTo>
                    <a:lnTo>
                      <a:pt x="88" y="18"/>
                    </a:lnTo>
                    <a:lnTo>
                      <a:pt x="84" y="8"/>
                    </a:lnTo>
                    <a:lnTo>
                      <a:pt x="70" y="0"/>
                    </a:lnTo>
                    <a:lnTo>
                      <a:pt x="70" y="0"/>
                    </a:lnTo>
                    <a:lnTo>
                      <a:pt x="48" y="6"/>
                    </a:lnTo>
                    <a:lnTo>
                      <a:pt x="40" y="0"/>
                    </a:lnTo>
                    <a:lnTo>
                      <a:pt x="16" y="6"/>
                    </a:lnTo>
                    <a:lnTo>
                      <a:pt x="16" y="12"/>
                    </a:lnTo>
                    <a:lnTo>
                      <a:pt x="26" y="20"/>
                    </a:lnTo>
                    <a:lnTo>
                      <a:pt x="18" y="40"/>
                    </a:lnTo>
                    <a:lnTo>
                      <a:pt x="26" y="72"/>
                    </a:lnTo>
                    <a:lnTo>
                      <a:pt x="22" y="84"/>
                    </a:lnTo>
                    <a:lnTo>
                      <a:pt x="10" y="88"/>
                    </a:lnTo>
                    <a:lnTo>
                      <a:pt x="10" y="96"/>
                    </a:lnTo>
                    <a:lnTo>
                      <a:pt x="26" y="108"/>
                    </a:lnTo>
                    <a:lnTo>
                      <a:pt x="26" y="108"/>
                    </a:lnTo>
                    <a:lnTo>
                      <a:pt x="32" y="132"/>
                    </a:lnTo>
                    <a:lnTo>
                      <a:pt x="42" y="156"/>
                    </a:lnTo>
                    <a:lnTo>
                      <a:pt x="34" y="158"/>
                    </a:lnTo>
                    <a:lnTo>
                      <a:pt x="34" y="158"/>
                    </a:lnTo>
                    <a:lnTo>
                      <a:pt x="28" y="170"/>
                    </a:lnTo>
                    <a:lnTo>
                      <a:pt x="20" y="180"/>
                    </a:lnTo>
                    <a:lnTo>
                      <a:pt x="10" y="188"/>
                    </a:lnTo>
                    <a:lnTo>
                      <a:pt x="0" y="194"/>
                    </a:lnTo>
                    <a:lnTo>
                      <a:pt x="0" y="194"/>
                    </a:lnTo>
                    <a:lnTo>
                      <a:pt x="4" y="198"/>
                    </a:lnTo>
                    <a:lnTo>
                      <a:pt x="6" y="206"/>
                    </a:lnTo>
                    <a:lnTo>
                      <a:pt x="10" y="222"/>
                    </a:lnTo>
                    <a:lnTo>
                      <a:pt x="10" y="240"/>
                    </a:lnTo>
                    <a:lnTo>
                      <a:pt x="10" y="246"/>
                    </a:lnTo>
                    <a:lnTo>
                      <a:pt x="8" y="252"/>
                    </a:lnTo>
                    <a:lnTo>
                      <a:pt x="12" y="258"/>
                    </a:lnTo>
                    <a:lnTo>
                      <a:pt x="8" y="264"/>
                    </a:lnTo>
                    <a:lnTo>
                      <a:pt x="4" y="256"/>
                    </a:lnTo>
                    <a:lnTo>
                      <a:pt x="2" y="258"/>
                    </a:lnTo>
                    <a:lnTo>
                      <a:pt x="2" y="258"/>
                    </a:lnTo>
                    <a:lnTo>
                      <a:pt x="0" y="292"/>
                    </a:lnTo>
                    <a:lnTo>
                      <a:pt x="0" y="318"/>
                    </a:lnTo>
                    <a:lnTo>
                      <a:pt x="0" y="340"/>
                    </a:lnTo>
                    <a:lnTo>
                      <a:pt x="0" y="340"/>
                    </a:lnTo>
                    <a:lnTo>
                      <a:pt x="2" y="346"/>
                    </a:lnTo>
                    <a:lnTo>
                      <a:pt x="4" y="350"/>
                    </a:lnTo>
                    <a:lnTo>
                      <a:pt x="8" y="356"/>
                    </a:lnTo>
                    <a:lnTo>
                      <a:pt x="34" y="368"/>
                    </a:lnTo>
                    <a:lnTo>
                      <a:pt x="36" y="374"/>
                    </a:lnTo>
                    <a:lnTo>
                      <a:pt x="46" y="378"/>
                    </a:lnTo>
                    <a:lnTo>
                      <a:pt x="60" y="372"/>
                    </a:lnTo>
                    <a:lnTo>
                      <a:pt x="58" y="384"/>
                    </a:lnTo>
                    <a:lnTo>
                      <a:pt x="96" y="384"/>
                    </a:lnTo>
                    <a:lnTo>
                      <a:pt x="100" y="380"/>
                    </a:lnTo>
                    <a:lnTo>
                      <a:pt x="100" y="380"/>
                    </a:lnTo>
                    <a:lnTo>
                      <a:pt x="108" y="378"/>
                    </a:lnTo>
                    <a:lnTo>
                      <a:pt x="108" y="376"/>
                    </a:lnTo>
                    <a:lnTo>
                      <a:pt x="110" y="372"/>
                    </a:lnTo>
                    <a:lnTo>
                      <a:pt x="110" y="372"/>
                    </a:lnTo>
                    <a:lnTo>
                      <a:pt x="112" y="366"/>
                    </a:lnTo>
                    <a:lnTo>
                      <a:pt x="114" y="356"/>
                    </a:lnTo>
                    <a:lnTo>
                      <a:pt x="122" y="340"/>
                    </a:lnTo>
                    <a:lnTo>
                      <a:pt x="124" y="340"/>
                    </a:lnTo>
                    <a:lnTo>
                      <a:pt x="126" y="342"/>
                    </a:lnTo>
                    <a:lnTo>
                      <a:pt x="126" y="342"/>
                    </a:lnTo>
                    <a:lnTo>
                      <a:pt x="130" y="340"/>
                    </a:lnTo>
                    <a:lnTo>
                      <a:pt x="134" y="336"/>
                    </a:lnTo>
                    <a:lnTo>
                      <a:pt x="134" y="330"/>
                    </a:lnTo>
                    <a:lnTo>
                      <a:pt x="138" y="330"/>
                    </a:lnTo>
                    <a:lnTo>
                      <a:pt x="138" y="328"/>
                    </a:lnTo>
                    <a:lnTo>
                      <a:pt x="144" y="328"/>
                    </a:lnTo>
                    <a:lnTo>
                      <a:pt x="148" y="332"/>
                    </a:lnTo>
                    <a:lnTo>
                      <a:pt x="148" y="332"/>
                    </a:lnTo>
                    <a:lnTo>
                      <a:pt x="152" y="330"/>
                    </a:lnTo>
                    <a:lnTo>
                      <a:pt x="156" y="328"/>
                    </a:lnTo>
                    <a:lnTo>
                      <a:pt x="162" y="328"/>
                    </a:lnTo>
                    <a:lnTo>
                      <a:pt x="166" y="330"/>
                    </a:lnTo>
                    <a:lnTo>
                      <a:pt x="166" y="324"/>
                    </a:lnTo>
                    <a:lnTo>
                      <a:pt x="174" y="326"/>
                    </a:lnTo>
                    <a:lnTo>
                      <a:pt x="184" y="318"/>
                    </a:lnTo>
                    <a:lnTo>
                      <a:pt x="184" y="314"/>
                    </a:lnTo>
                    <a:lnTo>
                      <a:pt x="184" y="312"/>
                    </a:lnTo>
                    <a:lnTo>
                      <a:pt x="186" y="312"/>
                    </a:lnTo>
                    <a:lnTo>
                      <a:pt x="184" y="310"/>
                    </a:lnTo>
                    <a:lnTo>
                      <a:pt x="184" y="310"/>
                    </a:lnTo>
                    <a:lnTo>
                      <a:pt x="178" y="306"/>
                    </a:lnTo>
                    <a:lnTo>
                      <a:pt x="172" y="304"/>
                    </a:lnTo>
                    <a:lnTo>
                      <a:pt x="164" y="304"/>
                    </a:lnTo>
                    <a:lnTo>
                      <a:pt x="158" y="304"/>
                    </a:lnTo>
                    <a:lnTo>
                      <a:pt x="146" y="310"/>
                    </a:lnTo>
                    <a:lnTo>
                      <a:pt x="134" y="320"/>
                    </a:lnTo>
                    <a:lnTo>
                      <a:pt x="114" y="340"/>
                    </a:lnTo>
                    <a:lnTo>
                      <a:pt x="106" y="348"/>
                    </a:lnTo>
                    <a:lnTo>
                      <a:pt x="102" y="350"/>
                    </a:lnTo>
                    <a:lnTo>
                      <a:pt x="102" y="350"/>
                    </a:lnTo>
                    <a:lnTo>
                      <a:pt x="112" y="340"/>
                    </a:lnTo>
                    <a:lnTo>
                      <a:pt x="116" y="334"/>
                    </a:lnTo>
                    <a:lnTo>
                      <a:pt x="118" y="328"/>
                    </a:lnTo>
                    <a:lnTo>
                      <a:pt x="118" y="324"/>
                    </a:lnTo>
                    <a:lnTo>
                      <a:pt x="124" y="322"/>
                    </a:lnTo>
                    <a:lnTo>
                      <a:pt x="124" y="322"/>
                    </a:lnTo>
                    <a:lnTo>
                      <a:pt x="130" y="312"/>
                    </a:lnTo>
                    <a:lnTo>
                      <a:pt x="140" y="302"/>
                    </a:lnTo>
                    <a:lnTo>
                      <a:pt x="148" y="302"/>
                    </a:lnTo>
                    <a:lnTo>
                      <a:pt x="148" y="302"/>
                    </a:lnTo>
                    <a:lnTo>
                      <a:pt x="150" y="294"/>
                    </a:lnTo>
                    <a:lnTo>
                      <a:pt x="154" y="288"/>
                    </a:lnTo>
                    <a:lnTo>
                      <a:pt x="160" y="286"/>
                    </a:lnTo>
                    <a:lnTo>
                      <a:pt x="160" y="284"/>
                    </a:lnTo>
                    <a:lnTo>
                      <a:pt x="160" y="284"/>
                    </a:lnTo>
                    <a:lnTo>
                      <a:pt x="188" y="282"/>
                    </a:lnTo>
                    <a:lnTo>
                      <a:pt x="214" y="284"/>
                    </a:lnTo>
                    <a:lnTo>
                      <a:pt x="216" y="288"/>
                    </a:lnTo>
                    <a:lnTo>
                      <a:pt x="234" y="284"/>
                    </a:lnTo>
                    <a:lnTo>
                      <a:pt x="236" y="284"/>
                    </a:lnTo>
                    <a:lnTo>
                      <a:pt x="236" y="284"/>
                    </a:lnTo>
                    <a:lnTo>
                      <a:pt x="244" y="278"/>
                    </a:lnTo>
                    <a:lnTo>
                      <a:pt x="250" y="268"/>
                    </a:lnTo>
                    <a:lnTo>
                      <a:pt x="250" y="268"/>
                    </a:lnTo>
                    <a:lnTo>
                      <a:pt x="256" y="262"/>
                    </a:lnTo>
                    <a:lnTo>
                      <a:pt x="270" y="260"/>
                    </a:lnTo>
                    <a:lnTo>
                      <a:pt x="270" y="248"/>
                    </a:lnTo>
                    <a:lnTo>
                      <a:pt x="190" y="24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5" name="Freeform 1393">
                <a:extLst>
                  <a:ext uri="{FF2B5EF4-FFF2-40B4-BE49-F238E27FC236}">
                    <a16:creationId xmlns:a16="http://schemas.microsoft.com/office/drawing/2014/main" id="{0334F98B-1CD1-4583-B986-F1B03626D0C0}"/>
                  </a:ext>
                </a:extLst>
              </p:cNvPr>
              <p:cNvSpPr>
                <a:spLocks/>
              </p:cNvSpPr>
              <p:nvPr/>
            </p:nvSpPr>
            <p:spPr bwMode="auto">
              <a:xfrm>
                <a:off x="2150" y="2226"/>
                <a:ext cx="66" cy="54"/>
              </a:xfrm>
              <a:custGeom>
                <a:avLst/>
                <a:gdLst/>
                <a:ahLst/>
                <a:cxnLst>
                  <a:cxn ang="0">
                    <a:pos x="66" y="36"/>
                  </a:cxn>
                  <a:cxn ang="0">
                    <a:pos x="66" y="36"/>
                  </a:cxn>
                  <a:cxn ang="0">
                    <a:pos x="60" y="34"/>
                  </a:cxn>
                  <a:cxn ang="0">
                    <a:pos x="56" y="32"/>
                  </a:cxn>
                  <a:cxn ang="0">
                    <a:pos x="56" y="32"/>
                  </a:cxn>
                  <a:cxn ang="0">
                    <a:pos x="52" y="26"/>
                  </a:cxn>
                  <a:cxn ang="0">
                    <a:pos x="52" y="18"/>
                  </a:cxn>
                  <a:cxn ang="0">
                    <a:pos x="46" y="18"/>
                  </a:cxn>
                  <a:cxn ang="0">
                    <a:pos x="46" y="18"/>
                  </a:cxn>
                  <a:cxn ang="0">
                    <a:pos x="52" y="12"/>
                  </a:cxn>
                  <a:cxn ang="0">
                    <a:pos x="52" y="6"/>
                  </a:cxn>
                  <a:cxn ang="0">
                    <a:pos x="48" y="2"/>
                  </a:cxn>
                  <a:cxn ang="0">
                    <a:pos x="42" y="6"/>
                  </a:cxn>
                  <a:cxn ang="0">
                    <a:pos x="40" y="2"/>
                  </a:cxn>
                  <a:cxn ang="0">
                    <a:pos x="40" y="2"/>
                  </a:cxn>
                  <a:cxn ang="0">
                    <a:pos x="36" y="0"/>
                  </a:cxn>
                  <a:cxn ang="0">
                    <a:pos x="30" y="0"/>
                  </a:cxn>
                  <a:cxn ang="0">
                    <a:pos x="26" y="2"/>
                  </a:cxn>
                  <a:cxn ang="0">
                    <a:pos x="22" y="4"/>
                  </a:cxn>
                  <a:cxn ang="0">
                    <a:pos x="18" y="0"/>
                  </a:cxn>
                  <a:cxn ang="0">
                    <a:pos x="12" y="0"/>
                  </a:cxn>
                  <a:cxn ang="0">
                    <a:pos x="12" y="2"/>
                  </a:cxn>
                  <a:cxn ang="0">
                    <a:pos x="8" y="2"/>
                  </a:cxn>
                  <a:cxn ang="0">
                    <a:pos x="8" y="8"/>
                  </a:cxn>
                  <a:cxn ang="0">
                    <a:pos x="8" y="8"/>
                  </a:cxn>
                  <a:cxn ang="0">
                    <a:pos x="4" y="12"/>
                  </a:cxn>
                  <a:cxn ang="0">
                    <a:pos x="0" y="14"/>
                  </a:cxn>
                  <a:cxn ang="0">
                    <a:pos x="0" y="16"/>
                  </a:cxn>
                  <a:cxn ang="0">
                    <a:pos x="4" y="16"/>
                  </a:cxn>
                  <a:cxn ang="0">
                    <a:pos x="10" y="14"/>
                  </a:cxn>
                  <a:cxn ang="0">
                    <a:pos x="16" y="20"/>
                  </a:cxn>
                  <a:cxn ang="0">
                    <a:pos x="16" y="44"/>
                  </a:cxn>
                  <a:cxn ang="0">
                    <a:pos x="20" y="46"/>
                  </a:cxn>
                  <a:cxn ang="0">
                    <a:pos x="20" y="50"/>
                  </a:cxn>
                  <a:cxn ang="0">
                    <a:pos x="22" y="54"/>
                  </a:cxn>
                  <a:cxn ang="0">
                    <a:pos x="24" y="54"/>
                  </a:cxn>
                  <a:cxn ang="0">
                    <a:pos x="26" y="52"/>
                  </a:cxn>
                  <a:cxn ang="0">
                    <a:pos x="26" y="52"/>
                  </a:cxn>
                  <a:cxn ang="0">
                    <a:pos x="32" y="54"/>
                  </a:cxn>
                  <a:cxn ang="0">
                    <a:pos x="38" y="52"/>
                  </a:cxn>
                  <a:cxn ang="0">
                    <a:pos x="38" y="52"/>
                  </a:cxn>
                  <a:cxn ang="0">
                    <a:pos x="42" y="52"/>
                  </a:cxn>
                  <a:cxn ang="0">
                    <a:pos x="54" y="44"/>
                  </a:cxn>
                  <a:cxn ang="0">
                    <a:pos x="56" y="40"/>
                  </a:cxn>
                  <a:cxn ang="0">
                    <a:pos x="56" y="42"/>
                  </a:cxn>
                  <a:cxn ang="0">
                    <a:pos x="58" y="42"/>
                  </a:cxn>
                  <a:cxn ang="0">
                    <a:pos x="60" y="38"/>
                  </a:cxn>
                  <a:cxn ang="0">
                    <a:pos x="60" y="38"/>
                  </a:cxn>
                  <a:cxn ang="0">
                    <a:pos x="66" y="36"/>
                  </a:cxn>
                  <a:cxn ang="0">
                    <a:pos x="66" y="36"/>
                  </a:cxn>
                </a:cxnLst>
                <a:rect l="0" t="0" r="r" b="b"/>
                <a:pathLst>
                  <a:path w="66" h="54">
                    <a:moveTo>
                      <a:pt x="66" y="36"/>
                    </a:moveTo>
                    <a:lnTo>
                      <a:pt x="66" y="36"/>
                    </a:lnTo>
                    <a:lnTo>
                      <a:pt x="60" y="34"/>
                    </a:lnTo>
                    <a:lnTo>
                      <a:pt x="56" y="32"/>
                    </a:lnTo>
                    <a:lnTo>
                      <a:pt x="56" y="32"/>
                    </a:lnTo>
                    <a:lnTo>
                      <a:pt x="52" y="26"/>
                    </a:lnTo>
                    <a:lnTo>
                      <a:pt x="52" y="18"/>
                    </a:lnTo>
                    <a:lnTo>
                      <a:pt x="46" y="18"/>
                    </a:lnTo>
                    <a:lnTo>
                      <a:pt x="46" y="18"/>
                    </a:lnTo>
                    <a:lnTo>
                      <a:pt x="52" y="12"/>
                    </a:lnTo>
                    <a:lnTo>
                      <a:pt x="52" y="6"/>
                    </a:lnTo>
                    <a:lnTo>
                      <a:pt x="48" y="2"/>
                    </a:lnTo>
                    <a:lnTo>
                      <a:pt x="42" y="6"/>
                    </a:lnTo>
                    <a:lnTo>
                      <a:pt x="40" y="2"/>
                    </a:lnTo>
                    <a:lnTo>
                      <a:pt x="40" y="2"/>
                    </a:lnTo>
                    <a:lnTo>
                      <a:pt x="36" y="0"/>
                    </a:lnTo>
                    <a:lnTo>
                      <a:pt x="30" y="0"/>
                    </a:lnTo>
                    <a:lnTo>
                      <a:pt x="26" y="2"/>
                    </a:lnTo>
                    <a:lnTo>
                      <a:pt x="22" y="4"/>
                    </a:lnTo>
                    <a:lnTo>
                      <a:pt x="18" y="0"/>
                    </a:lnTo>
                    <a:lnTo>
                      <a:pt x="12" y="0"/>
                    </a:lnTo>
                    <a:lnTo>
                      <a:pt x="12" y="2"/>
                    </a:lnTo>
                    <a:lnTo>
                      <a:pt x="8" y="2"/>
                    </a:lnTo>
                    <a:lnTo>
                      <a:pt x="8" y="8"/>
                    </a:lnTo>
                    <a:lnTo>
                      <a:pt x="8" y="8"/>
                    </a:lnTo>
                    <a:lnTo>
                      <a:pt x="4" y="12"/>
                    </a:lnTo>
                    <a:lnTo>
                      <a:pt x="0" y="14"/>
                    </a:lnTo>
                    <a:lnTo>
                      <a:pt x="0" y="16"/>
                    </a:lnTo>
                    <a:lnTo>
                      <a:pt x="4" y="16"/>
                    </a:lnTo>
                    <a:lnTo>
                      <a:pt x="10" y="14"/>
                    </a:lnTo>
                    <a:lnTo>
                      <a:pt x="16" y="20"/>
                    </a:lnTo>
                    <a:lnTo>
                      <a:pt x="16" y="44"/>
                    </a:lnTo>
                    <a:lnTo>
                      <a:pt x="20" y="46"/>
                    </a:lnTo>
                    <a:lnTo>
                      <a:pt x="20" y="50"/>
                    </a:lnTo>
                    <a:lnTo>
                      <a:pt x="22" y="54"/>
                    </a:lnTo>
                    <a:lnTo>
                      <a:pt x="24" y="54"/>
                    </a:lnTo>
                    <a:lnTo>
                      <a:pt x="26" y="52"/>
                    </a:lnTo>
                    <a:lnTo>
                      <a:pt x="26" y="52"/>
                    </a:lnTo>
                    <a:lnTo>
                      <a:pt x="32" y="54"/>
                    </a:lnTo>
                    <a:lnTo>
                      <a:pt x="38" y="52"/>
                    </a:lnTo>
                    <a:lnTo>
                      <a:pt x="38" y="52"/>
                    </a:lnTo>
                    <a:lnTo>
                      <a:pt x="42" y="52"/>
                    </a:lnTo>
                    <a:lnTo>
                      <a:pt x="54" y="44"/>
                    </a:lnTo>
                    <a:lnTo>
                      <a:pt x="56" y="40"/>
                    </a:lnTo>
                    <a:lnTo>
                      <a:pt x="56" y="42"/>
                    </a:lnTo>
                    <a:lnTo>
                      <a:pt x="58" y="42"/>
                    </a:lnTo>
                    <a:lnTo>
                      <a:pt x="60" y="38"/>
                    </a:lnTo>
                    <a:lnTo>
                      <a:pt x="60" y="38"/>
                    </a:lnTo>
                    <a:lnTo>
                      <a:pt x="66" y="36"/>
                    </a:lnTo>
                    <a:lnTo>
                      <a:pt x="66" y="3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6" name="Freeform 1394">
                <a:extLst>
                  <a:ext uri="{FF2B5EF4-FFF2-40B4-BE49-F238E27FC236}">
                    <a16:creationId xmlns:a16="http://schemas.microsoft.com/office/drawing/2014/main" id="{1FCB322F-13AF-44F4-96A7-674C51338CEF}"/>
                  </a:ext>
                </a:extLst>
              </p:cNvPr>
              <p:cNvSpPr>
                <a:spLocks/>
              </p:cNvSpPr>
              <p:nvPr/>
            </p:nvSpPr>
            <p:spPr bwMode="auto">
              <a:xfrm>
                <a:off x="2186" y="2264"/>
                <a:ext cx="62" cy="46"/>
              </a:xfrm>
              <a:custGeom>
                <a:avLst/>
                <a:gdLst/>
                <a:ahLst/>
                <a:cxnLst>
                  <a:cxn ang="0">
                    <a:pos x="56" y="6"/>
                  </a:cxn>
                  <a:cxn ang="0">
                    <a:pos x="52" y="6"/>
                  </a:cxn>
                  <a:cxn ang="0">
                    <a:pos x="52" y="4"/>
                  </a:cxn>
                  <a:cxn ang="0">
                    <a:pos x="50" y="2"/>
                  </a:cxn>
                  <a:cxn ang="0">
                    <a:pos x="50" y="2"/>
                  </a:cxn>
                  <a:cxn ang="0">
                    <a:pos x="46" y="4"/>
                  </a:cxn>
                  <a:cxn ang="0">
                    <a:pos x="42" y="6"/>
                  </a:cxn>
                  <a:cxn ang="0">
                    <a:pos x="40" y="4"/>
                  </a:cxn>
                  <a:cxn ang="0">
                    <a:pos x="26" y="0"/>
                  </a:cxn>
                  <a:cxn ang="0">
                    <a:pos x="28" y="0"/>
                  </a:cxn>
                  <a:cxn ang="0">
                    <a:pos x="24" y="0"/>
                  </a:cxn>
                  <a:cxn ang="0">
                    <a:pos x="24" y="0"/>
                  </a:cxn>
                  <a:cxn ang="0">
                    <a:pos x="20" y="6"/>
                  </a:cxn>
                  <a:cxn ang="0">
                    <a:pos x="16" y="10"/>
                  </a:cxn>
                  <a:cxn ang="0">
                    <a:pos x="16" y="12"/>
                  </a:cxn>
                  <a:cxn ang="0">
                    <a:pos x="16" y="12"/>
                  </a:cxn>
                  <a:cxn ang="0">
                    <a:pos x="20" y="10"/>
                  </a:cxn>
                  <a:cxn ang="0">
                    <a:pos x="26" y="10"/>
                  </a:cxn>
                  <a:cxn ang="0">
                    <a:pos x="34" y="10"/>
                  </a:cxn>
                  <a:cxn ang="0">
                    <a:pos x="34" y="12"/>
                  </a:cxn>
                  <a:cxn ang="0">
                    <a:pos x="28" y="12"/>
                  </a:cxn>
                  <a:cxn ang="0">
                    <a:pos x="24" y="16"/>
                  </a:cxn>
                  <a:cxn ang="0">
                    <a:pos x="22" y="12"/>
                  </a:cxn>
                  <a:cxn ang="0">
                    <a:pos x="22" y="12"/>
                  </a:cxn>
                  <a:cxn ang="0">
                    <a:pos x="10" y="20"/>
                  </a:cxn>
                  <a:cxn ang="0">
                    <a:pos x="4" y="24"/>
                  </a:cxn>
                  <a:cxn ang="0">
                    <a:pos x="0" y="28"/>
                  </a:cxn>
                  <a:cxn ang="0">
                    <a:pos x="4" y="28"/>
                  </a:cxn>
                  <a:cxn ang="0">
                    <a:pos x="2" y="30"/>
                  </a:cxn>
                  <a:cxn ang="0">
                    <a:pos x="2" y="40"/>
                  </a:cxn>
                  <a:cxn ang="0">
                    <a:pos x="4" y="40"/>
                  </a:cxn>
                  <a:cxn ang="0">
                    <a:pos x="6" y="44"/>
                  </a:cxn>
                  <a:cxn ang="0">
                    <a:pos x="10" y="46"/>
                  </a:cxn>
                  <a:cxn ang="0">
                    <a:pos x="10" y="42"/>
                  </a:cxn>
                  <a:cxn ang="0">
                    <a:pos x="14" y="42"/>
                  </a:cxn>
                  <a:cxn ang="0">
                    <a:pos x="14" y="42"/>
                  </a:cxn>
                  <a:cxn ang="0">
                    <a:pos x="20" y="34"/>
                  </a:cxn>
                  <a:cxn ang="0">
                    <a:pos x="24" y="30"/>
                  </a:cxn>
                  <a:cxn ang="0">
                    <a:pos x="24" y="26"/>
                  </a:cxn>
                  <a:cxn ang="0">
                    <a:pos x="26" y="28"/>
                  </a:cxn>
                  <a:cxn ang="0">
                    <a:pos x="28" y="24"/>
                  </a:cxn>
                  <a:cxn ang="0">
                    <a:pos x="28" y="28"/>
                  </a:cxn>
                  <a:cxn ang="0">
                    <a:pos x="32" y="28"/>
                  </a:cxn>
                  <a:cxn ang="0">
                    <a:pos x="32" y="24"/>
                  </a:cxn>
                  <a:cxn ang="0">
                    <a:pos x="34" y="24"/>
                  </a:cxn>
                  <a:cxn ang="0">
                    <a:pos x="34" y="24"/>
                  </a:cxn>
                  <a:cxn ang="0">
                    <a:pos x="40" y="22"/>
                  </a:cxn>
                  <a:cxn ang="0">
                    <a:pos x="48" y="18"/>
                  </a:cxn>
                  <a:cxn ang="0">
                    <a:pos x="54" y="14"/>
                  </a:cxn>
                  <a:cxn ang="0">
                    <a:pos x="60" y="14"/>
                  </a:cxn>
                  <a:cxn ang="0">
                    <a:pos x="62" y="12"/>
                  </a:cxn>
                  <a:cxn ang="0">
                    <a:pos x="62" y="12"/>
                  </a:cxn>
                  <a:cxn ang="0">
                    <a:pos x="58" y="12"/>
                  </a:cxn>
                  <a:cxn ang="0">
                    <a:pos x="60" y="10"/>
                  </a:cxn>
                  <a:cxn ang="0">
                    <a:pos x="56" y="6"/>
                  </a:cxn>
                </a:cxnLst>
                <a:rect l="0" t="0" r="r" b="b"/>
                <a:pathLst>
                  <a:path w="62" h="46">
                    <a:moveTo>
                      <a:pt x="56" y="6"/>
                    </a:moveTo>
                    <a:lnTo>
                      <a:pt x="52" y="6"/>
                    </a:lnTo>
                    <a:lnTo>
                      <a:pt x="52" y="4"/>
                    </a:lnTo>
                    <a:lnTo>
                      <a:pt x="50" y="2"/>
                    </a:lnTo>
                    <a:lnTo>
                      <a:pt x="50" y="2"/>
                    </a:lnTo>
                    <a:lnTo>
                      <a:pt x="46" y="4"/>
                    </a:lnTo>
                    <a:lnTo>
                      <a:pt x="42" y="6"/>
                    </a:lnTo>
                    <a:lnTo>
                      <a:pt x="40" y="4"/>
                    </a:lnTo>
                    <a:lnTo>
                      <a:pt x="26" y="0"/>
                    </a:lnTo>
                    <a:lnTo>
                      <a:pt x="28" y="0"/>
                    </a:lnTo>
                    <a:lnTo>
                      <a:pt x="24" y="0"/>
                    </a:lnTo>
                    <a:lnTo>
                      <a:pt x="24" y="0"/>
                    </a:lnTo>
                    <a:lnTo>
                      <a:pt x="20" y="6"/>
                    </a:lnTo>
                    <a:lnTo>
                      <a:pt x="16" y="10"/>
                    </a:lnTo>
                    <a:lnTo>
                      <a:pt x="16" y="12"/>
                    </a:lnTo>
                    <a:lnTo>
                      <a:pt x="16" y="12"/>
                    </a:lnTo>
                    <a:lnTo>
                      <a:pt x="20" y="10"/>
                    </a:lnTo>
                    <a:lnTo>
                      <a:pt x="26" y="10"/>
                    </a:lnTo>
                    <a:lnTo>
                      <a:pt x="34" y="10"/>
                    </a:lnTo>
                    <a:lnTo>
                      <a:pt x="34" y="12"/>
                    </a:lnTo>
                    <a:lnTo>
                      <a:pt x="28" y="12"/>
                    </a:lnTo>
                    <a:lnTo>
                      <a:pt x="24" y="16"/>
                    </a:lnTo>
                    <a:lnTo>
                      <a:pt x="22" y="12"/>
                    </a:lnTo>
                    <a:lnTo>
                      <a:pt x="22" y="12"/>
                    </a:lnTo>
                    <a:lnTo>
                      <a:pt x="10" y="20"/>
                    </a:lnTo>
                    <a:lnTo>
                      <a:pt x="4" y="24"/>
                    </a:lnTo>
                    <a:lnTo>
                      <a:pt x="0" y="28"/>
                    </a:lnTo>
                    <a:lnTo>
                      <a:pt x="4" y="28"/>
                    </a:lnTo>
                    <a:lnTo>
                      <a:pt x="2" y="30"/>
                    </a:lnTo>
                    <a:lnTo>
                      <a:pt x="2" y="40"/>
                    </a:lnTo>
                    <a:lnTo>
                      <a:pt x="4" y="40"/>
                    </a:lnTo>
                    <a:lnTo>
                      <a:pt x="6" y="44"/>
                    </a:lnTo>
                    <a:lnTo>
                      <a:pt x="10" y="46"/>
                    </a:lnTo>
                    <a:lnTo>
                      <a:pt x="10" y="42"/>
                    </a:lnTo>
                    <a:lnTo>
                      <a:pt x="14" y="42"/>
                    </a:lnTo>
                    <a:lnTo>
                      <a:pt x="14" y="42"/>
                    </a:lnTo>
                    <a:lnTo>
                      <a:pt x="20" y="34"/>
                    </a:lnTo>
                    <a:lnTo>
                      <a:pt x="24" y="30"/>
                    </a:lnTo>
                    <a:lnTo>
                      <a:pt x="24" y="26"/>
                    </a:lnTo>
                    <a:lnTo>
                      <a:pt x="26" y="28"/>
                    </a:lnTo>
                    <a:lnTo>
                      <a:pt x="28" y="24"/>
                    </a:lnTo>
                    <a:lnTo>
                      <a:pt x="28" y="28"/>
                    </a:lnTo>
                    <a:lnTo>
                      <a:pt x="32" y="28"/>
                    </a:lnTo>
                    <a:lnTo>
                      <a:pt x="32" y="24"/>
                    </a:lnTo>
                    <a:lnTo>
                      <a:pt x="34" y="24"/>
                    </a:lnTo>
                    <a:lnTo>
                      <a:pt x="34" y="24"/>
                    </a:lnTo>
                    <a:lnTo>
                      <a:pt x="40" y="22"/>
                    </a:lnTo>
                    <a:lnTo>
                      <a:pt x="48" y="18"/>
                    </a:lnTo>
                    <a:lnTo>
                      <a:pt x="54" y="14"/>
                    </a:lnTo>
                    <a:lnTo>
                      <a:pt x="60" y="14"/>
                    </a:lnTo>
                    <a:lnTo>
                      <a:pt x="62" y="12"/>
                    </a:lnTo>
                    <a:lnTo>
                      <a:pt x="62" y="12"/>
                    </a:lnTo>
                    <a:lnTo>
                      <a:pt x="58" y="12"/>
                    </a:lnTo>
                    <a:lnTo>
                      <a:pt x="60" y="10"/>
                    </a:lnTo>
                    <a:lnTo>
                      <a:pt x="56"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7" name="Freeform 1395">
                <a:extLst>
                  <a:ext uri="{FF2B5EF4-FFF2-40B4-BE49-F238E27FC236}">
                    <a16:creationId xmlns:a16="http://schemas.microsoft.com/office/drawing/2014/main" id="{833AB1DA-8CA4-4AAC-A5F6-ECB4ED7DEE52}"/>
                  </a:ext>
                </a:extLst>
              </p:cNvPr>
              <p:cNvSpPr>
                <a:spLocks/>
              </p:cNvSpPr>
              <p:nvPr/>
            </p:nvSpPr>
            <p:spPr bwMode="auto">
              <a:xfrm>
                <a:off x="1288" y="1666"/>
                <a:ext cx="206" cy="296"/>
              </a:xfrm>
              <a:custGeom>
                <a:avLst/>
                <a:gdLst/>
                <a:ahLst/>
                <a:cxnLst>
                  <a:cxn ang="0">
                    <a:pos x="202" y="286"/>
                  </a:cxn>
                  <a:cxn ang="0">
                    <a:pos x="196" y="280"/>
                  </a:cxn>
                  <a:cxn ang="0">
                    <a:pos x="194" y="274"/>
                  </a:cxn>
                  <a:cxn ang="0">
                    <a:pos x="182" y="274"/>
                  </a:cxn>
                  <a:cxn ang="0">
                    <a:pos x="170" y="278"/>
                  </a:cxn>
                  <a:cxn ang="0">
                    <a:pos x="168" y="268"/>
                  </a:cxn>
                  <a:cxn ang="0">
                    <a:pos x="166" y="258"/>
                  </a:cxn>
                  <a:cxn ang="0">
                    <a:pos x="148" y="242"/>
                  </a:cxn>
                  <a:cxn ang="0">
                    <a:pos x="134" y="210"/>
                  </a:cxn>
                  <a:cxn ang="0">
                    <a:pos x="134" y="202"/>
                  </a:cxn>
                  <a:cxn ang="0">
                    <a:pos x="132" y="198"/>
                  </a:cxn>
                  <a:cxn ang="0">
                    <a:pos x="110" y="176"/>
                  </a:cxn>
                  <a:cxn ang="0">
                    <a:pos x="100" y="162"/>
                  </a:cxn>
                  <a:cxn ang="0">
                    <a:pos x="100" y="150"/>
                  </a:cxn>
                  <a:cxn ang="0">
                    <a:pos x="106" y="140"/>
                  </a:cxn>
                  <a:cxn ang="0">
                    <a:pos x="104" y="128"/>
                  </a:cxn>
                  <a:cxn ang="0">
                    <a:pos x="98" y="130"/>
                  </a:cxn>
                  <a:cxn ang="0">
                    <a:pos x="98" y="126"/>
                  </a:cxn>
                  <a:cxn ang="0">
                    <a:pos x="88" y="100"/>
                  </a:cxn>
                  <a:cxn ang="0">
                    <a:pos x="86" y="94"/>
                  </a:cxn>
                  <a:cxn ang="0">
                    <a:pos x="58" y="88"/>
                  </a:cxn>
                  <a:cxn ang="0">
                    <a:pos x="58" y="82"/>
                  </a:cxn>
                  <a:cxn ang="0">
                    <a:pos x="58" y="78"/>
                  </a:cxn>
                  <a:cxn ang="0">
                    <a:pos x="56" y="70"/>
                  </a:cxn>
                  <a:cxn ang="0">
                    <a:pos x="56" y="30"/>
                  </a:cxn>
                  <a:cxn ang="0">
                    <a:pos x="42" y="28"/>
                  </a:cxn>
                  <a:cxn ang="0">
                    <a:pos x="30" y="18"/>
                  </a:cxn>
                  <a:cxn ang="0">
                    <a:pos x="0" y="0"/>
                  </a:cxn>
                  <a:cxn ang="0">
                    <a:pos x="6" y="292"/>
                  </a:cxn>
                  <a:cxn ang="0">
                    <a:pos x="22" y="288"/>
                  </a:cxn>
                  <a:cxn ang="0">
                    <a:pos x="24" y="296"/>
                  </a:cxn>
                  <a:cxn ang="0">
                    <a:pos x="206" y="296"/>
                  </a:cxn>
                </a:cxnLst>
                <a:rect l="0" t="0" r="r" b="b"/>
                <a:pathLst>
                  <a:path w="206" h="296">
                    <a:moveTo>
                      <a:pt x="206" y="296"/>
                    </a:moveTo>
                    <a:lnTo>
                      <a:pt x="202" y="286"/>
                    </a:lnTo>
                    <a:lnTo>
                      <a:pt x="200" y="284"/>
                    </a:lnTo>
                    <a:lnTo>
                      <a:pt x="196" y="280"/>
                    </a:lnTo>
                    <a:lnTo>
                      <a:pt x="198" y="276"/>
                    </a:lnTo>
                    <a:lnTo>
                      <a:pt x="194" y="274"/>
                    </a:lnTo>
                    <a:lnTo>
                      <a:pt x="188" y="276"/>
                    </a:lnTo>
                    <a:lnTo>
                      <a:pt x="182" y="274"/>
                    </a:lnTo>
                    <a:lnTo>
                      <a:pt x="180" y="276"/>
                    </a:lnTo>
                    <a:lnTo>
                      <a:pt x="170" y="278"/>
                    </a:lnTo>
                    <a:lnTo>
                      <a:pt x="170" y="270"/>
                    </a:lnTo>
                    <a:lnTo>
                      <a:pt x="168" y="268"/>
                    </a:lnTo>
                    <a:lnTo>
                      <a:pt x="168" y="266"/>
                    </a:lnTo>
                    <a:lnTo>
                      <a:pt x="166" y="258"/>
                    </a:lnTo>
                    <a:lnTo>
                      <a:pt x="150" y="240"/>
                    </a:lnTo>
                    <a:lnTo>
                      <a:pt x="148" y="242"/>
                    </a:lnTo>
                    <a:lnTo>
                      <a:pt x="140" y="240"/>
                    </a:lnTo>
                    <a:lnTo>
                      <a:pt x="134" y="210"/>
                    </a:lnTo>
                    <a:lnTo>
                      <a:pt x="130" y="208"/>
                    </a:lnTo>
                    <a:lnTo>
                      <a:pt x="134" y="202"/>
                    </a:lnTo>
                    <a:lnTo>
                      <a:pt x="134" y="202"/>
                    </a:lnTo>
                    <a:lnTo>
                      <a:pt x="132" y="198"/>
                    </a:lnTo>
                    <a:lnTo>
                      <a:pt x="132" y="194"/>
                    </a:lnTo>
                    <a:lnTo>
                      <a:pt x="110" y="176"/>
                    </a:lnTo>
                    <a:lnTo>
                      <a:pt x="112" y="172"/>
                    </a:lnTo>
                    <a:lnTo>
                      <a:pt x="100" y="162"/>
                    </a:lnTo>
                    <a:lnTo>
                      <a:pt x="104" y="156"/>
                    </a:lnTo>
                    <a:lnTo>
                      <a:pt x="100" y="150"/>
                    </a:lnTo>
                    <a:lnTo>
                      <a:pt x="102" y="150"/>
                    </a:lnTo>
                    <a:lnTo>
                      <a:pt x="106" y="140"/>
                    </a:lnTo>
                    <a:lnTo>
                      <a:pt x="102" y="132"/>
                    </a:lnTo>
                    <a:lnTo>
                      <a:pt x="104" y="128"/>
                    </a:lnTo>
                    <a:lnTo>
                      <a:pt x="102" y="126"/>
                    </a:lnTo>
                    <a:lnTo>
                      <a:pt x="98" y="130"/>
                    </a:lnTo>
                    <a:lnTo>
                      <a:pt x="96" y="130"/>
                    </a:lnTo>
                    <a:lnTo>
                      <a:pt x="98" y="126"/>
                    </a:lnTo>
                    <a:lnTo>
                      <a:pt x="88" y="128"/>
                    </a:lnTo>
                    <a:lnTo>
                      <a:pt x="88" y="100"/>
                    </a:lnTo>
                    <a:lnTo>
                      <a:pt x="84" y="96"/>
                    </a:lnTo>
                    <a:lnTo>
                      <a:pt x="86" y="94"/>
                    </a:lnTo>
                    <a:lnTo>
                      <a:pt x="58" y="94"/>
                    </a:lnTo>
                    <a:lnTo>
                      <a:pt x="58" y="88"/>
                    </a:lnTo>
                    <a:lnTo>
                      <a:pt x="60" y="84"/>
                    </a:lnTo>
                    <a:lnTo>
                      <a:pt x="58" y="82"/>
                    </a:lnTo>
                    <a:lnTo>
                      <a:pt x="58" y="78"/>
                    </a:lnTo>
                    <a:lnTo>
                      <a:pt x="58" y="78"/>
                    </a:lnTo>
                    <a:lnTo>
                      <a:pt x="56" y="74"/>
                    </a:lnTo>
                    <a:lnTo>
                      <a:pt x="56" y="70"/>
                    </a:lnTo>
                    <a:lnTo>
                      <a:pt x="54" y="56"/>
                    </a:lnTo>
                    <a:lnTo>
                      <a:pt x="56" y="30"/>
                    </a:lnTo>
                    <a:lnTo>
                      <a:pt x="56" y="28"/>
                    </a:lnTo>
                    <a:lnTo>
                      <a:pt x="42" y="28"/>
                    </a:lnTo>
                    <a:lnTo>
                      <a:pt x="32" y="16"/>
                    </a:lnTo>
                    <a:lnTo>
                      <a:pt x="30" y="18"/>
                    </a:lnTo>
                    <a:lnTo>
                      <a:pt x="20" y="4"/>
                    </a:lnTo>
                    <a:lnTo>
                      <a:pt x="0" y="0"/>
                    </a:lnTo>
                    <a:lnTo>
                      <a:pt x="0" y="290"/>
                    </a:lnTo>
                    <a:lnTo>
                      <a:pt x="6" y="292"/>
                    </a:lnTo>
                    <a:lnTo>
                      <a:pt x="8" y="290"/>
                    </a:lnTo>
                    <a:lnTo>
                      <a:pt x="22" y="288"/>
                    </a:lnTo>
                    <a:lnTo>
                      <a:pt x="22" y="296"/>
                    </a:lnTo>
                    <a:lnTo>
                      <a:pt x="24" y="296"/>
                    </a:lnTo>
                    <a:lnTo>
                      <a:pt x="24" y="296"/>
                    </a:lnTo>
                    <a:lnTo>
                      <a:pt x="206" y="296"/>
                    </a:lnTo>
                    <a:lnTo>
                      <a:pt x="206" y="29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8" name="Freeform 1396">
                <a:extLst>
                  <a:ext uri="{FF2B5EF4-FFF2-40B4-BE49-F238E27FC236}">
                    <a16:creationId xmlns:a16="http://schemas.microsoft.com/office/drawing/2014/main" id="{3E7F08DE-77C7-4E4E-AF70-0054FF2DA507}"/>
                  </a:ext>
                </a:extLst>
              </p:cNvPr>
              <p:cNvSpPr>
                <a:spLocks/>
              </p:cNvSpPr>
              <p:nvPr/>
            </p:nvSpPr>
            <p:spPr bwMode="auto">
              <a:xfrm>
                <a:off x="1342" y="1580"/>
                <a:ext cx="662" cy="382"/>
              </a:xfrm>
              <a:custGeom>
                <a:avLst/>
                <a:gdLst/>
                <a:ahLst/>
                <a:cxnLst>
                  <a:cxn ang="0">
                    <a:pos x="508" y="346"/>
                  </a:cxn>
                  <a:cxn ang="0">
                    <a:pos x="528" y="328"/>
                  </a:cxn>
                  <a:cxn ang="0">
                    <a:pos x="548" y="306"/>
                  </a:cxn>
                  <a:cxn ang="0">
                    <a:pos x="528" y="280"/>
                  </a:cxn>
                  <a:cxn ang="0">
                    <a:pos x="540" y="278"/>
                  </a:cxn>
                  <a:cxn ang="0">
                    <a:pos x="568" y="274"/>
                  </a:cxn>
                  <a:cxn ang="0">
                    <a:pos x="592" y="248"/>
                  </a:cxn>
                  <a:cxn ang="0">
                    <a:pos x="564" y="216"/>
                  </a:cxn>
                  <a:cxn ang="0">
                    <a:pos x="604" y="204"/>
                  </a:cxn>
                  <a:cxn ang="0">
                    <a:pos x="624" y="200"/>
                  </a:cxn>
                  <a:cxn ang="0">
                    <a:pos x="646" y="194"/>
                  </a:cxn>
                  <a:cxn ang="0">
                    <a:pos x="650" y="142"/>
                  </a:cxn>
                  <a:cxn ang="0">
                    <a:pos x="662" y="118"/>
                  </a:cxn>
                  <a:cxn ang="0">
                    <a:pos x="648" y="94"/>
                  </a:cxn>
                  <a:cxn ang="0">
                    <a:pos x="612" y="102"/>
                  </a:cxn>
                  <a:cxn ang="0">
                    <a:pos x="608" y="124"/>
                  </a:cxn>
                  <a:cxn ang="0">
                    <a:pos x="576" y="148"/>
                  </a:cxn>
                  <a:cxn ang="0">
                    <a:pos x="574" y="110"/>
                  </a:cxn>
                  <a:cxn ang="0">
                    <a:pos x="554" y="136"/>
                  </a:cxn>
                  <a:cxn ang="0">
                    <a:pos x="528" y="82"/>
                  </a:cxn>
                  <a:cxn ang="0">
                    <a:pos x="524" y="46"/>
                  </a:cxn>
                  <a:cxn ang="0">
                    <a:pos x="488" y="14"/>
                  </a:cxn>
                  <a:cxn ang="0">
                    <a:pos x="480" y="72"/>
                  </a:cxn>
                  <a:cxn ang="0">
                    <a:pos x="514" y="94"/>
                  </a:cxn>
                  <a:cxn ang="0">
                    <a:pos x="504" y="114"/>
                  </a:cxn>
                  <a:cxn ang="0">
                    <a:pos x="502" y="144"/>
                  </a:cxn>
                  <a:cxn ang="0">
                    <a:pos x="492" y="166"/>
                  </a:cxn>
                  <a:cxn ang="0">
                    <a:pos x="486" y="138"/>
                  </a:cxn>
                  <a:cxn ang="0">
                    <a:pos x="468" y="132"/>
                  </a:cxn>
                  <a:cxn ang="0">
                    <a:pos x="464" y="148"/>
                  </a:cxn>
                  <a:cxn ang="0">
                    <a:pos x="452" y="156"/>
                  </a:cxn>
                  <a:cxn ang="0">
                    <a:pos x="382" y="144"/>
                  </a:cxn>
                  <a:cxn ang="0">
                    <a:pos x="344" y="124"/>
                  </a:cxn>
                  <a:cxn ang="0">
                    <a:pos x="346" y="134"/>
                  </a:cxn>
                  <a:cxn ang="0">
                    <a:pos x="364" y="132"/>
                  </a:cxn>
                  <a:cxn ang="0">
                    <a:pos x="348" y="176"/>
                  </a:cxn>
                  <a:cxn ang="0">
                    <a:pos x="344" y="176"/>
                  </a:cxn>
                  <a:cxn ang="0">
                    <a:pos x="332" y="162"/>
                  </a:cxn>
                  <a:cxn ang="0">
                    <a:pos x="306" y="154"/>
                  </a:cxn>
                  <a:cxn ang="0">
                    <a:pos x="262" y="154"/>
                  </a:cxn>
                  <a:cxn ang="0">
                    <a:pos x="260" y="118"/>
                  </a:cxn>
                  <a:cxn ang="0">
                    <a:pos x="232" y="114"/>
                  </a:cxn>
                  <a:cxn ang="0">
                    <a:pos x="162" y="82"/>
                  </a:cxn>
                  <a:cxn ang="0">
                    <a:pos x="144" y="86"/>
                  </a:cxn>
                  <a:cxn ang="0">
                    <a:pos x="136" y="76"/>
                  </a:cxn>
                  <a:cxn ang="0">
                    <a:pos x="124" y="96"/>
                  </a:cxn>
                  <a:cxn ang="0">
                    <a:pos x="100" y="72"/>
                  </a:cxn>
                  <a:cxn ang="0">
                    <a:pos x="66" y="104"/>
                  </a:cxn>
                  <a:cxn ang="0">
                    <a:pos x="56" y="94"/>
                  </a:cxn>
                  <a:cxn ang="0">
                    <a:pos x="52" y="86"/>
                  </a:cxn>
                  <a:cxn ang="0">
                    <a:pos x="26" y="118"/>
                  </a:cxn>
                  <a:cxn ang="0">
                    <a:pos x="2" y="116"/>
                  </a:cxn>
                  <a:cxn ang="0">
                    <a:pos x="32" y="180"/>
                  </a:cxn>
                  <a:cxn ang="0">
                    <a:pos x="48" y="218"/>
                  </a:cxn>
                  <a:cxn ang="0">
                    <a:pos x="78" y="280"/>
                  </a:cxn>
                  <a:cxn ang="0">
                    <a:pos x="114" y="352"/>
                  </a:cxn>
                  <a:cxn ang="0">
                    <a:pos x="142" y="366"/>
                  </a:cxn>
                </a:cxnLst>
                <a:rect l="0" t="0" r="r" b="b"/>
                <a:pathLst>
                  <a:path w="662" h="382">
                    <a:moveTo>
                      <a:pt x="502" y="382"/>
                    </a:moveTo>
                    <a:lnTo>
                      <a:pt x="502" y="370"/>
                    </a:lnTo>
                    <a:lnTo>
                      <a:pt x="504" y="370"/>
                    </a:lnTo>
                    <a:lnTo>
                      <a:pt x="504" y="360"/>
                    </a:lnTo>
                    <a:lnTo>
                      <a:pt x="506" y="360"/>
                    </a:lnTo>
                    <a:lnTo>
                      <a:pt x="508" y="352"/>
                    </a:lnTo>
                    <a:lnTo>
                      <a:pt x="504" y="348"/>
                    </a:lnTo>
                    <a:lnTo>
                      <a:pt x="504" y="348"/>
                    </a:lnTo>
                    <a:lnTo>
                      <a:pt x="508" y="346"/>
                    </a:lnTo>
                    <a:lnTo>
                      <a:pt x="512" y="344"/>
                    </a:lnTo>
                    <a:lnTo>
                      <a:pt x="516" y="340"/>
                    </a:lnTo>
                    <a:lnTo>
                      <a:pt x="518" y="336"/>
                    </a:lnTo>
                    <a:lnTo>
                      <a:pt x="516" y="332"/>
                    </a:lnTo>
                    <a:lnTo>
                      <a:pt x="520" y="332"/>
                    </a:lnTo>
                    <a:lnTo>
                      <a:pt x="522" y="324"/>
                    </a:lnTo>
                    <a:lnTo>
                      <a:pt x="524" y="324"/>
                    </a:lnTo>
                    <a:lnTo>
                      <a:pt x="528" y="328"/>
                    </a:lnTo>
                    <a:lnTo>
                      <a:pt x="528" y="328"/>
                    </a:lnTo>
                    <a:lnTo>
                      <a:pt x="526" y="322"/>
                    </a:lnTo>
                    <a:lnTo>
                      <a:pt x="526" y="314"/>
                    </a:lnTo>
                    <a:lnTo>
                      <a:pt x="534" y="314"/>
                    </a:lnTo>
                    <a:lnTo>
                      <a:pt x="530" y="312"/>
                    </a:lnTo>
                    <a:lnTo>
                      <a:pt x="528" y="310"/>
                    </a:lnTo>
                    <a:lnTo>
                      <a:pt x="528" y="308"/>
                    </a:lnTo>
                    <a:lnTo>
                      <a:pt x="528" y="308"/>
                    </a:lnTo>
                    <a:lnTo>
                      <a:pt x="540" y="308"/>
                    </a:lnTo>
                    <a:lnTo>
                      <a:pt x="548" y="306"/>
                    </a:lnTo>
                    <a:lnTo>
                      <a:pt x="550" y="302"/>
                    </a:lnTo>
                    <a:lnTo>
                      <a:pt x="550" y="302"/>
                    </a:lnTo>
                    <a:lnTo>
                      <a:pt x="550" y="296"/>
                    </a:lnTo>
                    <a:lnTo>
                      <a:pt x="548" y="288"/>
                    </a:lnTo>
                    <a:lnTo>
                      <a:pt x="546" y="290"/>
                    </a:lnTo>
                    <a:lnTo>
                      <a:pt x="536" y="282"/>
                    </a:lnTo>
                    <a:lnTo>
                      <a:pt x="530" y="286"/>
                    </a:lnTo>
                    <a:lnTo>
                      <a:pt x="532" y="282"/>
                    </a:lnTo>
                    <a:lnTo>
                      <a:pt x="528" y="280"/>
                    </a:lnTo>
                    <a:lnTo>
                      <a:pt x="528" y="282"/>
                    </a:lnTo>
                    <a:lnTo>
                      <a:pt x="526" y="280"/>
                    </a:lnTo>
                    <a:lnTo>
                      <a:pt x="518" y="274"/>
                    </a:lnTo>
                    <a:lnTo>
                      <a:pt x="518" y="278"/>
                    </a:lnTo>
                    <a:lnTo>
                      <a:pt x="518" y="278"/>
                    </a:lnTo>
                    <a:lnTo>
                      <a:pt x="514" y="276"/>
                    </a:lnTo>
                    <a:lnTo>
                      <a:pt x="516" y="272"/>
                    </a:lnTo>
                    <a:lnTo>
                      <a:pt x="532" y="280"/>
                    </a:lnTo>
                    <a:lnTo>
                      <a:pt x="540" y="278"/>
                    </a:lnTo>
                    <a:lnTo>
                      <a:pt x="540" y="282"/>
                    </a:lnTo>
                    <a:lnTo>
                      <a:pt x="550" y="288"/>
                    </a:lnTo>
                    <a:lnTo>
                      <a:pt x="556" y="282"/>
                    </a:lnTo>
                    <a:lnTo>
                      <a:pt x="558" y="278"/>
                    </a:lnTo>
                    <a:lnTo>
                      <a:pt x="558" y="276"/>
                    </a:lnTo>
                    <a:lnTo>
                      <a:pt x="558" y="274"/>
                    </a:lnTo>
                    <a:lnTo>
                      <a:pt x="560" y="276"/>
                    </a:lnTo>
                    <a:lnTo>
                      <a:pt x="560" y="268"/>
                    </a:lnTo>
                    <a:lnTo>
                      <a:pt x="568" y="274"/>
                    </a:lnTo>
                    <a:lnTo>
                      <a:pt x="570" y="272"/>
                    </a:lnTo>
                    <a:lnTo>
                      <a:pt x="574" y="274"/>
                    </a:lnTo>
                    <a:lnTo>
                      <a:pt x="574" y="274"/>
                    </a:lnTo>
                    <a:lnTo>
                      <a:pt x="582" y="268"/>
                    </a:lnTo>
                    <a:lnTo>
                      <a:pt x="584" y="262"/>
                    </a:lnTo>
                    <a:lnTo>
                      <a:pt x="584" y="258"/>
                    </a:lnTo>
                    <a:lnTo>
                      <a:pt x="588" y="256"/>
                    </a:lnTo>
                    <a:lnTo>
                      <a:pt x="588" y="256"/>
                    </a:lnTo>
                    <a:lnTo>
                      <a:pt x="592" y="248"/>
                    </a:lnTo>
                    <a:lnTo>
                      <a:pt x="596" y="238"/>
                    </a:lnTo>
                    <a:lnTo>
                      <a:pt x="570" y="234"/>
                    </a:lnTo>
                    <a:lnTo>
                      <a:pt x="570" y="234"/>
                    </a:lnTo>
                    <a:lnTo>
                      <a:pt x="564" y="224"/>
                    </a:lnTo>
                    <a:lnTo>
                      <a:pt x="560" y="220"/>
                    </a:lnTo>
                    <a:lnTo>
                      <a:pt x="556" y="218"/>
                    </a:lnTo>
                    <a:lnTo>
                      <a:pt x="558" y="216"/>
                    </a:lnTo>
                    <a:lnTo>
                      <a:pt x="558" y="216"/>
                    </a:lnTo>
                    <a:lnTo>
                      <a:pt x="564" y="216"/>
                    </a:lnTo>
                    <a:lnTo>
                      <a:pt x="572" y="220"/>
                    </a:lnTo>
                    <a:lnTo>
                      <a:pt x="578" y="228"/>
                    </a:lnTo>
                    <a:lnTo>
                      <a:pt x="582" y="234"/>
                    </a:lnTo>
                    <a:lnTo>
                      <a:pt x="592" y="232"/>
                    </a:lnTo>
                    <a:lnTo>
                      <a:pt x="592" y="232"/>
                    </a:lnTo>
                    <a:lnTo>
                      <a:pt x="600" y="218"/>
                    </a:lnTo>
                    <a:lnTo>
                      <a:pt x="604" y="212"/>
                    </a:lnTo>
                    <a:lnTo>
                      <a:pt x="606" y="206"/>
                    </a:lnTo>
                    <a:lnTo>
                      <a:pt x="604" y="204"/>
                    </a:lnTo>
                    <a:lnTo>
                      <a:pt x="598" y="202"/>
                    </a:lnTo>
                    <a:lnTo>
                      <a:pt x="598" y="198"/>
                    </a:lnTo>
                    <a:lnTo>
                      <a:pt x="600" y="194"/>
                    </a:lnTo>
                    <a:lnTo>
                      <a:pt x="608" y="198"/>
                    </a:lnTo>
                    <a:lnTo>
                      <a:pt x="614" y="194"/>
                    </a:lnTo>
                    <a:lnTo>
                      <a:pt x="616" y="204"/>
                    </a:lnTo>
                    <a:lnTo>
                      <a:pt x="624" y="206"/>
                    </a:lnTo>
                    <a:lnTo>
                      <a:pt x="624" y="200"/>
                    </a:lnTo>
                    <a:lnTo>
                      <a:pt x="624" y="200"/>
                    </a:lnTo>
                    <a:lnTo>
                      <a:pt x="632" y="208"/>
                    </a:lnTo>
                    <a:lnTo>
                      <a:pt x="632" y="208"/>
                    </a:lnTo>
                    <a:lnTo>
                      <a:pt x="630" y="198"/>
                    </a:lnTo>
                    <a:lnTo>
                      <a:pt x="628" y="192"/>
                    </a:lnTo>
                    <a:lnTo>
                      <a:pt x="630" y="190"/>
                    </a:lnTo>
                    <a:lnTo>
                      <a:pt x="640" y="200"/>
                    </a:lnTo>
                    <a:lnTo>
                      <a:pt x="642" y="196"/>
                    </a:lnTo>
                    <a:lnTo>
                      <a:pt x="646" y="194"/>
                    </a:lnTo>
                    <a:lnTo>
                      <a:pt x="646" y="194"/>
                    </a:lnTo>
                    <a:lnTo>
                      <a:pt x="652" y="184"/>
                    </a:lnTo>
                    <a:lnTo>
                      <a:pt x="658" y="180"/>
                    </a:lnTo>
                    <a:lnTo>
                      <a:pt x="660" y="178"/>
                    </a:lnTo>
                    <a:lnTo>
                      <a:pt x="662" y="174"/>
                    </a:lnTo>
                    <a:lnTo>
                      <a:pt x="662" y="168"/>
                    </a:lnTo>
                    <a:lnTo>
                      <a:pt x="662" y="164"/>
                    </a:lnTo>
                    <a:lnTo>
                      <a:pt x="652" y="150"/>
                    </a:lnTo>
                    <a:lnTo>
                      <a:pt x="654" y="140"/>
                    </a:lnTo>
                    <a:lnTo>
                      <a:pt x="650" y="142"/>
                    </a:lnTo>
                    <a:lnTo>
                      <a:pt x="650" y="138"/>
                    </a:lnTo>
                    <a:lnTo>
                      <a:pt x="650" y="138"/>
                    </a:lnTo>
                    <a:lnTo>
                      <a:pt x="650" y="136"/>
                    </a:lnTo>
                    <a:lnTo>
                      <a:pt x="648" y="132"/>
                    </a:lnTo>
                    <a:lnTo>
                      <a:pt x="648" y="130"/>
                    </a:lnTo>
                    <a:lnTo>
                      <a:pt x="652" y="128"/>
                    </a:lnTo>
                    <a:lnTo>
                      <a:pt x="656" y="134"/>
                    </a:lnTo>
                    <a:lnTo>
                      <a:pt x="662" y="126"/>
                    </a:lnTo>
                    <a:lnTo>
                      <a:pt x="662" y="118"/>
                    </a:lnTo>
                    <a:lnTo>
                      <a:pt x="654" y="118"/>
                    </a:lnTo>
                    <a:lnTo>
                      <a:pt x="662" y="108"/>
                    </a:lnTo>
                    <a:lnTo>
                      <a:pt x="658" y="104"/>
                    </a:lnTo>
                    <a:lnTo>
                      <a:pt x="650" y="104"/>
                    </a:lnTo>
                    <a:lnTo>
                      <a:pt x="652" y="102"/>
                    </a:lnTo>
                    <a:lnTo>
                      <a:pt x="652" y="102"/>
                    </a:lnTo>
                    <a:lnTo>
                      <a:pt x="648" y="98"/>
                    </a:lnTo>
                    <a:lnTo>
                      <a:pt x="646" y="96"/>
                    </a:lnTo>
                    <a:lnTo>
                      <a:pt x="648" y="94"/>
                    </a:lnTo>
                    <a:lnTo>
                      <a:pt x="646" y="86"/>
                    </a:lnTo>
                    <a:lnTo>
                      <a:pt x="634" y="88"/>
                    </a:lnTo>
                    <a:lnTo>
                      <a:pt x="624" y="82"/>
                    </a:lnTo>
                    <a:lnTo>
                      <a:pt x="612" y="82"/>
                    </a:lnTo>
                    <a:lnTo>
                      <a:pt x="612" y="82"/>
                    </a:lnTo>
                    <a:lnTo>
                      <a:pt x="612" y="88"/>
                    </a:lnTo>
                    <a:lnTo>
                      <a:pt x="612" y="92"/>
                    </a:lnTo>
                    <a:lnTo>
                      <a:pt x="614" y="98"/>
                    </a:lnTo>
                    <a:lnTo>
                      <a:pt x="612" y="102"/>
                    </a:lnTo>
                    <a:lnTo>
                      <a:pt x="616" y="108"/>
                    </a:lnTo>
                    <a:lnTo>
                      <a:pt x="622" y="110"/>
                    </a:lnTo>
                    <a:lnTo>
                      <a:pt x="622" y="112"/>
                    </a:lnTo>
                    <a:lnTo>
                      <a:pt x="618" y="112"/>
                    </a:lnTo>
                    <a:lnTo>
                      <a:pt x="616" y="118"/>
                    </a:lnTo>
                    <a:lnTo>
                      <a:pt x="622" y="120"/>
                    </a:lnTo>
                    <a:lnTo>
                      <a:pt x="614" y="120"/>
                    </a:lnTo>
                    <a:lnTo>
                      <a:pt x="608" y="124"/>
                    </a:lnTo>
                    <a:lnTo>
                      <a:pt x="608" y="124"/>
                    </a:lnTo>
                    <a:lnTo>
                      <a:pt x="608" y="130"/>
                    </a:lnTo>
                    <a:lnTo>
                      <a:pt x="608" y="136"/>
                    </a:lnTo>
                    <a:lnTo>
                      <a:pt x="604" y="148"/>
                    </a:lnTo>
                    <a:lnTo>
                      <a:pt x="600" y="158"/>
                    </a:lnTo>
                    <a:lnTo>
                      <a:pt x="598" y="168"/>
                    </a:lnTo>
                    <a:lnTo>
                      <a:pt x="592" y="168"/>
                    </a:lnTo>
                    <a:lnTo>
                      <a:pt x="592" y="172"/>
                    </a:lnTo>
                    <a:lnTo>
                      <a:pt x="590" y="174"/>
                    </a:lnTo>
                    <a:lnTo>
                      <a:pt x="576" y="148"/>
                    </a:lnTo>
                    <a:lnTo>
                      <a:pt x="576" y="148"/>
                    </a:lnTo>
                    <a:lnTo>
                      <a:pt x="578" y="144"/>
                    </a:lnTo>
                    <a:lnTo>
                      <a:pt x="576" y="138"/>
                    </a:lnTo>
                    <a:lnTo>
                      <a:pt x="578" y="134"/>
                    </a:lnTo>
                    <a:lnTo>
                      <a:pt x="580" y="138"/>
                    </a:lnTo>
                    <a:lnTo>
                      <a:pt x="584" y="138"/>
                    </a:lnTo>
                    <a:lnTo>
                      <a:pt x="580" y="116"/>
                    </a:lnTo>
                    <a:lnTo>
                      <a:pt x="580" y="116"/>
                    </a:lnTo>
                    <a:lnTo>
                      <a:pt x="574" y="110"/>
                    </a:lnTo>
                    <a:lnTo>
                      <a:pt x="570" y="102"/>
                    </a:lnTo>
                    <a:lnTo>
                      <a:pt x="564" y="104"/>
                    </a:lnTo>
                    <a:lnTo>
                      <a:pt x="560" y="110"/>
                    </a:lnTo>
                    <a:lnTo>
                      <a:pt x="560" y="122"/>
                    </a:lnTo>
                    <a:lnTo>
                      <a:pt x="558" y="122"/>
                    </a:lnTo>
                    <a:lnTo>
                      <a:pt x="558" y="122"/>
                    </a:lnTo>
                    <a:lnTo>
                      <a:pt x="558" y="130"/>
                    </a:lnTo>
                    <a:lnTo>
                      <a:pt x="556" y="134"/>
                    </a:lnTo>
                    <a:lnTo>
                      <a:pt x="554" y="136"/>
                    </a:lnTo>
                    <a:lnTo>
                      <a:pt x="552" y="130"/>
                    </a:lnTo>
                    <a:lnTo>
                      <a:pt x="552" y="120"/>
                    </a:lnTo>
                    <a:lnTo>
                      <a:pt x="548" y="108"/>
                    </a:lnTo>
                    <a:lnTo>
                      <a:pt x="542" y="106"/>
                    </a:lnTo>
                    <a:lnTo>
                      <a:pt x="546" y="102"/>
                    </a:lnTo>
                    <a:lnTo>
                      <a:pt x="540" y="94"/>
                    </a:lnTo>
                    <a:lnTo>
                      <a:pt x="542" y="90"/>
                    </a:lnTo>
                    <a:lnTo>
                      <a:pt x="534" y="94"/>
                    </a:lnTo>
                    <a:lnTo>
                      <a:pt x="528" y="82"/>
                    </a:lnTo>
                    <a:lnTo>
                      <a:pt x="534" y="76"/>
                    </a:lnTo>
                    <a:lnTo>
                      <a:pt x="528" y="72"/>
                    </a:lnTo>
                    <a:lnTo>
                      <a:pt x="528" y="70"/>
                    </a:lnTo>
                    <a:lnTo>
                      <a:pt x="540" y="70"/>
                    </a:lnTo>
                    <a:lnTo>
                      <a:pt x="536" y="62"/>
                    </a:lnTo>
                    <a:lnTo>
                      <a:pt x="534" y="66"/>
                    </a:lnTo>
                    <a:lnTo>
                      <a:pt x="530" y="52"/>
                    </a:lnTo>
                    <a:lnTo>
                      <a:pt x="526" y="50"/>
                    </a:lnTo>
                    <a:lnTo>
                      <a:pt x="524" y="46"/>
                    </a:lnTo>
                    <a:lnTo>
                      <a:pt x="522" y="44"/>
                    </a:lnTo>
                    <a:lnTo>
                      <a:pt x="522" y="26"/>
                    </a:lnTo>
                    <a:lnTo>
                      <a:pt x="514" y="16"/>
                    </a:lnTo>
                    <a:lnTo>
                      <a:pt x="514" y="8"/>
                    </a:lnTo>
                    <a:lnTo>
                      <a:pt x="510" y="8"/>
                    </a:lnTo>
                    <a:lnTo>
                      <a:pt x="502" y="6"/>
                    </a:lnTo>
                    <a:lnTo>
                      <a:pt x="504" y="0"/>
                    </a:lnTo>
                    <a:lnTo>
                      <a:pt x="496" y="0"/>
                    </a:lnTo>
                    <a:lnTo>
                      <a:pt x="488" y="14"/>
                    </a:lnTo>
                    <a:lnTo>
                      <a:pt x="492" y="28"/>
                    </a:lnTo>
                    <a:lnTo>
                      <a:pt x="482" y="28"/>
                    </a:lnTo>
                    <a:lnTo>
                      <a:pt x="480" y="44"/>
                    </a:lnTo>
                    <a:lnTo>
                      <a:pt x="484" y="52"/>
                    </a:lnTo>
                    <a:lnTo>
                      <a:pt x="486" y="50"/>
                    </a:lnTo>
                    <a:lnTo>
                      <a:pt x="484" y="56"/>
                    </a:lnTo>
                    <a:lnTo>
                      <a:pt x="484" y="54"/>
                    </a:lnTo>
                    <a:lnTo>
                      <a:pt x="478" y="60"/>
                    </a:lnTo>
                    <a:lnTo>
                      <a:pt x="480" y="72"/>
                    </a:lnTo>
                    <a:lnTo>
                      <a:pt x="486" y="80"/>
                    </a:lnTo>
                    <a:lnTo>
                      <a:pt x="484" y="80"/>
                    </a:lnTo>
                    <a:lnTo>
                      <a:pt x="486" y="82"/>
                    </a:lnTo>
                    <a:lnTo>
                      <a:pt x="494" y="84"/>
                    </a:lnTo>
                    <a:lnTo>
                      <a:pt x="494" y="88"/>
                    </a:lnTo>
                    <a:lnTo>
                      <a:pt x="500" y="92"/>
                    </a:lnTo>
                    <a:lnTo>
                      <a:pt x="500" y="88"/>
                    </a:lnTo>
                    <a:lnTo>
                      <a:pt x="506" y="96"/>
                    </a:lnTo>
                    <a:lnTo>
                      <a:pt x="514" y="94"/>
                    </a:lnTo>
                    <a:lnTo>
                      <a:pt x="514" y="94"/>
                    </a:lnTo>
                    <a:lnTo>
                      <a:pt x="514" y="98"/>
                    </a:lnTo>
                    <a:lnTo>
                      <a:pt x="514" y="102"/>
                    </a:lnTo>
                    <a:lnTo>
                      <a:pt x="510" y="104"/>
                    </a:lnTo>
                    <a:lnTo>
                      <a:pt x="512" y="98"/>
                    </a:lnTo>
                    <a:lnTo>
                      <a:pt x="508" y="100"/>
                    </a:lnTo>
                    <a:lnTo>
                      <a:pt x="506" y="106"/>
                    </a:lnTo>
                    <a:lnTo>
                      <a:pt x="506" y="108"/>
                    </a:lnTo>
                    <a:lnTo>
                      <a:pt x="504" y="114"/>
                    </a:lnTo>
                    <a:lnTo>
                      <a:pt x="502" y="114"/>
                    </a:lnTo>
                    <a:lnTo>
                      <a:pt x="502" y="122"/>
                    </a:lnTo>
                    <a:lnTo>
                      <a:pt x="508" y="120"/>
                    </a:lnTo>
                    <a:lnTo>
                      <a:pt x="508" y="120"/>
                    </a:lnTo>
                    <a:lnTo>
                      <a:pt x="512" y="124"/>
                    </a:lnTo>
                    <a:lnTo>
                      <a:pt x="516" y="126"/>
                    </a:lnTo>
                    <a:lnTo>
                      <a:pt x="516" y="126"/>
                    </a:lnTo>
                    <a:lnTo>
                      <a:pt x="508" y="134"/>
                    </a:lnTo>
                    <a:lnTo>
                      <a:pt x="502" y="144"/>
                    </a:lnTo>
                    <a:lnTo>
                      <a:pt x="490" y="144"/>
                    </a:lnTo>
                    <a:lnTo>
                      <a:pt x="492" y="148"/>
                    </a:lnTo>
                    <a:lnTo>
                      <a:pt x="490" y="156"/>
                    </a:lnTo>
                    <a:lnTo>
                      <a:pt x="494" y="162"/>
                    </a:lnTo>
                    <a:lnTo>
                      <a:pt x="494" y="162"/>
                    </a:lnTo>
                    <a:lnTo>
                      <a:pt x="494" y="168"/>
                    </a:lnTo>
                    <a:lnTo>
                      <a:pt x="494" y="172"/>
                    </a:lnTo>
                    <a:lnTo>
                      <a:pt x="490" y="170"/>
                    </a:lnTo>
                    <a:lnTo>
                      <a:pt x="492" y="166"/>
                    </a:lnTo>
                    <a:lnTo>
                      <a:pt x="486" y="170"/>
                    </a:lnTo>
                    <a:lnTo>
                      <a:pt x="486" y="164"/>
                    </a:lnTo>
                    <a:lnTo>
                      <a:pt x="482" y="166"/>
                    </a:lnTo>
                    <a:lnTo>
                      <a:pt x="482" y="162"/>
                    </a:lnTo>
                    <a:lnTo>
                      <a:pt x="486" y="158"/>
                    </a:lnTo>
                    <a:lnTo>
                      <a:pt x="484" y="154"/>
                    </a:lnTo>
                    <a:lnTo>
                      <a:pt x="484" y="154"/>
                    </a:lnTo>
                    <a:lnTo>
                      <a:pt x="486" y="146"/>
                    </a:lnTo>
                    <a:lnTo>
                      <a:pt x="486" y="138"/>
                    </a:lnTo>
                    <a:lnTo>
                      <a:pt x="480" y="142"/>
                    </a:lnTo>
                    <a:lnTo>
                      <a:pt x="480" y="146"/>
                    </a:lnTo>
                    <a:lnTo>
                      <a:pt x="478" y="146"/>
                    </a:lnTo>
                    <a:lnTo>
                      <a:pt x="476" y="144"/>
                    </a:lnTo>
                    <a:lnTo>
                      <a:pt x="480" y="136"/>
                    </a:lnTo>
                    <a:lnTo>
                      <a:pt x="476" y="134"/>
                    </a:lnTo>
                    <a:lnTo>
                      <a:pt x="470" y="130"/>
                    </a:lnTo>
                    <a:lnTo>
                      <a:pt x="468" y="130"/>
                    </a:lnTo>
                    <a:lnTo>
                      <a:pt x="468" y="132"/>
                    </a:lnTo>
                    <a:lnTo>
                      <a:pt x="464" y="128"/>
                    </a:lnTo>
                    <a:lnTo>
                      <a:pt x="462" y="128"/>
                    </a:lnTo>
                    <a:lnTo>
                      <a:pt x="466" y="134"/>
                    </a:lnTo>
                    <a:lnTo>
                      <a:pt x="458" y="132"/>
                    </a:lnTo>
                    <a:lnTo>
                      <a:pt x="456" y="136"/>
                    </a:lnTo>
                    <a:lnTo>
                      <a:pt x="462" y="152"/>
                    </a:lnTo>
                    <a:lnTo>
                      <a:pt x="462" y="152"/>
                    </a:lnTo>
                    <a:lnTo>
                      <a:pt x="462" y="150"/>
                    </a:lnTo>
                    <a:lnTo>
                      <a:pt x="464" y="148"/>
                    </a:lnTo>
                    <a:lnTo>
                      <a:pt x="472" y="148"/>
                    </a:lnTo>
                    <a:lnTo>
                      <a:pt x="472" y="156"/>
                    </a:lnTo>
                    <a:lnTo>
                      <a:pt x="470" y="160"/>
                    </a:lnTo>
                    <a:lnTo>
                      <a:pt x="460" y="154"/>
                    </a:lnTo>
                    <a:lnTo>
                      <a:pt x="456" y="144"/>
                    </a:lnTo>
                    <a:lnTo>
                      <a:pt x="454" y="146"/>
                    </a:lnTo>
                    <a:lnTo>
                      <a:pt x="458" y="154"/>
                    </a:lnTo>
                    <a:lnTo>
                      <a:pt x="458" y="154"/>
                    </a:lnTo>
                    <a:lnTo>
                      <a:pt x="452" y="156"/>
                    </a:lnTo>
                    <a:lnTo>
                      <a:pt x="446" y="154"/>
                    </a:lnTo>
                    <a:lnTo>
                      <a:pt x="434" y="152"/>
                    </a:lnTo>
                    <a:lnTo>
                      <a:pt x="420" y="156"/>
                    </a:lnTo>
                    <a:lnTo>
                      <a:pt x="414" y="154"/>
                    </a:lnTo>
                    <a:lnTo>
                      <a:pt x="410" y="158"/>
                    </a:lnTo>
                    <a:lnTo>
                      <a:pt x="398" y="146"/>
                    </a:lnTo>
                    <a:lnTo>
                      <a:pt x="398" y="142"/>
                    </a:lnTo>
                    <a:lnTo>
                      <a:pt x="394" y="140"/>
                    </a:lnTo>
                    <a:lnTo>
                      <a:pt x="382" y="144"/>
                    </a:lnTo>
                    <a:lnTo>
                      <a:pt x="382" y="138"/>
                    </a:lnTo>
                    <a:lnTo>
                      <a:pt x="370" y="130"/>
                    </a:lnTo>
                    <a:lnTo>
                      <a:pt x="374" y="130"/>
                    </a:lnTo>
                    <a:lnTo>
                      <a:pt x="370" y="122"/>
                    </a:lnTo>
                    <a:lnTo>
                      <a:pt x="372" y="120"/>
                    </a:lnTo>
                    <a:lnTo>
                      <a:pt x="364" y="112"/>
                    </a:lnTo>
                    <a:lnTo>
                      <a:pt x="364" y="112"/>
                    </a:lnTo>
                    <a:lnTo>
                      <a:pt x="352" y="120"/>
                    </a:lnTo>
                    <a:lnTo>
                      <a:pt x="344" y="124"/>
                    </a:lnTo>
                    <a:lnTo>
                      <a:pt x="338" y="124"/>
                    </a:lnTo>
                    <a:lnTo>
                      <a:pt x="332" y="134"/>
                    </a:lnTo>
                    <a:lnTo>
                      <a:pt x="332" y="138"/>
                    </a:lnTo>
                    <a:lnTo>
                      <a:pt x="334" y="138"/>
                    </a:lnTo>
                    <a:lnTo>
                      <a:pt x="336" y="140"/>
                    </a:lnTo>
                    <a:lnTo>
                      <a:pt x="342" y="142"/>
                    </a:lnTo>
                    <a:lnTo>
                      <a:pt x="346" y="140"/>
                    </a:lnTo>
                    <a:lnTo>
                      <a:pt x="342" y="136"/>
                    </a:lnTo>
                    <a:lnTo>
                      <a:pt x="346" y="134"/>
                    </a:lnTo>
                    <a:lnTo>
                      <a:pt x="352" y="136"/>
                    </a:lnTo>
                    <a:lnTo>
                      <a:pt x="356" y="132"/>
                    </a:lnTo>
                    <a:lnTo>
                      <a:pt x="358" y="136"/>
                    </a:lnTo>
                    <a:lnTo>
                      <a:pt x="358" y="136"/>
                    </a:lnTo>
                    <a:lnTo>
                      <a:pt x="358" y="132"/>
                    </a:lnTo>
                    <a:lnTo>
                      <a:pt x="356" y="130"/>
                    </a:lnTo>
                    <a:lnTo>
                      <a:pt x="368" y="124"/>
                    </a:lnTo>
                    <a:lnTo>
                      <a:pt x="368" y="124"/>
                    </a:lnTo>
                    <a:lnTo>
                      <a:pt x="364" y="132"/>
                    </a:lnTo>
                    <a:lnTo>
                      <a:pt x="358" y="140"/>
                    </a:lnTo>
                    <a:lnTo>
                      <a:pt x="344" y="148"/>
                    </a:lnTo>
                    <a:lnTo>
                      <a:pt x="346" y="148"/>
                    </a:lnTo>
                    <a:lnTo>
                      <a:pt x="340" y="154"/>
                    </a:lnTo>
                    <a:lnTo>
                      <a:pt x="340" y="154"/>
                    </a:lnTo>
                    <a:lnTo>
                      <a:pt x="344" y="158"/>
                    </a:lnTo>
                    <a:lnTo>
                      <a:pt x="346" y="162"/>
                    </a:lnTo>
                    <a:lnTo>
                      <a:pt x="344" y="166"/>
                    </a:lnTo>
                    <a:lnTo>
                      <a:pt x="348" y="176"/>
                    </a:lnTo>
                    <a:lnTo>
                      <a:pt x="350" y="176"/>
                    </a:lnTo>
                    <a:lnTo>
                      <a:pt x="348" y="178"/>
                    </a:lnTo>
                    <a:lnTo>
                      <a:pt x="352" y="182"/>
                    </a:lnTo>
                    <a:lnTo>
                      <a:pt x="344" y="184"/>
                    </a:lnTo>
                    <a:lnTo>
                      <a:pt x="344" y="188"/>
                    </a:lnTo>
                    <a:lnTo>
                      <a:pt x="344" y="188"/>
                    </a:lnTo>
                    <a:lnTo>
                      <a:pt x="340" y="182"/>
                    </a:lnTo>
                    <a:lnTo>
                      <a:pt x="338" y="178"/>
                    </a:lnTo>
                    <a:lnTo>
                      <a:pt x="344" y="176"/>
                    </a:lnTo>
                    <a:lnTo>
                      <a:pt x="342" y="168"/>
                    </a:lnTo>
                    <a:lnTo>
                      <a:pt x="340" y="168"/>
                    </a:lnTo>
                    <a:lnTo>
                      <a:pt x="338" y="164"/>
                    </a:lnTo>
                    <a:lnTo>
                      <a:pt x="334" y="166"/>
                    </a:lnTo>
                    <a:lnTo>
                      <a:pt x="336" y="162"/>
                    </a:lnTo>
                    <a:lnTo>
                      <a:pt x="334" y="158"/>
                    </a:lnTo>
                    <a:lnTo>
                      <a:pt x="332" y="166"/>
                    </a:lnTo>
                    <a:lnTo>
                      <a:pt x="330" y="164"/>
                    </a:lnTo>
                    <a:lnTo>
                      <a:pt x="332" y="162"/>
                    </a:lnTo>
                    <a:lnTo>
                      <a:pt x="330" y="160"/>
                    </a:lnTo>
                    <a:lnTo>
                      <a:pt x="330" y="154"/>
                    </a:lnTo>
                    <a:lnTo>
                      <a:pt x="320" y="154"/>
                    </a:lnTo>
                    <a:lnTo>
                      <a:pt x="322" y="152"/>
                    </a:lnTo>
                    <a:lnTo>
                      <a:pt x="320" y="150"/>
                    </a:lnTo>
                    <a:lnTo>
                      <a:pt x="318" y="150"/>
                    </a:lnTo>
                    <a:lnTo>
                      <a:pt x="318" y="148"/>
                    </a:lnTo>
                    <a:lnTo>
                      <a:pt x="318" y="146"/>
                    </a:lnTo>
                    <a:lnTo>
                      <a:pt x="306" y="154"/>
                    </a:lnTo>
                    <a:lnTo>
                      <a:pt x="304" y="154"/>
                    </a:lnTo>
                    <a:lnTo>
                      <a:pt x="304" y="150"/>
                    </a:lnTo>
                    <a:lnTo>
                      <a:pt x="302" y="150"/>
                    </a:lnTo>
                    <a:lnTo>
                      <a:pt x="302" y="154"/>
                    </a:lnTo>
                    <a:lnTo>
                      <a:pt x="296" y="154"/>
                    </a:lnTo>
                    <a:lnTo>
                      <a:pt x="296" y="156"/>
                    </a:lnTo>
                    <a:lnTo>
                      <a:pt x="296" y="156"/>
                    </a:lnTo>
                    <a:lnTo>
                      <a:pt x="272" y="156"/>
                    </a:lnTo>
                    <a:lnTo>
                      <a:pt x="262" y="154"/>
                    </a:lnTo>
                    <a:lnTo>
                      <a:pt x="252" y="148"/>
                    </a:lnTo>
                    <a:lnTo>
                      <a:pt x="254" y="146"/>
                    </a:lnTo>
                    <a:lnTo>
                      <a:pt x="254" y="140"/>
                    </a:lnTo>
                    <a:lnTo>
                      <a:pt x="258" y="136"/>
                    </a:lnTo>
                    <a:lnTo>
                      <a:pt x="270" y="136"/>
                    </a:lnTo>
                    <a:lnTo>
                      <a:pt x="270" y="130"/>
                    </a:lnTo>
                    <a:lnTo>
                      <a:pt x="268" y="132"/>
                    </a:lnTo>
                    <a:lnTo>
                      <a:pt x="268" y="128"/>
                    </a:lnTo>
                    <a:lnTo>
                      <a:pt x="260" y="118"/>
                    </a:lnTo>
                    <a:lnTo>
                      <a:pt x="258" y="118"/>
                    </a:lnTo>
                    <a:lnTo>
                      <a:pt x="256" y="114"/>
                    </a:lnTo>
                    <a:lnTo>
                      <a:pt x="244" y="112"/>
                    </a:lnTo>
                    <a:lnTo>
                      <a:pt x="246" y="116"/>
                    </a:lnTo>
                    <a:lnTo>
                      <a:pt x="246" y="118"/>
                    </a:lnTo>
                    <a:lnTo>
                      <a:pt x="244" y="116"/>
                    </a:lnTo>
                    <a:lnTo>
                      <a:pt x="244" y="116"/>
                    </a:lnTo>
                    <a:lnTo>
                      <a:pt x="238" y="116"/>
                    </a:lnTo>
                    <a:lnTo>
                      <a:pt x="232" y="114"/>
                    </a:lnTo>
                    <a:lnTo>
                      <a:pt x="218" y="108"/>
                    </a:lnTo>
                    <a:lnTo>
                      <a:pt x="206" y="102"/>
                    </a:lnTo>
                    <a:lnTo>
                      <a:pt x="192" y="96"/>
                    </a:lnTo>
                    <a:lnTo>
                      <a:pt x="192" y="96"/>
                    </a:lnTo>
                    <a:lnTo>
                      <a:pt x="190" y="92"/>
                    </a:lnTo>
                    <a:lnTo>
                      <a:pt x="186" y="88"/>
                    </a:lnTo>
                    <a:lnTo>
                      <a:pt x="178" y="82"/>
                    </a:lnTo>
                    <a:lnTo>
                      <a:pt x="162" y="82"/>
                    </a:lnTo>
                    <a:lnTo>
                      <a:pt x="162" y="82"/>
                    </a:lnTo>
                    <a:lnTo>
                      <a:pt x="160" y="90"/>
                    </a:lnTo>
                    <a:lnTo>
                      <a:pt x="158" y="98"/>
                    </a:lnTo>
                    <a:lnTo>
                      <a:pt x="158" y="98"/>
                    </a:lnTo>
                    <a:lnTo>
                      <a:pt x="150" y="100"/>
                    </a:lnTo>
                    <a:lnTo>
                      <a:pt x="144" y="100"/>
                    </a:lnTo>
                    <a:lnTo>
                      <a:pt x="144" y="100"/>
                    </a:lnTo>
                    <a:lnTo>
                      <a:pt x="146" y="92"/>
                    </a:lnTo>
                    <a:lnTo>
                      <a:pt x="150" y="86"/>
                    </a:lnTo>
                    <a:lnTo>
                      <a:pt x="144" y="86"/>
                    </a:lnTo>
                    <a:lnTo>
                      <a:pt x="144" y="86"/>
                    </a:lnTo>
                    <a:lnTo>
                      <a:pt x="146" y="78"/>
                    </a:lnTo>
                    <a:lnTo>
                      <a:pt x="146" y="70"/>
                    </a:lnTo>
                    <a:lnTo>
                      <a:pt x="142" y="72"/>
                    </a:lnTo>
                    <a:lnTo>
                      <a:pt x="144" y="74"/>
                    </a:lnTo>
                    <a:lnTo>
                      <a:pt x="142" y="76"/>
                    </a:lnTo>
                    <a:lnTo>
                      <a:pt x="140" y="74"/>
                    </a:lnTo>
                    <a:lnTo>
                      <a:pt x="136" y="76"/>
                    </a:lnTo>
                    <a:lnTo>
                      <a:pt x="136" y="76"/>
                    </a:lnTo>
                    <a:lnTo>
                      <a:pt x="136" y="82"/>
                    </a:lnTo>
                    <a:lnTo>
                      <a:pt x="138" y="86"/>
                    </a:lnTo>
                    <a:lnTo>
                      <a:pt x="132" y="90"/>
                    </a:lnTo>
                    <a:lnTo>
                      <a:pt x="136" y="92"/>
                    </a:lnTo>
                    <a:lnTo>
                      <a:pt x="136" y="92"/>
                    </a:lnTo>
                    <a:lnTo>
                      <a:pt x="132" y="96"/>
                    </a:lnTo>
                    <a:lnTo>
                      <a:pt x="128" y="98"/>
                    </a:lnTo>
                    <a:lnTo>
                      <a:pt x="128" y="98"/>
                    </a:lnTo>
                    <a:lnTo>
                      <a:pt x="124" y="96"/>
                    </a:lnTo>
                    <a:lnTo>
                      <a:pt x="120" y="90"/>
                    </a:lnTo>
                    <a:lnTo>
                      <a:pt x="114" y="78"/>
                    </a:lnTo>
                    <a:lnTo>
                      <a:pt x="110" y="64"/>
                    </a:lnTo>
                    <a:lnTo>
                      <a:pt x="106" y="58"/>
                    </a:lnTo>
                    <a:lnTo>
                      <a:pt x="102" y="56"/>
                    </a:lnTo>
                    <a:lnTo>
                      <a:pt x="100" y="60"/>
                    </a:lnTo>
                    <a:lnTo>
                      <a:pt x="102" y="64"/>
                    </a:lnTo>
                    <a:lnTo>
                      <a:pt x="106" y="66"/>
                    </a:lnTo>
                    <a:lnTo>
                      <a:pt x="100" y="72"/>
                    </a:lnTo>
                    <a:lnTo>
                      <a:pt x="98" y="78"/>
                    </a:lnTo>
                    <a:lnTo>
                      <a:pt x="88" y="86"/>
                    </a:lnTo>
                    <a:lnTo>
                      <a:pt x="88" y="86"/>
                    </a:lnTo>
                    <a:lnTo>
                      <a:pt x="90" y="82"/>
                    </a:lnTo>
                    <a:lnTo>
                      <a:pt x="92" y="76"/>
                    </a:lnTo>
                    <a:lnTo>
                      <a:pt x="92" y="76"/>
                    </a:lnTo>
                    <a:lnTo>
                      <a:pt x="76" y="90"/>
                    </a:lnTo>
                    <a:lnTo>
                      <a:pt x="70" y="98"/>
                    </a:lnTo>
                    <a:lnTo>
                      <a:pt x="66" y="104"/>
                    </a:lnTo>
                    <a:lnTo>
                      <a:pt x="66" y="94"/>
                    </a:lnTo>
                    <a:lnTo>
                      <a:pt x="58" y="98"/>
                    </a:lnTo>
                    <a:lnTo>
                      <a:pt x="52" y="106"/>
                    </a:lnTo>
                    <a:lnTo>
                      <a:pt x="44" y="110"/>
                    </a:lnTo>
                    <a:lnTo>
                      <a:pt x="44" y="110"/>
                    </a:lnTo>
                    <a:lnTo>
                      <a:pt x="44" y="106"/>
                    </a:lnTo>
                    <a:lnTo>
                      <a:pt x="46" y="104"/>
                    </a:lnTo>
                    <a:lnTo>
                      <a:pt x="48" y="106"/>
                    </a:lnTo>
                    <a:lnTo>
                      <a:pt x="56" y="94"/>
                    </a:lnTo>
                    <a:lnTo>
                      <a:pt x="66" y="92"/>
                    </a:lnTo>
                    <a:lnTo>
                      <a:pt x="86" y="74"/>
                    </a:lnTo>
                    <a:lnTo>
                      <a:pt x="82" y="66"/>
                    </a:lnTo>
                    <a:lnTo>
                      <a:pt x="78" y="72"/>
                    </a:lnTo>
                    <a:lnTo>
                      <a:pt x="72" y="70"/>
                    </a:lnTo>
                    <a:lnTo>
                      <a:pt x="68" y="72"/>
                    </a:lnTo>
                    <a:lnTo>
                      <a:pt x="66" y="78"/>
                    </a:lnTo>
                    <a:lnTo>
                      <a:pt x="62" y="78"/>
                    </a:lnTo>
                    <a:lnTo>
                      <a:pt x="52" y="86"/>
                    </a:lnTo>
                    <a:lnTo>
                      <a:pt x="48" y="86"/>
                    </a:lnTo>
                    <a:lnTo>
                      <a:pt x="42" y="90"/>
                    </a:lnTo>
                    <a:lnTo>
                      <a:pt x="42" y="94"/>
                    </a:lnTo>
                    <a:lnTo>
                      <a:pt x="42" y="94"/>
                    </a:lnTo>
                    <a:lnTo>
                      <a:pt x="34" y="100"/>
                    </a:lnTo>
                    <a:lnTo>
                      <a:pt x="28" y="104"/>
                    </a:lnTo>
                    <a:lnTo>
                      <a:pt x="24" y="110"/>
                    </a:lnTo>
                    <a:lnTo>
                      <a:pt x="24" y="110"/>
                    </a:lnTo>
                    <a:lnTo>
                      <a:pt x="26" y="118"/>
                    </a:lnTo>
                    <a:lnTo>
                      <a:pt x="30" y="126"/>
                    </a:lnTo>
                    <a:lnTo>
                      <a:pt x="28" y="128"/>
                    </a:lnTo>
                    <a:lnTo>
                      <a:pt x="22" y="116"/>
                    </a:lnTo>
                    <a:lnTo>
                      <a:pt x="12" y="116"/>
                    </a:lnTo>
                    <a:lnTo>
                      <a:pt x="16" y="124"/>
                    </a:lnTo>
                    <a:lnTo>
                      <a:pt x="14" y="124"/>
                    </a:lnTo>
                    <a:lnTo>
                      <a:pt x="8" y="118"/>
                    </a:lnTo>
                    <a:lnTo>
                      <a:pt x="2" y="116"/>
                    </a:lnTo>
                    <a:lnTo>
                      <a:pt x="2" y="116"/>
                    </a:lnTo>
                    <a:lnTo>
                      <a:pt x="0" y="142"/>
                    </a:lnTo>
                    <a:lnTo>
                      <a:pt x="2" y="156"/>
                    </a:lnTo>
                    <a:lnTo>
                      <a:pt x="2" y="160"/>
                    </a:lnTo>
                    <a:lnTo>
                      <a:pt x="4" y="164"/>
                    </a:lnTo>
                    <a:lnTo>
                      <a:pt x="4" y="168"/>
                    </a:lnTo>
                    <a:lnTo>
                      <a:pt x="6" y="170"/>
                    </a:lnTo>
                    <a:lnTo>
                      <a:pt x="4" y="174"/>
                    </a:lnTo>
                    <a:lnTo>
                      <a:pt x="4" y="180"/>
                    </a:lnTo>
                    <a:lnTo>
                      <a:pt x="32" y="180"/>
                    </a:lnTo>
                    <a:lnTo>
                      <a:pt x="30" y="182"/>
                    </a:lnTo>
                    <a:lnTo>
                      <a:pt x="34" y="186"/>
                    </a:lnTo>
                    <a:lnTo>
                      <a:pt x="34" y="214"/>
                    </a:lnTo>
                    <a:lnTo>
                      <a:pt x="44" y="212"/>
                    </a:lnTo>
                    <a:lnTo>
                      <a:pt x="42" y="216"/>
                    </a:lnTo>
                    <a:lnTo>
                      <a:pt x="44" y="216"/>
                    </a:lnTo>
                    <a:lnTo>
                      <a:pt x="48" y="212"/>
                    </a:lnTo>
                    <a:lnTo>
                      <a:pt x="50" y="214"/>
                    </a:lnTo>
                    <a:lnTo>
                      <a:pt x="48" y="218"/>
                    </a:lnTo>
                    <a:lnTo>
                      <a:pt x="52" y="226"/>
                    </a:lnTo>
                    <a:lnTo>
                      <a:pt x="48" y="236"/>
                    </a:lnTo>
                    <a:lnTo>
                      <a:pt x="46" y="236"/>
                    </a:lnTo>
                    <a:lnTo>
                      <a:pt x="50" y="242"/>
                    </a:lnTo>
                    <a:lnTo>
                      <a:pt x="46" y="248"/>
                    </a:lnTo>
                    <a:lnTo>
                      <a:pt x="58" y="258"/>
                    </a:lnTo>
                    <a:lnTo>
                      <a:pt x="56" y="262"/>
                    </a:lnTo>
                    <a:lnTo>
                      <a:pt x="78" y="280"/>
                    </a:lnTo>
                    <a:lnTo>
                      <a:pt x="78" y="280"/>
                    </a:lnTo>
                    <a:lnTo>
                      <a:pt x="78" y="284"/>
                    </a:lnTo>
                    <a:lnTo>
                      <a:pt x="80" y="288"/>
                    </a:lnTo>
                    <a:lnTo>
                      <a:pt x="76" y="294"/>
                    </a:lnTo>
                    <a:lnTo>
                      <a:pt x="80" y="296"/>
                    </a:lnTo>
                    <a:lnTo>
                      <a:pt x="86" y="326"/>
                    </a:lnTo>
                    <a:lnTo>
                      <a:pt x="94" y="328"/>
                    </a:lnTo>
                    <a:lnTo>
                      <a:pt x="96" y="326"/>
                    </a:lnTo>
                    <a:lnTo>
                      <a:pt x="112" y="344"/>
                    </a:lnTo>
                    <a:lnTo>
                      <a:pt x="114" y="352"/>
                    </a:lnTo>
                    <a:lnTo>
                      <a:pt x="114" y="354"/>
                    </a:lnTo>
                    <a:lnTo>
                      <a:pt x="116" y="356"/>
                    </a:lnTo>
                    <a:lnTo>
                      <a:pt x="116" y="364"/>
                    </a:lnTo>
                    <a:lnTo>
                      <a:pt x="126" y="362"/>
                    </a:lnTo>
                    <a:lnTo>
                      <a:pt x="128" y="360"/>
                    </a:lnTo>
                    <a:lnTo>
                      <a:pt x="134" y="362"/>
                    </a:lnTo>
                    <a:lnTo>
                      <a:pt x="140" y="360"/>
                    </a:lnTo>
                    <a:lnTo>
                      <a:pt x="144" y="362"/>
                    </a:lnTo>
                    <a:lnTo>
                      <a:pt x="142" y="366"/>
                    </a:lnTo>
                    <a:lnTo>
                      <a:pt x="146" y="370"/>
                    </a:lnTo>
                    <a:lnTo>
                      <a:pt x="148" y="372"/>
                    </a:lnTo>
                    <a:lnTo>
                      <a:pt x="152" y="382"/>
                    </a:lnTo>
                    <a:lnTo>
                      <a:pt x="318" y="382"/>
                    </a:lnTo>
                    <a:lnTo>
                      <a:pt x="502" y="38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89" name="Freeform 1397">
                <a:extLst>
                  <a:ext uri="{FF2B5EF4-FFF2-40B4-BE49-F238E27FC236}">
                    <a16:creationId xmlns:a16="http://schemas.microsoft.com/office/drawing/2014/main" id="{24770DA2-2169-4038-B6A9-C2643C2D4D35}"/>
                  </a:ext>
                </a:extLst>
              </p:cNvPr>
              <p:cNvSpPr>
                <a:spLocks/>
              </p:cNvSpPr>
              <p:nvPr/>
            </p:nvSpPr>
            <p:spPr bwMode="auto">
              <a:xfrm>
                <a:off x="1838" y="2042"/>
                <a:ext cx="246" cy="294"/>
              </a:xfrm>
              <a:custGeom>
                <a:avLst/>
                <a:gdLst/>
                <a:ahLst/>
                <a:cxnLst>
                  <a:cxn ang="0">
                    <a:pos x="222" y="230"/>
                  </a:cxn>
                  <a:cxn ang="0">
                    <a:pos x="244" y="240"/>
                  </a:cxn>
                  <a:cxn ang="0">
                    <a:pos x="236" y="246"/>
                  </a:cxn>
                  <a:cxn ang="0">
                    <a:pos x="218" y="256"/>
                  </a:cxn>
                  <a:cxn ang="0">
                    <a:pos x="218" y="260"/>
                  </a:cxn>
                  <a:cxn ang="0">
                    <a:pos x="200" y="260"/>
                  </a:cxn>
                  <a:cxn ang="0">
                    <a:pos x="184" y="272"/>
                  </a:cxn>
                  <a:cxn ang="0">
                    <a:pos x="194" y="272"/>
                  </a:cxn>
                  <a:cxn ang="0">
                    <a:pos x="190" y="278"/>
                  </a:cxn>
                  <a:cxn ang="0">
                    <a:pos x="176" y="284"/>
                  </a:cxn>
                  <a:cxn ang="0">
                    <a:pos x="160" y="288"/>
                  </a:cxn>
                  <a:cxn ang="0">
                    <a:pos x="144" y="294"/>
                  </a:cxn>
                  <a:cxn ang="0">
                    <a:pos x="146" y="286"/>
                  </a:cxn>
                  <a:cxn ang="0">
                    <a:pos x="152" y="286"/>
                  </a:cxn>
                  <a:cxn ang="0">
                    <a:pos x="154" y="274"/>
                  </a:cxn>
                  <a:cxn ang="0">
                    <a:pos x="162" y="264"/>
                  </a:cxn>
                  <a:cxn ang="0">
                    <a:pos x="166" y="246"/>
                  </a:cxn>
                  <a:cxn ang="0">
                    <a:pos x="162" y="236"/>
                  </a:cxn>
                  <a:cxn ang="0">
                    <a:pos x="172" y="244"/>
                  </a:cxn>
                  <a:cxn ang="0">
                    <a:pos x="180" y="244"/>
                  </a:cxn>
                  <a:cxn ang="0">
                    <a:pos x="172" y="224"/>
                  </a:cxn>
                  <a:cxn ang="0">
                    <a:pos x="150" y="218"/>
                  </a:cxn>
                  <a:cxn ang="0">
                    <a:pos x="130" y="214"/>
                  </a:cxn>
                  <a:cxn ang="0">
                    <a:pos x="122" y="192"/>
                  </a:cxn>
                  <a:cxn ang="0">
                    <a:pos x="114" y="186"/>
                  </a:cxn>
                  <a:cxn ang="0">
                    <a:pos x="104" y="170"/>
                  </a:cxn>
                  <a:cxn ang="0">
                    <a:pos x="92" y="168"/>
                  </a:cxn>
                  <a:cxn ang="0">
                    <a:pos x="84" y="172"/>
                  </a:cxn>
                  <a:cxn ang="0">
                    <a:pos x="80" y="168"/>
                  </a:cxn>
                  <a:cxn ang="0">
                    <a:pos x="76" y="174"/>
                  </a:cxn>
                  <a:cxn ang="0">
                    <a:pos x="66" y="186"/>
                  </a:cxn>
                  <a:cxn ang="0">
                    <a:pos x="46" y="184"/>
                  </a:cxn>
                  <a:cxn ang="0">
                    <a:pos x="22" y="174"/>
                  </a:cxn>
                  <a:cxn ang="0">
                    <a:pos x="8" y="170"/>
                  </a:cxn>
                  <a:cxn ang="0">
                    <a:pos x="0" y="88"/>
                  </a:cxn>
                  <a:cxn ang="0">
                    <a:pos x="56" y="22"/>
                  </a:cxn>
                  <a:cxn ang="0">
                    <a:pos x="80" y="4"/>
                  </a:cxn>
                  <a:cxn ang="0">
                    <a:pos x="90" y="18"/>
                  </a:cxn>
                  <a:cxn ang="0">
                    <a:pos x="106" y="24"/>
                  </a:cxn>
                  <a:cxn ang="0">
                    <a:pos x="154" y="38"/>
                  </a:cxn>
                  <a:cxn ang="0">
                    <a:pos x="188" y="116"/>
                  </a:cxn>
                  <a:cxn ang="0">
                    <a:pos x="186" y="182"/>
                  </a:cxn>
                  <a:cxn ang="0">
                    <a:pos x="194" y="212"/>
                  </a:cxn>
                </a:cxnLst>
                <a:rect l="0" t="0" r="r" b="b"/>
                <a:pathLst>
                  <a:path w="246" h="294">
                    <a:moveTo>
                      <a:pt x="194" y="212"/>
                    </a:moveTo>
                    <a:lnTo>
                      <a:pt x="220" y="224"/>
                    </a:lnTo>
                    <a:lnTo>
                      <a:pt x="222" y="230"/>
                    </a:lnTo>
                    <a:lnTo>
                      <a:pt x="232" y="234"/>
                    </a:lnTo>
                    <a:lnTo>
                      <a:pt x="246" y="228"/>
                    </a:lnTo>
                    <a:lnTo>
                      <a:pt x="244" y="240"/>
                    </a:lnTo>
                    <a:lnTo>
                      <a:pt x="242" y="240"/>
                    </a:lnTo>
                    <a:lnTo>
                      <a:pt x="242" y="240"/>
                    </a:lnTo>
                    <a:lnTo>
                      <a:pt x="236" y="246"/>
                    </a:lnTo>
                    <a:lnTo>
                      <a:pt x="230" y="250"/>
                    </a:lnTo>
                    <a:lnTo>
                      <a:pt x="226" y="254"/>
                    </a:lnTo>
                    <a:lnTo>
                      <a:pt x="218" y="256"/>
                    </a:lnTo>
                    <a:lnTo>
                      <a:pt x="218" y="256"/>
                    </a:lnTo>
                    <a:lnTo>
                      <a:pt x="216" y="256"/>
                    </a:lnTo>
                    <a:lnTo>
                      <a:pt x="218" y="260"/>
                    </a:lnTo>
                    <a:lnTo>
                      <a:pt x="218" y="260"/>
                    </a:lnTo>
                    <a:lnTo>
                      <a:pt x="208" y="258"/>
                    </a:lnTo>
                    <a:lnTo>
                      <a:pt x="200" y="260"/>
                    </a:lnTo>
                    <a:lnTo>
                      <a:pt x="190" y="264"/>
                    </a:lnTo>
                    <a:lnTo>
                      <a:pt x="188" y="268"/>
                    </a:lnTo>
                    <a:lnTo>
                      <a:pt x="184" y="272"/>
                    </a:lnTo>
                    <a:lnTo>
                      <a:pt x="184" y="272"/>
                    </a:lnTo>
                    <a:lnTo>
                      <a:pt x="188" y="272"/>
                    </a:lnTo>
                    <a:lnTo>
                      <a:pt x="194" y="272"/>
                    </a:lnTo>
                    <a:lnTo>
                      <a:pt x="196" y="280"/>
                    </a:lnTo>
                    <a:lnTo>
                      <a:pt x="196" y="280"/>
                    </a:lnTo>
                    <a:lnTo>
                      <a:pt x="190" y="278"/>
                    </a:lnTo>
                    <a:lnTo>
                      <a:pt x="184" y="278"/>
                    </a:lnTo>
                    <a:lnTo>
                      <a:pt x="180" y="280"/>
                    </a:lnTo>
                    <a:lnTo>
                      <a:pt x="176" y="284"/>
                    </a:lnTo>
                    <a:lnTo>
                      <a:pt x="168" y="282"/>
                    </a:lnTo>
                    <a:lnTo>
                      <a:pt x="164" y="284"/>
                    </a:lnTo>
                    <a:lnTo>
                      <a:pt x="160" y="288"/>
                    </a:lnTo>
                    <a:lnTo>
                      <a:pt x="158" y="288"/>
                    </a:lnTo>
                    <a:lnTo>
                      <a:pt x="152" y="294"/>
                    </a:lnTo>
                    <a:lnTo>
                      <a:pt x="144" y="294"/>
                    </a:lnTo>
                    <a:lnTo>
                      <a:pt x="144" y="294"/>
                    </a:lnTo>
                    <a:lnTo>
                      <a:pt x="144" y="290"/>
                    </a:lnTo>
                    <a:lnTo>
                      <a:pt x="146" y="286"/>
                    </a:lnTo>
                    <a:lnTo>
                      <a:pt x="150" y="288"/>
                    </a:lnTo>
                    <a:lnTo>
                      <a:pt x="152" y="288"/>
                    </a:lnTo>
                    <a:lnTo>
                      <a:pt x="152" y="286"/>
                    </a:lnTo>
                    <a:lnTo>
                      <a:pt x="152" y="282"/>
                    </a:lnTo>
                    <a:lnTo>
                      <a:pt x="152" y="274"/>
                    </a:lnTo>
                    <a:lnTo>
                      <a:pt x="154" y="274"/>
                    </a:lnTo>
                    <a:lnTo>
                      <a:pt x="160" y="270"/>
                    </a:lnTo>
                    <a:lnTo>
                      <a:pt x="160" y="270"/>
                    </a:lnTo>
                    <a:lnTo>
                      <a:pt x="162" y="264"/>
                    </a:lnTo>
                    <a:lnTo>
                      <a:pt x="160" y="258"/>
                    </a:lnTo>
                    <a:lnTo>
                      <a:pt x="162" y="252"/>
                    </a:lnTo>
                    <a:lnTo>
                      <a:pt x="166" y="246"/>
                    </a:lnTo>
                    <a:lnTo>
                      <a:pt x="166" y="246"/>
                    </a:lnTo>
                    <a:lnTo>
                      <a:pt x="164" y="240"/>
                    </a:lnTo>
                    <a:lnTo>
                      <a:pt x="162" y="236"/>
                    </a:lnTo>
                    <a:lnTo>
                      <a:pt x="166" y="236"/>
                    </a:lnTo>
                    <a:lnTo>
                      <a:pt x="166" y="236"/>
                    </a:lnTo>
                    <a:lnTo>
                      <a:pt x="172" y="244"/>
                    </a:lnTo>
                    <a:lnTo>
                      <a:pt x="176" y="248"/>
                    </a:lnTo>
                    <a:lnTo>
                      <a:pt x="180" y="248"/>
                    </a:lnTo>
                    <a:lnTo>
                      <a:pt x="180" y="244"/>
                    </a:lnTo>
                    <a:lnTo>
                      <a:pt x="186" y="244"/>
                    </a:lnTo>
                    <a:lnTo>
                      <a:pt x="186" y="242"/>
                    </a:lnTo>
                    <a:lnTo>
                      <a:pt x="172" y="224"/>
                    </a:lnTo>
                    <a:lnTo>
                      <a:pt x="172" y="224"/>
                    </a:lnTo>
                    <a:lnTo>
                      <a:pt x="162" y="220"/>
                    </a:lnTo>
                    <a:lnTo>
                      <a:pt x="150" y="218"/>
                    </a:lnTo>
                    <a:lnTo>
                      <a:pt x="140" y="216"/>
                    </a:lnTo>
                    <a:lnTo>
                      <a:pt x="130" y="212"/>
                    </a:lnTo>
                    <a:lnTo>
                      <a:pt x="130" y="214"/>
                    </a:lnTo>
                    <a:lnTo>
                      <a:pt x="128" y="214"/>
                    </a:lnTo>
                    <a:lnTo>
                      <a:pt x="128" y="206"/>
                    </a:lnTo>
                    <a:lnTo>
                      <a:pt x="122" y="192"/>
                    </a:lnTo>
                    <a:lnTo>
                      <a:pt x="122" y="184"/>
                    </a:lnTo>
                    <a:lnTo>
                      <a:pt x="114" y="186"/>
                    </a:lnTo>
                    <a:lnTo>
                      <a:pt x="114" y="186"/>
                    </a:lnTo>
                    <a:lnTo>
                      <a:pt x="110" y="184"/>
                    </a:lnTo>
                    <a:lnTo>
                      <a:pt x="108" y="180"/>
                    </a:lnTo>
                    <a:lnTo>
                      <a:pt x="104" y="170"/>
                    </a:lnTo>
                    <a:lnTo>
                      <a:pt x="96" y="170"/>
                    </a:lnTo>
                    <a:lnTo>
                      <a:pt x="96" y="178"/>
                    </a:lnTo>
                    <a:lnTo>
                      <a:pt x="92" y="168"/>
                    </a:lnTo>
                    <a:lnTo>
                      <a:pt x="86" y="166"/>
                    </a:lnTo>
                    <a:lnTo>
                      <a:pt x="84" y="166"/>
                    </a:lnTo>
                    <a:lnTo>
                      <a:pt x="84" y="172"/>
                    </a:lnTo>
                    <a:lnTo>
                      <a:pt x="80" y="176"/>
                    </a:lnTo>
                    <a:lnTo>
                      <a:pt x="80" y="174"/>
                    </a:lnTo>
                    <a:lnTo>
                      <a:pt x="80" y="168"/>
                    </a:lnTo>
                    <a:lnTo>
                      <a:pt x="78" y="178"/>
                    </a:lnTo>
                    <a:lnTo>
                      <a:pt x="76" y="178"/>
                    </a:lnTo>
                    <a:lnTo>
                      <a:pt x="76" y="174"/>
                    </a:lnTo>
                    <a:lnTo>
                      <a:pt x="70" y="182"/>
                    </a:lnTo>
                    <a:lnTo>
                      <a:pt x="66" y="186"/>
                    </a:lnTo>
                    <a:lnTo>
                      <a:pt x="66" y="186"/>
                    </a:lnTo>
                    <a:lnTo>
                      <a:pt x="56" y="182"/>
                    </a:lnTo>
                    <a:lnTo>
                      <a:pt x="50" y="182"/>
                    </a:lnTo>
                    <a:lnTo>
                      <a:pt x="46" y="184"/>
                    </a:lnTo>
                    <a:lnTo>
                      <a:pt x="28" y="172"/>
                    </a:lnTo>
                    <a:lnTo>
                      <a:pt x="28" y="172"/>
                    </a:lnTo>
                    <a:lnTo>
                      <a:pt x="22" y="174"/>
                    </a:lnTo>
                    <a:lnTo>
                      <a:pt x="16" y="172"/>
                    </a:lnTo>
                    <a:lnTo>
                      <a:pt x="12" y="170"/>
                    </a:lnTo>
                    <a:lnTo>
                      <a:pt x="8" y="170"/>
                    </a:lnTo>
                    <a:lnTo>
                      <a:pt x="2" y="158"/>
                    </a:lnTo>
                    <a:lnTo>
                      <a:pt x="0" y="158"/>
                    </a:lnTo>
                    <a:lnTo>
                      <a:pt x="0" y="88"/>
                    </a:lnTo>
                    <a:lnTo>
                      <a:pt x="0" y="88"/>
                    </a:lnTo>
                    <a:lnTo>
                      <a:pt x="38" y="44"/>
                    </a:lnTo>
                    <a:lnTo>
                      <a:pt x="56" y="22"/>
                    </a:lnTo>
                    <a:lnTo>
                      <a:pt x="72" y="0"/>
                    </a:lnTo>
                    <a:lnTo>
                      <a:pt x="72" y="0"/>
                    </a:lnTo>
                    <a:lnTo>
                      <a:pt x="80" y="4"/>
                    </a:lnTo>
                    <a:lnTo>
                      <a:pt x="84" y="10"/>
                    </a:lnTo>
                    <a:lnTo>
                      <a:pt x="88" y="14"/>
                    </a:lnTo>
                    <a:lnTo>
                      <a:pt x="90" y="18"/>
                    </a:lnTo>
                    <a:lnTo>
                      <a:pt x="90" y="18"/>
                    </a:lnTo>
                    <a:lnTo>
                      <a:pt x="98" y="20"/>
                    </a:lnTo>
                    <a:lnTo>
                      <a:pt x="106" y="24"/>
                    </a:lnTo>
                    <a:lnTo>
                      <a:pt x="114" y="28"/>
                    </a:lnTo>
                    <a:lnTo>
                      <a:pt x="118" y="34"/>
                    </a:lnTo>
                    <a:lnTo>
                      <a:pt x="154" y="38"/>
                    </a:lnTo>
                    <a:lnTo>
                      <a:pt x="154" y="84"/>
                    </a:lnTo>
                    <a:lnTo>
                      <a:pt x="184" y="124"/>
                    </a:lnTo>
                    <a:lnTo>
                      <a:pt x="188" y="116"/>
                    </a:lnTo>
                    <a:lnTo>
                      <a:pt x="188" y="116"/>
                    </a:lnTo>
                    <a:lnTo>
                      <a:pt x="186" y="168"/>
                    </a:lnTo>
                    <a:lnTo>
                      <a:pt x="186" y="182"/>
                    </a:lnTo>
                    <a:lnTo>
                      <a:pt x="186" y="194"/>
                    </a:lnTo>
                    <a:lnTo>
                      <a:pt x="190" y="204"/>
                    </a:lnTo>
                    <a:lnTo>
                      <a:pt x="194" y="212"/>
                    </a:lnTo>
                    <a:lnTo>
                      <a:pt x="194" y="2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0" name="Freeform 1398">
                <a:extLst>
                  <a:ext uri="{FF2B5EF4-FFF2-40B4-BE49-F238E27FC236}">
                    <a16:creationId xmlns:a16="http://schemas.microsoft.com/office/drawing/2014/main" id="{3C61AA82-2F4D-4F82-A452-916428B6F186}"/>
                  </a:ext>
                </a:extLst>
              </p:cNvPr>
              <p:cNvSpPr>
                <a:spLocks/>
              </p:cNvSpPr>
              <p:nvPr/>
            </p:nvSpPr>
            <p:spPr bwMode="auto">
              <a:xfrm>
                <a:off x="2166" y="1956"/>
                <a:ext cx="146" cy="202"/>
              </a:xfrm>
              <a:custGeom>
                <a:avLst/>
                <a:gdLst/>
                <a:ahLst/>
                <a:cxnLst>
                  <a:cxn ang="0">
                    <a:pos x="48" y="184"/>
                  </a:cxn>
                  <a:cxn ang="0">
                    <a:pos x="50" y="174"/>
                  </a:cxn>
                  <a:cxn ang="0">
                    <a:pos x="46" y="172"/>
                  </a:cxn>
                  <a:cxn ang="0">
                    <a:pos x="44" y="184"/>
                  </a:cxn>
                  <a:cxn ang="0">
                    <a:pos x="42" y="196"/>
                  </a:cxn>
                  <a:cxn ang="0">
                    <a:pos x="32" y="188"/>
                  </a:cxn>
                  <a:cxn ang="0">
                    <a:pos x="18" y="188"/>
                  </a:cxn>
                  <a:cxn ang="0">
                    <a:pos x="16" y="176"/>
                  </a:cxn>
                  <a:cxn ang="0">
                    <a:pos x="18" y="172"/>
                  </a:cxn>
                  <a:cxn ang="0">
                    <a:pos x="14" y="176"/>
                  </a:cxn>
                  <a:cxn ang="0">
                    <a:pos x="8" y="176"/>
                  </a:cxn>
                  <a:cxn ang="0">
                    <a:pos x="8" y="162"/>
                  </a:cxn>
                  <a:cxn ang="0">
                    <a:pos x="0" y="148"/>
                  </a:cxn>
                  <a:cxn ang="0">
                    <a:pos x="2" y="136"/>
                  </a:cxn>
                  <a:cxn ang="0">
                    <a:pos x="4" y="126"/>
                  </a:cxn>
                  <a:cxn ang="0">
                    <a:pos x="8" y="130"/>
                  </a:cxn>
                  <a:cxn ang="0">
                    <a:pos x="14" y="124"/>
                  </a:cxn>
                  <a:cxn ang="0">
                    <a:pos x="48" y="76"/>
                  </a:cxn>
                  <a:cxn ang="0">
                    <a:pos x="46" y="62"/>
                  </a:cxn>
                  <a:cxn ang="0">
                    <a:pos x="40" y="56"/>
                  </a:cxn>
                  <a:cxn ang="0">
                    <a:pos x="44" y="44"/>
                  </a:cxn>
                  <a:cxn ang="0">
                    <a:pos x="44" y="40"/>
                  </a:cxn>
                  <a:cxn ang="0">
                    <a:pos x="42" y="34"/>
                  </a:cxn>
                  <a:cxn ang="0">
                    <a:pos x="36" y="22"/>
                  </a:cxn>
                  <a:cxn ang="0">
                    <a:pos x="34" y="8"/>
                  </a:cxn>
                  <a:cxn ang="0">
                    <a:pos x="40" y="0"/>
                  </a:cxn>
                  <a:cxn ang="0">
                    <a:pos x="42" y="6"/>
                  </a:cxn>
                  <a:cxn ang="0">
                    <a:pos x="46" y="22"/>
                  </a:cxn>
                  <a:cxn ang="0">
                    <a:pos x="54" y="26"/>
                  </a:cxn>
                  <a:cxn ang="0">
                    <a:pos x="46" y="32"/>
                  </a:cxn>
                  <a:cxn ang="0">
                    <a:pos x="52" y="44"/>
                  </a:cxn>
                  <a:cxn ang="0">
                    <a:pos x="62" y="50"/>
                  </a:cxn>
                  <a:cxn ang="0">
                    <a:pos x="72" y="72"/>
                  </a:cxn>
                  <a:cxn ang="0">
                    <a:pos x="72" y="84"/>
                  </a:cxn>
                  <a:cxn ang="0">
                    <a:pos x="64" y="86"/>
                  </a:cxn>
                  <a:cxn ang="0">
                    <a:pos x="74" y="98"/>
                  </a:cxn>
                  <a:cxn ang="0">
                    <a:pos x="80" y="104"/>
                  </a:cxn>
                  <a:cxn ang="0">
                    <a:pos x="90" y="114"/>
                  </a:cxn>
                  <a:cxn ang="0">
                    <a:pos x="94" y="122"/>
                  </a:cxn>
                  <a:cxn ang="0">
                    <a:pos x="104" y="122"/>
                  </a:cxn>
                  <a:cxn ang="0">
                    <a:pos x="118" y="128"/>
                  </a:cxn>
                  <a:cxn ang="0">
                    <a:pos x="124" y="136"/>
                  </a:cxn>
                  <a:cxn ang="0">
                    <a:pos x="114" y="142"/>
                  </a:cxn>
                  <a:cxn ang="0">
                    <a:pos x="96" y="150"/>
                  </a:cxn>
                  <a:cxn ang="0">
                    <a:pos x="86" y="154"/>
                  </a:cxn>
                  <a:cxn ang="0">
                    <a:pos x="90" y="164"/>
                  </a:cxn>
                  <a:cxn ang="0">
                    <a:pos x="120" y="144"/>
                  </a:cxn>
                  <a:cxn ang="0">
                    <a:pos x="126" y="162"/>
                  </a:cxn>
                  <a:cxn ang="0">
                    <a:pos x="144" y="158"/>
                  </a:cxn>
                  <a:cxn ang="0">
                    <a:pos x="144" y="168"/>
                  </a:cxn>
                  <a:cxn ang="0">
                    <a:pos x="144" y="172"/>
                  </a:cxn>
                  <a:cxn ang="0">
                    <a:pos x="146" y="180"/>
                  </a:cxn>
                  <a:cxn ang="0">
                    <a:pos x="146" y="188"/>
                  </a:cxn>
                  <a:cxn ang="0">
                    <a:pos x="128" y="190"/>
                  </a:cxn>
                </a:cxnLst>
                <a:rect l="0" t="0" r="r" b="b"/>
                <a:pathLst>
                  <a:path w="146" h="202">
                    <a:moveTo>
                      <a:pt x="48" y="190"/>
                    </a:moveTo>
                    <a:lnTo>
                      <a:pt x="48" y="190"/>
                    </a:lnTo>
                    <a:lnTo>
                      <a:pt x="50" y="190"/>
                    </a:lnTo>
                    <a:lnTo>
                      <a:pt x="48" y="184"/>
                    </a:lnTo>
                    <a:lnTo>
                      <a:pt x="44" y="182"/>
                    </a:lnTo>
                    <a:lnTo>
                      <a:pt x="48" y="178"/>
                    </a:lnTo>
                    <a:lnTo>
                      <a:pt x="52" y="178"/>
                    </a:lnTo>
                    <a:lnTo>
                      <a:pt x="50" y="174"/>
                    </a:lnTo>
                    <a:lnTo>
                      <a:pt x="50" y="170"/>
                    </a:lnTo>
                    <a:lnTo>
                      <a:pt x="48" y="168"/>
                    </a:lnTo>
                    <a:lnTo>
                      <a:pt x="46" y="168"/>
                    </a:lnTo>
                    <a:lnTo>
                      <a:pt x="46" y="172"/>
                    </a:lnTo>
                    <a:lnTo>
                      <a:pt x="44" y="174"/>
                    </a:lnTo>
                    <a:lnTo>
                      <a:pt x="44" y="174"/>
                    </a:lnTo>
                    <a:lnTo>
                      <a:pt x="42" y="178"/>
                    </a:lnTo>
                    <a:lnTo>
                      <a:pt x="44" y="184"/>
                    </a:lnTo>
                    <a:lnTo>
                      <a:pt x="44" y="184"/>
                    </a:lnTo>
                    <a:lnTo>
                      <a:pt x="42" y="188"/>
                    </a:lnTo>
                    <a:lnTo>
                      <a:pt x="40" y="194"/>
                    </a:lnTo>
                    <a:lnTo>
                      <a:pt x="42" y="196"/>
                    </a:lnTo>
                    <a:lnTo>
                      <a:pt x="38" y="200"/>
                    </a:lnTo>
                    <a:lnTo>
                      <a:pt x="36" y="196"/>
                    </a:lnTo>
                    <a:lnTo>
                      <a:pt x="38" y="194"/>
                    </a:lnTo>
                    <a:lnTo>
                      <a:pt x="32" y="188"/>
                    </a:lnTo>
                    <a:lnTo>
                      <a:pt x="28" y="186"/>
                    </a:lnTo>
                    <a:lnTo>
                      <a:pt x="26" y="190"/>
                    </a:lnTo>
                    <a:lnTo>
                      <a:pt x="18" y="184"/>
                    </a:lnTo>
                    <a:lnTo>
                      <a:pt x="18" y="188"/>
                    </a:lnTo>
                    <a:lnTo>
                      <a:pt x="16" y="186"/>
                    </a:lnTo>
                    <a:lnTo>
                      <a:pt x="16" y="184"/>
                    </a:lnTo>
                    <a:lnTo>
                      <a:pt x="16" y="182"/>
                    </a:lnTo>
                    <a:lnTo>
                      <a:pt x="16" y="176"/>
                    </a:lnTo>
                    <a:lnTo>
                      <a:pt x="18" y="176"/>
                    </a:lnTo>
                    <a:lnTo>
                      <a:pt x="16" y="174"/>
                    </a:lnTo>
                    <a:lnTo>
                      <a:pt x="18" y="172"/>
                    </a:lnTo>
                    <a:lnTo>
                      <a:pt x="18" y="172"/>
                    </a:lnTo>
                    <a:lnTo>
                      <a:pt x="16" y="170"/>
                    </a:lnTo>
                    <a:lnTo>
                      <a:pt x="14" y="172"/>
                    </a:lnTo>
                    <a:lnTo>
                      <a:pt x="14" y="172"/>
                    </a:lnTo>
                    <a:lnTo>
                      <a:pt x="14" y="176"/>
                    </a:lnTo>
                    <a:lnTo>
                      <a:pt x="12" y="178"/>
                    </a:lnTo>
                    <a:lnTo>
                      <a:pt x="10" y="176"/>
                    </a:lnTo>
                    <a:lnTo>
                      <a:pt x="10" y="176"/>
                    </a:lnTo>
                    <a:lnTo>
                      <a:pt x="8" y="176"/>
                    </a:lnTo>
                    <a:lnTo>
                      <a:pt x="8" y="176"/>
                    </a:lnTo>
                    <a:lnTo>
                      <a:pt x="8" y="170"/>
                    </a:lnTo>
                    <a:lnTo>
                      <a:pt x="10" y="164"/>
                    </a:lnTo>
                    <a:lnTo>
                      <a:pt x="8" y="162"/>
                    </a:lnTo>
                    <a:lnTo>
                      <a:pt x="8" y="158"/>
                    </a:lnTo>
                    <a:lnTo>
                      <a:pt x="4" y="158"/>
                    </a:lnTo>
                    <a:lnTo>
                      <a:pt x="4" y="154"/>
                    </a:lnTo>
                    <a:lnTo>
                      <a:pt x="0" y="148"/>
                    </a:lnTo>
                    <a:lnTo>
                      <a:pt x="4" y="144"/>
                    </a:lnTo>
                    <a:lnTo>
                      <a:pt x="4" y="144"/>
                    </a:lnTo>
                    <a:lnTo>
                      <a:pt x="2" y="140"/>
                    </a:lnTo>
                    <a:lnTo>
                      <a:pt x="2" y="136"/>
                    </a:lnTo>
                    <a:lnTo>
                      <a:pt x="6" y="138"/>
                    </a:lnTo>
                    <a:lnTo>
                      <a:pt x="8" y="134"/>
                    </a:lnTo>
                    <a:lnTo>
                      <a:pt x="6" y="134"/>
                    </a:lnTo>
                    <a:lnTo>
                      <a:pt x="4" y="126"/>
                    </a:lnTo>
                    <a:lnTo>
                      <a:pt x="6" y="126"/>
                    </a:lnTo>
                    <a:lnTo>
                      <a:pt x="6" y="126"/>
                    </a:lnTo>
                    <a:lnTo>
                      <a:pt x="6" y="126"/>
                    </a:lnTo>
                    <a:lnTo>
                      <a:pt x="8" y="130"/>
                    </a:lnTo>
                    <a:lnTo>
                      <a:pt x="12" y="132"/>
                    </a:lnTo>
                    <a:lnTo>
                      <a:pt x="14" y="130"/>
                    </a:lnTo>
                    <a:lnTo>
                      <a:pt x="14" y="130"/>
                    </a:lnTo>
                    <a:lnTo>
                      <a:pt x="14" y="124"/>
                    </a:lnTo>
                    <a:lnTo>
                      <a:pt x="12" y="120"/>
                    </a:lnTo>
                    <a:lnTo>
                      <a:pt x="12" y="120"/>
                    </a:lnTo>
                    <a:lnTo>
                      <a:pt x="48" y="136"/>
                    </a:lnTo>
                    <a:lnTo>
                      <a:pt x="48" y="76"/>
                    </a:lnTo>
                    <a:lnTo>
                      <a:pt x="46" y="76"/>
                    </a:lnTo>
                    <a:lnTo>
                      <a:pt x="46" y="76"/>
                    </a:lnTo>
                    <a:lnTo>
                      <a:pt x="52" y="66"/>
                    </a:lnTo>
                    <a:lnTo>
                      <a:pt x="46" y="62"/>
                    </a:lnTo>
                    <a:lnTo>
                      <a:pt x="44" y="64"/>
                    </a:lnTo>
                    <a:lnTo>
                      <a:pt x="42" y="56"/>
                    </a:lnTo>
                    <a:lnTo>
                      <a:pt x="40" y="56"/>
                    </a:lnTo>
                    <a:lnTo>
                      <a:pt x="40" y="56"/>
                    </a:lnTo>
                    <a:lnTo>
                      <a:pt x="42" y="50"/>
                    </a:lnTo>
                    <a:lnTo>
                      <a:pt x="48" y="46"/>
                    </a:lnTo>
                    <a:lnTo>
                      <a:pt x="46" y="44"/>
                    </a:lnTo>
                    <a:lnTo>
                      <a:pt x="44" y="44"/>
                    </a:lnTo>
                    <a:lnTo>
                      <a:pt x="44" y="42"/>
                    </a:lnTo>
                    <a:lnTo>
                      <a:pt x="52" y="40"/>
                    </a:lnTo>
                    <a:lnTo>
                      <a:pt x="48" y="36"/>
                    </a:lnTo>
                    <a:lnTo>
                      <a:pt x="44" y="40"/>
                    </a:lnTo>
                    <a:lnTo>
                      <a:pt x="42" y="36"/>
                    </a:lnTo>
                    <a:lnTo>
                      <a:pt x="34" y="34"/>
                    </a:lnTo>
                    <a:lnTo>
                      <a:pt x="36" y="32"/>
                    </a:lnTo>
                    <a:lnTo>
                      <a:pt x="42" y="34"/>
                    </a:lnTo>
                    <a:lnTo>
                      <a:pt x="38" y="28"/>
                    </a:lnTo>
                    <a:lnTo>
                      <a:pt x="40" y="22"/>
                    </a:lnTo>
                    <a:lnTo>
                      <a:pt x="42" y="20"/>
                    </a:lnTo>
                    <a:lnTo>
                      <a:pt x="36" y="22"/>
                    </a:lnTo>
                    <a:lnTo>
                      <a:pt x="36" y="20"/>
                    </a:lnTo>
                    <a:lnTo>
                      <a:pt x="36" y="12"/>
                    </a:lnTo>
                    <a:lnTo>
                      <a:pt x="38" y="10"/>
                    </a:lnTo>
                    <a:lnTo>
                      <a:pt x="34" y="8"/>
                    </a:lnTo>
                    <a:lnTo>
                      <a:pt x="36" y="2"/>
                    </a:lnTo>
                    <a:lnTo>
                      <a:pt x="40" y="0"/>
                    </a:lnTo>
                    <a:lnTo>
                      <a:pt x="40" y="0"/>
                    </a:lnTo>
                    <a:lnTo>
                      <a:pt x="40" y="0"/>
                    </a:lnTo>
                    <a:lnTo>
                      <a:pt x="40" y="2"/>
                    </a:lnTo>
                    <a:lnTo>
                      <a:pt x="40" y="2"/>
                    </a:lnTo>
                    <a:lnTo>
                      <a:pt x="40" y="2"/>
                    </a:lnTo>
                    <a:lnTo>
                      <a:pt x="42" y="6"/>
                    </a:lnTo>
                    <a:lnTo>
                      <a:pt x="40" y="10"/>
                    </a:lnTo>
                    <a:lnTo>
                      <a:pt x="40" y="10"/>
                    </a:lnTo>
                    <a:lnTo>
                      <a:pt x="44" y="18"/>
                    </a:lnTo>
                    <a:lnTo>
                      <a:pt x="46" y="22"/>
                    </a:lnTo>
                    <a:lnTo>
                      <a:pt x="50" y="24"/>
                    </a:lnTo>
                    <a:lnTo>
                      <a:pt x="52" y="24"/>
                    </a:lnTo>
                    <a:lnTo>
                      <a:pt x="52" y="26"/>
                    </a:lnTo>
                    <a:lnTo>
                      <a:pt x="54" y="26"/>
                    </a:lnTo>
                    <a:lnTo>
                      <a:pt x="54" y="28"/>
                    </a:lnTo>
                    <a:lnTo>
                      <a:pt x="50" y="30"/>
                    </a:lnTo>
                    <a:lnTo>
                      <a:pt x="46" y="30"/>
                    </a:lnTo>
                    <a:lnTo>
                      <a:pt x="46" y="32"/>
                    </a:lnTo>
                    <a:lnTo>
                      <a:pt x="56" y="30"/>
                    </a:lnTo>
                    <a:lnTo>
                      <a:pt x="58" y="40"/>
                    </a:lnTo>
                    <a:lnTo>
                      <a:pt x="60" y="40"/>
                    </a:lnTo>
                    <a:lnTo>
                      <a:pt x="52" y="44"/>
                    </a:lnTo>
                    <a:lnTo>
                      <a:pt x="62" y="44"/>
                    </a:lnTo>
                    <a:lnTo>
                      <a:pt x="64" y="48"/>
                    </a:lnTo>
                    <a:lnTo>
                      <a:pt x="60" y="50"/>
                    </a:lnTo>
                    <a:lnTo>
                      <a:pt x="62" y="50"/>
                    </a:lnTo>
                    <a:lnTo>
                      <a:pt x="72" y="66"/>
                    </a:lnTo>
                    <a:lnTo>
                      <a:pt x="64" y="70"/>
                    </a:lnTo>
                    <a:lnTo>
                      <a:pt x="70" y="70"/>
                    </a:lnTo>
                    <a:lnTo>
                      <a:pt x="72" y="72"/>
                    </a:lnTo>
                    <a:lnTo>
                      <a:pt x="72" y="74"/>
                    </a:lnTo>
                    <a:lnTo>
                      <a:pt x="76" y="76"/>
                    </a:lnTo>
                    <a:lnTo>
                      <a:pt x="78" y="80"/>
                    </a:lnTo>
                    <a:lnTo>
                      <a:pt x="72" y="84"/>
                    </a:lnTo>
                    <a:lnTo>
                      <a:pt x="74" y="88"/>
                    </a:lnTo>
                    <a:lnTo>
                      <a:pt x="66" y="84"/>
                    </a:lnTo>
                    <a:lnTo>
                      <a:pt x="64" y="86"/>
                    </a:lnTo>
                    <a:lnTo>
                      <a:pt x="64" y="86"/>
                    </a:lnTo>
                    <a:lnTo>
                      <a:pt x="70" y="88"/>
                    </a:lnTo>
                    <a:lnTo>
                      <a:pt x="74" y="92"/>
                    </a:lnTo>
                    <a:lnTo>
                      <a:pt x="70" y="92"/>
                    </a:lnTo>
                    <a:lnTo>
                      <a:pt x="74" y="98"/>
                    </a:lnTo>
                    <a:lnTo>
                      <a:pt x="72" y="96"/>
                    </a:lnTo>
                    <a:lnTo>
                      <a:pt x="70" y="100"/>
                    </a:lnTo>
                    <a:lnTo>
                      <a:pt x="78" y="98"/>
                    </a:lnTo>
                    <a:lnTo>
                      <a:pt x="80" y="104"/>
                    </a:lnTo>
                    <a:lnTo>
                      <a:pt x="78" y="106"/>
                    </a:lnTo>
                    <a:lnTo>
                      <a:pt x="78" y="106"/>
                    </a:lnTo>
                    <a:lnTo>
                      <a:pt x="86" y="110"/>
                    </a:lnTo>
                    <a:lnTo>
                      <a:pt x="90" y="114"/>
                    </a:lnTo>
                    <a:lnTo>
                      <a:pt x="90" y="116"/>
                    </a:lnTo>
                    <a:lnTo>
                      <a:pt x="88" y="120"/>
                    </a:lnTo>
                    <a:lnTo>
                      <a:pt x="92" y="118"/>
                    </a:lnTo>
                    <a:lnTo>
                      <a:pt x="94" y="122"/>
                    </a:lnTo>
                    <a:lnTo>
                      <a:pt x="98" y="118"/>
                    </a:lnTo>
                    <a:lnTo>
                      <a:pt x="98" y="118"/>
                    </a:lnTo>
                    <a:lnTo>
                      <a:pt x="98" y="126"/>
                    </a:lnTo>
                    <a:lnTo>
                      <a:pt x="104" y="122"/>
                    </a:lnTo>
                    <a:lnTo>
                      <a:pt x="104" y="124"/>
                    </a:lnTo>
                    <a:lnTo>
                      <a:pt x="106" y="122"/>
                    </a:lnTo>
                    <a:lnTo>
                      <a:pt x="114" y="132"/>
                    </a:lnTo>
                    <a:lnTo>
                      <a:pt x="118" y="128"/>
                    </a:lnTo>
                    <a:lnTo>
                      <a:pt x="118" y="130"/>
                    </a:lnTo>
                    <a:lnTo>
                      <a:pt x="118" y="132"/>
                    </a:lnTo>
                    <a:lnTo>
                      <a:pt x="124" y="134"/>
                    </a:lnTo>
                    <a:lnTo>
                      <a:pt x="124" y="136"/>
                    </a:lnTo>
                    <a:lnTo>
                      <a:pt x="124" y="138"/>
                    </a:lnTo>
                    <a:lnTo>
                      <a:pt x="124" y="138"/>
                    </a:lnTo>
                    <a:lnTo>
                      <a:pt x="120" y="140"/>
                    </a:lnTo>
                    <a:lnTo>
                      <a:pt x="114" y="142"/>
                    </a:lnTo>
                    <a:lnTo>
                      <a:pt x="106" y="144"/>
                    </a:lnTo>
                    <a:lnTo>
                      <a:pt x="102" y="146"/>
                    </a:lnTo>
                    <a:lnTo>
                      <a:pt x="102" y="146"/>
                    </a:lnTo>
                    <a:lnTo>
                      <a:pt x="96" y="150"/>
                    </a:lnTo>
                    <a:lnTo>
                      <a:pt x="94" y="152"/>
                    </a:lnTo>
                    <a:lnTo>
                      <a:pt x="92" y="156"/>
                    </a:lnTo>
                    <a:lnTo>
                      <a:pt x="92" y="156"/>
                    </a:lnTo>
                    <a:lnTo>
                      <a:pt x="86" y="154"/>
                    </a:lnTo>
                    <a:lnTo>
                      <a:pt x="80" y="152"/>
                    </a:lnTo>
                    <a:lnTo>
                      <a:pt x="82" y="154"/>
                    </a:lnTo>
                    <a:lnTo>
                      <a:pt x="90" y="158"/>
                    </a:lnTo>
                    <a:lnTo>
                      <a:pt x="90" y="164"/>
                    </a:lnTo>
                    <a:lnTo>
                      <a:pt x="90" y="164"/>
                    </a:lnTo>
                    <a:lnTo>
                      <a:pt x="106" y="150"/>
                    </a:lnTo>
                    <a:lnTo>
                      <a:pt x="116" y="144"/>
                    </a:lnTo>
                    <a:lnTo>
                      <a:pt x="120" y="144"/>
                    </a:lnTo>
                    <a:lnTo>
                      <a:pt x="126" y="144"/>
                    </a:lnTo>
                    <a:lnTo>
                      <a:pt x="128" y="152"/>
                    </a:lnTo>
                    <a:lnTo>
                      <a:pt x="126" y="156"/>
                    </a:lnTo>
                    <a:lnTo>
                      <a:pt x="126" y="162"/>
                    </a:lnTo>
                    <a:lnTo>
                      <a:pt x="132" y="154"/>
                    </a:lnTo>
                    <a:lnTo>
                      <a:pt x="136" y="154"/>
                    </a:lnTo>
                    <a:lnTo>
                      <a:pt x="136" y="154"/>
                    </a:lnTo>
                    <a:lnTo>
                      <a:pt x="144" y="158"/>
                    </a:lnTo>
                    <a:lnTo>
                      <a:pt x="142" y="160"/>
                    </a:lnTo>
                    <a:lnTo>
                      <a:pt x="146" y="164"/>
                    </a:lnTo>
                    <a:lnTo>
                      <a:pt x="146" y="166"/>
                    </a:lnTo>
                    <a:lnTo>
                      <a:pt x="144" y="168"/>
                    </a:lnTo>
                    <a:lnTo>
                      <a:pt x="138" y="166"/>
                    </a:lnTo>
                    <a:lnTo>
                      <a:pt x="140" y="168"/>
                    </a:lnTo>
                    <a:lnTo>
                      <a:pt x="142" y="170"/>
                    </a:lnTo>
                    <a:lnTo>
                      <a:pt x="144" y="172"/>
                    </a:lnTo>
                    <a:lnTo>
                      <a:pt x="142" y="174"/>
                    </a:lnTo>
                    <a:lnTo>
                      <a:pt x="144" y="178"/>
                    </a:lnTo>
                    <a:lnTo>
                      <a:pt x="144" y="180"/>
                    </a:lnTo>
                    <a:lnTo>
                      <a:pt x="146" y="180"/>
                    </a:lnTo>
                    <a:lnTo>
                      <a:pt x="146" y="184"/>
                    </a:lnTo>
                    <a:lnTo>
                      <a:pt x="144" y="184"/>
                    </a:lnTo>
                    <a:lnTo>
                      <a:pt x="146" y="188"/>
                    </a:lnTo>
                    <a:lnTo>
                      <a:pt x="146" y="188"/>
                    </a:lnTo>
                    <a:lnTo>
                      <a:pt x="138" y="198"/>
                    </a:lnTo>
                    <a:lnTo>
                      <a:pt x="134" y="202"/>
                    </a:lnTo>
                    <a:lnTo>
                      <a:pt x="128" y="202"/>
                    </a:lnTo>
                    <a:lnTo>
                      <a:pt x="128" y="190"/>
                    </a:lnTo>
                    <a:lnTo>
                      <a:pt x="48" y="19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1" name="Line 1399">
                <a:extLst>
                  <a:ext uri="{FF2B5EF4-FFF2-40B4-BE49-F238E27FC236}">
                    <a16:creationId xmlns:a16="http://schemas.microsoft.com/office/drawing/2014/main" id="{D6707DE2-3D9B-471E-9107-3D355FD59514}"/>
                  </a:ext>
                </a:extLst>
              </p:cNvPr>
              <p:cNvSpPr>
                <a:spLocks noChangeShapeType="1"/>
              </p:cNvSpPr>
              <p:nvPr/>
            </p:nvSpPr>
            <p:spPr bwMode="auto">
              <a:xfrm>
                <a:off x="2180" y="1326"/>
                <a:ext cx="1" cy="1"/>
              </a:xfrm>
              <a:prstGeom prst="line">
                <a:avLst/>
              </a:prstGeom>
              <a:grpFill/>
              <a:ln w="3175">
                <a:solidFill>
                  <a:schemeClr val="bg1"/>
                </a:solidFill>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2" name="Freeform 1400">
                <a:extLst>
                  <a:ext uri="{FF2B5EF4-FFF2-40B4-BE49-F238E27FC236}">
                    <a16:creationId xmlns:a16="http://schemas.microsoft.com/office/drawing/2014/main" id="{407C6357-A66F-4CDB-931C-C485B200CAD7}"/>
                  </a:ext>
                </a:extLst>
              </p:cNvPr>
              <p:cNvSpPr>
                <a:spLocks/>
              </p:cNvSpPr>
              <p:nvPr/>
            </p:nvSpPr>
            <p:spPr bwMode="auto">
              <a:xfrm>
                <a:off x="1468" y="1462"/>
                <a:ext cx="128" cy="152"/>
              </a:xfrm>
              <a:custGeom>
                <a:avLst/>
                <a:gdLst/>
                <a:ahLst/>
                <a:cxnLst>
                  <a:cxn ang="0">
                    <a:pos x="26" y="34"/>
                  </a:cxn>
                  <a:cxn ang="0">
                    <a:pos x="26" y="34"/>
                  </a:cxn>
                  <a:cxn ang="0">
                    <a:pos x="20" y="50"/>
                  </a:cxn>
                  <a:cxn ang="0">
                    <a:pos x="12" y="66"/>
                  </a:cxn>
                  <a:cxn ang="0">
                    <a:pos x="16" y="74"/>
                  </a:cxn>
                  <a:cxn ang="0">
                    <a:pos x="10" y="76"/>
                  </a:cxn>
                  <a:cxn ang="0">
                    <a:pos x="10" y="76"/>
                  </a:cxn>
                  <a:cxn ang="0">
                    <a:pos x="12" y="82"/>
                  </a:cxn>
                  <a:cxn ang="0">
                    <a:pos x="10" y="88"/>
                  </a:cxn>
                  <a:cxn ang="0">
                    <a:pos x="12" y="90"/>
                  </a:cxn>
                  <a:cxn ang="0">
                    <a:pos x="12" y="90"/>
                  </a:cxn>
                  <a:cxn ang="0">
                    <a:pos x="8" y="96"/>
                  </a:cxn>
                  <a:cxn ang="0">
                    <a:pos x="6" y="100"/>
                  </a:cxn>
                  <a:cxn ang="0">
                    <a:pos x="8" y="104"/>
                  </a:cxn>
                  <a:cxn ang="0">
                    <a:pos x="4" y="106"/>
                  </a:cxn>
                  <a:cxn ang="0">
                    <a:pos x="4" y="108"/>
                  </a:cxn>
                  <a:cxn ang="0">
                    <a:pos x="4" y="110"/>
                  </a:cxn>
                  <a:cxn ang="0">
                    <a:pos x="4" y="112"/>
                  </a:cxn>
                  <a:cxn ang="0">
                    <a:pos x="0" y="116"/>
                  </a:cxn>
                  <a:cxn ang="0">
                    <a:pos x="0" y="116"/>
                  </a:cxn>
                  <a:cxn ang="0">
                    <a:pos x="8" y="118"/>
                  </a:cxn>
                  <a:cxn ang="0">
                    <a:pos x="16" y="122"/>
                  </a:cxn>
                  <a:cxn ang="0">
                    <a:pos x="18" y="120"/>
                  </a:cxn>
                  <a:cxn ang="0">
                    <a:pos x="18" y="120"/>
                  </a:cxn>
                  <a:cxn ang="0">
                    <a:pos x="22" y="126"/>
                  </a:cxn>
                  <a:cxn ang="0">
                    <a:pos x="28" y="134"/>
                  </a:cxn>
                  <a:cxn ang="0">
                    <a:pos x="34" y="152"/>
                  </a:cxn>
                  <a:cxn ang="0">
                    <a:pos x="52" y="134"/>
                  </a:cxn>
                  <a:cxn ang="0">
                    <a:pos x="56" y="140"/>
                  </a:cxn>
                  <a:cxn ang="0">
                    <a:pos x="64" y="134"/>
                  </a:cxn>
                  <a:cxn ang="0">
                    <a:pos x="64" y="134"/>
                  </a:cxn>
                  <a:cxn ang="0">
                    <a:pos x="66" y="126"/>
                  </a:cxn>
                  <a:cxn ang="0">
                    <a:pos x="66" y="120"/>
                  </a:cxn>
                  <a:cxn ang="0">
                    <a:pos x="68" y="112"/>
                  </a:cxn>
                  <a:cxn ang="0">
                    <a:pos x="70" y="104"/>
                  </a:cxn>
                  <a:cxn ang="0">
                    <a:pos x="80" y="100"/>
                  </a:cxn>
                  <a:cxn ang="0">
                    <a:pos x="82" y="88"/>
                  </a:cxn>
                  <a:cxn ang="0">
                    <a:pos x="82" y="88"/>
                  </a:cxn>
                  <a:cxn ang="0">
                    <a:pos x="104" y="70"/>
                  </a:cxn>
                  <a:cxn ang="0">
                    <a:pos x="128" y="52"/>
                  </a:cxn>
                  <a:cxn ang="0">
                    <a:pos x="128" y="46"/>
                  </a:cxn>
                  <a:cxn ang="0">
                    <a:pos x="102" y="16"/>
                  </a:cxn>
                  <a:cxn ang="0">
                    <a:pos x="86" y="16"/>
                  </a:cxn>
                  <a:cxn ang="0">
                    <a:pos x="84" y="20"/>
                  </a:cxn>
                  <a:cxn ang="0">
                    <a:pos x="86" y="22"/>
                  </a:cxn>
                  <a:cxn ang="0">
                    <a:pos x="84" y="26"/>
                  </a:cxn>
                  <a:cxn ang="0">
                    <a:pos x="82" y="28"/>
                  </a:cxn>
                  <a:cxn ang="0">
                    <a:pos x="82" y="18"/>
                  </a:cxn>
                  <a:cxn ang="0">
                    <a:pos x="80" y="16"/>
                  </a:cxn>
                  <a:cxn ang="0">
                    <a:pos x="76" y="24"/>
                  </a:cxn>
                  <a:cxn ang="0">
                    <a:pos x="74" y="20"/>
                  </a:cxn>
                  <a:cxn ang="0">
                    <a:pos x="76" y="16"/>
                  </a:cxn>
                  <a:cxn ang="0">
                    <a:pos x="54" y="0"/>
                  </a:cxn>
                  <a:cxn ang="0">
                    <a:pos x="36" y="4"/>
                  </a:cxn>
                  <a:cxn ang="0">
                    <a:pos x="36" y="10"/>
                  </a:cxn>
                  <a:cxn ang="0">
                    <a:pos x="32" y="4"/>
                  </a:cxn>
                  <a:cxn ang="0">
                    <a:pos x="16" y="8"/>
                  </a:cxn>
                  <a:cxn ang="0">
                    <a:pos x="22" y="16"/>
                  </a:cxn>
                  <a:cxn ang="0">
                    <a:pos x="20" y="20"/>
                  </a:cxn>
                  <a:cxn ang="0">
                    <a:pos x="20" y="20"/>
                  </a:cxn>
                  <a:cxn ang="0">
                    <a:pos x="22" y="28"/>
                  </a:cxn>
                  <a:cxn ang="0">
                    <a:pos x="26" y="34"/>
                  </a:cxn>
                  <a:cxn ang="0">
                    <a:pos x="26" y="34"/>
                  </a:cxn>
                </a:cxnLst>
                <a:rect l="0" t="0" r="r" b="b"/>
                <a:pathLst>
                  <a:path w="128" h="152">
                    <a:moveTo>
                      <a:pt x="26" y="34"/>
                    </a:moveTo>
                    <a:lnTo>
                      <a:pt x="26" y="34"/>
                    </a:lnTo>
                    <a:lnTo>
                      <a:pt x="20" y="50"/>
                    </a:lnTo>
                    <a:lnTo>
                      <a:pt x="12" y="66"/>
                    </a:lnTo>
                    <a:lnTo>
                      <a:pt x="16" y="74"/>
                    </a:lnTo>
                    <a:lnTo>
                      <a:pt x="10" y="76"/>
                    </a:lnTo>
                    <a:lnTo>
                      <a:pt x="10" y="76"/>
                    </a:lnTo>
                    <a:lnTo>
                      <a:pt x="12" y="82"/>
                    </a:lnTo>
                    <a:lnTo>
                      <a:pt x="10" y="88"/>
                    </a:lnTo>
                    <a:lnTo>
                      <a:pt x="12" y="90"/>
                    </a:lnTo>
                    <a:lnTo>
                      <a:pt x="12" y="90"/>
                    </a:lnTo>
                    <a:lnTo>
                      <a:pt x="8" y="96"/>
                    </a:lnTo>
                    <a:lnTo>
                      <a:pt x="6" y="100"/>
                    </a:lnTo>
                    <a:lnTo>
                      <a:pt x="8" y="104"/>
                    </a:lnTo>
                    <a:lnTo>
                      <a:pt x="4" y="106"/>
                    </a:lnTo>
                    <a:lnTo>
                      <a:pt x="4" y="108"/>
                    </a:lnTo>
                    <a:lnTo>
                      <a:pt x="4" y="110"/>
                    </a:lnTo>
                    <a:lnTo>
                      <a:pt x="4" y="112"/>
                    </a:lnTo>
                    <a:lnTo>
                      <a:pt x="0" y="116"/>
                    </a:lnTo>
                    <a:lnTo>
                      <a:pt x="0" y="116"/>
                    </a:lnTo>
                    <a:lnTo>
                      <a:pt x="8" y="118"/>
                    </a:lnTo>
                    <a:lnTo>
                      <a:pt x="16" y="122"/>
                    </a:lnTo>
                    <a:lnTo>
                      <a:pt x="18" y="120"/>
                    </a:lnTo>
                    <a:lnTo>
                      <a:pt x="18" y="120"/>
                    </a:lnTo>
                    <a:lnTo>
                      <a:pt x="22" y="126"/>
                    </a:lnTo>
                    <a:lnTo>
                      <a:pt x="28" y="134"/>
                    </a:lnTo>
                    <a:lnTo>
                      <a:pt x="34" y="152"/>
                    </a:lnTo>
                    <a:lnTo>
                      <a:pt x="52" y="134"/>
                    </a:lnTo>
                    <a:lnTo>
                      <a:pt x="56" y="140"/>
                    </a:lnTo>
                    <a:lnTo>
                      <a:pt x="64" y="134"/>
                    </a:lnTo>
                    <a:lnTo>
                      <a:pt x="64" y="134"/>
                    </a:lnTo>
                    <a:lnTo>
                      <a:pt x="66" y="126"/>
                    </a:lnTo>
                    <a:lnTo>
                      <a:pt x="66" y="120"/>
                    </a:lnTo>
                    <a:lnTo>
                      <a:pt x="68" y="112"/>
                    </a:lnTo>
                    <a:lnTo>
                      <a:pt x="70" y="104"/>
                    </a:lnTo>
                    <a:lnTo>
                      <a:pt x="80" y="100"/>
                    </a:lnTo>
                    <a:lnTo>
                      <a:pt x="82" y="88"/>
                    </a:lnTo>
                    <a:lnTo>
                      <a:pt x="82" y="88"/>
                    </a:lnTo>
                    <a:lnTo>
                      <a:pt x="104" y="70"/>
                    </a:lnTo>
                    <a:lnTo>
                      <a:pt x="128" y="52"/>
                    </a:lnTo>
                    <a:lnTo>
                      <a:pt x="128" y="46"/>
                    </a:lnTo>
                    <a:lnTo>
                      <a:pt x="102" y="16"/>
                    </a:lnTo>
                    <a:lnTo>
                      <a:pt x="86" y="16"/>
                    </a:lnTo>
                    <a:lnTo>
                      <a:pt x="84" y="20"/>
                    </a:lnTo>
                    <a:lnTo>
                      <a:pt x="86" y="22"/>
                    </a:lnTo>
                    <a:lnTo>
                      <a:pt x="84" y="26"/>
                    </a:lnTo>
                    <a:lnTo>
                      <a:pt x="82" y="28"/>
                    </a:lnTo>
                    <a:lnTo>
                      <a:pt x="82" y="18"/>
                    </a:lnTo>
                    <a:lnTo>
                      <a:pt x="80" y="16"/>
                    </a:lnTo>
                    <a:lnTo>
                      <a:pt x="76" y="24"/>
                    </a:lnTo>
                    <a:lnTo>
                      <a:pt x="74" y="20"/>
                    </a:lnTo>
                    <a:lnTo>
                      <a:pt x="76" y="16"/>
                    </a:lnTo>
                    <a:lnTo>
                      <a:pt x="54" y="0"/>
                    </a:lnTo>
                    <a:lnTo>
                      <a:pt x="36" y="4"/>
                    </a:lnTo>
                    <a:lnTo>
                      <a:pt x="36" y="10"/>
                    </a:lnTo>
                    <a:lnTo>
                      <a:pt x="32" y="4"/>
                    </a:lnTo>
                    <a:lnTo>
                      <a:pt x="16" y="8"/>
                    </a:lnTo>
                    <a:lnTo>
                      <a:pt x="22" y="16"/>
                    </a:lnTo>
                    <a:lnTo>
                      <a:pt x="20" y="20"/>
                    </a:lnTo>
                    <a:lnTo>
                      <a:pt x="20" y="20"/>
                    </a:lnTo>
                    <a:lnTo>
                      <a:pt x="22" y="28"/>
                    </a:lnTo>
                    <a:lnTo>
                      <a:pt x="26" y="34"/>
                    </a:lnTo>
                    <a:lnTo>
                      <a:pt x="26" y="3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3" name="Freeform 1401">
                <a:extLst>
                  <a:ext uri="{FF2B5EF4-FFF2-40B4-BE49-F238E27FC236}">
                    <a16:creationId xmlns:a16="http://schemas.microsoft.com/office/drawing/2014/main" id="{9F8C36E3-D2E1-4158-AB0D-AC8A88AAAC58}"/>
                  </a:ext>
                </a:extLst>
              </p:cNvPr>
              <p:cNvSpPr>
                <a:spLocks/>
              </p:cNvSpPr>
              <p:nvPr/>
            </p:nvSpPr>
            <p:spPr bwMode="auto">
              <a:xfrm>
                <a:off x="1552" y="1518"/>
                <a:ext cx="218" cy="192"/>
              </a:xfrm>
              <a:custGeom>
                <a:avLst/>
                <a:gdLst/>
                <a:ahLst/>
                <a:cxnLst>
                  <a:cxn ang="0">
                    <a:pos x="30" y="158"/>
                  </a:cxn>
                  <a:cxn ang="0">
                    <a:pos x="20" y="136"/>
                  </a:cxn>
                  <a:cxn ang="0">
                    <a:pos x="48" y="128"/>
                  </a:cxn>
                  <a:cxn ang="0">
                    <a:pos x="78" y="128"/>
                  </a:cxn>
                  <a:cxn ang="0">
                    <a:pos x="62" y="112"/>
                  </a:cxn>
                  <a:cxn ang="0">
                    <a:pos x="38" y="114"/>
                  </a:cxn>
                  <a:cxn ang="0">
                    <a:pos x="8" y="98"/>
                  </a:cxn>
                  <a:cxn ang="0">
                    <a:pos x="22" y="90"/>
                  </a:cxn>
                  <a:cxn ang="0">
                    <a:pos x="10" y="86"/>
                  </a:cxn>
                  <a:cxn ang="0">
                    <a:pos x="14" y="74"/>
                  </a:cxn>
                  <a:cxn ang="0">
                    <a:pos x="6" y="52"/>
                  </a:cxn>
                  <a:cxn ang="0">
                    <a:pos x="6" y="44"/>
                  </a:cxn>
                  <a:cxn ang="0">
                    <a:pos x="12" y="30"/>
                  </a:cxn>
                  <a:cxn ang="0">
                    <a:pos x="52" y="0"/>
                  </a:cxn>
                  <a:cxn ang="0">
                    <a:pos x="58" y="14"/>
                  </a:cxn>
                  <a:cxn ang="0">
                    <a:pos x="52" y="34"/>
                  </a:cxn>
                  <a:cxn ang="0">
                    <a:pos x="64" y="24"/>
                  </a:cxn>
                  <a:cxn ang="0">
                    <a:pos x="92" y="30"/>
                  </a:cxn>
                  <a:cxn ang="0">
                    <a:pos x="92" y="40"/>
                  </a:cxn>
                  <a:cxn ang="0">
                    <a:pos x="98" y="36"/>
                  </a:cxn>
                  <a:cxn ang="0">
                    <a:pos x="110" y="30"/>
                  </a:cxn>
                  <a:cxn ang="0">
                    <a:pos x="124" y="36"/>
                  </a:cxn>
                  <a:cxn ang="0">
                    <a:pos x="126" y="58"/>
                  </a:cxn>
                  <a:cxn ang="0">
                    <a:pos x="128" y="66"/>
                  </a:cxn>
                  <a:cxn ang="0">
                    <a:pos x="130" y="74"/>
                  </a:cxn>
                  <a:cxn ang="0">
                    <a:pos x="140" y="62"/>
                  </a:cxn>
                  <a:cxn ang="0">
                    <a:pos x="134" y="36"/>
                  </a:cxn>
                  <a:cxn ang="0">
                    <a:pos x="130" y="10"/>
                  </a:cxn>
                  <a:cxn ang="0">
                    <a:pos x="138" y="4"/>
                  </a:cxn>
                  <a:cxn ang="0">
                    <a:pos x="144" y="4"/>
                  </a:cxn>
                  <a:cxn ang="0">
                    <a:pos x="162" y="30"/>
                  </a:cxn>
                  <a:cxn ang="0">
                    <a:pos x="166" y="34"/>
                  </a:cxn>
                  <a:cxn ang="0">
                    <a:pos x="168" y="58"/>
                  </a:cxn>
                  <a:cxn ang="0">
                    <a:pos x="176" y="84"/>
                  </a:cxn>
                  <a:cxn ang="0">
                    <a:pos x="174" y="94"/>
                  </a:cxn>
                  <a:cxn ang="0">
                    <a:pos x="196" y="114"/>
                  </a:cxn>
                  <a:cxn ang="0">
                    <a:pos x="210" y="132"/>
                  </a:cxn>
                  <a:cxn ang="0">
                    <a:pos x="218" y="140"/>
                  </a:cxn>
                  <a:cxn ang="0">
                    <a:pos x="212" y="146"/>
                  </a:cxn>
                  <a:cxn ang="0">
                    <a:pos x="204" y="140"/>
                  </a:cxn>
                  <a:cxn ang="0">
                    <a:pos x="190" y="154"/>
                  </a:cxn>
                  <a:cxn ang="0">
                    <a:pos x="202" y="156"/>
                  </a:cxn>
                  <a:cxn ang="0">
                    <a:pos x="202" y="166"/>
                  </a:cxn>
                  <a:cxn ang="0">
                    <a:pos x="206" y="174"/>
                  </a:cxn>
                  <a:cxn ang="0">
                    <a:pos x="166" y="176"/>
                  </a:cxn>
                  <a:cxn ang="0">
                    <a:pos x="152" y="160"/>
                  </a:cxn>
                  <a:cxn ang="0">
                    <a:pos x="144" y="166"/>
                  </a:cxn>
                  <a:cxn ang="0">
                    <a:pos x="126" y="176"/>
                  </a:cxn>
                  <a:cxn ang="0">
                    <a:pos x="100" y="190"/>
                  </a:cxn>
                  <a:cxn ang="0">
                    <a:pos x="72" y="190"/>
                  </a:cxn>
                  <a:cxn ang="0">
                    <a:pos x="66" y="182"/>
                  </a:cxn>
                  <a:cxn ang="0">
                    <a:pos x="60" y="164"/>
                  </a:cxn>
                  <a:cxn ang="0">
                    <a:pos x="38" y="164"/>
                  </a:cxn>
                </a:cxnLst>
                <a:rect l="0" t="0" r="r" b="b"/>
                <a:pathLst>
                  <a:path w="218" h="192">
                    <a:moveTo>
                      <a:pt x="38" y="164"/>
                    </a:moveTo>
                    <a:lnTo>
                      <a:pt x="38" y="164"/>
                    </a:lnTo>
                    <a:lnTo>
                      <a:pt x="30" y="158"/>
                    </a:lnTo>
                    <a:lnTo>
                      <a:pt x="26" y="152"/>
                    </a:lnTo>
                    <a:lnTo>
                      <a:pt x="22" y="146"/>
                    </a:lnTo>
                    <a:lnTo>
                      <a:pt x="20" y="136"/>
                    </a:lnTo>
                    <a:lnTo>
                      <a:pt x="20" y="136"/>
                    </a:lnTo>
                    <a:lnTo>
                      <a:pt x="32" y="132"/>
                    </a:lnTo>
                    <a:lnTo>
                      <a:pt x="48" y="128"/>
                    </a:lnTo>
                    <a:lnTo>
                      <a:pt x="64" y="126"/>
                    </a:lnTo>
                    <a:lnTo>
                      <a:pt x="72" y="126"/>
                    </a:lnTo>
                    <a:lnTo>
                      <a:pt x="78" y="128"/>
                    </a:lnTo>
                    <a:lnTo>
                      <a:pt x="80" y="126"/>
                    </a:lnTo>
                    <a:lnTo>
                      <a:pt x="80" y="122"/>
                    </a:lnTo>
                    <a:lnTo>
                      <a:pt x="62" y="112"/>
                    </a:lnTo>
                    <a:lnTo>
                      <a:pt x="42" y="118"/>
                    </a:lnTo>
                    <a:lnTo>
                      <a:pt x="42" y="118"/>
                    </a:lnTo>
                    <a:lnTo>
                      <a:pt x="38" y="114"/>
                    </a:lnTo>
                    <a:lnTo>
                      <a:pt x="30" y="114"/>
                    </a:lnTo>
                    <a:lnTo>
                      <a:pt x="18" y="114"/>
                    </a:lnTo>
                    <a:lnTo>
                      <a:pt x="8" y="98"/>
                    </a:lnTo>
                    <a:lnTo>
                      <a:pt x="8" y="98"/>
                    </a:lnTo>
                    <a:lnTo>
                      <a:pt x="16" y="94"/>
                    </a:lnTo>
                    <a:lnTo>
                      <a:pt x="22" y="90"/>
                    </a:lnTo>
                    <a:lnTo>
                      <a:pt x="38" y="86"/>
                    </a:lnTo>
                    <a:lnTo>
                      <a:pt x="36" y="82"/>
                    </a:lnTo>
                    <a:lnTo>
                      <a:pt x="10" y="86"/>
                    </a:lnTo>
                    <a:lnTo>
                      <a:pt x="10" y="82"/>
                    </a:lnTo>
                    <a:lnTo>
                      <a:pt x="14" y="78"/>
                    </a:lnTo>
                    <a:lnTo>
                      <a:pt x="14" y="74"/>
                    </a:lnTo>
                    <a:lnTo>
                      <a:pt x="2" y="74"/>
                    </a:lnTo>
                    <a:lnTo>
                      <a:pt x="0" y="64"/>
                    </a:lnTo>
                    <a:lnTo>
                      <a:pt x="6" y="52"/>
                    </a:lnTo>
                    <a:lnTo>
                      <a:pt x="12" y="50"/>
                    </a:lnTo>
                    <a:lnTo>
                      <a:pt x="10" y="46"/>
                    </a:lnTo>
                    <a:lnTo>
                      <a:pt x="6" y="44"/>
                    </a:lnTo>
                    <a:lnTo>
                      <a:pt x="6" y="44"/>
                    </a:lnTo>
                    <a:lnTo>
                      <a:pt x="8" y="38"/>
                    </a:lnTo>
                    <a:lnTo>
                      <a:pt x="12" y="30"/>
                    </a:lnTo>
                    <a:lnTo>
                      <a:pt x="24" y="18"/>
                    </a:lnTo>
                    <a:lnTo>
                      <a:pt x="40" y="6"/>
                    </a:lnTo>
                    <a:lnTo>
                      <a:pt x="52" y="0"/>
                    </a:lnTo>
                    <a:lnTo>
                      <a:pt x="56" y="4"/>
                    </a:lnTo>
                    <a:lnTo>
                      <a:pt x="56" y="4"/>
                    </a:lnTo>
                    <a:lnTo>
                      <a:pt x="58" y="14"/>
                    </a:lnTo>
                    <a:lnTo>
                      <a:pt x="60" y="22"/>
                    </a:lnTo>
                    <a:lnTo>
                      <a:pt x="52" y="32"/>
                    </a:lnTo>
                    <a:lnTo>
                      <a:pt x="52" y="34"/>
                    </a:lnTo>
                    <a:lnTo>
                      <a:pt x="64" y="30"/>
                    </a:lnTo>
                    <a:lnTo>
                      <a:pt x="66" y="28"/>
                    </a:lnTo>
                    <a:lnTo>
                      <a:pt x="64" y="24"/>
                    </a:lnTo>
                    <a:lnTo>
                      <a:pt x="66" y="20"/>
                    </a:lnTo>
                    <a:lnTo>
                      <a:pt x="72" y="16"/>
                    </a:lnTo>
                    <a:lnTo>
                      <a:pt x="92" y="30"/>
                    </a:lnTo>
                    <a:lnTo>
                      <a:pt x="92" y="34"/>
                    </a:lnTo>
                    <a:lnTo>
                      <a:pt x="84" y="46"/>
                    </a:lnTo>
                    <a:lnTo>
                      <a:pt x="92" y="40"/>
                    </a:lnTo>
                    <a:lnTo>
                      <a:pt x="92" y="44"/>
                    </a:lnTo>
                    <a:lnTo>
                      <a:pt x="94" y="46"/>
                    </a:lnTo>
                    <a:lnTo>
                      <a:pt x="98" y="36"/>
                    </a:lnTo>
                    <a:lnTo>
                      <a:pt x="106" y="38"/>
                    </a:lnTo>
                    <a:lnTo>
                      <a:pt x="106" y="30"/>
                    </a:lnTo>
                    <a:lnTo>
                      <a:pt x="110" y="30"/>
                    </a:lnTo>
                    <a:lnTo>
                      <a:pt x="102" y="16"/>
                    </a:lnTo>
                    <a:lnTo>
                      <a:pt x="114" y="20"/>
                    </a:lnTo>
                    <a:lnTo>
                      <a:pt x="124" y="36"/>
                    </a:lnTo>
                    <a:lnTo>
                      <a:pt x="124" y="36"/>
                    </a:lnTo>
                    <a:lnTo>
                      <a:pt x="124" y="48"/>
                    </a:lnTo>
                    <a:lnTo>
                      <a:pt x="126" y="58"/>
                    </a:lnTo>
                    <a:lnTo>
                      <a:pt x="130" y="62"/>
                    </a:lnTo>
                    <a:lnTo>
                      <a:pt x="130" y="62"/>
                    </a:lnTo>
                    <a:lnTo>
                      <a:pt x="128" y="66"/>
                    </a:lnTo>
                    <a:lnTo>
                      <a:pt x="128" y="70"/>
                    </a:lnTo>
                    <a:lnTo>
                      <a:pt x="130" y="74"/>
                    </a:lnTo>
                    <a:lnTo>
                      <a:pt x="130" y="74"/>
                    </a:lnTo>
                    <a:lnTo>
                      <a:pt x="136" y="68"/>
                    </a:lnTo>
                    <a:lnTo>
                      <a:pt x="140" y="62"/>
                    </a:lnTo>
                    <a:lnTo>
                      <a:pt x="140" y="62"/>
                    </a:lnTo>
                    <a:lnTo>
                      <a:pt x="138" y="60"/>
                    </a:lnTo>
                    <a:lnTo>
                      <a:pt x="136" y="54"/>
                    </a:lnTo>
                    <a:lnTo>
                      <a:pt x="134" y="36"/>
                    </a:lnTo>
                    <a:lnTo>
                      <a:pt x="132" y="18"/>
                    </a:lnTo>
                    <a:lnTo>
                      <a:pt x="130" y="12"/>
                    </a:lnTo>
                    <a:lnTo>
                      <a:pt x="130" y="10"/>
                    </a:lnTo>
                    <a:lnTo>
                      <a:pt x="132" y="8"/>
                    </a:lnTo>
                    <a:lnTo>
                      <a:pt x="130" y="2"/>
                    </a:lnTo>
                    <a:lnTo>
                      <a:pt x="138" y="4"/>
                    </a:lnTo>
                    <a:lnTo>
                      <a:pt x="146" y="10"/>
                    </a:lnTo>
                    <a:lnTo>
                      <a:pt x="146" y="8"/>
                    </a:lnTo>
                    <a:lnTo>
                      <a:pt x="144" y="4"/>
                    </a:lnTo>
                    <a:lnTo>
                      <a:pt x="148" y="6"/>
                    </a:lnTo>
                    <a:lnTo>
                      <a:pt x="164" y="24"/>
                    </a:lnTo>
                    <a:lnTo>
                      <a:pt x="162" y="30"/>
                    </a:lnTo>
                    <a:lnTo>
                      <a:pt x="162" y="30"/>
                    </a:lnTo>
                    <a:lnTo>
                      <a:pt x="166" y="34"/>
                    </a:lnTo>
                    <a:lnTo>
                      <a:pt x="166" y="34"/>
                    </a:lnTo>
                    <a:lnTo>
                      <a:pt x="166" y="46"/>
                    </a:lnTo>
                    <a:lnTo>
                      <a:pt x="168" y="58"/>
                    </a:lnTo>
                    <a:lnTo>
                      <a:pt x="168" y="58"/>
                    </a:lnTo>
                    <a:lnTo>
                      <a:pt x="174" y="70"/>
                    </a:lnTo>
                    <a:lnTo>
                      <a:pt x="176" y="76"/>
                    </a:lnTo>
                    <a:lnTo>
                      <a:pt x="176" y="84"/>
                    </a:lnTo>
                    <a:lnTo>
                      <a:pt x="174" y="84"/>
                    </a:lnTo>
                    <a:lnTo>
                      <a:pt x="174" y="84"/>
                    </a:lnTo>
                    <a:lnTo>
                      <a:pt x="174" y="94"/>
                    </a:lnTo>
                    <a:lnTo>
                      <a:pt x="176" y="100"/>
                    </a:lnTo>
                    <a:lnTo>
                      <a:pt x="188" y="114"/>
                    </a:lnTo>
                    <a:lnTo>
                      <a:pt x="196" y="114"/>
                    </a:lnTo>
                    <a:lnTo>
                      <a:pt x="204" y="124"/>
                    </a:lnTo>
                    <a:lnTo>
                      <a:pt x="210" y="126"/>
                    </a:lnTo>
                    <a:lnTo>
                      <a:pt x="210" y="132"/>
                    </a:lnTo>
                    <a:lnTo>
                      <a:pt x="218" y="132"/>
                    </a:lnTo>
                    <a:lnTo>
                      <a:pt x="218" y="132"/>
                    </a:lnTo>
                    <a:lnTo>
                      <a:pt x="218" y="140"/>
                    </a:lnTo>
                    <a:lnTo>
                      <a:pt x="216" y="150"/>
                    </a:lnTo>
                    <a:lnTo>
                      <a:pt x="214" y="150"/>
                    </a:lnTo>
                    <a:lnTo>
                      <a:pt x="212" y="146"/>
                    </a:lnTo>
                    <a:lnTo>
                      <a:pt x="210" y="150"/>
                    </a:lnTo>
                    <a:lnTo>
                      <a:pt x="206" y="148"/>
                    </a:lnTo>
                    <a:lnTo>
                      <a:pt x="204" y="140"/>
                    </a:lnTo>
                    <a:lnTo>
                      <a:pt x="196" y="146"/>
                    </a:lnTo>
                    <a:lnTo>
                      <a:pt x="198" y="154"/>
                    </a:lnTo>
                    <a:lnTo>
                      <a:pt x="190" y="154"/>
                    </a:lnTo>
                    <a:lnTo>
                      <a:pt x="192" y="164"/>
                    </a:lnTo>
                    <a:lnTo>
                      <a:pt x="198" y="156"/>
                    </a:lnTo>
                    <a:lnTo>
                      <a:pt x="202" y="156"/>
                    </a:lnTo>
                    <a:lnTo>
                      <a:pt x="206" y="158"/>
                    </a:lnTo>
                    <a:lnTo>
                      <a:pt x="202" y="164"/>
                    </a:lnTo>
                    <a:lnTo>
                      <a:pt x="202" y="166"/>
                    </a:lnTo>
                    <a:lnTo>
                      <a:pt x="204" y="164"/>
                    </a:lnTo>
                    <a:lnTo>
                      <a:pt x="210" y="168"/>
                    </a:lnTo>
                    <a:lnTo>
                      <a:pt x="206" y="174"/>
                    </a:lnTo>
                    <a:lnTo>
                      <a:pt x="196" y="178"/>
                    </a:lnTo>
                    <a:lnTo>
                      <a:pt x="192" y="182"/>
                    </a:lnTo>
                    <a:lnTo>
                      <a:pt x="166" y="176"/>
                    </a:lnTo>
                    <a:lnTo>
                      <a:pt x="168" y="170"/>
                    </a:lnTo>
                    <a:lnTo>
                      <a:pt x="152" y="166"/>
                    </a:lnTo>
                    <a:lnTo>
                      <a:pt x="152" y="160"/>
                    </a:lnTo>
                    <a:lnTo>
                      <a:pt x="148" y="156"/>
                    </a:lnTo>
                    <a:lnTo>
                      <a:pt x="144" y="160"/>
                    </a:lnTo>
                    <a:lnTo>
                      <a:pt x="144" y="166"/>
                    </a:lnTo>
                    <a:lnTo>
                      <a:pt x="140" y="174"/>
                    </a:lnTo>
                    <a:lnTo>
                      <a:pt x="126" y="176"/>
                    </a:lnTo>
                    <a:lnTo>
                      <a:pt x="126" y="176"/>
                    </a:lnTo>
                    <a:lnTo>
                      <a:pt x="124" y="182"/>
                    </a:lnTo>
                    <a:lnTo>
                      <a:pt x="118" y="184"/>
                    </a:lnTo>
                    <a:lnTo>
                      <a:pt x="100" y="190"/>
                    </a:lnTo>
                    <a:lnTo>
                      <a:pt x="82" y="192"/>
                    </a:lnTo>
                    <a:lnTo>
                      <a:pt x="70" y="192"/>
                    </a:lnTo>
                    <a:lnTo>
                      <a:pt x="72" y="190"/>
                    </a:lnTo>
                    <a:lnTo>
                      <a:pt x="72" y="190"/>
                    </a:lnTo>
                    <a:lnTo>
                      <a:pt x="68" y="186"/>
                    </a:lnTo>
                    <a:lnTo>
                      <a:pt x="66" y="182"/>
                    </a:lnTo>
                    <a:lnTo>
                      <a:pt x="64" y="176"/>
                    </a:lnTo>
                    <a:lnTo>
                      <a:pt x="66" y="172"/>
                    </a:lnTo>
                    <a:lnTo>
                      <a:pt x="60" y="164"/>
                    </a:lnTo>
                    <a:lnTo>
                      <a:pt x="60" y="164"/>
                    </a:lnTo>
                    <a:lnTo>
                      <a:pt x="38" y="164"/>
                    </a:lnTo>
                    <a:lnTo>
                      <a:pt x="38" y="16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4" name="Freeform 1402">
                <a:extLst>
                  <a:ext uri="{FF2B5EF4-FFF2-40B4-BE49-F238E27FC236}">
                    <a16:creationId xmlns:a16="http://schemas.microsoft.com/office/drawing/2014/main" id="{7BE98756-9CCD-43BE-A617-9351D7584077}"/>
                  </a:ext>
                </a:extLst>
              </p:cNvPr>
              <p:cNvSpPr>
                <a:spLocks/>
              </p:cNvSpPr>
              <p:nvPr/>
            </p:nvSpPr>
            <p:spPr bwMode="auto">
              <a:xfrm>
                <a:off x="1752" y="1494"/>
                <a:ext cx="72" cy="114"/>
              </a:xfrm>
              <a:custGeom>
                <a:avLst/>
                <a:gdLst/>
                <a:ahLst/>
                <a:cxnLst>
                  <a:cxn ang="0">
                    <a:pos x="20" y="80"/>
                  </a:cxn>
                  <a:cxn ang="0">
                    <a:pos x="10" y="76"/>
                  </a:cxn>
                  <a:cxn ang="0">
                    <a:pos x="0" y="58"/>
                  </a:cxn>
                  <a:cxn ang="0">
                    <a:pos x="0" y="44"/>
                  </a:cxn>
                  <a:cxn ang="0">
                    <a:pos x="6" y="42"/>
                  </a:cxn>
                  <a:cxn ang="0">
                    <a:pos x="14" y="54"/>
                  </a:cxn>
                  <a:cxn ang="0">
                    <a:pos x="26" y="52"/>
                  </a:cxn>
                  <a:cxn ang="0">
                    <a:pos x="26" y="48"/>
                  </a:cxn>
                  <a:cxn ang="0">
                    <a:pos x="24" y="40"/>
                  </a:cxn>
                  <a:cxn ang="0">
                    <a:pos x="30" y="34"/>
                  </a:cxn>
                  <a:cxn ang="0">
                    <a:pos x="22" y="32"/>
                  </a:cxn>
                  <a:cxn ang="0">
                    <a:pos x="12" y="22"/>
                  </a:cxn>
                  <a:cxn ang="0">
                    <a:pos x="20" y="24"/>
                  </a:cxn>
                  <a:cxn ang="0">
                    <a:pos x="14" y="12"/>
                  </a:cxn>
                  <a:cxn ang="0">
                    <a:pos x="26" y="10"/>
                  </a:cxn>
                  <a:cxn ang="0">
                    <a:pos x="22" y="4"/>
                  </a:cxn>
                  <a:cxn ang="0">
                    <a:pos x="42" y="10"/>
                  </a:cxn>
                  <a:cxn ang="0">
                    <a:pos x="64" y="8"/>
                  </a:cxn>
                  <a:cxn ang="0">
                    <a:pos x="56" y="18"/>
                  </a:cxn>
                  <a:cxn ang="0">
                    <a:pos x="60" y="26"/>
                  </a:cxn>
                  <a:cxn ang="0">
                    <a:pos x="56" y="28"/>
                  </a:cxn>
                  <a:cxn ang="0">
                    <a:pos x="48" y="40"/>
                  </a:cxn>
                  <a:cxn ang="0">
                    <a:pos x="58" y="40"/>
                  </a:cxn>
                  <a:cxn ang="0">
                    <a:pos x="62" y="58"/>
                  </a:cxn>
                  <a:cxn ang="0">
                    <a:pos x="72" y="64"/>
                  </a:cxn>
                  <a:cxn ang="0">
                    <a:pos x="70" y="80"/>
                  </a:cxn>
                  <a:cxn ang="0">
                    <a:pos x="70" y="84"/>
                  </a:cxn>
                  <a:cxn ang="0">
                    <a:pos x="60" y="100"/>
                  </a:cxn>
                  <a:cxn ang="0">
                    <a:pos x="54" y="106"/>
                  </a:cxn>
                  <a:cxn ang="0">
                    <a:pos x="44" y="110"/>
                  </a:cxn>
                  <a:cxn ang="0">
                    <a:pos x="40" y="112"/>
                  </a:cxn>
                  <a:cxn ang="0">
                    <a:pos x="34" y="94"/>
                  </a:cxn>
                  <a:cxn ang="0">
                    <a:pos x="24" y="80"/>
                  </a:cxn>
                </a:cxnLst>
                <a:rect l="0" t="0" r="r" b="b"/>
                <a:pathLst>
                  <a:path w="72" h="114">
                    <a:moveTo>
                      <a:pt x="24" y="80"/>
                    </a:moveTo>
                    <a:lnTo>
                      <a:pt x="20" y="80"/>
                    </a:lnTo>
                    <a:lnTo>
                      <a:pt x="18" y="74"/>
                    </a:lnTo>
                    <a:lnTo>
                      <a:pt x="10" y="76"/>
                    </a:lnTo>
                    <a:lnTo>
                      <a:pt x="0" y="58"/>
                    </a:lnTo>
                    <a:lnTo>
                      <a:pt x="0" y="58"/>
                    </a:lnTo>
                    <a:lnTo>
                      <a:pt x="0" y="52"/>
                    </a:lnTo>
                    <a:lnTo>
                      <a:pt x="0" y="44"/>
                    </a:lnTo>
                    <a:lnTo>
                      <a:pt x="6" y="42"/>
                    </a:lnTo>
                    <a:lnTo>
                      <a:pt x="6" y="42"/>
                    </a:lnTo>
                    <a:lnTo>
                      <a:pt x="12" y="50"/>
                    </a:lnTo>
                    <a:lnTo>
                      <a:pt x="14" y="54"/>
                    </a:lnTo>
                    <a:lnTo>
                      <a:pt x="14" y="58"/>
                    </a:lnTo>
                    <a:lnTo>
                      <a:pt x="26" y="52"/>
                    </a:lnTo>
                    <a:lnTo>
                      <a:pt x="24" y="46"/>
                    </a:lnTo>
                    <a:lnTo>
                      <a:pt x="26" y="48"/>
                    </a:lnTo>
                    <a:lnTo>
                      <a:pt x="28" y="44"/>
                    </a:lnTo>
                    <a:lnTo>
                      <a:pt x="24" y="40"/>
                    </a:lnTo>
                    <a:lnTo>
                      <a:pt x="24" y="34"/>
                    </a:lnTo>
                    <a:lnTo>
                      <a:pt x="30" y="34"/>
                    </a:lnTo>
                    <a:lnTo>
                      <a:pt x="24" y="28"/>
                    </a:lnTo>
                    <a:lnTo>
                      <a:pt x="22" y="32"/>
                    </a:lnTo>
                    <a:lnTo>
                      <a:pt x="16" y="30"/>
                    </a:lnTo>
                    <a:lnTo>
                      <a:pt x="12" y="22"/>
                    </a:lnTo>
                    <a:lnTo>
                      <a:pt x="16" y="18"/>
                    </a:lnTo>
                    <a:lnTo>
                      <a:pt x="20" y="24"/>
                    </a:lnTo>
                    <a:lnTo>
                      <a:pt x="20" y="16"/>
                    </a:lnTo>
                    <a:lnTo>
                      <a:pt x="14" y="12"/>
                    </a:lnTo>
                    <a:lnTo>
                      <a:pt x="20" y="6"/>
                    </a:lnTo>
                    <a:lnTo>
                      <a:pt x="26" y="10"/>
                    </a:lnTo>
                    <a:lnTo>
                      <a:pt x="26" y="6"/>
                    </a:lnTo>
                    <a:lnTo>
                      <a:pt x="22" y="4"/>
                    </a:lnTo>
                    <a:lnTo>
                      <a:pt x="26" y="2"/>
                    </a:lnTo>
                    <a:lnTo>
                      <a:pt x="42" y="10"/>
                    </a:lnTo>
                    <a:lnTo>
                      <a:pt x="58" y="0"/>
                    </a:lnTo>
                    <a:lnTo>
                      <a:pt x="64" y="8"/>
                    </a:lnTo>
                    <a:lnTo>
                      <a:pt x="64" y="12"/>
                    </a:lnTo>
                    <a:lnTo>
                      <a:pt x="56" y="18"/>
                    </a:lnTo>
                    <a:lnTo>
                      <a:pt x="60" y="20"/>
                    </a:lnTo>
                    <a:lnTo>
                      <a:pt x="60" y="26"/>
                    </a:lnTo>
                    <a:lnTo>
                      <a:pt x="60" y="26"/>
                    </a:lnTo>
                    <a:lnTo>
                      <a:pt x="56" y="28"/>
                    </a:lnTo>
                    <a:lnTo>
                      <a:pt x="52" y="32"/>
                    </a:lnTo>
                    <a:lnTo>
                      <a:pt x="48" y="40"/>
                    </a:lnTo>
                    <a:lnTo>
                      <a:pt x="48" y="46"/>
                    </a:lnTo>
                    <a:lnTo>
                      <a:pt x="58" y="40"/>
                    </a:lnTo>
                    <a:lnTo>
                      <a:pt x="64" y="52"/>
                    </a:lnTo>
                    <a:lnTo>
                      <a:pt x="62" y="58"/>
                    </a:lnTo>
                    <a:lnTo>
                      <a:pt x="68" y="52"/>
                    </a:lnTo>
                    <a:lnTo>
                      <a:pt x="72" y="64"/>
                    </a:lnTo>
                    <a:lnTo>
                      <a:pt x="68" y="70"/>
                    </a:lnTo>
                    <a:lnTo>
                      <a:pt x="70" y="80"/>
                    </a:lnTo>
                    <a:lnTo>
                      <a:pt x="68" y="84"/>
                    </a:lnTo>
                    <a:lnTo>
                      <a:pt x="70" y="84"/>
                    </a:lnTo>
                    <a:lnTo>
                      <a:pt x="70" y="90"/>
                    </a:lnTo>
                    <a:lnTo>
                      <a:pt x="60" y="100"/>
                    </a:lnTo>
                    <a:lnTo>
                      <a:pt x="52" y="100"/>
                    </a:lnTo>
                    <a:lnTo>
                      <a:pt x="54" y="106"/>
                    </a:lnTo>
                    <a:lnTo>
                      <a:pt x="48" y="114"/>
                    </a:lnTo>
                    <a:lnTo>
                      <a:pt x="44" y="110"/>
                    </a:lnTo>
                    <a:lnTo>
                      <a:pt x="40" y="112"/>
                    </a:lnTo>
                    <a:lnTo>
                      <a:pt x="40" y="112"/>
                    </a:lnTo>
                    <a:lnTo>
                      <a:pt x="38" y="100"/>
                    </a:lnTo>
                    <a:lnTo>
                      <a:pt x="34" y="94"/>
                    </a:lnTo>
                    <a:lnTo>
                      <a:pt x="28" y="88"/>
                    </a:lnTo>
                    <a:lnTo>
                      <a:pt x="24" y="80"/>
                    </a:lnTo>
                    <a:lnTo>
                      <a:pt x="24" y="8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5" name="Freeform 1403">
                <a:extLst>
                  <a:ext uri="{FF2B5EF4-FFF2-40B4-BE49-F238E27FC236}">
                    <a16:creationId xmlns:a16="http://schemas.microsoft.com/office/drawing/2014/main" id="{D5DA8EFA-0FB0-487A-9887-C8666DB39D05}"/>
                  </a:ext>
                </a:extLst>
              </p:cNvPr>
              <p:cNvSpPr>
                <a:spLocks/>
              </p:cNvSpPr>
              <p:nvPr/>
            </p:nvSpPr>
            <p:spPr bwMode="auto">
              <a:xfrm>
                <a:off x="1814" y="1528"/>
                <a:ext cx="8" cy="12"/>
              </a:xfrm>
              <a:custGeom>
                <a:avLst/>
                <a:gdLst/>
                <a:ahLst/>
                <a:cxnLst>
                  <a:cxn ang="0">
                    <a:pos x="8" y="4"/>
                  </a:cxn>
                  <a:cxn ang="0">
                    <a:pos x="4" y="0"/>
                  </a:cxn>
                  <a:cxn ang="0">
                    <a:pos x="0" y="4"/>
                  </a:cxn>
                  <a:cxn ang="0">
                    <a:pos x="2" y="12"/>
                  </a:cxn>
                  <a:cxn ang="0">
                    <a:pos x="2" y="12"/>
                  </a:cxn>
                  <a:cxn ang="0">
                    <a:pos x="6" y="8"/>
                  </a:cxn>
                  <a:cxn ang="0">
                    <a:pos x="8" y="4"/>
                  </a:cxn>
                  <a:cxn ang="0">
                    <a:pos x="8" y="4"/>
                  </a:cxn>
                </a:cxnLst>
                <a:rect l="0" t="0" r="r" b="b"/>
                <a:pathLst>
                  <a:path w="8" h="12">
                    <a:moveTo>
                      <a:pt x="8" y="4"/>
                    </a:moveTo>
                    <a:lnTo>
                      <a:pt x="4" y="0"/>
                    </a:lnTo>
                    <a:lnTo>
                      <a:pt x="0" y="4"/>
                    </a:lnTo>
                    <a:lnTo>
                      <a:pt x="2" y="12"/>
                    </a:lnTo>
                    <a:lnTo>
                      <a:pt x="2" y="12"/>
                    </a:lnTo>
                    <a:lnTo>
                      <a:pt x="6" y="8"/>
                    </a:lnTo>
                    <a:lnTo>
                      <a:pt x="8" y="4"/>
                    </a:lnTo>
                    <a:lnTo>
                      <a:pt x="8"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6" name="Freeform 1404">
                <a:extLst>
                  <a:ext uri="{FF2B5EF4-FFF2-40B4-BE49-F238E27FC236}">
                    <a16:creationId xmlns:a16="http://schemas.microsoft.com/office/drawing/2014/main" id="{501BA022-4E8C-4DB0-9F06-6A0DBC98381C}"/>
                  </a:ext>
                </a:extLst>
              </p:cNvPr>
              <p:cNvSpPr>
                <a:spLocks/>
              </p:cNvSpPr>
              <p:nvPr/>
            </p:nvSpPr>
            <p:spPr bwMode="auto">
              <a:xfrm>
                <a:off x="1814" y="1404"/>
                <a:ext cx="14" cy="16"/>
              </a:xfrm>
              <a:custGeom>
                <a:avLst/>
                <a:gdLst/>
                <a:ahLst/>
                <a:cxnLst>
                  <a:cxn ang="0">
                    <a:pos x="10" y="6"/>
                  </a:cxn>
                  <a:cxn ang="0">
                    <a:pos x="4" y="16"/>
                  </a:cxn>
                  <a:cxn ang="0">
                    <a:pos x="2" y="16"/>
                  </a:cxn>
                  <a:cxn ang="0">
                    <a:pos x="0" y="10"/>
                  </a:cxn>
                  <a:cxn ang="0">
                    <a:pos x="8" y="0"/>
                  </a:cxn>
                  <a:cxn ang="0">
                    <a:pos x="14" y="4"/>
                  </a:cxn>
                  <a:cxn ang="0">
                    <a:pos x="14" y="8"/>
                  </a:cxn>
                  <a:cxn ang="0">
                    <a:pos x="12" y="12"/>
                  </a:cxn>
                  <a:cxn ang="0">
                    <a:pos x="10" y="6"/>
                  </a:cxn>
                </a:cxnLst>
                <a:rect l="0" t="0" r="r" b="b"/>
                <a:pathLst>
                  <a:path w="14" h="16">
                    <a:moveTo>
                      <a:pt x="10" y="6"/>
                    </a:moveTo>
                    <a:lnTo>
                      <a:pt x="4" y="16"/>
                    </a:lnTo>
                    <a:lnTo>
                      <a:pt x="2" y="16"/>
                    </a:lnTo>
                    <a:lnTo>
                      <a:pt x="0" y="10"/>
                    </a:lnTo>
                    <a:lnTo>
                      <a:pt x="8" y="0"/>
                    </a:lnTo>
                    <a:lnTo>
                      <a:pt x="14" y="4"/>
                    </a:lnTo>
                    <a:lnTo>
                      <a:pt x="14" y="8"/>
                    </a:lnTo>
                    <a:lnTo>
                      <a:pt x="12" y="12"/>
                    </a:lnTo>
                    <a:lnTo>
                      <a:pt x="1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7" name="Freeform 1405">
                <a:extLst>
                  <a:ext uri="{FF2B5EF4-FFF2-40B4-BE49-F238E27FC236}">
                    <a16:creationId xmlns:a16="http://schemas.microsoft.com/office/drawing/2014/main" id="{FACD779A-742F-41D8-983E-585ED059C4AE}"/>
                  </a:ext>
                </a:extLst>
              </p:cNvPr>
              <p:cNvSpPr>
                <a:spLocks/>
              </p:cNvSpPr>
              <p:nvPr/>
            </p:nvSpPr>
            <p:spPr bwMode="auto">
              <a:xfrm>
                <a:off x="1746" y="1352"/>
                <a:ext cx="64" cy="90"/>
              </a:xfrm>
              <a:custGeom>
                <a:avLst/>
                <a:gdLst/>
                <a:ahLst/>
                <a:cxnLst>
                  <a:cxn ang="0">
                    <a:pos x="58" y="48"/>
                  </a:cxn>
                  <a:cxn ang="0">
                    <a:pos x="64" y="68"/>
                  </a:cxn>
                  <a:cxn ang="0">
                    <a:pos x="58" y="58"/>
                  </a:cxn>
                  <a:cxn ang="0">
                    <a:pos x="56" y="62"/>
                  </a:cxn>
                  <a:cxn ang="0">
                    <a:pos x="54" y="72"/>
                  </a:cxn>
                  <a:cxn ang="0">
                    <a:pos x="54" y="78"/>
                  </a:cxn>
                  <a:cxn ang="0">
                    <a:pos x="40" y="88"/>
                  </a:cxn>
                  <a:cxn ang="0">
                    <a:pos x="38" y="90"/>
                  </a:cxn>
                  <a:cxn ang="0">
                    <a:pos x="28" y="86"/>
                  </a:cxn>
                  <a:cxn ang="0">
                    <a:pos x="26" y="66"/>
                  </a:cxn>
                  <a:cxn ang="0">
                    <a:pos x="32" y="62"/>
                  </a:cxn>
                  <a:cxn ang="0">
                    <a:pos x="36" y="54"/>
                  </a:cxn>
                  <a:cxn ang="0">
                    <a:pos x="0" y="56"/>
                  </a:cxn>
                  <a:cxn ang="0">
                    <a:pos x="10" y="54"/>
                  </a:cxn>
                  <a:cxn ang="0">
                    <a:pos x="10" y="44"/>
                  </a:cxn>
                  <a:cxn ang="0">
                    <a:pos x="18" y="48"/>
                  </a:cxn>
                  <a:cxn ang="0">
                    <a:pos x="18" y="36"/>
                  </a:cxn>
                  <a:cxn ang="0">
                    <a:pos x="12" y="38"/>
                  </a:cxn>
                  <a:cxn ang="0">
                    <a:pos x="10" y="26"/>
                  </a:cxn>
                  <a:cxn ang="0">
                    <a:pos x="8" y="20"/>
                  </a:cxn>
                  <a:cxn ang="0">
                    <a:pos x="18" y="14"/>
                  </a:cxn>
                  <a:cxn ang="0">
                    <a:pos x="28" y="32"/>
                  </a:cxn>
                  <a:cxn ang="0">
                    <a:pos x="38" y="38"/>
                  </a:cxn>
                  <a:cxn ang="0">
                    <a:pos x="34" y="24"/>
                  </a:cxn>
                  <a:cxn ang="0">
                    <a:pos x="22" y="10"/>
                  </a:cxn>
                  <a:cxn ang="0">
                    <a:pos x="38" y="2"/>
                  </a:cxn>
                  <a:cxn ang="0">
                    <a:pos x="44" y="12"/>
                  </a:cxn>
                  <a:cxn ang="0">
                    <a:pos x="48" y="10"/>
                  </a:cxn>
                  <a:cxn ang="0">
                    <a:pos x="48" y="0"/>
                  </a:cxn>
                  <a:cxn ang="0">
                    <a:pos x="60" y="12"/>
                  </a:cxn>
                  <a:cxn ang="0">
                    <a:pos x="60" y="28"/>
                  </a:cxn>
                  <a:cxn ang="0">
                    <a:pos x="62" y="44"/>
                  </a:cxn>
                </a:cxnLst>
                <a:rect l="0" t="0" r="r" b="b"/>
                <a:pathLst>
                  <a:path w="64" h="90">
                    <a:moveTo>
                      <a:pt x="62" y="44"/>
                    </a:moveTo>
                    <a:lnTo>
                      <a:pt x="58" y="48"/>
                    </a:lnTo>
                    <a:lnTo>
                      <a:pt x="64" y="50"/>
                    </a:lnTo>
                    <a:lnTo>
                      <a:pt x="64" y="68"/>
                    </a:lnTo>
                    <a:lnTo>
                      <a:pt x="62" y="58"/>
                    </a:lnTo>
                    <a:lnTo>
                      <a:pt x="58" y="58"/>
                    </a:lnTo>
                    <a:lnTo>
                      <a:pt x="60" y="62"/>
                    </a:lnTo>
                    <a:lnTo>
                      <a:pt x="56" y="62"/>
                    </a:lnTo>
                    <a:lnTo>
                      <a:pt x="58" y="66"/>
                    </a:lnTo>
                    <a:lnTo>
                      <a:pt x="54" y="72"/>
                    </a:lnTo>
                    <a:lnTo>
                      <a:pt x="60" y="82"/>
                    </a:lnTo>
                    <a:lnTo>
                      <a:pt x="54" y="78"/>
                    </a:lnTo>
                    <a:lnTo>
                      <a:pt x="56" y="86"/>
                    </a:lnTo>
                    <a:lnTo>
                      <a:pt x="40" y="88"/>
                    </a:lnTo>
                    <a:lnTo>
                      <a:pt x="40" y="84"/>
                    </a:lnTo>
                    <a:lnTo>
                      <a:pt x="38" y="90"/>
                    </a:lnTo>
                    <a:lnTo>
                      <a:pt x="32" y="90"/>
                    </a:lnTo>
                    <a:lnTo>
                      <a:pt x="28" y="86"/>
                    </a:lnTo>
                    <a:lnTo>
                      <a:pt x="28" y="86"/>
                    </a:lnTo>
                    <a:lnTo>
                      <a:pt x="26" y="66"/>
                    </a:lnTo>
                    <a:lnTo>
                      <a:pt x="26" y="66"/>
                    </a:lnTo>
                    <a:lnTo>
                      <a:pt x="32" y="62"/>
                    </a:lnTo>
                    <a:lnTo>
                      <a:pt x="38" y="56"/>
                    </a:lnTo>
                    <a:lnTo>
                      <a:pt x="36" y="54"/>
                    </a:lnTo>
                    <a:lnTo>
                      <a:pt x="4" y="62"/>
                    </a:lnTo>
                    <a:lnTo>
                      <a:pt x="0" y="56"/>
                    </a:lnTo>
                    <a:lnTo>
                      <a:pt x="2" y="52"/>
                    </a:lnTo>
                    <a:lnTo>
                      <a:pt x="10" y="54"/>
                    </a:lnTo>
                    <a:lnTo>
                      <a:pt x="6" y="48"/>
                    </a:lnTo>
                    <a:lnTo>
                      <a:pt x="10" y="44"/>
                    </a:lnTo>
                    <a:lnTo>
                      <a:pt x="16" y="50"/>
                    </a:lnTo>
                    <a:lnTo>
                      <a:pt x="18" y="48"/>
                    </a:lnTo>
                    <a:lnTo>
                      <a:pt x="14" y="42"/>
                    </a:lnTo>
                    <a:lnTo>
                      <a:pt x="18" y="36"/>
                    </a:lnTo>
                    <a:lnTo>
                      <a:pt x="12" y="38"/>
                    </a:lnTo>
                    <a:lnTo>
                      <a:pt x="12" y="38"/>
                    </a:lnTo>
                    <a:lnTo>
                      <a:pt x="10" y="32"/>
                    </a:lnTo>
                    <a:lnTo>
                      <a:pt x="10" y="26"/>
                    </a:lnTo>
                    <a:lnTo>
                      <a:pt x="8" y="26"/>
                    </a:lnTo>
                    <a:lnTo>
                      <a:pt x="8" y="20"/>
                    </a:lnTo>
                    <a:lnTo>
                      <a:pt x="12" y="12"/>
                    </a:lnTo>
                    <a:lnTo>
                      <a:pt x="18" y="14"/>
                    </a:lnTo>
                    <a:lnTo>
                      <a:pt x="26" y="32"/>
                    </a:lnTo>
                    <a:lnTo>
                      <a:pt x="28" y="32"/>
                    </a:lnTo>
                    <a:lnTo>
                      <a:pt x="26" y="34"/>
                    </a:lnTo>
                    <a:lnTo>
                      <a:pt x="38" y="38"/>
                    </a:lnTo>
                    <a:lnTo>
                      <a:pt x="32" y="28"/>
                    </a:lnTo>
                    <a:lnTo>
                      <a:pt x="34" y="24"/>
                    </a:lnTo>
                    <a:lnTo>
                      <a:pt x="32" y="20"/>
                    </a:lnTo>
                    <a:lnTo>
                      <a:pt x="22" y="10"/>
                    </a:lnTo>
                    <a:lnTo>
                      <a:pt x="28" y="2"/>
                    </a:lnTo>
                    <a:lnTo>
                      <a:pt x="38" y="2"/>
                    </a:lnTo>
                    <a:lnTo>
                      <a:pt x="44" y="8"/>
                    </a:lnTo>
                    <a:lnTo>
                      <a:pt x="44" y="12"/>
                    </a:lnTo>
                    <a:lnTo>
                      <a:pt x="48" y="10"/>
                    </a:lnTo>
                    <a:lnTo>
                      <a:pt x="48" y="10"/>
                    </a:lnTo>
                    <a:lnTo>
                      <a:pt x="48" y="6"/>
                    </a:lnTo>
                    <a:lnTo>
                      <a:pt x="48" y="0"/>
                    </a:lnTo>
                    <a:lnTo>
                      <a:pt x="52" y="0"/>
                    </a:lnTo>
                    <a:lnTo>
                      <a:pt x="60" y="12"/>
                    </a:lnTo>
                    <a:lnTo>
                      <a:pt x="60" y="12"/>
                    </a:lnTo>
                    <a:lnTo>
                      <a:pt x="60" y="28"/>
                    </a:lnTo>
                    <a:lnTo>
                      <a:pt x="62" y="44"/>
                    </a:lnTo>
                    <a:lnTo>
                      <a:pt x="62" y="4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8" name="Freeform 1406">
                <a:extLst>
                  <a:ext uri="{FF2B5EF4-FFF2-40B4-BE49-F238E27FC236}">
                    <a16:creationId xmlns:a16="http://schemas.microsoft.com/office/drawing/2014/main" id="{32C940C0-5502-4FF6-8F4E-18ECDEB04A6F}"/>
                  </a:ext>
                </a:extLst>
              </p:cNvPr>
              <p:cNvSpPr>
                <a:spLocks/>
              </p:cNvSpPr>
              <p:nvPr/>
            </p:nvSpPr>
            <p:spPr bwMode="auto">
              <a:xfrm>
                <a:off x="1724" y="1354"/>
                <a:ext cx="20" cy="18"/>
              </a:xfrm>
              <a:custGeom>
                <a:avLst/>
                <a:gdLst/>
                <a:ahLst/>
                <a:cxnLst>
                  <a:cxn ang="0">
                    <a:pos x="20" y="14"/>
                  </a:cxn>
                  <a:cxn ang="0">
                    <a:pos x="4" y="18"/>
                  </a:cxn>
                  <a:cxn ang="0">
                    <a:pos x="6" y="16"/>
                  </a:cxn>
                  <a:cxn ang="0">
                    <a:pos x="2" y="14"/>
                  </a:cxn>
                  <a:cxn ang="0">
                    <a:pos x="4" y="8"/>
                  </a:cxn>
                  <a:cxn ang="0">
                    <a:pos x="0" y="4"/>
                  </a:cxn>
                  <a:cxn ang="0">
                    <a:pos x="6" y="0"/>
                  </a:cxn>
                  <a:cxn ang="0">
                    <a:pos x="6" y="0"/>
                  </a:cxn>
                  <a:cxn ang="0">
                    <a:pos x="12" y="8"/>
                  </a:cxn>
                  <a:cxn ang="0">
                    <a:pos x="20" y="14"/>
                  </a:cxn>
                  <a:cxn ang="0">
                    <a:pos x="20" y="14"/>
                  </a:cxn>
                </a:cxnLst>
                <a:rect l="0" t="0" r="r" b="b"/>
                <a:pathLst>
                  <a:path w="20" h="18">
                    <a:moveTo>
                      <a:pt x="20" y="14"/>
                    </a:moveTo>
                    <a:lnTo>
                      <a:pt x="4" y="18"/>
                    </a:lnTo>
                    <a:lnTo>
                      <a:pt x="6" y="16"/>
                    </a:lnTo>
                    <a:lnTo>
                      <a:pt x="2" y="14"/>
                    </a:lnTo>
                    <a:lnTo>
                      <a:pt x="4" y="8"/>
                    </a:lnTo>
                    <a:lnTo>
                      <a:pt x="0" y="4"/>
                    </a:lnTo>
                    <a:lnTo>
                      <a:pt x="6" y="0"/>
                    </a:lnTo>
                    <a:lnTo>
                      <a:pt x="6" y="0"/>
                    </a:lnTo>
                    <a:lnTo>
                      <a:pt x="12" y="8"/>
                    </a:lnTo>
                    <a:lnTo>
                      <a:pt x="20" y="14"/>
                    </a:lnTo>
                    <a:lnTo>
                      <a:pt x="20"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99" name="Freeform 1407">
                <a:extLst>
                  <a:ext uri="{FF2B5EF4-FFF2-40B4-BE49-F238E27FC236}">
                    <a16:creationId xmlns:a16="http://schemas.microsoft.com/office/drawing/2014/main" id="{0A5C1BB8-770E-4FA7-95B9-1200ED7D2060}"/>
                  </a:ext>
                </a:extLst>
              </p:cNvPr>
              <p:cNvSpPr>
                <a:spLocks/>
              </p:cNvSpPr>
              <p:nvPr/>
            </p:nvSpPr>
            <p:spPr bwMode="auto">
              <a:xfrm>
                <a:off x="1726" y="1372"/>
                <a:ext cx="24" cy="14"/>
              </a:xfrm>
              <a:custGeom>
                <a:avLst/>
                <a:gdLst/>
                <a:ahLst/>
                <a:cxnLst>
                  <a:cxn ang="0">
                    <a:pos x="18" y="0"/>
                  </a:cxn>
                  <a:cxn ang="0">
                    <a:pos x="24" y="4"/>
                  </a:cxn>
                  <a:cxn ang="0">
                    <a:pos x="22" y="10"/>
                  </a:cxn>
                  <a:cxn ang="0">
                    <a:pos x="22" y="10"/>
                  </a:cxn>
                  <a:cxn ang="0">
                    <a:pos x="18" y="12"/>
                  </a:cxn>
                  <a:cxn ang="0">
                    <a:pos x="14" y="14"/>
                  </a:cxn>
                  <a:cxn ang="0">
                    <a:pos x="4" y="14"/>
                  </a:cxn>
                  <a:cxn ang="0">
                    <a:pos x="0" y="8"/>
                  </a:cxn>
                  <a:cxn ang="0">
                    <a:pos x="18" y="0"/>
                  </a:cxn>
                </a:cxnLst>
                <a:rect l="0" t="0" r="r" b="b"/>
                <a:pathLst>
                  <a:path w="24" h="14">
                    <a:moveTo>
                      <a:pt x="18" y="0"/>
                    </a:moveTo>
                    <a:lnTo>
                      <a:pt x="24" y="4"/>
                    </a:lnTo>
                    <a:lnTo>
                      <a:pt x="22" y="10"/>
                    </a:lnTo>
                    <a:lnTo>
                      <a:pt x="22" y="10"/>
                    </a:lnTo>
                    <a:lnTo>
                      <a:pt x="18" y="12"/>
                    </a:lnTo>
                    <a:lnTo>
                      <a:pt x="14" y="14"/>
                    </a:lnTo>
                    <a:lnTo>
                      <a:pt x="4" y="14"/>
                    </a:lnTo>
                    <a:lnTo>
                      <a:pt x="0" y="8"/>
                    </a:lnTo>
                    <a:lnTo>
                      <a:pt x="1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0" name="Freeform 1408">
                <a:extLst>
                  <a:ext uri="{FF2B5EF4-FFF2-40B4-BE49-F238E27FC236}">
                    <a16:creationId xmlns:a16="http://schemas.microsoft.com/office/drawing/2014/main" id="{BF6BB587-FE82-4AA8-A36B-60BC8C4556D3}"/>
                  </a:ext>
                </a:extLst>
              </p:cNvPr>
              <p:cNvSpPr>
                <a:spLocks/>
              </p:cNvSpPr>
              <p:nvPr/>
            </p:nvSpPr>
            <p:spPr bwMode="auto">
              <a:xfrm>
                <a:off x="1734" y="1386"/>
                <a:ext cx="18" cy="8"/>
              </a:xfrm>
              <a:custGeom>
                <a:avLst/>
                <a:gdLst/>
                <a:ahLst/>
                <a:cxnLst>
                  <a:cxn ang="0">
                    <a:pos x="10" y="0"/>
                  </a:cxn>
                  <a:cxn ang="0">
                    <a:pos x="18" y="0"/>
                  </a:cxn>
                  <a:cxn ang="0">
                    <a:pos x="16" y="4"/>
                  </a:cxn>
                  <a:cxn ang="0">
                    <a:pos x="0" y="8"/>
                  </a:cxn>
                  <a:cxn ang="0">
                    <a:pos x="10" y="0"/>
                  </a:cxn>
                </a:cxnLst>
                <a:rect l="0" t="0" r="r" b="b"/>
                <a:pathLst>
                  <a:path w="18" h="8">
                    <a:moveTo>
                      <a:pt x="10" y="0"/>
                    </a:moveTo>
                    <a:lnTo>
                      <a:pt x="18" y="0"/>
                    </a:lnTo>
                    <a:lnTo>
                      <a:pt x="16" y="4"/>
                    </a:lnTo>
                    <a:lnTo>
                      <a:pt x="0" y="8"/>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1" name="Freeform 1409">
                <a:extLst>
                  <a:ext uri="{FF2B5EF4-FFF2-40B4-BE49-F238E27FC236}">
                    <a16:creationId xmlns:a16="http://schemas.microsoft.com/office/drawing/2014/main" id="{3BF03765-8049-496D-8D73-C9EDA1AA0A02}"/>
                  </a:ext>
                </a:extLst>
              </p:cNvPr>
              <p:cNvSpPr>
                <a:spLocks/>
              </p:cNvSpPr>
              <p:nvPr/>
            </p:nvSpPr>
            <p:spPr bwMode="auto">
              <a:xfrm>
                <a:off x="1740" y="1392"/>
                <a:ext cx="14" cy="12"/>
              </a:xfrm>
              <a:custGeom>
                <a:avLst/>
                <a:gdLst/>
                <a:ahLst/>
                <a:cxnLst>
                  <a:cxn ang="0">
                    <a:pos x="4" y="2"/>
                  </a:cxn>
                  <a:cxn ang="0">
                    <a:pos x="14" y="0"/>
                  </a:cxn>
                  <a:cxn ang="0">
                    <a:pos x="8" y="10"/>
                  </a:cxn>
                  <a:cxn ang="0">
                    <a:pos x="2" y="12"/>
                  </a:cxn>
                  <a:cxn ang="0">
                    <a:pos x="0" y="10"/>
                  </a:cxn>
                  <a:cxn ang="0">
                    <a:pos x="4" y="2"/>
                  </a:cxn>
                </a:cxnLst>
                <a:rect l="0" t="0" r="r" b="b"/>
                <a:pathLst>
                  <a:path w="14" h="12">
                    <a:moveTo>
                      <a:pt x="4" y="2"/>
                    </a:moveTo>
                    <a:lnTo>
                      <a:pt x="14" y="0"/>
                    </a:lnTo>
                    <a:lnTo>
                      <a:pt x="8" y="10"/>
                    </a:lnTo>
                    <a:lnTo>
                      <a:pt x="2" y="12"/>
                    </a:lnTo>
                    <a:lnTo>
                      <a:pt x="0" y="10"/>
                    </a:lnTo>
                    <a:lnTo>
                      <a:pt x="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2" name="Freeform 1410">
                <a:extLst>
                  <a:ext uri="{FF2B5EF4-FFF2-40B4-BE49-F238E27FC236}">
                    <a16:creationId xmlns:a16="http://schemas.microsoft.com/office/drawing/2014/main" id="{5877E541-676C-42B5-A80F-641CCD448D05}"/>
                  </a:ext>
                </a:extLst>
              </p:cNvPr>
              <p:cNvSpPr>
                <a:spLocks/>
              </p:cNvSpPr>
              <p:nvPr/>
            </p:nvSpPr>
            <p:spPr bwMode="auto">
              <a:xfrm>
                <a:off x="1722" y="1418"/>
                <a:ext cx="14" cy="20"/>
              </a:xfrm>
              <a:custGeom>
                <a:avLst/>
                <a:gdLst/>
                <a:ahLst/>
                <a:cxnLst>
                  <a:cxn ang="0">
                    <a:pos x="10" y="0"/>
                  </a:cxn>
                  <a:cxn ang="0">
                    <a:pos x="14" y="14"/>
                  </a:cxn>
                  <a:cxn ang="0">
                    <a:pos x="12" y="18"/>
                  </a:cxn>
                  <a:cxn ang="0">
                    <a:pos x="8" y="20"/>
                  </a:cxn>
                  <a:cxn ang="0">
                    <a:pos x="0" y="14"/>
                  </a:cxn>
                  <a:cxn ang="0">
                    <a:pos x="4" y="2"/>
                  </a:cxn>
                  <a:cxn ang="0">
                    <a:pos x="10" y="0"/>
                  </a:cxn>
                </a:cxnLst>
                <a:rect l="0" t="0" r="r" b="b"/>
                <a:pathLst>
                  <a:path w="14" h="20">
                    <a:moveTo>
                      <a:pt x="10" y="0"/>
                    </a:moveTo>
                    <a:lnTo>
                      <a:pt x="14" y="14"/>
                    </a:lnTo>
                    <a:lnTo>
                      <a:pt x="12" y="18"/>
                    </a:lnTo>
                    <a:lnTo>
                      <a:pt x="8" y="20"/>
                    </a:lnTo>
                    <a:lnTo>
                      <a:pt x="0" y="14"/>
                    </a:lnTo>
                    <a:lnTo>
                      <a:pt x="4" y="2"/>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3" name="Freeform 1411">
                <a:extLst>
                  <a:ext uri="{FF2B5EF4-FFF2-40B4-BE49-F238E27FC236}">
                    <a16:creationId xmlns:a16="http://schemas.microsoft.com/office/drawing/2014/main" id="{ECA63073-B7B4-4C6E-8088-95A2233A8EC1}"/>
                  </a:ext>
                </a:extLst>
              </p:cNvPr>
              <p:cNvSpPr>
                <a:spLocks/>
              </p:cNvSpPr>
              <p:nvPr/>
            </p:nvSpPr>
            <p:spPr bwMode="auto">
              <a:xfrm>
                <a:off x="1568" y="1344"/>
                <a:ext cx="146" cy="124"/>
              </a:xfrm>
              <a:custGeom>
                <a:avLst/>
                <a:gdLst/>
                <a:ahLst/>
                <a:cxnLst>
                  <a:cxn ang="0">
                    <a:pos x="100" y="2"/>
                  </a:cxn>
                  <a:cxn ang="0">
                    <a:pos x="110" y="6"/>
                  </a:cxn>
                  <a:cxn ang="0">
                    <a:pos x="108" y="10"/>
                  </a:cxn>
                  <a:cxn ang="0">
                    <a:pos x="110" y="22"/>
                  </a:cxn>
                  <a:cxn ang="0">
                    <a:pos x="110" y="42"/>
                  </a:cxn>
                  <a:cxn ang="0">
                    <a:pos x="116" y="56"/>
                  </a:cxn>
                  <a:cxn ang="0">
                    <a:pos x="130" y="62"/>
                  </a:cxn>
                  <a:cxn ang="0">
                    <a:pos x="130" y="48"/>
                  </a:cxn>
                  <a:cxn ang="0">
                    <a:pos x="144" y="50"/>
                  </a:cxn>
                  <a:cxn ang="0">
                    <a:pos x="146" y="54"/>
                  </a:cxn>
                  <a:cxn ang="0">
                    <a:pos x="146" y="72"/>
                  </a:cxn>
                  <a:cxn ang="0">
                    <a:pos x="126" y="100"/>
                  </a:cxn>
                  <a:cxn ang="0">
                    <a:pos x="120" y="92"/>
                  </a:cxn>
                  <a:cxn ang="0">
                    <a:pos x="108" y="98"/>
                  </a:cxn>
                  <a:cxn ang="0">
                    <a:pos x="108" y="90"/>
                  </a:cxn>
                  <a:cxn ang="0">
                    <a:pos x="104" y="96"/>
                  </a:cxn>
                  <a:cxn ang="0">
                    <a:pos x="90" y="104"/>
                  </a:cxn>
                  <a:cxn ang="0">
                    <a:pos x="82" y="112"/>
                  </a:cxn>
                  <a:cxn ang="0">
                    <a:pos x="44" y="120"/>
                  </a:cxn>
                  <a:cxn ang="0">
                    <a:pos x="40" y="108"/>
                  </a:cxn>
                  <a:cxn ang="0">
                    <a:pos x="56" y="96"/>
                  </a:cxn>
                  <a:cxn ang="0">
                    <a:pos x="80" y="82"/>
                  </a:cxn>
                  <a:cxn ang="0">
                    <a:pos x="64" y="84"/>
                  </a:cxn>
                  <a:cxn ang="0">
                    <a:pos x="58" y="90"/>
                  </a:cxn>
                  <a:cxn ang="0">
                    <a:pos x="46" y="94"/>
                  </a:cxn>
                  <a:cxn ang="0">
                    <a:pos x="48" y="86"/>
                  </a:cxn>
                  <a:cxn ang="0">
                    <a:pos x="52" y="74"/>
                  </a:cxn>
                  <a:cxn ang="0">
                    <a:pos x="42" y="84"/>
                  </a:cxn>
                  <a:cxn ang="0">
                    <a:pos x="38" y="92"/>
                  </a:cxn>
                  <a:cxn ang="0">
                    <a:pos x="32" y="96"/>
                  </a:cxn>
                  <a:cxn ang="0">
                    <a:pos x="24" y="90"/>
                  </a:cxn>
                  <a:cxn ang="0">
                    <a:pos x="18" y="92"/>
                  </a:cxn>
                  <a:cxn ang="0">
                    <a:pos x="18" y="86"/>
                  </a:cxn>
                  <a:cxn ang="0">
                    <a:pos x="0" y="84"/>
                  </a:cxn>
                  <a:cxn ang="0">
                    <a:pos x="20" y="72"/>
                  </a:cxn>
                  <a:cxn ang="0">
                    <a:pos x="30" y="60"/>
                  </a:cxn>
                  <a:cxn ang="0">
                    <a:pos x="10" y="68"/>
                  </a:cxn>
                  <a:cxn ang="0">
                    <a:pos x="6" y="68"/>
                  </a:cxn>
                  <a:cxn ang="0">
                    <a:pos x="8" y="56"/>
                  </a:cxn>
                  <a:cxn ang="0">
                    <a:pos x="12" y="42"/>
                  </a:cxn>
                  <a:cxn ang="0">
                    <a:pos x="14" y="36"/>
                  </a:cxn>
                  <a:cxn ang="0">
                    <a:pos x="22" y="26"/>
                  </a:cxn>
                  <a:cxn ang="0">
                    <a:pos x="32" y="18"/>
                  </a:cxn>
                  <a:cxn ang="0">
                    <a:pos x="42" y="22"/>
                  </a:cxn>
                  <a:cxn ang="0">
                    <a:pos x="42" y="34"/>
                  </a:cxn>
                  <a:cxn ang="0">
                    <a:pos x="56" y="30"/>
                  </a:cxn>
                  <a:cxn ang="0">
                    <a:pos x="70" y="48"/>
                  </a:cxn>
                  <a:cxn ang="0">
                    <a:pos x="74" y="52"/>
                  </a:cxn>
                  <a:cxn ang="0">
                    <a:pos x="74" y="60"/>
                  </a:cxn>
                  <a:cxn ang="0">
                    <a:pos x="104" y="70"/>
                  </a:cxn>
                  <a:cxn ang="0">
                    <a:pos x="94" y="50"/>
                  </a:cxn>
                  <a:cxn ang="0">
                    <a:pos x="98" y="34"/>
                  </a:cxn>
                  <a:cxn ang="0">
                    <a:pos x="86" y="22"/>
                  </a:cxn>
                  <a:cxn ang="0">
                    <a:pos x="96" y="16"/>
                  </a:cxn>
                </a:cxnLst>
                <a:rect l="0" t="0" r="r" b="b"/>
                <a:pathLst>
                  <a:path w="146" h="124">
                    <a:moveTo>
                      <a:pt x="96" y="16"/>
                    </a:moveTo>
                    <a:lnTo>
                      <a:pt x="100" y="2"/>
                    </a:lnTo>
                    <a:lnTo>
                      <a:pt x="106" y="0"/>
                    </a:lnTo>
                    <a:lnTo>
                      <a:pt x="110" y="6"/>
                    </a:lnTo>
                    <a:lnTo>
                      <a:pt x="108" y="10"/>
                    </a:lnTo>
                    <a:lnTo>
                      <a:pt x="108" y="10"/>
                    </a:lnTo>
                    <a:lnTo>
                      <a:pt x="110" y="16"/>
                    </a:lnTo>
                    <a:lnTo>
                      <a:pt x="110" y="22"/>
                    </a:lnTo>
                    <a:lnTo>
                      <a:pt x="116" y="30"/>
                    </a:lnTo>
                    <a:lnTo>
                      <a:pt x="110" y="42"/>
                    </a:lnTo>
                    <a:lnTo>
                      <a:pt x="122" y="46"/>
                    </a:lnTo>
                    <a:lnTo>
                      <a:pt x="116" y="56"/>
                    </a:lnTo>
                    <a:lnTo>
                      <a:pt x="126" y="50"/>
                    </a:lnTo>
                    <a:lnTo>
                      <a:pt x="130" y="62"/>
                    </a:lnTo>
                    <a:lnTo>
                      <a:pt x="132" y="56"/>
                    </a:lnTo>
                    <a:lnTo>
                      <a:pt x="130" y="48"/>
                    </a:lnTo>
                    <a:lnTo>
                      <a:pt x="132" y="42"/>
                    </a:lnTo>
                    <a:lnTo>
                      <a:pt x="144" y="50"/>
                    </a:lnTo>
                    <a:lnTo>
                      <a:pt x="144" y="50"/>
                    </a:lnTo>
                    <a:lnTo>
                      <a:pt x="146" y="54"/>
                    </a:lnTo>
                    <a:lnTo>
                      <a:pt x="146" y="60"/>
                    </a:lnTo>
                    <a:lnTo>
                      <a:pt x="146" y="72"/>
                    </a:lnTo>
                    <a:lnTo>
                      <a:pt x="138" y="94"/>
                    </a:lnTo>
                    <a:lnTo>
                      <a:pt x="126" y="100"/>
                    </a:lnTo>
                    <a:lnTo>
                      <a:pt x="120" y="96"/>
                    </a:lnTo>
                    <a:lnTo>
                      <a:pt x="120" y="92"/>
                    </a:lnTo>
                    <a:lnTo>
                      <a:pt x="112" y="98"/>
                    </a:lnTo>
                    <a:lnTo>
                      <a:pt x="108" y="98"/>
                    </a:lnTo>
                    <a:lnTo>
                      <a:pt x="110" y="96"/>
                    </a:lnTo>
                    <a:lnTo>
                      <a:pt x="108" y="90"/>
                    </a:lnTo>
                    <a:lnTo>
                      <a:pt x="108" y="90"/>
                    </a:lnTo>
                    <a:lnTo>
                      <a:pt x="104" y="96"/>
                    </a:lnTo>
                    <a:lnTo>
                      <a:pt x="98" y="100"/>
                    </a:lnTo>
                    <a:lnTo>
                      <a:pt x="90" y="104"/>
                    </a:lnTo>
                    <a:lnTo>
                      <a:pt x="84" y="106"/>
                    </a:lnTo>
                    <a:lnTo>
                      <a:pt x="82" y="112"/>
                    </a:lnTo>
                    <a:lnTo>
                      <a:pt x="60" y="124"/>
                    </a:lnTo>
                    <a:lnTo>
                      <a:pt x="44" y="120"/>
                    </a:lnTo>
                    <a:lnTo>
                      <a:pt x="38" y="112"/>
                    </a:lnTo>
                    <a:lnTo>
                      <a:pt x="40" y="108"/>
                    </a:lnTo>
                    <a:lnTo>
                      <a:pt x="52" y="104"/>
                    </a:lnTo>
                    <a:lnTo>
                      <a:pt x="56" y="96"/>
                    </a:lnTo>
                    <a:lnTo>
                      <a:pt x="72" y="98"/>
                    </a:lnTo>
                    <a:lnTo>
                      <a:pt x="80" y="82"/>
                    </a:lnTo>
                    <a:lnTo>
                      <a:pt x="64" y="88"/>
                    </a:lnTo>
                    <a:lnTo>
                      <a:pt x="64" y="84"/>
                    </a:lnTo>
                    <a:lnTo>
                      <a:pt x="60" y="82"/>
                    </a:lnTo>
                    <a:lnTo>
                      <a:pt x="58" y="90"/>
                    </a:lnTo>
                    <a:lnTo>
                      <a:pt x="54" y="88"/>
                    </a:lnTo>
                    <a:lnTo>
                      <a:pt x="46" y="94"/>
                    </a:lnTo>
                    <a:lnTo>
                      <a:pt x="44" y="92"/>
                    </a:lnTo>
                    <a:lnTo>
                      <a:pt x="48" y="86"/>
                    </a:lnTo>
                    <a:lnTo>
                      <a:pt x="46" y="78"/>
                    </a:lnTo>
                    <a:lnTo>
                      <a:pt x="52" y="74"/>
                    </a:lnTo>
                    <a:lnTo>
                      <a:pt x="44" y="76"/>
                    </a:lnTo>
                    <a:lnTo>
                      <a:pt x="42" y="84"/>
                    </a:lnTo>
                    <a:lnTo>
                      <a:pt x="38" y="80"/>
                    </a:lnTo>
                    <a:lnTo>
                      <a:pt x="38" y="92"/>
                    </a:lnTo>
                    <a:lnTo>
                      <a:pt x="34" y="96"/>
                    </a:lnTo>
                    <a:lnTo>
                      <a:pt x="32" y="96"/>
                    </a:lnTo>
                    <a:lnTo>
                      <a:pt x="30" y="88"/>
                    </a:lnTo>
                    <a:lnTo>
                      <a:pt x="24" y="90"/>
                    </a:lnTo>
                    <a:lnTo>
                      <a:pt x="26" y="98"/>
                    </a:lnTo>
                    <a:lnTo>
                      <a:pt x="18" y="92"/>
                    </a:lnTo>
                    <a:lnTo>
                      <a:pt x="18" y="90"/>
                    </a:lnTo>
                    <a:lnTo>
                      <a:pt x="18" y="86"/>
                    </a:lnTo>
                    <a:lnTo>
                      <a:pt x="12" y="90"/>
                    </a:lnTo>
                    <a:lnTo>
                      <a:pt x="0" y="84"/>
                    </a:lnTo>
                    <a:lnTo>
                      <a:pt x="6" y="72"/>
                    </a:lnTo>
                    <a:lnTo>
                      <a:pt x="20" y="72"/>
                    </a:lnTo>
                    <a:lnTo>
                      <a:pt x="30" y="60"/>
                    </a:lnTo>
                    <a:lnTo>
                      <a:pt x="30" y="60"/>
                    </a:lnTo>
                    <a:lnTo>
                      <a:pt x="18" y="66"/>
                    </a:lnTo>
                    <a:lnTo>
                      <a:pt x="10" y="68"/>
                    </a:lnTo>
                    <a:lnTo>
                      <a:pt x="6" y="68"/>
                    </a:lnTo>
                    <a:lnTo>
                      <a:pt x="6" y="68"/>
                    </a:lnTo>
                    <a:lnTo>
                      <a:pt x="6" y="62"/>
                    </a:lnTo>
                    <a:lnTo>
                      <a:pt x="8" y="56"/>
                    </a:lnTo>
                    <a:lnTo>
                      <a:pt x="14" y="46"/>
                    </a:lnTo>
                    <a:lnTo>
                      <a:pt x="12" y="42"/>
                    </a:lnTo>
                    <a:lnTo>
                      <a:pt x="12" y="42"/>
                    </a:lnTo>
                    <a:lnTo>
                      <a:pt x="14" y="36"/>
                    </a:lnTo>
                    <a:lnTo>
                      <a:pt x="18" y="32"/>
                    </a:lnTo>
                    <a:lnTo>
                      <a:pt x="22" y="26"/>
                    </a:lnTo>
                    <a:lnTo>
                      <a:pt x="24" y="20"/>
                    </a:lnTo>
                    <a:lnTo>
                      <a:pt x="32" y="18"/>
                    </a:lnTo>
                    <a:lnTo>
                      <a:pt x="42" y="22"/>
                    </a:lnTo>
                    <a:lnTo>
                      <a:pt x="42" y="22"/>
                    </a:lnTo>
                    <a:lnTo>
                      <a:pt x="42" y="28"/>
                    </a:lnTo>
                    <a:lnTo>
                      <a:pt x="42" y="34"/>
                    </a:lnTo>
                    <a:lnTo>
                      <a:pt x="56" y="30"/>
                    </a:lnTo>
                    <a:lnTo>
                      <a:pt x="56" y="30"/>
                    </a:lnTo>
                    <a:lnTo>
                      <a:pt x="64" y="38"/>
                    </a:lnTo>
                    <a:lnTo>
                      <a:pt x="70" y="48"/>
                    </a:lnTo>
                    <a:lnTo>
                      <a:pt x="66" y="54"/>
                    </a:lnTo>
                    <a:lnTo>
                      <a:pt x="74" y="52"/>
                    </a:lnTo>
                    <a:lnTo>
                      <a:pt x="74" y="58"/>
                    </a:lnTo>
                    <a:lnTo>
                      <a:pt x="74" y="60"/>
                    </a:lnTo>
                    <a:lnTo>
                      <a:pt x="76" y="68"/>
                    </a:lnTo>
                    <a:lnTo>
                      <a:pt x="104" y="70"/>
                    </a:lnTo>
                    <a:lnTo>
                      <a:pt x="106" y="60"/>
                    </a:lnTo>
                    <a:lnTo>
                      <a:pt x="94" y="50"/>
                    </a:lnTo>
                    <a:lnTo>
                      <a:pt x="100" y="44"/>
                    </a:lnTo>
                    <a:lnTo>
                      <a:pt x="98" y="34"/>
                    </a:lnTo>
                    <a:lnTo>
                      <a:pt x="88" y="28"/>
                    </a:lnTo>
                    <a:lnTo>
                      <a:pt x="86" y="22"/>
                    </a:lnTo>
                    <a:lnTo>
                      <a:pt x="86" y="22"/>
                    </a:lnTo>
                    <a:lnTo>
                      <a:pt x="96" y="16"/>
                    </a:lnTo>
                    <a:lnTo>
                      <a:pt x="96" y="1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4" name="Freeform 1412">
                <a:extLst>
                  <a:ext uri="{FF2B5EF4-FFF2-40B4-BE49-F238E27FC236}">
                    <a16:creationId xmlns:a16="http://schemas.microsoft.com/office/drawing/2014/main" id="{B43080EA-14EA-4536-874D-E38EB3CAE122}"/>
                  </a:ext>
                </a:extLst>
              </p:cNvPr>
              <p:cNvSpPr>
                <a:spLocks/>
              </p:cNvSpPr>
              <p:nvPr/>
            </p:nvSpPr>
            <p:spPr bwMode="auto">
              <a:xfrm>
                <a:off x="1548" y="1384"/>
                <a:ext cx="22" cy="30"/>
              </a:xfrm>
              <a:custGeom>
                <a:avLst/>
                <a:gdLst/>
                <a:ahLst/>
                <a:cxnLst>
                  <a:cxn ang="0">
                    <a:pos x="20" y="0"/>
                  </a:cxn>
                  <a:cxn ang="0">
                    <a:pos x="22" y="4"/>
                  </a:cxn>
                  <a:cxn ang="0">
                    <a:pos x="10" y="30"/>
                  </a:cxn>
                  <a:cxn ang="0">
                    <a:pos x="0" y="22"/>
                  </a:cxn>
                  <a:cxn ang="0">
                    <a:pos x="0" y="22"/>
                  </a:cxn>
                  <a:cxn ang="0">
                    <a:pos x="20" y="0"/>
                  </a:cxn>
                  <a:cxn ang="0">
                    <a:pos x="20" y="0"/>
                  </a:cxn>
                </a:cxnLst>
                <a:rect l="0" t="0" r="r" b="b"/>
                <a:pathLst>
                  <a:path w="22" h="30">
                    <a:moveTo>
                      <a:pt x="20" y="0"/>
                    </a:moveTo>
                    <a:lnTo>
                      <a:pt x="22" y="4"/>
                    </a:lnTo>
                    <a:lnTo>
                      <a:pt x="10" y="30"/>
                    </a:lnTo>
                    <a:lnTo>
                      <a:pt x="0" y="22"/>
                    </a:lnTo>
                    <a:lnTo>
                      <a:pt x="0" y="22"/>
                    </a:lnTo>
                    <a:lnTo>
                      <a:pt x="20" y="0"/>
                    </a:lnTo>
                    <a:lnTo>
                      <a:pt x="2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5" name="Freeform 1413">
                <a:extLst>
                  <a:ext uri="{FF2B5EF4-FFF2-40B4-BE49-F238E27FC236}">
                    <a16:creationId xmlns:a16="http://schemas.microsoft.com/office/drawing/2014/main" id="{E2B267F1-097C-4BEA-9D5F-05F63282F7E2}"/>
                  </a:ext>
                </a:extLst>
              </p:cNvPr>
              <p:cNvSpPr>
                <a:spLocks/>
              </p:cNvSpPr>
              <p:nvPr/>
            </p:nvSpPr>
            <p:spPr bwMode="auto">
              <a:xfrm>
                <a:off x="1822" y="1408"/>
                <a:ext cx="36" cy="52"/>
              </a:xfrm>
              <a:custGeom>
                <a:avLst/>
                <a:gdLst/>
                <a:ahLst/>
                <a:cxnLst>
                  <a:cxn ang="0">
                    <a:pos x="18" y="0"/>
                  </a:cxn>
                  <a:cxn ang="0">
                    <a:pos x="36" y="22"/>
                  </a:cxn>
                  <a:cxn ang="0">
                    <a:pos x="36" y="22"/>
                  </a:cxn>
                  <a:cxn ang="0">
                    <a:pos x="34" y="26"/>
                  </a:cxn>
                  <a:cxn ang="0">
                    <a:pos x="34" y="34"/>
                  </a:cxn>
                  <a:cxn ang="0">
                    <a:pos x="36" y="48"/>
                  </a:cxn>
                  <a:cxn ang="0">
                    <a:pos x="22" y="52"/>
                  </a:cxn>
                  <a:cxn ang="0">
                    <a:pos x="14" y="42"/>
                  </a:cxn>
                  <a:cxn ang="0">
                    <a:pos x="8" y="40"/>
                  </a:cxn>
                  <a:cxn ang="0">
                    <a:pos x="6" y="36"/>
                  </a:cxn>
                  <a:cxn ang="0">
                    <a:pos x="6" y="32"/>
                  </a:cxn>
                  <a:cxn ang="0">
                    <a:pos x="2" y="36"/>
                  </a:cxn>
                  <a:cxn ang="0">
                    <a:pos x="2" y="36"/>
                  </a:cxn>
                  <a:cxn ang="0">
                    <a:pos x="0" y="30"/>
                  </a:cxn>
                  <a:cxn ang="0">
                    <a:pos x="0" y="22"/>
                  </a:cxn>
                  <a:cxn ang="0">
                    <a:pos x="0" y="22"/>
                  </a:cxn>
                  <a:cxn ang="0">
                    <a:pos x="4" y="18"/>
                  </a:cxn>
                  <a:cxn ang="0">
                    <a:pos x="8" y="16"/>
                  </a:cxn>
                  <a:cxn ang="0">
                    <a:pos x="8" y="16"/>
                  </a:cxn>
                  <a:cxn ang="0">
                    <a:pos x="6" y="14"/>
                  </a:cxn>
                  <a:cxn ang="0">
                    <a:pos x="4" y="10"/>
                  </a:cxn>
                  <a:cxn ang="0">
                    <a:pos x="10" y="10"/>
                  </a:cxn>
                  <a:cxn ang="0">
                    <a:pos x="8" y="4"/>
                  </a:cxn>
                  <a:cxn ang="0">
                    <a:pos x="14" y="0"/>
                  </a:cxn>
                  <a:cxn ang="0">
                    <a:pos x="18" y="0"/>
                  </a:cxn>
                </a:cxnLst>
                <a:rect l="0" t="0" r="r" b="b"/>
                <a:pathLst>
                  <a:path w="36" h="52">
                    <a:moveTo>
                      <a:pt x="18" y="0"/>
                    </a:moveTo>
                    <a:lnTo>
                      <a:pt x="36" y="22"/>
                    </a:lnTo>
                    <a:lnTo>
                      <a:pt x="36" y="22"/>
                    </a:lnTo>
                    <a:lnTo>
                      <a:pt x="34" y="26"/>
                    </a:lnTo>
                    <a:lnTo>
                      <a:pt x="34" y="34"/>
                    </a:lnTo>
                    <a:lnTo>
                      <a:pt x="36" y="48"/>
                    </a:lnTo>
                    <a:lnTo>
                      <a:pt x="22" y="52"/>
                    </a:lnTo>
                    <a:lnTo>
                      <a:pt x="14" y="42"/>
                    </a:lnTo>
                    <a:lnTo>
                      <a:pt x="8" y="40"/>
                    </a:lnTo>
                    <a:lnTo>
                      <a:pt x="6" y="36"/>
                    </a:lnTo>
                    <a:lnTo>
                      <a:pt x="6" y="32"/>
                    </a:lnTo>
                    <a:lnTo>
                      <a:pt x="2" y="36"/>
                    </a:lnTo>
                    <a:lnTo>
                      <a:pt x="2" y="36"/>
                    </a:lnTo>
                    <a:lnTo>
                      <a:pt x="0" y="30"/>
                    </a:lnTo>
                    <a:lnTo>
                      <a:pt x="0" y="22"/>
                    </a:lnTo>
                    <a:lnTo>
                      <a:pt x="0" y="22"/>
                    </a:lnTo>
                    <a:lnTo>
                      <a:pt x="4" y="18"/>
                    </a:lnTo>
                    <a:lnTo>
                      <a:pt x="8" y="16"/>
                    </a:lnTo>
                    <a:lnTo>
                      <a:pt x="8" y="16"/>
                    </a:lnTo>
                    <a:lnTo>
                      <a:pt x="6" y="14"/>
                    </a:lnTo>
                    <a:lnTo>
                      <a:pt x="4" y="10"/>
                    </a:lnTo>
                    <a:lnTo>
                      <a:pt x="10" y="10"/>
                    </a:lnTo>
                    <a:lnTo>
                      <a:pt x="8" y="4"/>
                    </a:lnTo>
                    <a:lnTo>
                      <a:pt x="14" y="0"/>
                    </a:lnTo>
                    <a:lnTo>
                      <a:pt x="1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6" name="Freeform 1414">
                <a:extLst>
                  <a:ext uri="{FF2B5EF4-FFF2-40B4-BE49-F238E27FC236}">
                    <a16:creationId xmlns:a16="http://schemas.microsoft.com/office/drawing/2014/main" id="{F32ED724-0807-499A-BD95-5AED5BD1EEFC}"/>
                  </a:ext>
                </a:extLst>
              </p:cNvPr>
              <p:cNvSpPr>
                <a:spLocks/>
              </p:cNvSpPr>
              <p:nvPr/>
            </p:nvSpPr>
            <p:spPr bwMode="auto">
              <a:xfrm>
                <a:off x="1832" y="1482"/>
                <a:ext cx="64" cy="96"/>
              </a:xfrm>
              <a:custGeom>
                <a:avLst/>
                <a:gdLst/>
                <a:ahLst/>
                <a:cxnLst>
                  <a:cxn ang="0">
                    <a:pos x="26" y="0"/>
                  </a:cxn>
                  <a:cxn ang="0">
                    <a:pos x="38" y="4"/>
                  </a:cxn>
                  <a:cxn ang="0">
                    <a:pos x="40" y="10"/>
                  </a:cxn>
                  <a:cxn ang="0">
                    <a:pos x="50" y="6"/>
                  </a:cxn>
                  <a:cxn ang="0">
                    <a:pos x="64" y="12"/>
                  </a:cxn>
                  <a:cxn ang="0">
                    <a:pos x="60" y="26"/>
                  </a:cxn>
                  <a:cxn ang="0">
                    <a:pos x="56" y="26"/>
                  </a:cxn>
                  <a:cxn ang="0">
                    <a:pos x="56" y="26"/>
                  </a:cxn>
                  <a:cxn ang="0">
                    <a:pos x="56" y="34"/>
                  </a:cxn>
                  <a:cxn ang="0">
                    <a:pos x="54" y="40"/>
                  </a:cxn>
                  <a:cxn ang="0">
                    <a:pos x="48" y="42"/>
                  </a:cxn>
                  <a:cxn ang="0">
                    <a:pos x="52" y="44"/>
                  </a:cxn>
                  <a:cxn ang="0">
                    <a:pos x="52" y="44"/>
                  </a:cxn>
                  <a:cxn ang="0">
                    <a:pos x="48" y="54"/>
                  </a:cxn>
                  <a:cxn ang="0">
                    <a:pos x="42" y="64"/>
                  </a:cxn>
                  <a:cxn ang="0">
                    <a:pos x="42" y="64"/>
                  </a:cxn>
                  <a:cxn ang="0">
                    <a:pos x="36" y="62"/>
                  </a:cxn>
                  <a:cxn ang="0">
                    <a:pos x="28" y="62"/>
                  </a:cxn>
                  <a:cxn ang="0">
                    <a:pos x="22" y="62"/>
                  </a:cxn>
                  <a:cxn ang="0">
                    <a:pos x="16" y="64"/>
                  </a:cxn>
                  <a:cxn ang="0">
                    <a:pos x="22" y="66"/>
                  </a:cxn>
                  <a:cxn ang="0">
                    <a:pos x="26" y="76"/>
                  </a:cxn>
                  <a:cxn ang="0">
                    <a:pos x="18" y="92"/>
                  </a:cxn>
                  <a:cxn ang="0">
                    <a:pos x="8" y="96"/>
                  </a:cxn>
                  <a:cxn ang="0">
                    <a:pos x="6" y="94"/>
                  </a:cxn>
                  <a:cxn ang="0">
                    <a:pos x="8" y="90"/>
                  </a:cxn>
                  <a:cxn ang="0">
                    <a:pos x="6" y="88"/>
                  </a:cxn>
                  <a:cxn ang="0">
                    <a:pos x="6" y="78"/>
                  </a:cxn>
                  <a:cxn ang="0">
                    <a:pos x="8" y="72"/>
                  </a:cxn>
                  <a:cxn ang="0">
                    <a:pos x="6" y="72"/>
                  </a:cxn>
                  <a:cxn ang="0">
                    <a:pos x="6" y="72"/>
                  </a:cxn>
                  <a:cxn ang="0">
                    <a:pos x="2" y="68"/>
                  </a:cxn>
                  <a:cxn ang="0">
                    <a:pos x="2" y="62"/>
                  </a:cxn>
                  <a:cxn ang="0">
                    <a:pos x="0" y="48"/>
                  </a:cxn>
                  <a:cxn ang="0">
                    <a:pos x="0" y="20"/>
                  </a:cxn>
                  <a:cxn ang="0">
                    <a:pos x="0" y="20"/>
                  </a:cxn>
                  <a:cxn ang="0">
                    <a:pos x="2" y="16"/>
                  </a:cxn>
                  <a:cxn ang="0">
                    <a:pos x="4" y="14"/>
                  </a:cxn>
                  <a:cxn ang="0">
                    <a:pos x="4" y="6"/>
                  </a:cxn>
                  <a:cxn ang="0">
                    <a:pos x="4" y="6"/>
                  </a:cxn>
                  <a:cxn ang="0">
                    <a:pos x="14" y="2"/>
                  </a:cxn>
                  <a:cxn ang="0">
                    <a:pos x="26" y="0"/>
                  </a:cxn>
                  <a:cxn ang="0">
                    <a:pos x="26" y="0"/>
                  </a:cxn>
                </a:cxnLst>
                <a:rect l="0" t="0" r="r" b="b"/>
                <a:pathLst>
                  <a:path w="64" h="96">
                    <a:moveTo>
                      <a:pt x="26" y="0"/>
                    </a:moveTo>
                    <a:lnTo>
                      <a:pt x="38" y="4"/>
                    </a:lnTo>
                    <a:lnTo>
                      <a:pt x="40" y="10"/>
                    </a:lnTo>
                    <a:lnTo>
                      <a:pt x="50" y="6"/>
                    </a:lnTo>
                    <a:lnTo>
                      <a:pt x="64" y="12"/>
                    </a:lnTo>
                    <a:lnTo>
                      <a:pt x="60" y="26"/>
                    </a:lnTo>
                    <a:lnTo>
                      <a:pt x="56" y="26"/>
                    </a:lnTo>
                    <a:lnTo>
                      <a:pt x="56" y="26"/>
                    </a:lnTo>
                    <a:lnTo>
                      <a:pt x="56" y="34"/>
                    </a:lnTo>
                    <a:lnTo>
                      <a:pt x="54" y="40"/>
                    </a:lnTo>
                    <a:lnTo>
                      <a:pt x="48" y="42"/>
                    </a:lnTo>
                    <a:lnTo>
                      <a:pt x="52" y="44"/>
                    </a:lnTo>
                    <a:lnTo>
                      <a:pt x="52" y="44"/>
                    </a:lnTo>
                    <a:lnTo>
                      <a:pt x="48" y="54"/>
                    </a:lnTo>
                    <a:lnTo>
                      <a:pt x="42" y="64"/>
                    </a:lnTo>
                    <a:lnTo>
                      <a:pt x="42" y="64"/>
                    </a:lnTo>
                    <a:lnTo>
                      <a:pt x="36" y="62"/>
                    </a:lnTo>
                    <a:lnTo>
                      <a:pt x="28" y="62"/>
                    </a:lnTo>
                    <a:lnTo>
                      <a:pt x="22" y="62"/>
                    </a:lnTo>
                    <a:lnTo>
                      <a:pt x="16" y="64"/>
                    </a:lnTo>
                    <a:lnTo>
                      <a:pt x="22" y="66"/>
                    </a:lnTo>
                    <a:lnTo>
                      <a:pt x="26" y="76"/>
                    </a:lnTo>
                    <a:lnTo>
                      <a:pt x="18" y="92"/>
                    </a:lnTo>
                    <a:lnTo>
                      <a:pt x="8" y="96"/>
                    </a:lnTo>
                    <a:lnTo>
                      <a:pt x="6" y="94"/>
                    </a:lnTo>
                    <a:lnTo>
                      <a:pt x="8" y="90"/>
                    </a:lnTo>
                    <a:lnTo>
                      <a:pt x="6" y="88"/>
                    </a:lnTo>
                    <a:lnTo>
                      <a:pt x="6" y="78"/>
                    </a:lnTo>
                    <a:lnTo>
                      <a:pt x="8" y="72"/>
                    </a:lnTo>
                    <a:lnTo>
                      <a:pt x="6" y="72"/>
                    </a:lnTo>
                    <a:lnTo>
                      <a:pt x="6" y="72"/>
                    </a:lnTo>
                    <a:lnTo>
                      <a:pt x="2" y="68"/>
                    </a:lnTo>
                    <a:lnTo>
                      <a:pt x="2" y="62"/>
                    </a:lnTo>
                    <a:lnTo>
                      <a:pt x="0" y="48"/>
                    </a:lnTo>
                    <a:lnTo>
                      <a:pt x="0" y="20"/>
                    </a:lnTo>
                    <a:lnTo>
                      <a:pt x="0" y="20"/>
                    </a:lnTo>
                    <a:lnTo>
                      <a:pt x="2" y="16"/>
                    </a:lnTo>
                    <a:lnTo>
                      <a:pt x="4" y="14"/>
                    </a:lnTo>
                    <a:lnTo>
                      <a:pt x="4" y="6"/>
                    </a:lnTo>
                    <a:lnTo>
                      <a:pt x="4" y="6"/>
                    </a:lnTo>
                    <a:lnTo>
                      <a:pt x="14" y="2"/>
                    </a:lnTo>
                    <a:lnTo>
                      <a:pt x="26" y="0"/>
                    </a:lnTo>
                    <a:lnTo>
                      <a:pt x="2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7" name="Freeform 1415">
                <a:extLst>
                  <a:ext uri="{FF2B5EF4-FFF2-40B4-BE49-F238E27FC236}">
                    <a16:creationId xmlns:a16="http://schemas.microsoft.com/office/drawing/2014/main" id="{985BD701-858E-45D1-8094-173351E02277}"/>
                  </a:ext>
                </a:extLst>
              </p:cNvPr>
              <p:cNvSpPr>
                <a:spLocks/>
              </p:cNvSpPr>
              <p:nvPr/>
            </p:nvSpPr>
            <p:spPr bwMode="auto">
              <a:xfrm>
                <a:off x="1936" y="1716"/>
                <a:ext cx="6" cy="20"/>
              </a:xfrm>
              <a:custGeom>
                <a:avLst/>
                <a:gdLst/>
                <a:ahLst/>
                <a:cxnLst>
                  <a:cxn ang="0">
                    <a:pos x="4" y="2"/>
                  </a:cxn>
                  <a:cxn ang="0">
                    <a:pos x="4" y="2"/>
                  </a:cxn>
                  <a:cxn ang="0">
                    <a:pos x="6" y="12"/>
                  </a:cxn>
                  <a:cxn ang="0">
                    <a:pos x="4" y="20"/>
                  </a:cxn>
                  <a:cxn ang="0">
                    <a:pos x="0" y="16"/>
                  </a:cxn>
                  <a:cxn ang="0">
                    <a:pos x="0" y="4"/>
                  </a:cxn>
                  <a:cxn ang="0">
                    <a:pos x="2" y="0"/>
                  </a:cxn>
                  <a:cxn ang="0">
                    <a:pos x="4" y="2"/>
                  </a:cxn>
                </a:cxnLst>
                <a:rect l="0" t="0" r="r" b="b"/>
                <a:pathLst>
                  <a:path w="6" h="20">
                    <a:moveTo>
                      <a:pt x="4" y="2"/>
                    </a:moveTo>
                    <a:lnTo>
                      <a:pt x="4" y="2"/>
                    </a:lnTo>
                    <a:lnTo>
                      <a:pt x="6" y="12"/>
                    </a:lnTo>
                    <a:lnTo>
                      <a:pt x="4" y="20"/>
                    </a:lnTo>
                    <a:lnTo>
                      <a:pt x="0" y="16"/>
                    </a:lnTo>
                    <a:lnTo>
                      <a:pt x="0" y="4"/>
                    </a:lnTo>
                    <a:lnTo>
                      <a:pt x="2" y="0"/>
                    </a:lnTo>
                    <a:lnTo>
                      <a:pt x="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8" name="Freeform 1416">
                <a:extLst>
                  <a:ext uri="{FF2B5EF4-FFF2-40B4-BE49-F238E27FC236}">
                    <a16:creationId xmlns:a16="http://schemas.microsoft.com/office/drawing/2014/main" id="{58D221A9-F4E0-4AA4-AAB5-1CA0190FAD09}"/>
                  </a:ext>
                </a:extLst>
              </p:cNvPr>
              <p:cNvSpPr>
                <a:spLocks/>
              </p:cNvSpPr>
              <p:nvPr/>
            </p:nvSpPr>
            <p:spPr bwMode="auto">
              <a:xfrm>
                <a:off x="1934" y="1796"/>
                <a:ext cx="84" cy="82"/>
              </a:xfrm>
              <a:custGeom>
                <a:avLst/>
                <a:gdLst/>
                <a:ahLst/>
                <a:cxnLst>
                  <a:cxn ang="0">
                    <a:pos x="20" y="0"/>
                  </a:cxn>
                  <a:cxn ang="0">
                    <a:pos x="20" y="4"/>
                  </a:cxn>
                  <a:cxn ang="0">
                    <a:pos x="22" y="2"/>
                  </a:cxn>
                  <a:cxn ang="0">
                    <a:pos x="26" y="10"/>
                  </a:cxn>
                  <a:cxn ang="0">
                    <a:pos x="24" y="12"/>
                  </a:cxn>
                  <a:cxn ang="0">
                    <a:pos x="26" y="20"/>
                  </a:cxn>
                  <a:cxn ang="0">
                    <a:pos x="28" y="20"/>
                  </a:cxn>
                  <a:cxn ang="0">
                    <a:pos x="30" y="14"/>
                  </a:cxn>
                  <a:cxn ang="0">
                    <a:pos x="30" y="14"/>
                  </a:cxn>
                  <a:cxn ang="0">
                    <a:pos x="34" y="16"/>
                  </a:cxn>
                  <a:cxn ang="0">
                    <a:pos x="36" y="18"/>
                  </a:cxn>
                  <a:cxn ang="0">
                    <a:pos x="36" y="22"/>
                  </a:cxn>
                  <a:cxn ang="0">
                    <a:pos x="44" y="24"/>
                  </a:cxn>
                  <a:cxn ang="0">
                    <a:pos x="44" y="24"/>
                  </a:cxn>
                  <a:cxn ang="0">
                    <a:pos x="52" y="32"/>
                  </a:cxn>
                  <a:cxn ang="0">
                    <a:pos x="56" y="36"/>
                  </a:cxn>
                  <a:cxn ang="0">
                    <a:pos x="62" y="38"/>
                  </a:cxn>
                  <a:cxn ang="0">
                    <a:pos x="66" y="52"/>
                  </a:cxn>
                  <a:cxn ang="0">
                    <a:pos x="66" y="56"/>
                  </a:cxn>
                  <a:cxn ang="0">
                    <a:pos x="72" y="56"/>
                  </a:cxn>
                  <a:cxn ang="0">
                    <a:pos x="74" y="54"/>
                  </a:cxn>
                  <a:cxn ang="0">
                    <a:pos x="78" y="58"/>
                  </a:cxn>
                  <a:cxn ang="0">
                    <a:pos x="78" y="62"/>
                  </a:cxn>
                  <a:cxn ang="0">
                    <a:pos x="84" y="64"/>
                  </a:cxn>
                  <a:cxn ang="0">
                    <a:pos x="72" y="74"/>
                  </a:cxn>
                  <a:cxn ang="0">
                    <a:pos x="60" y="66"/>
                  </a:cxn>
                  <a:cxn ang="0">
                    <a:pos x="56" y="66"/>
                  </a:cxn>
                  <a:cxn ang="0">
                    <a:pos x="56" y="60"/>
                  </a:cxn>
                  <a:cxn ang="0">
                    <a:pos x="48" y="58"/>
                  </a:cxn>
                  <a:cxn ang="0">
                    <a:pos x="50" y="52"/>
                  </a:cxn>
                  <a:cxn ang="0">
                    <a:pos x="42" y="56"/>
                  </a:cxn>
                  <a:cxn ang="0">
                    <a:pos x="42" y="64"/>
                  </a:cxn>
                  <a:cxn ang="0">
                    <a:pos x="42" y="64"/>
                  </a:cxn>
                  <a:cxn ang="0">
                    <a:pos x="38" y="66"/>
                  </a:cxn>
                  <a:cxn ang="0">
                    <a:pos x="34" y="70"/>
                  </a:cxn>
                  <a:cxn ang="0">
                    <a:pos x="30" y="78"/>
                  </a:cxn>
                  <a:cxn ang="0">
                    <a:pos x="30" y="78"/>
                  </a:cxn>
                  <a:cxn ang="0">
                    <a:pos x="24" y="82"/>
                  </a:cxn>
                  <a:cxn ang="0">
                    <a:pos x="20" y="82"/>
                  </a:cxn>
                  <a:cxn ang="0">
                    <a:pos x="20" y="82"/>
                  </a:cxn>
                  <a:cxn ang="0">
                    <a:pos x="18" y="72"/>
                  </a:cxn>
                  <a:cxn ang="0">
                    <a:pos x="18" y="62"/>
                  </a:cxn>
                  <a:cxn ang="0">
                    <a:pos x="16" y="66"/>
                  </a:cxn>
                  <a:cxn ang="0">
                    <a:pos x="2" y="70"/>
                  </a:cxn>
                  <a:cxn ang="0">
                    <a:pos x="0" y="66"/>
                  </a:cxn>
                  <a:cxn ang="0">
                    <a:pos x="0" y="66"/>
                  </a:cxn>
                  <a:cxn ang="0">
                    <a:pos x="0" y="62"/>
                  </a:cxn>
                  <a:cxn ang="0">
                    <a:pos x="4" y="58"/>
                  </a:cxn>
                  <a:cxn ang="0">
                    <a:pos x="10" y="52"/>
                  </a:cxn>
                  <a:cxn ang="0">
                    <a:pos x="10" y="52"/>
                  </a:cxn>
                  <a:cxn ang="0">
                    <a:pos x="10" y="42"/>
                  </a:cxn>
                  <a:cxn ang="0">
                    <a:pos x="10" y="26"/>
                  </a:cxn>
                  <a:cxn ang="0">
                    <a:pos x="14" y="10"/>
                  </a:cxn>
                  <a:cxn ang="0">
                    <a:pos x="16" y="4"/>
                  </a:cxn>
                  <a:cxn ang="0">
                    <a:pos x="20" y="0"/>
                  </a:cxn>
                  <a:cxn ang="0">
                    <a:pos x="20" y="0"/>
                  </a:cxn>
                </a:cxnLst>
                <a:rect l="0" t="0" r="r" b="b"/>
                <a:pathLst>
                  <a:path w="84" h="82">
                    <a:moveTo>
                      <a:pt x="20" y="0"/>
                    </a:moveTo>
                    <a:lnTo>
                      <a:pt x="20" y="4"/>
                    </a:lnTo>
                    <a:lnTo>
                      <a:pt x="22" y="2"/>
                    </a:lnTo>
                    <a:lnTo>
                      <a:pt x="26" y="10"/>
                    </a:lnTo>
                    <a:lnTo>
                      <a:pt x="24" y="12"/>
                    </a:lnTo>
                    <a:lnTo>
                      <a:pt x="26" y="20"/>
                    </a:lnTo>
                    <a:lnTo>
                      <a:pt x="28" y="20"/>
                    </a:lnTo>
                    <a:lnTo>
                      <a:pt x="30" y="14"/>
                    </a:lnTo>
                    <a:lnTo>
                      <a:pt x="30" y="14"/>
                    </a:lnTo>
                    <a:lnTo>
                      <a:pt x="34" y="16"/>
                    </a:lnTo>
                    <a:lnTo>
                      <a:pt x="36" y="18"/>
                    </a:lnTo>
                    <a:lnTo>
                      <a:pt x="36" y="22"/>
                    </a:lnTo>
                    <a:lnTo>
                      <a:pt x="44" y="24"/>
                    </a:lnTo>
                    <a:lnTo>
                      <a:pt x="44" y="24"/>
                    </a:lnTo>
                    <a:lnTo>
                      <a:pt x="52" y="32"/>
                    </a:lnTo>
                    <a:lnTo>
                      <a:pt x="56" y="36"/>
                    </a:lnTo>
                    <a:lnTo>
                      <a:pt x="62" y="38"/>
                    </a:lnTo>
                    <a:lnTo>
                      <a:pt x="66" y="52"/>
                    </a:lnTo>
                    <a:lnTo>
                      <a:pt x="66" y="56"/>
                    </a:lnTo>
                    <a:lnTo>
                      <a:pt x="72" y="56"/>
                    </a:lnTo>
                    <a:lnTo>
                      <a:pt x="74" y="54"/>
                    </a:lnTo>
                    <a:lnTo>
                      <a:pt x="78" y="58"/>
                    </a:lnTo>
                    <a:lnTo>
                      <a:pt x="78" y="62"/>
                    </a:lnTo>
                    <a:lnTo>
                      <a:pt x="84" y="64"/>
                    </a:lnTo>
                    <a:lnTo>
                      <a:pt x="72" y="74"/>
                    </a:lnTo>
                    <a:lnTo>
                      <a:pt x="60" y="66"/>
                    </a:lnTo>
                    <a:lnTo>
                      <a:pt x="56" y="66"/>
                    </a:lnTo>
                    <a:lnTo>
                      <a:pt x="56" y="60"/>
                    </a:lnTo>
                    <a:lnTo>
                      <a:pt x="48" y="58"/>
                    </a:lnTo>
                    <a:lnTo>
                      <a:pt x="50" y="52"/>
                    </a:lnTo>
                    <a:lnTo>
                      <a:pt x="42" y="56"/>
                    </a:lnTo>
                    <a:lnTo>
                      <a:pt x="42" y="64"/>
                    </a:lnTo>
                    <a:lnTo>
                      <a:pt x="42" y="64"/>
                    </a:lnTo>
                    <a:lnTo>
                      <a:pt x="38" y="66"/>
                    </a:lnTo>
                    <a:lnTo>
                      <a:pt x="34" y="70"/>
                    </a:lnTo>
                    <a:lnTo>
                      <a:pt x="30" y="78"/>
                    </a:lnTo>
                    <a:lnTo>
                      <a:pt x="30" y="78"/>
                    </a:lnTo>
                    <a:lnTo>
                      <a:pt x="24" y="82"/>
                    </a:lnTo>
                    <a:lnTo>
                      <a:pt x="20" y="82"/>
                    </a:lnTo>
                    <a:lnTo>
                      <a:pt x="20" y="82"/>
                    </a:lnTo>
                    <a:lnTo>
                      <a:pt x="18" y="72"/>
                    </a:lnTo>
                    <a:lnTo>
                      <a:pt x="18" y="62"/>
                    </a:lnTo>
                    <a:lnTo>
                      <a:pt x="16" y="66"/>
                    </a:lnTo>
                    <a:lnTo>
                      <a:pt x="2" y="70"/>
                    </a:lnTo>
                    <a:lnTo>
                      <a:pt x="0" y="66"/>
                    </a:lnTo>
                    <a:lnTo>
                      <a:pt x="0" y="66"/>
                    </a:lnTo>
                    <a:lnTo>
                      <a:pt x="0" y="62"/>
                    </a:lnTo>
                    <a:lnTo>
                      <a:pt x="4" y="58"/>
                    </a:lnTo>
                    <a:lnTo>
                      <a:pt x="10" y="52"/>
                    </a:lnTo>
                    <a:lnTo>
                      <a:pt x="10" y="52"/>
                    </a:lnTo>
                    <a:lnTo>
                      <a:pt x="10" y="42"/>
                    </a:lnTo>
                    <a:lnTo>
                      <a:pt x="10" y="26"/>
                    </a:lnTo>
                    <a:lnTo>
                      <a:pt x="14" y="10"/>
                    </a:lnTo>
                    <a:lnTo>
                      <a:pt x="16" y="4"/>
                    </a:lnTo>
                    <a:lnTo>
                      <a:pt x="20" y="0"/>
                    </a:lnTo>
                    <a:lnTo>
                      <a:pt x="2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09" name="Freeform 1417">
                <a:extLst>
                  <a:ext uri="{FF2B5EF4-FFF2-40B4-BE49-F238E27FC236}">
                    <a16:creationId xmlns:a16="http://schemas.microsoft.com/office/drawing/2014/main" id="{28C8866B-1A38-4550-BE9E-E6167D628C48}"/>
                  </a:ext>
                </a:extLst>
              </p:cNvPr>
              <p:cNvSpPr>
                <a:spLocks/>
              </p:cNvSpPr>
              <p:nvPr/>
            </p:nvSpPr>
            <p:spPr bwMode="auto">
              <a:xfrm>
                <a:off x="1966" y="1790"/>
                <a:ext cx="14" cy="14"/>
              </a:xfrm>
              <a:custGeom>
                <a:avLst/>
                <a:gdLst/>
                <a:ahLst/>
                <a:cxnLst>
                  <a:cxn ang="0">
                    <a:pos x="14" y="14"/>
                  </a:cxn>
                  <a:cxn ang="0">
                    <a:pos x="8" y="14"/>
                  </a:cxn>
                  <a:cxn ang="0">
                    <a:pos x="8" y="14"/>
                  </a:cxn>
                  <a:cxn ang="0">
                    <a:pos x="4" y="8"/>
                  </a:cxn>
                  <a:cxn ang="0">
                    <a:pos x="0" y="0"/>
                  </a:cxn>
                  <a:cxn ang="0">
                    <a:pos x="0" y="0"/>
                  </a:cxn>
                  <a:cxn ang="0">
                    <a:pos x="4" y="2"/>
                  </a:cxn>
                  <a:cxn ang="0">
                    <a:pos x="8" y="6"/>
                  </a:cxn>
                  <a:cxn ang="0">
                    <a:pos x="14" y="14"/>
                  </a:cxn>
                  <a:cxn ang="0">
                    <a:pos x="14" y="14"/>
                  </a:cxn>
                </a:cxnLst>
                <a:rect l="0" t="0" r="r" b="b"/>
                <a:pathLst>
                  <a:path w="14" h="14">
                    <a:moveTo>
                      <a:pt x="14" y="14"/>
                    </a:moveTo>
                    <a:lnTo>
                      <a:pt x="8" y="14"/>
                    </a:lnTo>
                    <a:lnTo>
                      <a:pt x="8" y="14"/>
                    </a:lnTo>
                    <a:lnTo>
                      <a:pt x="4" y="8"/>
                    </a:lnTo>
                    <a:lnTo>
                      <a:pt x="0" y="0"/>
                    </a:lnTo>
                    <a:lnTo>
                      <a:pt x="0" y="0"/>
                    </a:lnTo>
                    <a:lnTo>
                      <a:pt x="4" y="2"/>
                    </a:lnTo>
                    <a:lnTo>
                      <a:pt x="8" y="6"/>
                    </a:lnTo>
                    <a:lnTo>
                      <a:pt x="14" y="14"/>
                    </a:lnTo>
                    <a:lnTo>
                      <a:pt x="14"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0" name="Freeform 1418">
                <a:extLst>
                  <a:ext uri="{FF2B5EF4-FFF2-40B4-BE49-F238E27FC236}">
                    <a16:creationId xmlns:a16="http://schemas.microsoft.com/office/drawing/2014/main" id="{EF280DD5-644A-47A4-8884-511851C53F45}"/>
                  </a:ext>
                </a:extLst>
              </p:cNvPr>
              <p:cNvSpPr>
                <a:spLocks/>
              </p:cNvSpPr>
              <p:nvPr/>
            </p:nvSpPr>
            <p:spPr bwMode="auto">
              <a:xfrm>
                <a:off x="2052" y="1718"/>
                <a:ext cx="26" cy="34"/>
              </a:xfrm>
              <a:custGeom>
                <a:avLst/>
                <a:gdLst/>
                <a:ahLst/>
                <a:cxnLst>
                  <a:cxn ang="0">
                    <a:pos x="12" y="0"/>
                  </a:cxn>
                  <a:cxn ang="0">
                    <a:pos x="24" y="2"/>
                  </a:cxn>
                  <a:cxn ang="0">
                    <a:pos x="24" y="2"/>
                  </a:cxn>
                  <a:cxn ang="0">
                    <a:pos x="26" y="8"/>
                  </a:cxn>
                  <a:cxn ang="0">
                    <a:pos x="26" y="14"/>
                  </a:cxn>
                  <a:cxn ang="0">
                    <a:pos x="26" y="26"/>
                  </a:cxn>
                  <a:cxn ang="0">
                    <a:pos x="20" y="34"/>
                  </a:cxn>
                  <a:cxn ang="0">
                    <a:pos x="4" y="34"/>
                  </a:cxn>
                  <a:cxn ang="0">
                    <a:pos x="4" y="34"/>
                  </a:cxn>
                  <a:cxn ang="0">
                    <a:pos x="0" y="26"/>
                  </a:cxn>
                  <a:cxn ang="0">
                    <a:pos x="0" y="18"/>
                  </a:cxn>
                  <a:cxn ang="0">
                    <a:pos x="2" y="10"/>
                  </a:cxn>
                  <a:cxn ang="0">
                    <a:pos x="6" y="2"/>
                  </a:cxn>
                  <a:cxn ang="0">
                    <a:pos x="12" y="0"/>
                  </a:cxn>
                </a:cxnLst>
                <a:rect l="0" t="0" r="r" b="b"/>
                <a:pathLst>
                  <a:path w="26" h="34">
                    <a:moveTo>
                      <a:pt x="12" y="0"/>
                    </a:moveTo>
                    <a:lnTo>
                      <a:pt x="24" y="2"/>
                    </a:lnTo>
                    <a:lnTo>
                      <a:pt x="24" y="2"/>
                    </a:lnTo>
                    <a:lnTo>
                      <a:pt x="26" y="8"/>
                    </a:lnTo>
                    <a:lnTo>
                      <a:pt x="26" y="14"/>
                    </a:lnTo>
                    <a:lnTo>
                      <a:pt x="26" y="26"/>
                    </a:lnTo>
                    <a:lnTo>
                      <a:pt x="20" y="34"/>
                    </a:lnTo>
                    <a:lnTo>
                      <a:pt x="4" y="34"/>
                    </a:lnTo>
                    <a:lnTo>
                      <a:pt x="4" y="34"/>
                    </a:lnTo>
                    <a:lnTo>
                      <a:pt x="0" y="26"/>
                    </a:lnTo>
                    <a:lnTo>
                      <a:pt x="0" y="18"/>
                    </a:lnTo>
                    <a:lnTo>
                      <a:pt x="2" y="10"/>
                    </a:lnTo>
                    <a:lnTo>
                      <a:pt x="6" y="2"/>
                    </a:lnTo>
                    <a:lnTo>
                      <a:pt x="1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1" name="Freeform 1419">
                <a:extLst>
                  <a:ext uri="{FF2B5EF4-FFF2-40B4-BE49-F238E27FC236}">
                    <a16:creationId xmlns:a16="http://schemas.microsoft.com/office/drawing/2014/main" id="{51740AEB-3979-4426-921F-9A1BB12DD40E}"/>
                  </a:ext>
                </a:extLst>
              </p:cNvPr>
              <p:cNvSpPr>
                <a:spLocks/>
              </p:cNvSpPr>
              <p:nvPr/>
            </p:nvSpPr>
            <p:spPr bwMode="auto">
              <a:xfrm>
                <a:off x="2082" y="1722"/>
                <a:ext cx="16" cy="14"/>
              </a:xfrm>
              <a:custGeom>
                <a:avLst/>
                <a:gdLst/>
                <a:ahLst/>
                <a:cxnLst>
                  <a:cxn ang="0">
                    <a:pos x="0" y="6"/>
                  </a:cxn>
                  <a:cxn ang="0">
                    <a:pos x="6" y="0"/>
                  </a:cxn>
                  <a:cxn ang="0">
                    <a:pos x="14" y="6"/>
                  </a:cxn>
                  <a:cxn ang="0">
                    <a:pos x="16" y="12"/>
                  </a:cxn>
                  <a:cxn ang="0">
                    <a:pos x="4" y="14"/>
                  </a:cxn>
                  <a:cxn ang="0">
                    <a:pos x="0" y="10"/>
                  </a:cxn>
                  <a:cxn ang="0">
                    <a:pos x="0" y="6"/>
                  </a:cxn>
                </a:cxnLst>
                <a:rect l="0" t="0" r="r" b="b"/>
                <a:pathLst>
                  <a:path w="16" h="14">
                    <a:moveTo>
                      <a:pt x="0" y="6"/>
                    </a:moveTo>
                    <a:lnTo>
                      <a:pt x="6" y="0"/>
                    </a:lnTo>
                    <a:lnTo>
                      <a:pt x="14" y="6"/>
                    </a:lnTo>
                    <a:lnTo>
                      <a:pt x="16" y="12"/>
                    </a:lnTo>
                    <a:lnTo>
                      <a:pt x="4" y="14"/>
                    </a:lnTo>
                    <a:lnTo>
                      <a:pt x="0" y="10"/>
                    </a:lnTo>
                    <a:lnTo>
                      <a:pt x="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2" name="Freeform 1420">
                <a:extLst>
                  <a:ext uri="{FF2B5EF4-FFF2-40B4-BE49-F238E27FC236}">
                    <a16:creationId xmlns:a16="http://schemas.microsoft.com/office/drawing/2014/main" id="{B3C0746F-8127-427B-8A4F-EE730F9F6D36}"/>
                  </a:ext>
                </a:extLst>
              </p:cNvPr>
              <p:cNvSpPr>
                <a:spLocks/>
              </p:cNvSpPr>
              <p:nvPr/>
            </p:nvSpPr>
            <p:spPr bwMode="auto">
              <a:xfrm>
                <a:off x="2014" y="1664"/>
                <a:ext cx="12" cy="12"/>
              </a:xfrm>
              <a:custGeom>
                <a:avLst/>
                <a:gdLst/>
                <a:ahLst/>
                <a:cxnLst>
                  <a:cxn ang="0">
                    <a:pos x="12" y="2"/>
                  </a:cxn>
                  <a:cxn ang="0">
                    <a:pos x="8" y="8"/>
                  </a:cxn>
                  <a:cxn ang="0">
                    <a:pos x="6" y="6"/>
                  </a:cxn>
                  <a:cxn ang="0">
                    <a:pos x="6" y="12"/>
                  </a:cxn>
                  <a:cxn ang="0">
                    <a:pos x="0" y="0"/>
                  </a:cxn>
                  <a:cxn ang="0">
                    <a:pos x="0" y="0"/>
                  </a:cxn>
                  <a:cxn ang="0">
                    <a:pos x="6" y="0"/>
                  </a:cxn>
                  <a:cxn ang="0">
                    <a:pos x="12" y="2"/>
                  </a:cxn>
                  <a:cxn ang="0">
                    <a:pos x="12" y="2"/>
                  </a:cxn>
                </a:cxnLst>
                <a:rect l="0" t="0" r="r" b="b"/>
                <a:pathLst>
                  <a:path w="12" h="12">
                    <a:moveTo>
                      <a:pt x="12" y="2"/>
                    </a:moveTo>
                    <a:lnTo>
                      <a:pt x="8" y="8"/>
                    </a:lnTo>
                    <a:lnTo>
                      <a:pt x="6" y="6"/>
                    </a:lnTo>
                    <a:lnTo>
                      <a:pt x="6" y="12"/>
                    </a:lnTo>
                    <a:lnTo>
                      <a:pt x="0" y="0"/>
                    </a:lnTo>
                    <a:lnTo>
                      <a:pt x="0" y="0"/>
                    </a:lnTo>
                    <a:lnTo>
                      <a:pt x="6" y="0"/>
                    </a:lnTo>
                    <a:lnTo>
                      <a:pt x="12" y="2"/>
                    </a:lnTo>
                    <a:lnTo>
                      <a:pt x="12"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3" name="Freeform 1421">
                <a:extLst>
                  <a:ext uri="{FF2B5EF4-FFF2-40B4-BE49-F238E27FC236}">
                    <a16:creationId xmlns:a16="http://schemas.microsoft.com/office/drawing/2014/main" id="{90299EB1-E473-4954-8FF5-EDFAEE031F51}"/>
                  </a:ext>
                </a:extLst>
              </p:cNvPr>
              <p:cNvSpPr>
                <a:spLocks/>
              </p:cNvSpPr>
              <p:nvPr/>
            </p:nvSpPr>
            <p:spPr bwMode="auto">
              <a:xfrm>
                <a:off x="1828" y="1104"/>
                <a:ext cx="358" cy="384"/>
              </a:xfrm>
              <a:custGeom>
                <a:avLst/>
                <a:gdLst/>
                <a:ahLst/>
                <a:cxnLst>
                  <a:cxn ang="0">
                    <a:pos x="124" y="368"/>
                  </a:cxn>
                  <a:cxn ang="0">
                    <a:pos x="132" y="358"/>
                  </a:cxn>
                  <a:cxn ang="0">
                    <a:pos x="148" y="370"/>
                  </a:cxn>
                  <a:cxn ang="0">
                    <a:pos x="154" y="356"/>
                  </a:cxn>
                  <a:cxn ang="0">
                    <a:pos x="174" y="374"/>
                  </a:cxn>
                  <a:cxn ang="0">
                    <a:pos x="198" y="362"/>
                  </a:cxn>
                  <a:cxn ang="0">
                    <a:pos x="210" y="350"/>
                  </a:cxn>
                  <a:cxn ang="0">
                    <a:pos x="198" y="332"/>
                  </a:cxn>
                  <a:cxn ang="0">
                    <a:pos x="184" y="326"/>
                  </a:cxn>
                  <a:cxn ang="0">
                    <a:pos x="170" y="322"/>
                  </a:cxn>
                  <a:cxn ang="0">
                    <a:pos x="206" y="318"/>
                  </a:cxn>
                  <a:cxn ang="0">
                    <a:pos x="208" y="292"/>
                  </a:cxn>
                  <a:cxn ang="0">
                    <a:pos x="234" y="282"/>
                  </a:cxn>
                  <a:cxn ang="0">
                    <a:pos x="242" y="250"/>
                  </a:cxn>
                  <a:cxn ang="0">
                    <a:pos x="250" y="210"/>
                  </a:cxn>
                  <a:cxn ang="0">
                    <a:pos x="262" y="176"/>
                  </a:cxn>
                  <a:cxn ang="0">
                    <a:pos x="358" y="116"/>
                  </a:cxn>
                  <a:cxn ang="0">
                    <a:pos x="312" y="44"/>
                  </a:cxn>
                  <a:cxn ang="0">
                    <a:pos x="292" y="42"/>
                  </a:cxn>
                  <a:cxn ang="0">
                    <a:pos x="202" y="0"/>
                  </a:cxn>
                  <a:cxn ang="0">
                    <a:pos x="184" y="62"/>
                  </a:cxn>
                  <a:cxn ang="0">
                    <a:pos x="170" y="16"/>
                  </a:cxn>
                  <a:cxn ang="0">
                    <a:pos x="116" y="26"/>
                  </a:cxn>
                  <a:cxn ang="0">
                    <a:pos x="114" y="56"/>
                  </a:cxn>
                  <a:cxn ang="0">
                    <a:pos x="126" y="96"/>
                  </a:cxn>
                  <a:cxn ang="0">
                    <a:pos x="98" y="94"/>
                  </a:cxn>
                  <a:cxn ang="0">
                    <a:pos x="94" y="74"/>
                  </a:cxn>
                  <a:cxn ang="0">
                    <a:pos x="70" y="78"/>
                  </a:cxn>
                  <a:cxn ang="0">
                    <a:pos x="80" y="106"/>
                  </a:cxn>
                  <a:cxn ang="0">
                    <a:pos x="52" y="96"/>
                  </a:cxn>
                  <a:cxn ang="0">
                    <a:pos x="28" y="108"/>
                  </a:cxn>
                  <a:cxn ang="0">
                    <a:pos x="0" y="136"/>
                  </a:cxn>
                  <a:cxn ang="0">
                    <a:pos x="16" y="154"/>
                  </a:cxn>
                  <a:cxn ang="0">
                    <a:pos x="28" y="162"/>
                  </a:cxn>
                  <a:cxn ang="0">
                    <a:pos x="30" y="188"/>
                  </a:cxn>
                  <a:cxn ang="0">
                    <a:pos x="60" y="224"/>
                  </a:cxn>
                  <a:cxn ang="0">
                    <a:pos x="80" y="188"/>
                  </a:cxn>
                  <a:cxn ang="0">
                    <a:pos x="68" y="216"/>
                  </a:cxn>
                  <a:cxn ang="0">
                    <a:pos x="82" y="222"/>
                  </a:cxn>
                  <a:cxn ang="0">
                    <a:pos x="94" y="224"/>
                  </a:cxn>
                  <a:cxn ang="0">
                    <a:pos x="102" y="220"/>
                  </a:cxn>
                  <a:cxn ang="0">
                    <a:pos x="118" y="206"/>
                  </a:cxn>
                  <a:cxn ang="0">
                    <a:pos x="144" y="204"/>
                  </a:cxn>
                  <a:cxn ang="0">
                    <a:pos x="142" y="174"/>
                  </a:cxn>
                  <a:cxn ang="0">
                    <a:pos x="158" y="164"/>
                  </a:cxn>
                  <a:cxn ang="0">
                    <a:pos x="166" y="158"/>
                  </a:cxn>
                  <a:cxn ang="0">
                    <a:pos x="150" y="200"/>
                  </a:cxn>
                  <a:cxn ang="0">
                    <a:pos x="166" y="204"/>
                  </a:cxn>
                  <a:cxn ang="0">
                    <a:pos x="96" y="270"/>
                  </a:cxn>
                  <a:cxn ang="0">
                    <a:pos x="112" y="272"/>
                  </a:cxn>
                  <a:cxn ang="0">
                    <a:pos x="124" y="276"/>
                  </a:cxn>
                  <a:cxn ang="0">
                    <a:pos x="124" y="288"/>
                  </a:cxn>
                  <a:cxn ang="0">
                    <a:pos x="152" y="276"/>
                  </a:cxn>
                  <a:cxn ang="0">
                    <a:pos x="146" y="302"/>
                  </a:cxn>
                  <a:cxn ang="0">
                    <a:pos x="132" y="318"/>
                  </a:cxn>
                  <a:cxn ang="0">
                    <a:pos x="114" y="298"/>
                  </a:cxn>
                  <a:cxn ang="0">
                    <a:pos x="92" y="308"/>
                  </a:cxn>
                  <a:cxn ang="0">
                    <a:pos x="100" y="322"/>
                  </a:cxn>
                  <a:cxn ang="0">
                    <a:pos x="78" y="342"/>
                  </a:cxn>
                  <a:cxn ang="0">
                    <a:pos x="80" y="368"/>
                  </a:cxn>
                  <a:cxn ang="0">
                    <a:pos x="88" y="374"/>
                  </a:cxn>
                  <a:cxn ang="0">
                    <a:pos x="104" y="366"/>
                  </a:cxn>
                </a:cxnLst>
                <a:rect l="0" t="0" r="r" b="b"/>
                <a:pathLst>
                  <a:path w="358" h="384">
                    <a:moveTo>
                      <a:pt x="106" y="372"/>
                    </a:moveTo>
                    <a:lnTo>
                      <a:pt x="120" y="380"/>
                    </a:lnTo>
                    <a:lnTo>
                      <a:pt x="130" y="378"/>
                    </a:lnTo>
                    <a:lnTo>
                      <a:pt x="124" y="368"/>
                    </a:lnTo>
                    <a:lnTo>
                      <a:pt x="122" y="362"/>
                    </a:lnTo>
                    <a:lnTo>
                      <a:pt x="130" y="370"/>
                    </a:lnTo>
                    <a:lnTo>
                      <a:pt x="132" y="366"/>
                    </a:lnTo>
                    <a:lnTo>
                      <a:pt x="132" y="358"/>
                    </a:lnTo>
                    <a:lnTo>
                      <a:pt x="142" y="370"/>
                    </a:lnTo>
                    <a:lnTo>
                      <a:pt x="146" y="368"/>
                    </a:lnTo>
                    <a:lnTo>
                      <a:pt x="146" y="362"/>
                    </a:lnTo>
                    <a:lnTo>
                      <a:pt x="148" y="370"/>
                    </a:lnTo>
                    <a:lnTo>
                      <a:pt x="152" y="372"/>
                    </a:lnTo>
                    <a:lnTo>
                      <a:pt x="158" y="370"/>
                    </a:lnTo>
                    <a:lnTo>
                      <a:pt x="158" y="364"/>
                    </a:lnTo>
                    <a:lnTo>
                      <a:pt x="154" y="356"/>
                    </a:lnTo>
                    <a:lnTo>
                      <a:pt x="160" y="358"/>
                    </a:lnTo>
                    <a:lnTo>
                      <a:pt x="162" y="366"/>
                    </a:lnTo>
                    <a:lnTo>
                      <a:pt x="172" y="366"/>
                    </a:lnTo>
                    <a:lnTo>
                      <a:pt x="174" y="374"/>
                    </a:lnTo>
                    <a:lnTo>
                      <a:pt x="172" y="382"/>
                    </a:lnTo>
                    <a:lnTo>
                      <a:pt x="172" y="384"/>
                    </a:lnTo>
                    <a:lnTo>
                      <a:pt x="188" y="376"/>
                    </a:lnTo>
                    <a:lnTo>
                      <a:pt x="198" y="362"/>
                    </a:lnTo>
                    <a:lnTo>
                      <a:pt x="198" y="370"/>
                    </a:lnTo>
                    <a:lnTo>
                      <a:pt x="208" y="360"/>
                    </a:lnTo>
                    <a:lnTo>
                      <a:pt x="208" y="360"/>
                    </a:lnTo>
                    <a:lnTo>
                      <a:pt x="210" y="350"/>
                    </a:lnTo>
                    <a:lnTo>
                      <a:pt x="206" y="340"/>
                    </a:lnTo>
                    <a:lnTo>
                      <a:pt x="198" y="348"/>
                    </a:lnTo>
                    <a:lnTo>
                      <a:pt x="192" y="340"/>
                    </a:lnTo>
                    <a:lnTo>
                      <a:pt x="198" y="332"/>
                    </a:lnTo>
                    <a:lnTo>
                      <a:pt x="192" y="326"/>
                    </a:lnTo>
                    <a:lnTo>
                      <a:pt x="182" y="334"/>
                    </a:lnTo>
                    <a:lnTo>
                      <a:pt x="180" y="334"/>
                    </a:lnTo>
                    <a:lnTo>
                      <a:pt x="184" y="326"/>
                    </a:lnTo>
                    <a:lnTo>
                      <a:pt x="174" y="324"/>
                    </a:lnTo>
                    <a:lnTo>
                      <a:pt x="164" y="334"/>
                    </a:lnTo>
                    <a:lnTo>
                      <a:pt x="160" y="324"/>
                    </a:lnTo>
                    <a:lnTo>
                      <a:pt x="170" y="322"/>
                    </a:lnTo>
                    <a:lnTo>
                      <a:pt x="166" y="316"/>
                    </a:lnTo>
                    <a:lnTo>
                      <a:pt x="166" y="310"/>
                    </a:lnTo>
                    <a:lnTo>
                      <a:pt x="178" y="322"/>
                    </a:lnTo>
                    <a:lnTo>
                      <a:pt x="206" y="318"/>
                    </a:lnTo>
                    <a:lnTo>
                      <a:pt x="210" y="306"/>
                    </a:lnTo>
                    <a:lnTo>
                      <a:pt x="214" y="302"/>
                    </a:lnTo>
                    <a:lnTo>
                      <a:pt x="214" y="302"/>
                    </a:lnTo>
                    <a:lnTo>
                      <a:pt x="208" y="292"/>
                    </a:lnTo>
                    <a:lnTo>
                      <a:pt x="206" y="286"/>
                    </a:lnTo>
                    <a:lnTo>
                      <a:pt x="206" y="282"/>
                    </a:lnTo>
                    <a:lnTo>
                      <a:pt x="234" y="282"/>
                    </a:lnTo>
                    <a:lnTo>
                      <a:pt x="234" y="282"/>
                    </a:lnTo>
                    <a:lnTo>
                      <a:pt x="234" y="274"/>
                    </a:lnTo>
                    <a:lnTo>
                      <a:pt x="238" y="266"/>
                    </a:lnTo>
                    <a:lnTo>
                      <a:pt x="248" y="252"/>
                    </a:lnTo>
                    <a:lnTo>
                      <a:pt x="242" y="250"/>
                    </a:lnTo>
                    <a:lnTo>
                      <a:pt x="288" y="204"/>
                    </a:lnTo>
                    <a:lnTo>
                      <a:pt x="282" y="196"/>
                    </a:lnTo>
                    <a:lnTo>
                      <a:pt x="248" y="218"/>
                    </a:lnTo>
                    <a:lnTo>
                      <a:pt x="250" y="210"/>
                    </a:lnTo>
                    <a:lnTo>
                      <a:pt x="288" y="180"/>
                    </a:lnTo>
                    <a:lnTo>
                      <a:pt x="262" y="182"/>
                    </a:lnTo>
                    <a:lnTo>
                      <a:pt x="262" y="176"/>
                    </a:lnTo>
                    <a:lnTo>
                      <a:pt x="262" y="176"/>
                    </a:lnTo>
                    <a:lnTo>
                      <a:pt x="278" y="174"/>
                    </a:lnTo>
                    <a:lnTo>
                      <a:pt x="294" y="168"/>
                    </a:lnTo>
                    <a:lnTo>
                      <a:pt x="324" y="158"/>
                    </a:lnTo>
                    <a:lnTo>
                      <a:pt x="358" y="116"/>
                    </a:lnTo>
                    <a:lnTo>
                      <a:pt x="356" y="94"/>
                    </a:lnTo>
                    <a:lnTo>
                      <a:pt x="332" y="96"/>
                    </a:lnTo>
                    <a:lnTo>
                      <a:pt x="336" y="82"/>
                    </a:lnTo>
                    <a:lnTo>
                      <a:pt x="312" y="44"/>
                    </a:lnTo>
                    <a:lnTo>
                      <a:pt x="306" y="64"/>
                    </a:lnTo>
                    <a:lnTo>
                      <a:pt x="300" y="52"/>
                    </a:lnTo>
                    <a:lnTo>
                      <a:pt x="264" y="76"/>
                    </a:lnTo>
                    <a:lnTo>
                      <a:pt x="292" y="42"/>
                    </a:lnTo>
                    <a:lnTo>
                      <a:pt x="258" y="40"/>
                    </a:lnTo>
                    <a:lnTo>
                      <a:pt x="244" y="24"/>
                    </a:lnTo>
                    <a:lnTo>
                      <a:pt x="218" y="26"/>
                    </a:lnTo>
                    <a:lnTo>
                      <a:pt x="202" y="0"/>
                    </a:lnTo>
                    <a:lnTo>
                      <a:pt x="166" y="2"/>
                    </a:lnTo>
                    <a:lnTo>
                      <a:pt x="192" y="48"/>
                    </a:lnTo>
                    <a:lnTo>
                      <a:pt x="184" y="62"/>
                    </a:lnTo>
                    <a:lnTo>
                      <a:pt x="184" y="62"/>
                    </a:lnTo>
                    <a:lnTo>
                      <a:pt x="184" y="56"/>
                    </a:lnTo>
                    <a:lnTo>
                      <a:pt x="184" y="50"/>
                    </a:lnTo>
                    <a:lnTo>
                      <a:pt x="180" y="38"/>
                    </a:lnTo>
                    <a:lnTo>
                      <a:pt x="170" y="16"/>
                    </a:lnTo>
                    <a:lnTo>
                      <a:pt x="134" y="8"/>
                    </a:lnTo>
                    <a:lnTo>
                      <a:pt x="130" y="16"/>
                    </a:lnTo>
                    <a:lnTo>
                      <a:pt x="142" y="34"/>
                    </a:lnTo>
                    <a:lnTo>
                      <a:pt x="116" y="26"/>
                    </a:lnTo>
                    <a:lnTo>
                      <a:pt x="130" y="56"/>
                    </a:lnTo>
                    <a:lnTo>
                      <a:pt x="108" y="40"/>
                    </a:lnTo>
                    <a:lnTo>
                      <a:pt x="106" y="48"/>
                    </a:lnTo>
                    <a:lnTo>
                      <a:pt x="114" y="56"/>
                    </a:lnTo>
                    <a:lnTo>
                      <a:pt x="102" y="62"/>
                    </a:lnTo>
                    <a:lnTo>
                      <a:pt x="104" y="72"/>
                    </a:lnTo>
                    <a:lnTo>
                      <a:pt x="128" y="90"/>
                    </a:lnTo>
                    <a:lnTo>
                      <a:pt x="126" y="96"/>
                    </a:lnTo>
                    <a:lnTo>
                      <a:pt x="104" y="78"/>
                    </a:lnTo>
                    <a:lnTo>
                      <a:pt x="98" y="80"/>
                    </a:lnTo>
                    <a:lnTo>
                      <a:pt x="106" y="94"/>
                    </a:lnTo>
                    <a:lnTo>
                      <a:pt x="98" y="94"/>
                    </a:lnTo>
                    <a:lnTo>
                      <a:pt x="98" y="94"/>
                    </a:lnTo>
                    <a:lnTo>
                      <a:pt x="98" y="90"/>
                    </a:lnTo>
                    <a:lnTo>
                      <a:pt x="98" y="84"/>
                    </a:lnTo>
                    <a:lnTo>
                      <a:pt x="94" y="74"/>
                    </a:lnTo>
                    <a:lnTo>
                      <a:pt x="74" y="58"/>
                    </a:lnTo>
                    <a:lnTo>
                      <a:pt x="66" y="64"/>
                    </a:lnTo>
                    <a:lnTo>
                      <a:pt x="70" y="72"/>
                    </a:lnTo>
                    <a:lnTo>
                      <a:pt x="70" y="78"/>
                    </a:lnTo>
                    <a:lnTo>
                      <a:pt x="56" y="86"/>
                    </a:lnTo>
                    <a:lnTo>
                      <a:pt x="82" y="100"/>
                    </a:lnTo>
                    <a:lnTo>
                      <a:pt x="80" y="102"/>
                    </a:lnTo>
                    <a:lnTo>
                      <a:pt x="80" y="106"/>
                    </a:lnTo>
                    <a:lnTo>
                      <a:pt x="64" y="96"/>
                    </a:lnTo>
                    <a:lnTo>
                      <a:pt x="58" y="98"/>
                    </a:lnTo>
                    <a:lnTo>
                      <a:pt x="56" y="102"/>
                    </a:lnTo>
                    <a:lnTo>
                      <a:pt x="52" y="96"/>
                    </a:lnTo>
                    <a:lnTo>
                      <a:pt x="42" y="92"/>
                    </a:lnTo>
                    <a:lnTo>
                      <a:pt x="30" y="104"/>
                    </a:lnTo>
                    <a:lnTo>
                      <a:pt x="34" y="114"/>
                    </a:lnTo>
                    <a:lnTo>
                      <a:pt x="28" y="108"/>
                    </a:lnTo>
                    <a:lnTo>
                      <a:pt x="30" y="120"/>
                    </a:lnTo>
                    <a:lnTo>
                      <a:pt x="22" y="110"/>
                    </a:lnTo>
                    <a:lnTo>
                      <a:pt x="4" y="124"/>
                    </a:lnTo>
                    <a:lnTo>
                      <a:pt x="0" y="136"/>
                    </a:lnTo>
                    <a:lnTo>
                      <a:pt x="8" y="144"/>
                    </a:lnTo>
                    <a:lnTo>
                      <a:pt x="24" y="130"/>
                    </a:lnTo>
                    <a:lnTo>
                      <a:pt x="32" y="138"/>
                    </a:lnTo>
                    <a:lnTo>
                      <a:pt x="16" y="154"/>
                    </a:lnTo>
                    <a:lnTo>
                      <a:pt x="22" y="160"/>
                    </a:lnTo>
                    <a:lnTo>
                      <a:pt x="48" y="140"/>
                    </a:lnTo>
                    <a:lnTo>
                      <a:pt x="48" y="146"/>
                    </a:lnTo>
                    <a:lnTo>
                      <a:pt x="28" y="162"/>
                    </a:lnTo>
                    <a:lnTo>
                      <a:pt x="40" y="168"/>
                    </a:lnTo>
                    <a:lnTo>
                      <a:pt x="26" y="172"/>
                    </a:lnTo>
                    <a:lnTo>
                      <a:pt x="26" y="182"/>
                    </a:lnTo>
                    <a:lnTo>
                      <a:pt x="30" y="188"/>
                    </a:lnTo>
                    <a:lnTo>
                      <a:pt x="58" y="186"/>
                    </a:lnTo>
                    <a:lnTo>
                      <a:pt x="66" y="190"/>
                    </a:lnTo>
                    <a:lnTo>
                      <a:pt x="32" y="198"/>
                    </a:lnTo>
                    <a:lnTo>
                      <a:pt x="60" y="224"/>
                    </a:lnTo>
                    <a:lnTo>
                      <a:pt x="60" y="224"/>
                    </a:lnTo>
                    <a:lnTo>
                      <a:pt x="68" y="204"/>
                    </a:lnTo>
                    <a:lnTo>
                      <a:pt x="74" y="194"/>
                    </a:lnTo>
                    <a:lnTo>
                      <a:pt x="80" y="188"/>
                    </a:lnTo>
                    <a:lnTo>
                      <a:pt x="80" y="188"/>
                    </a:lnTo>
                    <a:lnTo>
                      <a:pt x="78" y="196"/>
                    </a:lnTo>
                    <a:lnTo>
                      <a:pt x="72" y="206"/>
                    </a:lnTo>
                    <a:lnTo>
                      <a:pt x="68" y="216"/>
                    </a:lnTo>
                    <a:lnTo>
                      <a:pt x="68" y="220"/>
                    </a:lnTo>
                    <a:lnTo>
                      <a:pt x="68" y="224"/>
                    </a:lnTo>
                    <a:lnTo>
                      <a:pt x="74" y="228"/>
                    </a:lnTo>
                    <a:lnTo>
                      <a:pt x="82" y="222"/>
                    </a:lnTo>
                    <a:lnTo>
                      <a:pt x="80" y="228"/>
                    </a:lnTo>
                    <a:lnTo>
                      <a:pt x="92" y="230"/>
                    </a:lnTo>
                    <a:lnTo>
                      <a:pt x="92" y="230"/>
                    </a:lnTo>
                    <a:lnTo>
                      <a:pt x="94" y="224"/>
                    </a:lnTo>
                    <a:lnTo>
                      <a:pt x="94" y="216"/>
                    </a:lnTo>
                    <a:lnTo>
                      <a:pt x="100" y="208"/>
                    </a:lnTo>
                    <a:lnTo>
                      <a:pt x="98" y="220"/>
                    </a:lnTo>
                    <a:lnTo>
                      <a:pt x="102" y="220"/>
                    </a:lnTo>
                    <a:lnTo>
                      <a:pt x="118" y="196"/>
                    </a:lnTo>
                    <a:lnTo>
                      <a:pt x="118" y="196"/>
                    </a:lnTo>
                    <a:lnTo>
                      <a:pt x="116" y="202"/>
                    </a:lnTo>
                    <a:lnTo>
                      <a:pt x="118" y="206"/>
                    </a:lnTo>
                    <a:lnTo>
                      <a:pt x="120" y="206"/>
                    </a:lnTo>
                    <a:lnTo>
                      <a:pt x="102" y="224"/>
                    </a:lnTo>
                    <a:lnTo>
                      <a:pt x="106" y="232"/>
                    </a:lnTo>
                    <a:lnTo>
                      <a:pt x="144" y="204"/>
                    </a:lnTo>
                    <a:lnTo>
                      <a:pt x="148" y="194"/>
                    </a:lnTo>
                    <a:lnTo>
                      <a:pt x="146" y="192"/>
                    </a:lnTo>
                    <a:lnTo>
                      <a:pt x="148" y="184"/>
                    </a:lnTo>
                    <a:lnTo>
                      <a:pt x="142" y="174"/>
                    </a:lnTo>
                    <a:lnTo>
                      <a:pt x="150" y="182"/>
                    </a:lnTo>
                    <a:lnTo>
                      <a:pt x="150" y="182"/>
                    </a:lnTo>
                    <a:lnTo>
                      <a:pt x="154" y="172"/>
                    </a:lnTo>
                    <a:lnTo>
                      <a:pt x="158" y="164"/>
                    </a:lnTo>
                    <a:lnTo>
                      <a:pt x="166" y="154"/>
                    </a:lnTo>
                    <a:lnTo>
                      <a:pt x="172" y="148"/>
                    </a:lnTo>
                    <a:lnTo>
                      <a:pt x="172" y="148"/>
                    </a:lnTo>
                    <a:lnTo>
                      <a:pt x="166" y="158"/>
                    </a:lnTo>
                    <a:lnTo>
                      <a:pt x="158" y="172"/>
                    </a:lnTo>
                    <a:lnTo>
                      <a:pt x="152" y="188"/>
                    </a:lnTo>
                    <a:lnTo>
                      <a:pt x="150" y="194"/>
                    </a:lnTo>
                    <a:lnTo>
                      <a:pt x="150" y="200"/>
                    </a:lnTo>
                    <a:lnTo>
                      <a:pt x="184" y="198"/>
                    </a:lnTo>
                    <a:lnTo>
                      <a:pt x="186" y="204"/>
                    </a:lnTo>
                    <a:lnTo>
                      <a:pt x="166" y="204"/>
                    </a:lnTo>
                    <a:lnTo>
                      <a:pt x="166" y="204"/>
                    </a:lnTo>
                    <a:lnTo>
                      <a:pt x="130" y="226"/>
                    </a:lnTo>
                    <a:lnTo>
                      <a:pt x="94" y="248"/>
                    </a:lnTo>
                    <a:lnTo>
                      <a:pt x="94" y="248"/>
                    </a:lnTo>
                    <a:lnTo>
                      <a:pt x="96" y="270"/>
                    </a:lnTo>
                    <a:lnTo>
                      <a:pt x="96" y="270"/>
                    </a:lnTo>
                    <a:lnTo>
                      <a:pt x="104" y="270"/>
                    </a:lnTo>
                    <a:lnTo>
                      <a:pt x="110" y="268"/>
                    </a:lnTo>
                    <a:lnTo>
                      <a:pt x="112" y="272"/>
                    </a:lnTo>
                    <a:lnTo>
                      <a:pt x="120" y="272"/>
                    </a:lnTo>
                    <a:lnTo>
                      <a:pt x="124" y="264"/>
                    </a:lnTo>
                    <a:lnTo>
                      <a:pt x="126" y="266"/>
                    </a:lnTo>
                    <a:lnTo>
                      <a:pt x="124" y="276"/>
                    </a:lnTo>
                    <a:lnTo>
                      <a:pt x="126" y="276"/>
                    </a:lnTo>
                    <a:lnTo>
                      <a:pt x="116" y="282"/>
                    </a:lnTo>
                    <a:lnTo>
                      <a:pt x="120" y="288"/>
                    </a:lnTo>
                    <a:lnTo>
                      <a:pt x="124" y="288"/>
                    </a:lnTo>
                    <a:lnTo>
                      <a:pt x="122" y="294"/>
                    </a:lnTo>
                    <a:lnTo>
                      <a:pt x="128" y="306"/>
                    </a:lnTo>
                    <a:lnTo>
                      <a:pt x="142" y="306"/>
                    </a:lnTo>
                    <a:lnTo>
                      <a:pt x="152" y="276"/>
                    </a:lnTo>
                    <a:lnTo>
                      <a:pt x="156" y="276"/>
                    </a:lnTo>
                    <a:lnTo>
                      <a:pt x="156" y="276"/>
                    </a:lnTo>
                    <a:lnTo>
                      <a:pt x="150" y="294"/>
                    </a:lnTo>
                    <a:lnTo>
                      <a:pt x="146" y="302"/>
                    </a:lnTo>
                    <a:lnTo>
                      <a:pt x="140" y="310"/>
                    </a:lnTo>
                    <a:lnTo>
                      <a:pt x="144" y="314"/>
                    </a:lnTo>
                    <a:lnTo>
                      <a:pt x="130" y="314"/>
                    </a:lnTo>
                    <a:lnTo>
                      <a:pt x="132" y="318"/>
                    </a:lnTo>
                    <a:lnTo>
                      <a:pt x="116" y="312"/>
                    </a:lnTo>
                    <a:lnTo>
                      <a:pt x="116" y="312"/>
                    </a:lnTo>
                    <a:lnTo>
                      <a:pt x="116" y="306"/>
                    </a:lnTo>
                    <a:lnTo>
                      <a:pt x="114" y="298"/>
                    </a:lnTo>
                    <a:lnTo>
                      <a:pt x="108" y="288"/>
                    </a:lnTo>
                    <a:lnTo>
                      <a:pt x="86" y="290"/>
                    </a:lnTo>
                    <a:lnTo>
                      <a:pt x="86" y="300"/>
                    </a:lnTo>
                    <a:lnTo>
                      <a:pt x="92" y="308"/>
                    </a:lnTo>
                    <a:lnTo>
                      <a:pt x="92" y="318"/>
                    </a:lnTo>
                    <a:lnTo>
                      <a:pt x="102" y="316"/>
                    </a:lnTo>
                    <a:lnTo>
                      <a:pt x="98" y="322"/>
                    </a:lnTo>
                    <a:lnTo>
                      <a:pt x="100" y="322"/>
                    </a:lnTo>
                    <a:lnTo>
                      <a:pt x="100" y="322"/>
                    </a:lnTo>
                    <a:lnTo>
                      <a:pt x="96" y="326"/>
                    </a:lnTo>
                    <a:lnTo>
                      <a:pt x="88" y="334"/>
                    </a:lnTo>
                    <a:lnTo>
                      <a:pt x="78" y="342"/>
                    </a:lnTo>
                    <a:lnTo>
                      <a:pt x="72" y="350"/>
                    </a:lnTo>
                    <a:lnTo>
                      <a:pt x="70" y="362"/>
                    </a:lnTo>
                    <a:lnTo>
                      <a:pt x="74" y="370"/>
                    </a:lnTo>
                    <a:lnTo>
                      <a:pt x="80" y="368"/>
                    </a:lnTo>
                    <a:lnTo>
                      <a:pt x="80" y="352"/>
                    </a:lnTo>
                    <a:lnTo>
                      <a:pt x="82" y="348"/>
                    </a:lnTo>
                    <a:lnTo>
                      <a:pt x="84" y="370"/>
                    </a:lnTo>
                    <a:lnTo>
                      <a:pt x="88" y="374"/>
                    </a:lnTo>
                    <a:lnTo>
                      <a:pt x="92" y="372"/>
                    </a:lnTo>
                    <a:lnTo>
                      <a:pt x="92" y="362"/>
                    </a:lnTo>
                    <a:lnTo>
                      <a:pt x="102" y="374"/>
                    </a:lnTo>
                    <a:lnTo>
                      <a:pt x="104" y="366"/>
                    </a:lnTo>
                    <a:lnTo>
                      <a:pt x="106" y="366"/>
                    </a:lnTo>
                    <a:lnTo>
                      <a:pt x="106" y="37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4" name="Freeform 1422">
                <a:extLst>
                  <a:ext uri="{FF2B5EF4-FFF2-40B4-BE49-F238E27FC236}">
                    <a16:creationId xmlns:a16="http://schemas.microsoft.com/office/drawing/2014/main" id="{D7657BED-9A21-40C8-91CA-1AECBB3FB62D}"/>
                  </a:ext>
                </a:extLst>
              </p:cNvPr>
              <p:cNvSpPr>
                <a:spLocks/>
              </p:cNvSpPr>
              <p:nvPr/>
            </p:nvSpPr>
            <p:spPr bwMode="auto">
              <a:xfrm>
                <a:off x="2008" y="1502"/>
                <a:ext cx="58" cy="46"/>
              </a:xfrm>
              <a:custGeom>
                <a:avLst/>
                <a:gdLst/>
                <a:ahLst/>
                <a:cxnLst>
                  <a:cxn ang="0">
                    <a:pos x="32" y="4"/>
                  </a:cxn>
                  <a:cxn ang="0">
                    <a:pos x="44" y="12"/>
                  </a:cxn>
                  <a:cxn ang="0">
                    <a:pos x="58" y="38"/>
                  </a:cxn>
                  <a:cxn ang="0">
                    <a:pos x="52" y="42"/>
                  </a:cxn>
                  <a:cxn ang="0">
                    <a:pos x="32" y="38"/>
                  </a:cxn>
                  <a:cxn ang="0">
                    <a:pos x="18" y="46"/>
                  </a:cxn>
                  <a:cxn ang="0">
                    <a:pos x="10" y="40"/>
                  </a:cxn>
                  <a:cxn ang="0">
                    <a:pos x="8" y="24"/>
                  </a:cxn>
                  <a:cxn ang="0">
                    <a:pos x="0" y="18"/>
                  </a:cxn>
                  <a:cxn ang="0">
                    <a:pos x="2" y="6"/>
                  </a:cxn>
                  <a:cxn ang="0">
                    <a:pos x="6" y="0"/>
                  </a:cxn>
                  <a:cxn ang="0">
                    <a:pos x="6" y="0"/>
                  </a:cxn>
                  <a:cxn ang="0">
                    <a:pos x="20" y="4"/>
                  </a:cxn>
                  <a:cxn ang="0">
                    <a:pos x="26" y="6"/>
                  </a:cxn>
                  <a:cxn ang="0">
                    <a:pos x="32" y="4"/>
                  </a:cxn>
                  <a:cxn ang="0">
                    <a:pos x="32" y="4"/>
                  </a:cxn>
                </a:cxnLst>
                <a:rect l="0" t="0" r="r" b="b"/>
                <a:pathLst>
                  <a:path w="58" h="46">
                    <a:moveTo>
                      <a:pt x="32" y="4"/>
                    </a:moveTo>
                    <a:lnTo>
                      <a:pt x="44" y="12"/>
                    </a:lnTo>
                    <a:lnTo>
                      <a:pt x="58" y="38"/>
                    </a:lnTo>
                    <a:lnTo>
                      <a:pt x="52" y="42"/>
                    </a:lnTo>
                    <a:lnTo>
                      <a:pt x="32" y="38"/>
                    </a:lnTo>
                    <a:lnTo>
                      <a:pt x="18" y="46"/>
                    </a:lnTo>
                    <a:lnTo>
                      <a:pt x="10" y="40"/>
                    </a:lnTo>
                    <a:lnTo>
                      <a:pt x="8" y="24"/>
                    </a:lnTo>
                    <a:lnTo>
                      <a:pt x="0" y="18"/>
                    </a:lnTo>
                    <a:lnTo>
                      <a:pt x="2" y="6"/>
                    </a:lnTo>
                    <a:lnTo>
                      <a:pt x="6" y="0"/>
                    </a:lnTo>
                    <a:lnTo>
                      <a:pt x="6" y="0"/>
                    </a:lnTo>
                    <a:lnTo>
                      <a:pt x="20" y="4"/>
                    </a:lnTo>
                    <a:lnTo>
                      <a:pt x="26" y="6"/>
                    </a:lnTo>
                    <a:lnTo>
                      <a:pt x="32" y="4"/>
                    </a:lnTo>
                    <a:lnTo>
                      <a:pt x="32"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5" name="Freeform 1423">
                <a:extLst>
                  <a:ext uri="{FF2B5EF4-FFF2-40B4-BE49-F238E27FC236}">
                    <a16:creationId xmlns:a16="http://schemas.microsoft.com/office/drawing/2014/main" id="{E1A2233A-F5C3-433C-8F07-6044CFE7BA37}"/>
                  </a:ext>
                </a:extLst>
              </p:cNvPr>
              <p:cNvSpPr>
                <a:spLocks/>
              </p:cNvSpPr>
              <p:nvPr/>
            </p:nvSpPr>
            <p:spPr bwMode="auto">
              <a:xfrm>
                <a:off x="1974" y="1884"/>
                <a:ext cx="22" cy="24"/>
              </a:xfrm>
              <a:custGeom>
                <a:avLst/>
                <a:gdLst/>
                <a:ahLst/>
                <a:cxnLst>
                  <a:cxn ang="0">
                    <a:pos x="16" y="0"/>
                  </a:cxn>
                  <a:cxn ang="0">
                    <a:pos x="6" y="6"/>
                  </a:cxn>
                  <a:cxn ang="0">
                    <a:pos x="0" y="24"/>
                  </a:cxn>
                  <a:cxn ang="0">
                    <a:pos x="0" y="24"/>
                  </a:cxn>
                  <a:cxn ang="0">
                    <a:pos x="6" y="22"/>
                  </a:cxn>
                  <a:cxn ang="0">
                    <a:pos x="12" y="18"/>
                  </a:cxn>
                  <a:cxn ang="0">
                    <a:pos x="14" y="12"/>
                  </a:cxn>
                  <a:cxn ang="0">
                    <a:pos x="20" y="8"/>
                  </a:cxn>
                  <a:cxn ang="0">
                    <a:pos x="22" y="2"/>
                  </a:cxn>
                  <a:cxn ang="0">
                    <a:pos x="16" y="0"/>
                  </a:cxn>
                </a:cxnLst>
                <a:rect l="0" t="0" r="r" b="b"/>
                <a:pathLst>
                  <a:path w="22" h="24">
                    <a:moveTo>
                      <a:pt x="16" y="0"/>
                    </a:moveTo>
                    <a:lnTo>
                      <a:pt x="6" y="6"/>
                    </a:lnTo>
                    <a:lnTo>
                      <a:pt x="0" y="24"/>
                    </a:lnTo>
                    <a:lnTo>
                      <a:pt x="0" y="24"/>
                    </a:lnTo>
                    <a:lnTo>
                      <a:pt x="6" y="22"/>
                    </a:lnTo>
                    <a:lnTo>
                      <a:pt x="12" y="18"/>
                    </a:lnTo>
                    <a:lnTo>
                      <a:pt x="14" y="12"/>
                    </a:lnTo>
                    <a:lnTo>
                      <a:pt x="20" y="8"/>
                    </a:lnTo>
                    <a:lnTo>
                      <a:pt x="22" y="2"/>
                    </a:lnTo>
                    <a:lnTo>
                      <a:pt x="1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6" name="Freeform 1424">
                <a:extLst>
                  <a:ext uri="{FF2B5EF4-FFF2-40B4-BE49-F238E27FC236}">
                    <a16:creationId xmlns:a16="http://schemas.microsoft.com/office/drawing/2014/main" id="{20CBB178-6439-4F34-882D-09E652EFEBCE}"/>
                  </a:ext>
                </a:extLst>
              </p:cNvPr>
              <p:cNvSpPr>
                <a:spLocks/>
              </p:cNvSpPr>
              <p:nvPr/>
            </p:nvSpPr>
            <p:spPr bwMode="auto">
              <a:xfrm>
                <a:off x="2016" y="1900"/>
                <a:ext cx="12" cy="22"/>
              </a:xfrm>
              <a:custGeom>
                <a:avLst/>
                <a:gdLst/>
                <a:ahLst/>
                <a:cxnLst>
                  <a:cxn ang="0">
                    <a:pos x="4" y="0"/>
                  </a:cxn>
                  <a:cxn ang="0">
                    <a:pos x="0" y="4"/>
                  </a:cxn>
                  <a:cxn ang="0">
                    <a:pos x="0" y="16"/>
                  </a:cxn>
                  <a:cxn ang="0">
                    <a:pos x="6" y="22"/>
                  </a:cxn>
                  <a:cxn ang="0">
                    <a:pos x="12" y="2"/>
                  </a:cxn>
                  <a:cxn ang="0">
                    <a:pos x="4" y="0"/>
                  </a:cxn>
                </a:cxnLst>
                <a:rect l="0" t="0" r="r" b="b"/>
                <a:pathLst>
                  <a:path w="12" h="22">
                    <a:moveTo>
                      <a:pt x="4" y="0"/>
                    </a:moveTo>
                    <a:lnTo>
                      <a:pt x="0" y="4"/>
                    </a:lnTo>
                    <a:lnTo>
                      <a:pt x="0" y="16"/>
                    </a:lnTo>
                    <a:lnTo>
                      <a:pt x="6" y="22"/>
                    </a:lnTo>
                    <a:lnTo>
                      <a:pt x="12"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7" name="Freeform 1425">
                <a:extLst>
                  <a:ext uri="{FF2B5EF4-FFF2-40B4-BE49-F238E27FC236}">
                    <a16:creationId xmlns:a16="http://schemas.microsoft.com/office/drawing/2014/main" id="{A27E29F2-BB7B-41CA-BC40-0558566410E5}"/>
                  </a:ext>
                </a:extLst>
              </p:cNvPr>
              <p:cNvSpPr>
                <a:spLocks/>
              </p:cNvSpPr>
              <p:nvPr/>
            </p:nvSpPr>
            <p:spPr bwMode="auto">
              <a:xfrm>
                <a:off x="1898" y="1498"/>
                <a:ext cx="346" cy="416"/>
              </a:xfrm>
              <a:custGeom>
                <a:avLst/>
                <a:gdLst/>
                <a:ahLst/>
                <a:cxnLst>
                  <a:cxn ang="0">
                    <a:pos x="22" y="12"/>
                  </a:cxn>
                  <a:cxn ang="0">
                    <a:pos x="6" y="48"/>
                  </a:cxn>
                  <a:cxn ang="0">
                    <a:pos x="2" y="88"/>
                  </a:cxn>
                  <a:cxn ang="0">
                    <a:pos x="36" y="120"/>
                  </a:cxn>
                  <a:cxn ang="0">
                    <a:pos x="22" y="146"/>
                  </a:cxn>
                  <a:cxn ang="0">
                    <a:pos x="58" y="158"/>
                  </a:cxn>
                  <a:cxn ang="0">
                    <a:pos x="110" y="168"/>
                  </a:cxn>
                  <a:cxn ang="0">
                    <a:pos x="124" y="164"/>
                  </a:cxn>
                  <a:cxn ang="0">
                    <a:pos x="150" y="164"/>
                  </a:cxn>
                  <a:cxn ang="0">
                    <a:pos x="162" y="194"/>
                  </a:cxn>
                  <a:cxn ang="0">
                    <a:pos x="182" y="202"/>
                  </a:cxn>
                  <a:cxn ang="0">
                    <a:pos x="196" y="218"/>
                  </a:cxn>
                  <a:cxn ang="0">
                    <a:pos x="206" y="264"/>
                  </a:cxn>
                  <a:cxn ang="0">
                    <a:pos x="198" y="312"/>
                  </a:cxn>
                  <a:cxn ang="0">
                    <a:pos x="154" y="316"/>
                  </a:cxn>
                  <a:cxn ang="0">
                    <a:pos x="144" y="336"/>
                  </a:cxn>
                  <a:cxn ang="0">
                    <a:pos x="178" y="342"/>
                  </a:cxn>
                  <a:cxn ang="0">
                    <a:pos x="186" y="336"/>
                  </a:cxn>
                  <a:cxn ang="0">
                    <a:pos x="204" y="350"/>
                  </a:cxn>
                  <a:cxn ang="0">
                    <a:pos x="220" y="372"/>
                  </a:cxn>
                  <a:cxn ang="0">
                    <a:pos x="242" y="386"/>
                  </a:cxn>
                  <a:cxn ang="0">
                    <a:pos x="256" y="402"/>
                  </a:cxn>
                  <a:cxn ang="0">
                    <a:pos x="286" y="416"/>
                  </a:cxn>
                  <a:cxn ang="0">
                    <a:pos x="268" y="382"/>
                  </a:cxn>
                  <a:cxn ang="0">
                    <a:pos x="270" y="368"/>
                  </a:cxn>
                  <a:cxn ang="0">
                    <a:pos x="298" y="390"/>
                  </a:cxn>
                  <a:cxn ang="0">
                    <a:pos x="308" y="386"/>
                  </a:cxn>
                  <a:cxn ang="0">
                    <a:pos x="308" y="376"/>
                  </a:cxn>
                  <a:cxn ang="0">
                    <a:pos x="302" y="346"/>
                  </a:cxn>
                  <a:cxn ang="0">
                    <a:pos x="294" y="330"/>
                  </a:cxn>
                  <a:cxn ang="0">
                    <a:pos x="276" y="316"/>
                  </a:cxn>
                  <a:cxn ang="0">
                    <a:pos x="276" y="296"/>
                  </a:cxn>
                  <a:cxn ang="0">
                    <a:pos x="276" y="286"/>
                  </a:cxn>
                  <a:cxn ang="0">
                    <a:pos x="290" y="292"/>
                  </a:cxn>
                  <a:cxn ang="0">
                    <a:pos x="306" y="312"/>
                  </a:cxn>
                  <a:cxn ang="0">
                    <a:pos x="318" y="330"/>
                  </a:cxn>
                  <a:cxn ang="0">
                    <a:pos x="332" y="296"/>
                  </a:cxn>
                  <a:cxn ang="0">
                    <a:pos x="340" y="284"/>
                  </a:cxn>
                  <a:cxn ang="0">
                    <a:pos x="314" y="250"/>
                  </a:cxn>
                  <a:cxn ang="0">
                    <a:pos x="288" y="222"/>
                  </a:cxn>
                  <a:cxn ang="0">
                    <a:pos x="260" y="188"/>
                  </a:cxn>
                  <a:cxn ang="0">
                    <a:pos x="280" y="182"/>
                  </a:cxn>
                  <a:cxn ang="0">
                    <a:pos x="274" y="168"/>
                  </a:cxn>
                  <a:cxn ang="0">
                    <a:pos x="258" y="160"/>
                  </a:cxn>
                  <a:cxn ang="0">
                    <a:pos x="236" y="140"/>
                  </a:cxn>
                  <a:cxn ang="0">
                    <a:pos x="228" y="112"/>
                  </a:cxn>
                  <a:cxn ang="0">
                    <a:pos x="198" y="104"/>
                  </a:cxn>
                  <a:cxn ang="0">
                    <a:pos x="190" y="78"/>
                  </a:cxn>
                  <a:cxn ang="0">
                    <a:pos x="178" y="58"/>
                  </a:cxn>
                  <a:cxn ang="0">
                    <a:pos x="132" y="70"/>
                  </a:cxn>
                  <a:cxn ang="0">
                    <a:pos x="108" y="78"/>
                  </a:cxn>
                  <a:cxn ang="0">
                    <a:pos x="106" y="22"/>
                  </a:cxn>
                  <a:cxn ang="0">
                    <a:pos x="80" y="10"/>
                  </a:cxn>
                  <a:cxn ang="0">
                    <a:pos x="68" y="28"/>
                  </a:cxn>
                  <a:cxn ang="0">
                    <a:pos x="54" y="54"/>
                  </a:cxn>
                  <a:cxn ang="0">
                    <a:pos x="64" y="94"/>
                  </a:cxn>
                  <a:cxn ang="0">
                    <a:pos x="42" y="120"/>
                  </a:cxn>
                  <a:cxn ang="0">
                    <a:pos x="50" y="92"/>
                  </a:cxn>
                  <a:cxn ang="0">
                    <a:pos x="42" y="40"/>
                  </a:cxn>
                </a:cxnLst>
                <a:rect l="0" t="0" r="r" b="b"/>
                <a:pathLst>
                  <a:path w="346" h="416">
                    <a:moveTo>
                      <a:pt x="60" y="4"/>
                    </a:moveTo>
                    <a:lnTo>
                      <a:pt x="60" y="4"/>
                    </a:lnTo>
                    <a:lnTo>
                      <a:pt x="52" y="0"/>
                    </a:lnTo>
                    <a:lnTo>
                      <a:pt x="44" y="0"/>
                    </a:lnTo>
                    <a:lnTo>
                      <a:pt x="36" y="2"/>
                    </a:lnTo>
                    <a:lnTo>
                      <a:pt x="30" y="6"/>
                    </a:lnTo>
                    <a:lnTo>
                      <a:pt x="22" y="12"/>
                    </a:lnTo>
                    <a:lnTo>
                      <a:pt x="16" y="18"/>
                    </a:lnTo>
                    <a:lnTo>
                      <a:pt x="12" y="26"/>
                    </a:lnTo>
                    <a:lnTo>
                      <a:pt x="10" y="34"/>
                    </a:lnTo>
                    <a:lnTo>
                      <a:pt x="12" y="38"/>
                    </a:lnTo>
                    <a:lnTo>
                      <a:pt x="8" y="40"/>
                    </a:lnTo>
                    <a:lnTo>
                      <a:pt x="8" y="46"/>
                    </a:lnTo>
                    <a:lnTo>
                      <a:pt x="6" y="48"/>
                    </a:lnTo>
                    <a:lnTo>
                      <a:pt x="6" y="48"/>
                    </a:lnTo>
                    <a:lnTo>
                      <a:pt x="2" y="60"/>
                    </a:lnTo>
                    <a:lnTo>
                      <a:pt x="2" y="66"/>
                    </a:lnTo>
                    <a:lnTo>
                      <a:pt x="2" y="72"/>
                    </a:lnTo>
                    <a:lnTo>
                      <a:pt x="6" y="72"/>
                    </a:lnTo>
                    <a:lnTo>
                      <a:pt x="0" y="80"/>
                    </a:lnTo>
                    <a:lnTo>
                      <a:pt x="2" y="88"/>
                    </a:lnTo>
                    <a:lnTo>
                      <a:pt x="2" y="88"/>
                    </a:lnTo>
                    <a:lnTo>
                      <a:pt x="2" y="92"/>
                    </a:lnTo>
                    <a:lnTo>
                      <a:pt x="0" y="98"/>
                    </a:lnTo>
                    <a:lnTo>
                      <a:pt x="0" y="104"/>
                    </a:lnTo>
                    <a:lnTo>
                      <a:pt x="2" y="108"/>
                    </a:lnTo>
                    <a:lnTo>
                      <a:pt x="24" y="110"/>
                    </a:lnTo>
                    <a:lnTo>
                      <a:pt x="36" y="120"/>
                    </a:lnTo>
                    <a:lnTo>
                      <a:pt x="24" y="124"/>
                    </a:lnTo>
                    <a:lnTo>
                      <a:pt x="8" y="118"/>
                    </a:lnTo>
                    <a:lnTo>
                      <a:pt x="8" y="118"/>
                    </a:lnTo>
                    <a:lnTo>
                      <a:pt x="8" y="124"/>
                    </a:lnTo>
                    <a:lnTo>
                      <a:pt x="12" y="132"/>
                    </a:lnTo>
                    <a:lnTo>
                      <a:pt x="22" y="146"/>
                    </a:lnTo>
                    <a:lnTo>
                      <a:pt x="22" y="146"/>
                    </a:lnTo>
                    <a:lnTo>
                      <a:pt x="32" y="148"/>
                    </a:lnTo>
                    <a:lnTo>
                      <a:pt x="38" y="148"/>
                    </a:lnTo>
                    <a:lnTo>
                      <a:pt x="40" y="146"/>
                    </a:lnTo>
                    <a:lnTo>
                      <a:pt x="42" y="142"/>
                    </a:lnTo>
                    <a:lnTo>
                      <a:pt x="42" y="148"/>
                    </a:lnTo>
                    <a:lnTo>
                      <a:pt x="50" y="158"/>
                    </a:lnTo>
                    <a:lnTo>
                      <a:pt x="58" y="158"/>
                    </a:lnTo>
                    <a:lnTo>
                      <a:pt x="58" y="156"/>
                    </a:lnTo>
                    <a:lnTo>
                      <a:pt x="78" y="162"/>
                    </a:lnTo>
                    <a:lnTo>
                      <a:pt x="84" y="158"/>
                    </a:lnTo>
                    <a:lnTo>
                      <a:pt x="98" y="166"/>
                    </a:lnTo>
                    <a:lnTo>
                      <a:pt x="102" y="160"/>
                    </a:lnTo>
                    <a:lnTo>
                      <a:pt x="108" y="168"/>
                    </a:lnTo>
                    <a:lnTo>
                      <a:pt x="110" y="168"/>
                    </a:lnTo>
                    <a:lnTo>
                      <a:pt x="110" y="168"/>
                    </a:lnTo>
                    <a:lnTo>
                      <a:pt x="110" y="164"/>
                    </a:lnTo>
                    <a:lnTo>
                      <a:pt x="106" y="162"/>
                    </a:lnTo>
                    <a:lnTo>
                      <a:pt x="100" y="156"/>
                    </a:lnTo>
                    <a:lnTo>
                      <a:pt x="102" y="154"/>
                    </a:lnTo>
                    <a:lnTo>
                      <a:pt x="122" y="158"/>
                    </a:lnTo>
                    <a:lnTo>
                      <a:pt x="124" y="164"/>
                    </a:lnTo>
                    <a:lnTo>
                      <a:pt x="134" y="162"/>
                    </a:lnTo>
                    <a:lnTo>
                      <a:pt x="136" y="160"/>
                    </a:lnTo>
                    <a:lnTo>
                      <a:pt x="132" y="146"/>
                    </a:lnTo>
                    <a:lnTo>
                      <a:pt x="136" y="144"/>
                    </a:lnTo>
                    <a:lnTo>
                      <a:pt x="142" y="152"/>
                    </a:lnTo>
                    <a:lnTo>
                      <a:pt x="150" y="150"/>
                    </a:lnTo>
                    <a:lnTo>
                      <a:pt x="150" y="164"/>
                    </a:lnTo>
                    <a:lnTo>
                      <a:pt x="158" y="164"/>
                    </a:lnTo>
                    <a:lnTo>
                      <a:pt x="158" y="170"/>
                    </a:lnTo>
                    <a:lnTo>
                      <a:pt x="156" y="172"/>
                    </a:lnTo>
                    <a:lnTo>
                      <a:pt x="172" y="186"/>
                    </a:lnTo>
                    <a:lnTo>
                      <a:pt x="174" y="190"/>
                    </a:lnTo>
                    <a:lnTo>
                      <a:pt x="168" y="194"/>
                    </a:lnTo>
                    <a:lnTo>
                      <a:pt x="162" y="194"/>
                    </a:lnTo>
                    <a:lnTo>
                      <a:pt x="162" y="194"/>
                    </a:lnTo>
                    <a:lnTo>
                      <a:pt x="162" y="200"/>
                    </a:lnTo>
                    <a:lnTo>
                      <a:pt x="162" y="206"/>
                    </a:lnTo>
                    <a:lnTo>
                      <a:pt x="174" y="196"/>
                    </a:lnTo>
                    <a:lnTo>
                      <a:pt x="182" y="196"/>
                    </a:lnTo>
                    <a:lnTo>
                      <a:pt x="184" y="198"/>
                    </a:lnTo>
                    <a:lnTo>
                      <a:pt x="182" y="202"/>
                    </a:lnTo>
                    <a:lnTo>
                      <a:pt x="190" y="212"/>
                    </a:lnTo>
                    <a:lnTo>
                      <a:pt x="192" y="210"/>
                    </a:lnTo>
                    <a:lnTo>
                      <a:pt x="190" y="204"/>
                    </a:lnTo>
                    <a:lnTo>
                      <a:pt x="194" y="206"/>
                    </a:lnTo>
                    <a:lnTo>
                      <a:pt x="194" y="206"/>
                    </a:lnTo>
                    <a:lnTo>
                      <a:pt x="194" y="212"/>
                    </a:lnTo>
                    <a:lnTo>
                      <a:pt x="196" y="218"/>
                    </a:lnTo>
                    <a:lnTo>
                      <a:pt x="202" y="220"/>
                    </a:lnTo>
                    <a:lnTo>
                      <a:pt x="202" y="220"/>
                    </a:lnTo>
                    <a:lnTo>
                      <a:pt x="206" y="226"/>
                    </a:lnTo>
                    <a:lnTo>
                      <a:pt x="208" y="236"/>
                    </a:lnTo>
                    <a:lnTo>
                      <a:pt x="212" y="254"/>
                    </a:lnTo>
                    <a:lnTo>
                      <a:pt x="214" y="254"/>
                    </a:lnTo>
                    <a:lnTo>
                      <a:pt x="206" y="264"/>
                    </a:lnTo>
                    <a:lnTo>
                      <a:pt x="206" y="272"/>
                    </a:lnTo>
                    <a:lnTo>
                      <a:pt x="206" y="272"/>
                    </a:lnTo>
                    <a:lnTo>
                      <a:pt x="202" y="274"/>
                    </a:lnTo>
                    <a:lnTo>
                      <a:pt x="196" y="280"/>
                    </a:lnTo>
                    <a:lnTo>
                      <a:pt x="188" y="290"/>
                    </a:lnTo>
                    <a:lnTo>
                      <a:pt x="198" y="306"/>
                    </a:lnTo>
                    <a:lnTo>
                      <a:pt x="198" y="312"/>
                    </a:lnTo>
                    <a:lnTo>
                      <a:pt x="190" y="310"/>
                    </a:lnTo>
                    <a:lnTo>
                      <a:pt x="184" y="314"/>
                    </a:lnTo>
                    <a:lnTo>
                      <a:pt x="180" y="314"/>
                    </a:lnTo>
                    <a:lnTo>
                      <a:pt x="180" y="318"/>
                    </a:lnTo>
                    <a:lnTo>
                      <a:pt x="178" y="318"/>
                    </a:lnTo>
                    <a:lnTo>
                      <a:pt x="152" y="312"/>
                    </a:lnTo>
                    <a:lnTo>
                      <a:pt x="154" y="316"/>
                    </a:lnTo>
                    <a:lnTo>
                      <a:pt x="152" y="316"/>
                    </a:lnTo>
                    <a:lnTo>
                      <a:pt x="152" y="320"/>
                    </a:lnTo>
                    <a:lnTo>
                      <a:pt x="152" y="320"/>
                    </a:lnTo>
                    <a:lnTo>
                      <a:pt x="148" y="324"/>
                    </a:lnTo>
                    <a:lnTo>
                      <a:pt x="146" y="326"/>
                    </a:lnTo>
                    <a:lnTo>
                      <a:pt x="144" y="332"/>
                    </a:lnTo>
                    <a:lnTo>
                      <a:pt x="144" y="336"/>
                    </a:lnTo>
                    <a:lnTo>
                      <a:pt x="148" y="344"/>
                    </a:lnTo>
                    <a:lnTo>
                      <a:pt x="160" y="350"/>
                    </a:lnTo>
                    <a:lnTo>
                      <a:pt x="172" y="344"/>
                    </a:lnTo>
                    <a:lnTo>
                      <a:pt x="170" y="340"/>
                    </a:lnTo>
                    <a:lnTo>
                      <a:pt x="170" y="340"/>
                    </a:lnTo>
                    <a:lnTo>
                      <a:pt x="176" y="338"/>
                    </a:lnTo>
                    <a:lnTo>
                      <a:pt x="178" y="342"/>
                    </a:lnTo>
                    <a:lnTo>
                      <a:pt x="186" y="344"/>
                    </a:lnTo>
                    <a:lnTo>
                      <a:pt x="186" y="342"/>
                    </a:lnTo>
                    <a:lnTo>
                      <a:pt x="188" y="340"/>
                    </a:lnTo>
                    <a:lnTo>
                      <a:pt x="182" y="336"/>
                    </a:lnTo>
                    <a:lnTo>
                      <a:pt x="182" y="332"/>
                    </a:lnTo>
                    <a:lnTo>
                      <a:pt x="186" y="330"/>
                    </a:lnTo>
                    <a:lnTo>
                      <a:pt x="186" y="336"/>
                    </a:lnTo>
                    <a:lnTo>
                      <a:pt x="188" y="334"/>
                    </a:lnTo>
                    <a:lnTo>
                      <a:pt x="190" y="338"/>
                    </a:lnTo>
                    <a:lnTo>
                      <a:pt x="194" y="336"/>
                    </a:lnTo>
                    <a:lnTo>
                      <a:pt x="196" y="338"/>
                    </a:lnTo>
                    <a:lnTo>
                      <a:pt x="200" y="338"/>
                    </a:lnTo>
                    <a:lnTo>
                      <a:pt x="202" y="346"/>
                    </a:lnTo>
                    <a:lnTo>
                      <a:pt x="204" y="350"/>
                    </a:lnTo>
                    <a:lnTo>
                      <a:pt x="206" y="356"/>
                    </a:lnTo>
                    <a:lnTo>
                      <a:pt x="214" y="360"/>
                    </a:lnTo>
                    <a:lnTo>
                      <a:pt x="218" y="366"/>
                    </a:lnTo>
                    <a:lnTo>
                      <a:pt x="218" y="360"/>
                    </a:lnTo>
                    <a:lnTo>
                      <a:pt x="224" y="368"/>
                    </a:lnTo>
                    <a:lnTo>
                      <a:pt x="226" y="368"/>
                    </a:lnTo>
                    <a:lnTo>
                      <a:pt x="220" y="372"/>
                    </a:lnTo>
                    <a:lnTo>
                      <a:pt x="216" y="368"/>
                    </a:lnTo>
                    <a:lnTo>
                      <a:pt x="216" y="368"/>
                    </a:lnTo>
                    <a:lnTo>
                      <a:pt x="220" y="378"/>
                    </a:lnTo>
                    <a:lnTo>
                      <a:pt x="224" y="382"/>
                    </a:lnTo>
                    <a:lnTo>
                      <a:pt x="230" y="388"/>
                    </a:lnTo>
                    <a:lnTo>
                      <a:pt x="238" y="392"/>
                    </a:lnTo>
                    <a:lnTo>
                      <a:pt x="242" y="386"/>
                    </a:lnTo>
                    <a:lnTo>
                      <a:pt x="242" y="390"/>
                    </a:lnTo>
                    <a:lnTo>
                      <a:pt x="244" y="392"/>
                    </a:lnTo>
                    <a:lnTo>
                      <a:pt x="248" y="390"/>
                    </a:lnTo>
                    <a:lnTo>
                      <a:pt x="248" y="394"/>
                    </a:lnTo>
                    <a:lnTo>
                      <a:pt x="250" y="396"/>
                    </a:lnTo>
                    <a:lnTo>
                      <a:pt x="254" y="400"/>
                    </a:lnTo>
                    <a:lnTo>
                      <a:pt x="256" y="402"/>
                    </a:lnTo>
                    <a:lnTo>
                      <a:pt x="256" y="398"/>
                    </a:lnTo>
                    <a:lnTo>
                      <a:pt x="256" y="402"/>
                    </a:lnTo>
                    <a:lnTo>
                      <a:pt x="260" y="404"/>
                    </a:lnTo>
                    <a:lnTo>
                      <a:pt x="270" y="406"/>
                    </a:lnTo>
                    <a:lnTo>
                      <a:pt x="274" y="412"/>
                    </a:lnTo>
                    <a:lnTo>
                      <a:pt x="280" y="408"/>
                    </a:lnTo>
                    <a:lnTo>
                      <a:pt x="286" y="416"/>
                    </a:lnTo>
                    <a:lnTo>
                      <a:pt x="290" y="416"/>
                    </a:lnTo>
                    <a:lnTo>
                      <a:pt x="288" y="412"/>
                    </a:lnTo>
                    <a:lnTo>
                      <a:pt x="288" y="404"/>
                    </a:lnTo>
                    <a:lnTo>
                      <a:pt x="270" y="384"/>
                    </a:lnTo>
                    <a:lnTo>
                      <a:pt x="270" y="382"/>
                    </a:lnTo>
                    <a:lnTo>
                      <a:pt x="268" y="382"/>
                    </a:lnTo>
                    <a:lnTo>
                      <a:pt x="268" y="382"/>
                    </a:lnTo>
                    <a:lnTo>
                      <a:pt x="260" y="374"/>
                    </a:lnTo>
                    <a:lnTo>
                      <a:pt x="254" y="364"/>
                    </a:lnTo>
                    <a:lnTo>
                      <a:pt x="258" y="362"/>
                    </a:lnTo>
                    <a:lnTo>
                      <a:pt x="266" y="372"/>
                    </a:lnTo>
                    <a:lnTo>
                      <a:pt x="268" y="372"/>
                    </a:lnTo>
                    <a:lnTo>
                      <a:pt x="268" y="368"/>
                    </a:lnTo>
                    <a:lnTo>
                      <a:pt x="270" y="368"/>
                    </a:lnTo>
                    <a:lnTo>
                      <a:pt x="274" y="376"/>
                    </a:lnTo>
                    <a:lnTo>
                      <a:pt x="280" y="378"/>
                    </a:lnTo>
                    <a:lnTo>
                      <a:pt x="282" y="384"/>
                    </a:lnTo>
                    <a:lnTo>
                      <a:pt x="288" y="384"/>
                    </a:lnTo>
                    <a:lnTo>
                      <a:pt x="290" y="388"/>
                    </a:lnTo>
                    <a:lnTo>
                      <a:pt x="296" y="386"/>
                    </a:lnTo>
                    <a:lnTo>
                      <a:pt x="298" y="390"/>
                    </a:lnTo>
                    <a:lnTo>
                      <a:pt x="300" y="388"/>
                    </a:lnTo>
                    <a:lnTo>
                      <a:pt x="300" y="394"/>
                    </a:lnTo>
                    <a:lnTo>
                      <a:pt x="302" y="398"/>
                    </a:lnTo>
                    <a:lnTo>
                      <a:pt x="304" y="396"/>
                    </a:lnTo>
                    <a:lnTo>
                      <a:pt x="302" y="388"/>
                    </a:lnTo>
                    <a:lnTo>
                      <a:pt x="308" y="388"/>
                    </a:lnTo>
                    <a:lnTo>
                      <a:pt x="308" y="386"/>
                    </a:lnTo>
                    <a:lnTo>
                      <a:pt x="306" y="384"/>
                    </a:lnTo>
                    <a:lnTo>
                      <a:pt x="304" y="384"/>
                    </a:lnTo>
                    <a:lnTo>
                      <a:pt x="304" y="384"/>
                    </a:lnTo>
                    <a:lnTo>
                      <a:pt x="302" y="378"/>
                    </a:lnTo>
                    <a:lnTo>
                      <a:pt x="302" y="372"/>
                    </a:lnTo>
                    <a:lnTo>
                      <a:pt x="308" y="376"/>
                    </a:lnTo>
                    <a:lnTo>
                      <a:pt x="308" y="376"/>
                    </a:lnTo>
                    <a:lnTo>
                      <a:pt x="306" y="372"/>
                    </a:lnTo>
                    <a:lnTo>
                      <a:pt x="308" y="368"/>
                    </a:lnTo>
                    <a:lnTo>
                      <a:pt x="308" y="362"/>
                    </a:lnTo>
                    <a:lnTo>
                      <a:pt x="306" y="356"/>
                    </a:lnTo>
                    <a:lnTo>
                      <a:pt x="298" y="352"/>
                    </a:lnTo>
                    <a:lnTo>
                      <a:pt x="298" y="348"/>
                    </a:lnTo>
                    <a:lnTo>
                      <a:pt x="302" y="346"/>
                    </a:lnTo>
                    <a:lnTo>
                      <a:pt x="302" y="346"/>
                    </a:lnTo>
                    <a:lnTo>
                      <a:pt x="302" y="342"/>
                    </a:lnTo>
                    <a:lnTo>
                      <a:pt x="302" y="338"/>
                    </a:lnTo>
                    <a:lnTo>
                      <a:pt x="298" y="340"/>
                    </a:lnTo>
                    <a:lnTo>
                      <a:pt x="298" y="334"/>
                    </a:lnTo>
                    <a:lnTo>
                      <a:pt x="294" y="338"/>
                    </a:lnTo>
                    <a:lnTo>
                      <a:pt x="294" y="330"/>
                    </a:lnTo>
                    <a:lnTo>
                      <a:pt x="286" y="332"/>
                    </a:lnTo>
                    <a:lnTo>
                      <a:pt x="288" y="328"/>
                    </a:lnTo>
                    <a:lnTo>
                      <a:pt x="282" y="328"/>
                    </a:lnTo>
                    <a:lnTo>
                      <a:pt x="282" y="332"/>
                    </a:lnTo>
                    <a:lnTo>
                      <a:pt x="278" y="320"/>
                    </a:lnTo>
                    <a:lnTo>
                      <a:pt x="274" y="320"/>
                    </a:lnTo>
                    <a:lnTo>
                      <a:pt x="276" y="316"/>
                    </a:lnTo>
                    <a:lnTo>
                      <a:pt x="274" y="314"/>
                    </a:lnTo>
                    <a:lnTo>
                      <a:pt x="276" y="314"/>
                    </a:lnTo>
                    <a:lnTo>
                      <a:pt x="274" y="312"/>
                    </a:lnTo>
                    <a:lnTo>
                      <a:pt x="274" y="308"/>
                    </a:lnTo>
                    <a:lnTo>
                      <a:pt x="266" y="308"/>
                    </a:lnTo>
                    <a:lnTo>
                      <a:pt x="266" y="300"/>
                    </a:lnTo>
                    <a:lnTo>
                      <a:pt x="276" y="296"/>
                    </a:lnTo>
                    <a:lnTo>
                      <a:pt x="272" y="290"/>
                    </a:lnTo>
                    <a:lnTo>
                      <a:pt x="266" y="288"/>
                    </a:lnTo>
                    <a:lnTo>
                      <a:pt x="264" y="284"/>
                    </a:lnTo>
                    <a:lnTo>
                      <a:pt x="268" y="284"/>
                    </a:lnTo>
                    <a:lnTo>
                      <a:pt x="266" y="280"/>
                    </a:lnTo>
                    <a:lnTo>
                      <a:pt x="268" y="280"/>
                    </a:lnTo>
                    <a:lnTo>
                      <a:pt x="276" y="286"/>
                    </a:lnTo>
                    <a:lnTo>
                      <a:pt x="274" y="282"/>
                    </a:lnTo>
                    <a:lnTo>
                      <a:pt x="276" y="282"/>
                    </a:lnTo>
                    <a:lnTo>
                      <a:pt x="272" y="278"/>
                    </a:lnTo>
                    <a:lnTo>
                      <a:pt x="274" y="276"/>
                    </a:lnTo>
                    <a:lnTo>
                      <a:pt x="278" y="278"/>
                    </a:lnTo>
                    <a:lnTo>
                      <a:pt x="278" y="286"/>
                    </a:lnTo>
                    <a:lnTo>
                      <a:pt x="290" y="292"/>
                    </a:lnTo>
                    <a:lnTo>
                      <a:pt x="292" y="296"/>
                    </a:lnTo>
                    <a:lnTo>
                      <a:pt x="298" y="296"/>
                    </a:lnTo>
                    <a:lnTo>
                      <a:pt x="298" y="296"/>
                    </a:lnTo>
                    <a:lnTo>
                      <a:pt x="296" y="300"/>
                    </a:lnTo>
                    <a:lnTo>
                      <a:pt x="298" y="304"/>
                    </a:lnTo>
                    <a:lnTo>
                      <a:pt x="302" y="314"/>
                    </a:lnTo>
                    <a:lnTo>
                      <a:pt x="306" y="312"/>
                    </a:lnTo>
                    <a:lnTo>
                      <a:pt x="306" y="314"/>
                    </a:lnTo>
                    <a:lnTo>
                      <a:pt x="304" y="318"/>
                    </a:lnTo>
                    <a:lnTo>
                      <a:pt x="308" y="322"/>
                    </a:lnTo>
                    <a:lnTo>
                      <a:pt x="310" y="318"/>
                    </a:lnTo>
                    <a:lnTo>
                      <a:pt x="312" y="324"/>
                    </a:lnTo>
                    <a:lnTo>
                      <a:pt x="314" y="322"/>
                    </a:lnTo>
                    <a:lnTo>
                      <a:pt x="318" y="330"/>
                    </a:lnTo>
                    <a:lnTo>
                      <a:pt x="322" y="318"/>
                    </a:lnTo>
                    <a:lnTo>
                      <a:pt x="322" y="318"/>
                    </a:lnTo>
                    <a:lnTo>
                      <a:pt x="320" y="304"/>
                    </a:lnTo>
                    <a:lnTo>
                      <a:pt x="328" y="308"/>
                    </a:lnTo>
                    <a:lnTo>
                      <a:pt x="330" y="304"/>
                    </a:lnTo>
                    <a:lnTo>
                      <a:pt x="332" y="302"/>
                    </a:lnTo>
                    <a:lnTo>
                      <a:pt x="332" y="296"/>
                    </a:lnTo>
                    <a:lnTo>
                      <a:pt x="336" y="296"/>
                    </a:lnTo>
                    <a:lnTo>
                      <a:pt x="334" y="292"/>
                    </a:lnTo>
                    <a:lnTo>
                      <a:pt x="330" y="292"/>
                    </a:lnTo>
                    <a:lnTo>
                      <a:pt x="334" y="286"/>
                    </a:lnTo>
                    <a:lnTo>
                      <a:pt x="342" y="288"/>
                    </a:lnTo>
                    <a:lnTo>
                      <a:pt x="342" y="286"/>
                    </a:lnTo>
                    <a:lnTo>
                      <a:pt x="340" y="284"/>
                    </a:lnTo>
                    <a:lnTo>
                      <a:pt x="346" y="276"/>
                    </a:lnTo>
                    <a:lnTo>
                      <a:pt x="336" y="264"/>
                    </a:lnTo>
                    <a:lnTo>
                      <a:pt x="322" y="268"/>
                    </a:lnTo>
                    <a:lnTo>
                      <a:pt x="326" y="254"/>
                    </a:lnTo>
                    <a:lnTo>
                      <a:pt x="312" y="256"/>
                    </a:lnTo>
                    <a:lnTo>
                      <a:pt x="310" y="254"/>
                    </a:lnTo>
                    <a:lnTo>
                      <a:pt x="314" y="250"/>
                    </a:lnTo>
                    <a:lnTo>
                      <a:pt x="308" y="238"/>
                    </a:lnTo>
                    <a:lnTo>
                      <a:pt x="300" y="236"/>
                    </a:lnTo>
                    <a:lnTo>
                      <a:pt x="302" y="228"/>
                    </a:lnTo>
                    <a:lnTo>
                      <a:pt x="290" y="234"/>
                    </a:lnTo>
                    <a:lnTo>
                      <a:pt x="286" y="230"/>
                    </a:lnTo>
                    <a:lnTo>
                      <a:pt x="290" y="226"/>
                    </a:lnTo>
                    <a:lnTo>
                      <a:pt x="288" y="222"/>
                    </a:lnTo>
                    <a:lnTo>
                      <a:pt x="280" y="222"/>
                    </a:lnTo>
                    <a:lnTo>
                      <a:pt x="282" y="216"/>
                    </a:lnTo>
                    <a:lnTo>
                      <a:pt x="262" y="208"/>
                    </a:lnTo>
                    <a:lnTo>
                      <a:pt x="270" y="206"/>
                    </a:lnTo>
                    <a:lnTo>
                      <a:pt x="264" y="198"/>
                    </a:lnTo>
                    <a:lnTo>
                      <a:pt x="268" y="196"/>
                    </a:lnTo>
                    <a:lnTo>
                      <a:pt x="260" y="188"/>
                    </a:lnTo>
                    <a:lnTo>
                      <a:pt x="266" y="188"/>
                    </a:lnTo>
                    <a:lnTo>
                      <a:pt x="266" y="184"/>
                    </a:lnTo>
                    <a:lnTo>
                      <a:pt x="272" y="190"/>
                    </a:lnTo>
                    <a:lnTo>
                      <a:pt x="282" y="190"/>
                    </a:lnTo>
                    <a:lnTo>
                      <a:pt x="284" y="184"/>
                    </a:lnTo>
                    <a:lnTo>
                      <a:pt x="284" y="184"/>
                    </a:lnTo>
                    <a:lnTo>
                      <a:pt x="280" y="182"/>
                    </a:lnTo>
                    <a:lnTo>
                      <a:pt x="274" y="178"/>
                    </a:lnTo>
                    <a:lnTo>
                      <a:pt x="264" y="176"/>
                    </a:lnTo>
                    <a:lnTo>
                      <a:pt x="264" y="180"/>
                    </a:lnTo>
                    <a:lnTo>
                      <a:pt x="258" y="174"/>
                    </a:lnTo>
                    <a:lnTo>
                      <a:pt x="256" y="176"/>
                    </a:lnTo>
                    <a:lnTo>
                      <a:pt x="268" y="168"/>
                    </a:lnTo>
                    <a:lnTo>
                      <a:pt x="274" y="168"/>
                    </a:lnTo>
                    <a:lnTo>
                      <a:pt x="276" y="164"/>
                    </a:lnTo>
                    <a:lnTo>
                      <a:pt x="276" y="164"/>
                    </a:lnTo>
                    <a:lnTo>
                      <a:pt x="272" y="156"/>
                    </a:lnTo>
                    <a:lnTo>
                      <a:pt x="268" y="150"/>
                    </a:lnTo>
                    <a:lnTo>
                      <a:pt x="262" y="150"/>
                    </a:lnTo>
                    <a:lnTo>
                      <a:pt x="262" y="154"/>
                    </a:lnTo>
                    <a:lnTo>
                      <a:pt x="258" y="160"/>
                    </a:lnTo>
                    <a:lnTo>
                      <a:pt x="254" y="160"/>
                    </a:lnTo>
                    <a:lnTo>
                      <a:pt x="258" y="152"/>
                    </a:lnTo>
                    <a:lnTo>
                      <a:pt x="246" y="152"/>
                    </a:lnTo>
                    <a:lnTo>
                      <a:pt x="256" y="146"/>
                    </a:lnTo>
                    <a:lnTo>
                      <a:pt x="260" y="136"/>
                    </a:lnTo>
                    <a:lnTo>
                      <a:pt x="248" y="130"/>
                    </a:lnTo>
                    <a:lnTo>
                      <a:pt x="236" y="140"/>
                    </a:lnTo>
                    <a:lnTo>
                      <a:pt x="242" y="126"/>
                    </a:lnTo>
                    <a:lnTo>
                      <a:pt x="232" y="134"/>
                    </a:lnTo>
                    <a:lnTo>
                      <a:pt x="234" y="124"/>
                    </a:lnTo>
                    <a:lnTo>
                      <a:pt x="234" y="118"/>
                    </a:lnTo>
                    <a:lnTo>
                      <a:pt x="224" y="122"/>
                    </a:lnTo>
                    <a:lnTo>
                      <a:pt x="216" y="118"/>
                    </a:lnTo>
                    <a:lnTo>
                      <a:pt x="228" y="112"/>
                    </a:lnTo>
                    <a:lnTo>
                      <a:pt x="224" y="100"/>
                    </a:lnTo>
                    <a:lnTo>
                      <a:pt x="210" y="92"/>
                    </a:lnTo>
                    <a:lnTo>
                      <a:pt x="208" y="100"/>
                    </a:lnTo>
                    <a:lnTo>
                      <a:pt x="202" y="98"/>
                    </a:lnTo>
                    <a:lnTo>
                      <a:pt x="202" y="108"/>
                    </a:lnTo>
                    <a:lnTo>
                      <a:pt x="202" y="108"/>
                    </a:lnTo>
                    <a:lnTo>
                      <a:pt x="198" y="104"/>
                    </a:lnTo>
                    <a:lnTo>
                      <a:pt x="192" y="102"/>
                    </a:lnTo>
                    <a:lnTo>
                      <a:pt x="198" y="88"/>
                    </a:lnTo>
                    <a:lnTo>
                      <a:pt x="190" y="90"/>
                    </a:lnTo>
                    <a:lnTo>
                      <a:pt x="184" y="96"/>
                    </a:lnTo>
                    <a:lnTo>
                      <a:pt x="184" y="96"/>
                    </a:lnTo>
                    <a:lnTo>
                      <a:pt x="186" y="86"/>
                    </a:lnTo>
                    <a:lnTo>
                      <a:pt x="190" y="78"/>
                    </a:lnTo>
                    <a:lnTo>
                      <a:pt x="180" y="74"/>
                    </a:lnTo>
                    <a:lnTo>
                      <a:pt x="182" y="70"/>
                    </a:lnTo>
                    <a:lnTo>
                      <a:pt x="182" y="70"/>
                    </a:lnTo>
                    <a:lnTo>
                      <a:pt x="180" y="66"/>
                    </a:lnTo>
                    <a:lnTo>
                      <a:pt x="176" y="60"/>
                    </a:lnTo>
                    <a:lnTo>
                      <a:pt x="178" y="58"/>
                    </a:lnTo>
                    <a:lnTo>
                      <a:pt x="178" y="58"/>
                    </a:lnTo>
                    <a:lnTo>
                      <a:pt x="172" y="54"/>
                    </a:lnTo>
                    <a:lnTo>
                      <a:pt x="164" y="52"/>
                    </a:lnTo>
                    <a:lnTo>
                      <a:pt x="150" y="48"/>
                    </a:lnTo>
                    <a:lnTo>
                      <a:pt x="138" y="56"/>
                    </a:lnTo>
                    <a:lnTo>
                      <a:pt x="138" y="62"/>
                    </a:lnTo>
                    <a:lnTo>
                      <a:pt x="142" y="66"/>
                    </a:lnTo>
                    <a:lnTo>
                      <a:pt x="132" y="70"/>
                    </a:lnTo>
                    <a:lnTo>
                      <a:pt x="128" y="64"/>
                    </a:lnTo>
                    <a:lnTo>
                      <a:pt x="124" y="66"/>
                    </a:lnTo>
                    <a:lnTo>
                      <a:pt x="122" y="58"/>
                    </a:lnTo>
                    <a:lnTo>
                      <a:pt x="120" y="72"/>
                    </a:lnTo>
                    <a:lnTo>
                      <a:pt x="118" y="70"/>
                    </a:lnTo>
                    <a:lnTo>
                      <a:pt x="110" y="84"/>
                    </a:lnTo>
                    <a:lnTo>
                      <a:pt x="108" y="78"/>
                    </a:lnTo>
                    <a:lnTo>
                      <a:pt x="114" y="76"/>
                    </a:lnTo>
                    <a:lnTo>
                      <a:pt x="110" y="72"/>
                    </a:lnTo>
                    <a:lnTo>
                      <a:pt x="116" y="48"/>
                    </a:lnTo>
                    <a:lnTo>
                      <a:pt x="112" y="40"/>
                    </a:lnTo>
                    <a:lnTo>
                      <a:pt x="114" y="34"/>
                    </a:lnTo>
                    <a:lnTo>
                      <a:pt x="104" y="26"/>
                    </a:lnTo>
                    <a:lnTo>
                      <a:pt x="106" y="22"/>
                    </a:lnTo>
                    <a:lnTo>
                      <a:pt x="106" y="22"/>
                    </a:lnTo>
                    <a:lnTo>
                      <a:pt x="106" y="14"/>
                    </a:lnTo>
                    <a:lnTo>
                      <a:pt x="102" y="4"/>
                    </a:lnTo>
                    <a:lnTo>
                      <a:pt x="102" y="4"/>
                    </a:lnTo>
                    <a:lnTo>
                      <a:pt x="94" y="4"/>
                    </a:lnTo>
                    <a:lnTo>
                      <a:pt x="86" y="6"/>
                    </a:lnTo>
                    <a:lnTo>
                      <a:pt x="80" y="10"/>
                    </a:lnTo>
                    <a:lnTo>
                      <a:pt x="74" y="16"/>
                    </a:lnTo>
                    <a:lnTo>
                      <a:pt x="78" y="20"/>
                    </a:lnTo>
                    <a:lnTo>
                      <a:pt x="76" y="24"/>
                    </a:lnTo>
                    <a:lnTo>
                      <a:pt x="74" y="18"/>
                    </a:lnTo>
                    <a:lnTo>
                      <a:pt x="66" y="18"/>
                    </a:lnTo>
                    <a:lnTo>
                      <a:pt x="66" y="22"/>
                    </a:lnTo>
                    <a:lnTo>
                      <a:pt x="68" y="28"/>
                    </a:lnTo>
                    <a:lnTo>
                      <a:pt x="60" y="22"/>
                    </a:lnTo>
                    <a:lnTo>
                      <a:pt x="60" y="26"/>
                    </a:lnTo>
                    <a:lnTo>
                      <a:pt x="62" y="30"/>
                    </a:lnTo>
                    <a:lnTo>
                      <a:pt x="54" y="34"/>
                    </a:lnTo>
                    <a:lnTo>
                      <a:pt x="62" y="40"/>
                    </a:lnTo>
                    <a:lnTo>
                      <a:pt x="52" y="42"/>
                    </a:lnTo>
                    <a:lnTo>
                      <a:pt x="54" y="54"/>
                    </a:lnTo>
                    <a:lnTo>
                      <a:pt x="54" y="58"/>
                    </a:lnTo>
                    <a:lnTo>
                      <a:pt x="54" y="62"/>
                    </a:lnTo>
                    <a:lnTo>
                      <a:pt x="62" y="64"/>
                    </a:lnTo>
                    <a:lnTo>
                      <a:pt x="50" y="80"/>
                    </a:lnTo>
                    <a:lnTo>
                      <a:pt x="56" y="92"/>
                    </a:lnTo>
                    <a:lnTo>
                      <a:pt x="64" y="94"/>
                    </a:lnTo>
                    <a:lnTo>
                      <a:pt x="64" y="94"/>
                    </a:lnTo>
                    <a:lnTo>
                      <a:pt x="64" y="108"/>
                    </a:lnTo>
                    <a:lnTo>
                      <a:pt x="62" y="122"/>
                    </a:lnTo>
                    <a:lnTo>
                      <a:pt x="60" y="120"/>
                    </a:lnTo>
                    <a:lnTo>
                      <a:pt x="62" y="114"/>
                    </a:lnTo>
                    <a:lnTo>
                      <a:pt x="60" y="114"/>
                    </a:lnTo>
                    <a:lnTo>
                      <a:pt x="42" y="120"/>
                    </a:lnTo>
                    <a:lnTo>
                      <a:pt x="42" y="120"/>
                    </a:lnTo>
                    <a:lnTo>
                      <a:pt x="46" y="116"/>
                    </a:lnTo>
                    <a:lnTo>
                      <a:pt x="50" y="112"/>
                    </a:lnTo>
                    <a:lnTo>
                      <a:pt x="62" y="108"/>
                    </a:lnTo>
                    <a:lnTo>
                      <a:pt x="60" y="102"/>
                    </a:lnTo>
                    <a:lnTo>
                      <a:pt x="56" y="100"/>
                    </a:lnTo>
                    <a:lnTo>
                      <a:pt x="56" y="100"/>
                    </a:lnTo>
                    <a:lnTo>
                      <a:pt x="50" y="92"/>
                    </a:lnTo>
                    <a:lnTo>
                      <a:pt x="44" y="84"/>
                    </a:lnTo>
                    <a:lnTo>
                      <a:pt x="44" y="74"/>
                    </a:lnTo>
                    <a:lnTo>
                      <a:pt x="46" y="64"/>
                    </a:lnTo>
                    <a:lnTo>
                      <a:pt x="46" y="64"/>
                    </a:lnTo>
                    <a:lnTo>
                      <a:pt x="42" y="56"/>
                    </a:lnTo>
                    <a:lnTo>
                      <a:pt x="42" y="48"/>
                    </a:lnTo>
                    <a:lnTo>
                      <a:pt x="42" y="40"/>
                    </a:lnTo>
                    <a:lnTo>
                      <a:pt x="46" y="32"/>
                    </a:lnTo>
                    <a:lnTo>
                      <a:pt x="54" y="18"/>
                    </a:lnTo>
                    <a:lnTo>
                      <a:pt x="62" y="6"/>
                    </a:lnTo>
                    <a:lnTo>
                      <a:pt x="6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8" name="Freeform 1426">
                <a:extLst>
                  <a:ext uri="{FF2B5EF4-FFF2-40B4-BE49-F238E27FC236}">
                    <a16:creationId xmlns:a16="http://schemas.microsoft.com/office/drawing/2014/main" id="{5D775F2A-B974-46A0-9F7B-51C5423A5258}"/>
                  </a:ext>
                </a:extLst>
              </p:cNvPr>
              <p:cNvSpPr>
                <a:spLocks/>
              </p:cNvSpPr>
              <p:nvPr/>
            </p:nvSpPr>
            <p:spPr bwMode="auto">
              <a:xfrm>
                <a:off x="1994" y="2122"/>
                <a:ext cx="16" cy="10"/>
              </a:xfrm>
              <a:custGeom>
                <a:avLst/>
                <a:gdLst/>
                <a:ahLst/>
                <a:cxnLst>
                  <a:cxn ang="0">
                    <a:pos x="2" y="2"/>
                  </a:cxn>
                  <a:cxn ang="0">
                    <a:pos x="2" y="2"/>
                  </a:cxn>
                  <a:cxn ang="0">
                    <a:pos x="8" y="0"/>
                  </a:cxn>
                  <a:cxn ang="0">
                    <a:pos x="12" y="2"/>
                  </a:cxn>
                  <a:cxn ang="0">
                    <a:pos x="16" y="10"/>
                  </a:cxn>
                  <a:cxn ang="0">
                    <a:pos x="12" y="10"/>
                  </a:cxn>
                  <a:cxn ang="0">
                    <a:pos x="12" y="10"/>
                  </a:cxn>
                  <a:cxn ang="0">
                    <a:pos x="6" y="6"/>
                  </a:cxn>
                  <a:cxn ang="0">
                    <a:pos x="0" y="4"/>
                  </a:cxn>
                  <a:cxn ang="0">
                    <a:pos x="2" y="2"/>
                  </a:cxn>
                </a:cxnLst>
                <a:rect l="0" t="0" r="r" b="b"/>
                <a:pathLst>
                  <a:path w="16" h="10">
                    <a:moveTo>
                      <a:pt x="2" y="2"/>
                    </a:moveTo>
                    <a:lnTo>
                      <a:pt x="2" y="2"/>
                    </a:lnTo>
                    <a:lnTo>
                      <a:pt x="8" y="0"/>
                    </a:lnTo>
                    <a:lnTo>
                      <a:pt x="12" y="2"/>
                    </a:lnTo>
                    <a:lnTo>
                      <a:pt x="16" y="10"/>
                    </a:lnTo>
                    <a:lnTo>
                      <a:pt x="12" y="10"/>
                    </a:lnTo>
                    <a:lnTo>
                      <a:pt x="12" y="10"/>
                    </a:lnTo>
                    <a:lnTo>
                      <a:pt x="6" y="6"/>
                    </a:lnTo>
                    <a:lnTo>
                      <a:pt x="0" y="4"/>
                    </a:lnTo>
                    <a:lnTo>
                      <a:pt x="2"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19" name="Freeform 1427">
                <a:extLst>
                  <a:ext uri="{FF2B5EF4-FFF2-40B4-BE49-F238E27FC236}">
                    <a16:creationId xmlns:a16="http://schemas.microsoft.com/office/drawing/2014/main" id="{C2D38DE9-FD65-459F-9318-708E35BFCC80}"/>
                  </a:ext>
                </a:extLst>
              </p:cNvPr>
              <p:cNvSpPr>
                <a:spLocks/>
              </p:cNvSpPr>
              <p:nvPr/>
            </p:nvSpPr>
            <p:spPr bwMode="auto">
              <a:xfrm>
                <a:off x="2206" y="2188"/>
                <a:ext cx="34" cy="18"/>
              </a:xfrm>
              <a:custGeom>
                <a:avLst/>
                <a:gdLst/>
                <a:ahLst/>
                <a:cxnLst>
                  <a:cxn ang="0">
                    <a:pos x="26" y="10"/>
                  </a:cxn>
                  <a:cxn ang="0">
                    <a:pos x="32" y="12"/>
                  </a:cxn>
                  <a:cxn ang="0">
                    <a:pos x="34" y="16"/>
                  </a:cxn>
                  <a:cxn ang="0">
                    <a:pos x="34" y="16"/>
                  </a:cxn>
                  <a:cxn ang="0">
                    <a:pos x="28" y="18"/>
                  </a:cxn>
                  <a:cxn ang="0">
                    <a:pos x="22" y="16"/>
                  </a:cxn>
                  <a:cxn ang="0">
                    <a:pos x="12" y="12"/>
                  </a:cxn>
                  <a:cxn ang="0">
                    <a:pos x="10" y="8"/>
                  </a:cxn>
                  <a:cxn ang="0">
                    <a:pos x="0" y="2"/>
                  </a:cxn>
                  <a:cxn ang="0">
                    <a:pos x="0" y="0"/>
                  </a:cxn>
                  <a:cxn ang="0">
                    <a:pos x="0" y="0"/>
                  </a:cxn>
                  <a:cxn ang="0">
                    <a:pos x="6" y="0"/>
                  </a:cxn>
                  <a:cxn ang="0">
                    <a:pos x="14" y="4"/>
                  </a:cxn>
                  <a:cxn ang="0">
                    <a:pos x="22" y="6"/>
                  </a:cxn>
                  <a:cxn ang="0">
                    <a:pos x="26" y="10"/>
                  </a:cxn>
                  <a:cxn ang="0">
                    <a:pos x="26" y="10"/>
                  </a:cxn>
                </a:cxnLst>
                <a:rect l="0" t="0" r="r" b="b"/>
                <a:pathLst>
                  <a:path w="34" h="18">
                    <a:moveTo>
                      <a:pt x="26" y="10"/>
                    </a:moveTo>
                    <a:lnTo>
                      <a:pt x="32" y="12"/>
                    </a:lnTo>
                    <a:lnTo>
                      <a:pt x="34" y="16"/>
                    </a:lnTo>
                    <a:lnTo>
                      <a:pt x="34" y="16"/>
                    </a:lnTo>
                    <a:lnTo>
                      <a:pt x="28" y="18"/>
                    </a:lnTo>
                    <a:lnTo>
                      <a:pt x="22" y="16"/>
                    </a:lnTo>
                    <a:lnTo>
                      <a:pt x="12" y="12"/>
                    </a:lnTo>
                    <a:lnTo>
                      <a:pt x="10" y="8"/>
                    </a:lnTo>
                    <a:lnTo>
                      <a:pt x="0" y="2"/>
                    </a:lnTo>
                    <a:lnTo>
                      <a:pt x="0" y="0"/>
                    </a:lnTo>
                    <a:lnTo>
                      <a:pt x="0" y="0"/>
                    </a:lnTo>
                    <a:lnTo>
                      <a:pt x="6" y="0"/>
                    </a:lnTo>
                    <a:lnTo>
                      <a:pt x="14" y="4"/>
                    </a:lnTo>
                    <a:lnTo>
                      <a:pt x="22" y="6"/>
                    </a:lnTo>
                    <a:lnTo>
                      <a:pt x="26" y="10"/>
                    </a:lnTo>
                    <a:lnTo>
                      <a:pt x="26"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0" name="Freeform 1428">
                <a:extLst>
                  <a:ext uri="{FF2B5EF4-FFF2-40B4-BE49-F238E27FC236}">
                    <a16:creationId xmlns:a16="http://schemas.microsoft.com/office/drawing/2014/main" id="{E46AAFA2-DBCC-4DE0-BC8A-065F63D6C49B}"/>
                  </a:ext>
                </a:extLst>
              </p:cNvPr>
              <p:cNvSpPr>
                <a:spLocks/>
              </p:cNvSpPr>
              <p:nvPr/>
            </p:nvSpPr>
            <p:spPr bwMode="auto">
              <a:xfrm>
                <a:off x="2208" y="2244"/>
                <a:ext cx="28" cy="20"/>
              </a:xfrm>
              <a:custGeom>
                <a:avLst/>
                <a:gdLst/>
                <a:ahLst/>
                <a:cxnLst>
                  <a:cxn ang="0">
                    <a:pos x="4" y="6"/>
                  </a:cxn>
                  <a:cxn ang="0">
                    <a:pos x="8" y="10"/>
                  </a:cxn>
                  <a:cxn ang="0">
                    <a:pos x="8" y="10"/>
                  </a:cxn>
                  <a:cxn ang="0">
                    <a:pos x="10" y="10"/>
                  </a:cxn>
                  <a:cxn ang="0">
                    <a:pos x="16" y="12"/>
                  </a:cxn>
                  <a:cxn ang="0">
                    <a:pos x="22" y="12"/>
                  </a:cxn>
                  <a:cxn ang="0">
                    <a:pos x="28" y="12"/>
                  </a:cxn>
                  <a:cxn ang="0">
                    <a:pos x="28" y="12"/>
                  </a:cxn>
                  <a:cxn ang="0">
                    <a:pos x="22" y="16"/>
                  </a:cxn>
                  <a:cxn ang="0">
                    <a:pos x="22" y="20"/>
                  </a:cxn>
                  <a:cxn ang="0">
                    <a:pos x="20" y="20"/>
                  </a:cxn>
                  <a:cxn ang="0">
                    <a:pos x="18" y="20"/>
                  </a:cxn>
                  <a:cxn ang="0">
                    <a:pos x="16" y="16"/>
                  </a:cxn>
                  <a:cxn ang="0">
                    <a:pos x="12" y="16"/>
                  </a:cxn>
                  <a:cxn ang="0">
                    <a:pos x="12" y="16"/>
                  </a:cxn>
                  <a:cxn ang="0">
                    <a:pos x="8" y="14"/>
                  </a:cxn>
                  <a:cxn ang="0">
                    <a:pos x="2" y="10"/>
                  </a:cxn>
                  <a:cxn ang="0">
                    <a:pos x="4" y="8"/>
                  </a:cxn>
                  <a:cxn ang="0">
                    <a:pos x="0" y="8"/>
                  </a:cxn>
                  <a:cxn ang="0">
                    <a:pos x="0" y="4"/>
                  </a:cxn>
                  <a:cxn ang="0">
                    <a:pos x="4" y="0"/>
                  </a:cxn>
                  <a:cxn ang="0">
                    <a:pos x="4" y="0"/>
                  </a:cxn>
                  <a:cxn ang="0">
                    <a:pos x="4" y="6"/>
                  </a:cxn>
                  <a:cxn ang="0">
                    <a:pos x="4" y="6"/>
                  </a:cxn>
                </a:cxnLst>
                <a:rect l="0" t="0" r="r" b="b"/>
                <a:pathLst>
                  <a:path w="28" h="20">
                    <a:moveTo>
                      <a:pt x="4" y="6"/>
                    </a:moveTo>
                    <a:lnTo>
                      <a:pt x="8" y="10"/>
                    </a:lnTo>
                    <a:lnTo>
                      <a:pt x="8" y="10"/>
                    </a:lnTo>
                    <a:lnTo>
                      <a:pt x="10" y="10"/>
                    </a:lnTo>
                    <a:lnTo>
                      <a:pt x="16" y="12"/>
                    </a:lnTo>
                    <a:lnTo>
                      <a:pt x="22" y="12"/>
                    </a:lnTo>
                    <a:lnTo>
                      <a:pt x="28" y="12"/>
                    </a:lnTo>
                    <a:lnTo>
                      <a:pt x="28" y="12"/>
                    </a:lnTo>
                    <a:lnTo>
                      <a:pt x="22" y="16"/>
                    </a:lnTo>
                    <a:lnTo>
                      <a:pt x="22" y="20"/>
                    </a:lnTo>
                    <a:lnTo>
                      <a:pt x="20" y="20"/>
                    </a:lnTo>
                    <a:lnTo>
                      <a:pt x="18" y="20"/>
                    </a:lnTo>
                    <a:lnTo>
                      <a:pt x="16" y="16"/>
                    </a:lnTo>
                    <a:lnTo>
                      <a:pt x="12" y="16"/>
                    </a:lnTo>
                    <a:lnTo>
                      <a:pt x="12" y="16"/>
                    </a:lnTo>
                    <a:lnTo>
                      <a:pt x="8" y="14"/>
                    </a:lnTo>
                    <a:lnTo>
                      <a:pt x="2" y="10"/>
                    </a:lnTo>
                    <a:lnTo>
                      <a:pt x="4" y="8"/>
                    </a:lnTo>
                    <a:lnTo>
                      <a:pt x="0" y="8"/>
                    </a:lnTo>
                    <a:lnTo>
                      <a:pt x="0" y="4"/>
                    </a:lnTo>
                    <a:lnTo>
                      <a:pt x="4" y="0"/>
                    </a:lnTo>
                    <a:lnTo>
                      <a:pt x="4" y="0"/>
                    </a:lnTo>
                    <a:lnTo>
                      <a:pt x="4" y="6"/>
                    </a:lnTo>
                    <a:lnTo>
                      <a:pt x="4"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1" name="Freeform 1429">
                <a:extLst>
                  <a:ext uri="{FF2B5EF4-FFF2-40B4-BE49-F238E27FC236}">
                    <a16:creationId xmlns:a16="http://schemas.microsoft.com/office/drawing/2014/main" id="{921C8489-F44F-49E9-B5E1-79D227CDCE7A}"/>
                  </a:ext>
                </a:extLst>
              </p:cNvPr>
              <p:cNvSpPr>
                <a:spLocks/>
              </p:cNvSpPr>
              <p:nvPr/>
            </p:nvSpPr>
            <p:spPr bwMode="auto">
              <a:xfrm>
                <a:off x="2242" y="2244"/>
                <a:ext cx="20" cy="26"/>
              </a:xfrm>
              <a:custGeom>
                <a:avLst/>
                <a:gdLst/>
                <a:ahLst/>
                <a:cxnLst>
                  <a:cxn ang="0">
                    <a:pos x="10" y="2"/>
                  </a:cxn>
                  <a:cxn ang="0">
                    <a:pos x="10" y="0"/>
                  </a:cxn>
                  <a:cxn ang="0">
                    <a:pos x="10" y="0"/>
                  </a:cxn>
                  <a:cxn ang="0">
                    <a:pos x="10" y="4"/>
                  </a:cxn>
                  <a:cxn ang="0">
                    <a:pos x="6" y="10"/>
                  </a:cxn>
                  <a:cxn ang="0">
                    <a:pos x="2" y="18"/>
                  </a:cxn>
                  <a:cxn ang="0">
                    <a:pos x="0" y="24"/>
                  </a:cxn>
                  <a:cxn ang="0">
                    <a:pos x="2" y="26"/>
                  </a:cxn>
                  <a:cxn ang="0">
                    <a:pos x="12" y="26"/>
                  </a:cxn>
                  <a:cxn ang="0">
                    <a:pos x="20" y="20"/>
                  </a:cxn>
                  <a:cxn ang="0">
                    <a:pos x="20" y="20"/>
                  </a:cxn>
                  <a:cxn ang="0">
                    <a:pos x="20" y="16"/>
                  </a:cxn>
                  <a:cxn ang="0">
                    <a:pos x="18" y="14"/>
                  </a:cxn>
                  <a:cxn ang="0">
                    <a:pos x="16" y="18"/>
                  </a:cxn>
                  <a:cxn ang="0">
                    <a:pos x="16" y="16"/>
                  </a:cxn>
                  <a:cxn ang="0">
                    <a:pos x="10" y="18"/>
                  </a:cxn>
                  <a:cxn ang="0">
                    <a:pos x="12" y="14"/>
                  </a:cxn>
                  <a:cxn ang="0">
                    <a:pos x="12" y="14"/>
                  </a:cxn>
                  <a:cxn ang="0">
                    <a:pos x="14" y="4"/>
                  </a:cxn>
                  <a:cxn ang="0">
                    <a:pos x="12" y="2"/>
                  </a:cxn>
                  <a:cxn ang="0">
                    <a:pos x="10" y="2"/>
                  </a:cxn>
                </a:cxnLst>
                <a:rect l="0" t="0" r="r" b="b"/>
                <a:pathLst>
                  <a:path w="20" h="26">
                    <a:moveTo>
                      <a:pt x="10" y="2"/>
                    </a:moveTo>
                    <a:lnTo>
                      <a:pt x="10" y="0"/>
                    </a:lnTo>
                    <a:lnTo>
                      <a:pt x="10" y="0"/>
                    </a:lnTo>
                    <a:lnTo>
                      <a:pt x="10" y="4"/>
                    </a:lnTo>
                    <a:lnTo>
                      <a:pt x="6" y="10"/>
                    </a:lnTo>
                    <a:lnTo>
                      <a:pt x="2" y="18"/>
                    </a:lnTo>
                    <a:lnTo>
                      <a:pt x="0" y="24"/>
                    </a:lnTo>
                    <a:lnTo>
                      <a:pt x="2" y="26"/>
                    </a:lnTo>
                    <a:lnTo>
                      <a:pt x="12" y="26"/>
                    </a:lnTo>
                    <a:lnTo>
                      <a:pt x="20" y="20"/>
                    </a:lnTo>
                    <a:lnTo>
                      <a:pt x="20" y="20"/>
                    </a:lnTo>
                    <a:lnTo>
                      <a:pt x="20" y="16"/>
                    </a:lnTo>
                    <a:lnTo>
                      <a:pt x="18" y="14"/>
                    </a:lnTo>
                    <a:lnTo>
                      <a:pt x="16" y="18"/>
                    </a:lnTo>
                    <a:lnTo>
                      <a:pt x="16" y="16"/>
                    </a:lnTo>
                    <a:lnTo>
                      <a:pt x="10" y="18"/>
                    </a:lnTo>
                    <a:lnTo>
                      <a:pt x="12" y="14"/>
                    </a:lnTo>
                    <a:lnTo>
                      <a:pt x="12" y="14"/>
                    </a:lnTo>
                    <a:lnTo>
                      <a:pt x="14" y="4"/>
                    </a:lnTo>
                    <a:lnTo>
                      <a:pt x="12" y="2"/>
                    </a:lnTo>
                    <a:lnTo>
                      <a:pt x="1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2" name="Freeform 1430">
                <a:extLst>
                  <a:ext uri="{FF2B5EF4-FFF2-40B4-BE49-F238E27FC236}">
                    <a16:creationId xmlns:a16="http://schemas.microsoft.com/office/drawing/2014/main" id="{EA88AC6C-3B6B-4E5E-A9AE-93D3A405C587}"/>
                  </a:ext>
                </a:extLst>
              </p:cNvPr>
              <p:cNvSpPr>
                <a:spLocks/>
              </p:cNvSpPr>
              <p:nvPr/>
            </p:nvSpPr>
            <p:spPr bwMode="auto">
              <a:xfrm>
                <a:off x="2268" y="2154"/>
                <a:ext cx="80" cy="98"/>
              </a:xfrm>
              <a:custGeom>
                <a:avLst/>
                <a:gdLst/>
                <a:ahLst/>
                <a:cxnLst>
                  <a:cxn ang="0">
                    <a:pos x="70" y="46"/>
                  </a:cxn>
                  <a:cxn ang="0">
                    <a:pos x="64" y="46"/>
                  </a:cxn>
                  <a:cxn ang="0">
                    <a:pos x="58" y="44"/>
                  </a:cxn>
                  <a:cxn ang="0">
                    <a:pos x="50" y="42"/>
                  </a:cxn>
                  <a:cxn ang="0">
                    <a:pos x="42" y="44"/>
                  </a:cxn>
                  <a:cxn ang="0">
                    <a:pos x="40" y="40"/>
                  </a:cxn>
                  <a:cxn ang="0">
                    <a:pos x="38" y="34"/>
                  </a:cxn>
                  <a:cxn ang="0">
                    <a:pos x="38" y="32"/>
                  </a:cxn>
                  <a:cxn ang="0">
                    <a:pos x="30" y="40"/>
                  </a:cxn>
                  <a:cxn ang="0">
                    <a:pos x="30" y="36"/>
                  </a:cxn>
                  <a:cxn ang="0">
                    <a:pos x="36" y="22"/>
                  </a:cxn>
                  <a:cxn ang="0">
                    <a:pos x="38" y="16"/>
                  </a:cxn>
                  <a:cxn ang="0">
                    <a:pos x="40" y="16"/>
                  </a:cxn>
                  <a:cxn ang="0">
                    <a:pos x="40" y="8"/>
                  </a:cxn>
                  <a:cxn ang="0">
                    <a:pos x="44" y="6"/>
                  </a:cxn>
                  <a:cxn ang="0">
                    <a:pos x="46" y="0"/>
                  </a:cxn>
                  <a:cxn ang="0">
                    <a:pos x="38" y="2"/>
                  </a:cxn>
                  <a:cxn ang="0">
                    <a:pos x="30" y="10"/>
                  </a:cxn>
                  <a:cxn ang="0">
                    <a:pos x="28" y="16"/>
                  </a:cxn>
                  <a:cxn ang="0">
                    <a:pos x="26" y="22"/>
                  </a:cxn>
                  <a:cxn ang="0">
                    <a:pos x="24" y="30"/>
                  </a:cxn>
                  <a:cxn ang="0">
                    <a:pos x="20" y="32"/>
                  </a:cxn>
                  <a:cxn ang="0">
                    <a:pos x="18" y="44"/>
                  </a:cxn>
                  <a:cxn ang="0">
                    <a:pos x="14" y="48"/>
                  </a:cxn>
                  <a:cxn ang="0">
                    <a:pos x="16" y="52"/>
                  </a:cxn>
                  <a:cxn ang="0">
                    <a:pos x="8" y="60"/>
                  </a:cxn>
                  <a:cxn ang="0">
                    <a:pos x="6" y="60"/>
                  </a:cxn>
                  <a:cxn ang="0">
                    <a:pos x="10" y="62"/>
                  </a:cxn>
                  <a:cxn ang="0">
                    <a:pos x="0" y="74"/>
                  </a:cxn>
                  <a:cxn ang="0">
                    <a:pos x="0" y="80"/>
                  </a:cxn>
                  <a:cxn ang="0">
                    <a:pos x="4" y="80"/>
                  </a:cxn>
                  <a:cxn ang="0">
                    <a:pos x="14" y="78"/>
                  </a:cxn>
                  <a:cxn ang="0">
                    <a:pos x="30" y="80"/>
                  </a:cxn>
                  <a:cxn ang="0">
                    <a:pos x="42" y="76"/>
                  </a:cxn>
                  <a:cxn ang="0">
                    <a:pos x="38" y="82"/>
                  </a:cxn>
                  <a:cxn ang="0">
                    <a:pos x="48" y="80"/>
                  </a:cxn>
                  <a:cxn ang="0">
                    <a:pos x="54" y="80"/>
                  </a:cxn>
                  <a:cxn ang="0">
                    <a:pos x="46" y="90"/>
                  </a:cxn>
                  <a:cxn ang="0">
                    <a:pos x="42" y="94"/>
                  </a:cxn>
                  <a:cxn ang="0">
                    <a:pos x="48" y="92"/>
                  </a:cxn>
                  <a:cxn ang="0">
                    <a:pos x="58" y="84"/>
                  </a:cxn>
                  <a:cxn ang="0">
                    <a:pos x="64" y="74"/>
                  </a:cxn>
                  <a:cxn ang="0">
                    <a:pos x="64" y="84"/>
                  </a:cxn>
                  <a:cxn ang="0">
                    <a:pos x="64" y="94"/>
                  </a:cxn>
                  <a:cxn ang="0">
                    <a:pos x="70" y="90"/>
                  </a:cxn>
                  <a:cxn ang="0">
                    <a:pos x="70" y="98"/>
                  </a:cxn>
                  <a:cxn ang="0">
                    <a:pos x="74" y="98"/>
                  </a:cxn>
                  <a:cxn ang="0">
                    <a:pos x="78" y="88"/>
                  </a:cxn>
                  <a:cxn ang="0">
                    <a:pos x="78" y="78"/>
                  </a:cxn>
                  <a:cxn ang="0">
                    <a:pos x="74" y="82"/>
                  </a:cxn>
                  <a:cxn ang="0">
                    <a:pos x="74" y="76"/>
                  </a:cxn>
                  <a:cxn ang="0">
                    <a:pos x="72" y="72"/>
                  </a:cxn>
                  <a:cxn ang="0">
                    <a:pos x="68" y="80"/>
                  </a:cxn>
                  <a:cxn ang="0">
                    <a:pos x="68" y="72"/>
                  </a:cxn>
                  <a:cxn ang="0">
                    <a:pos x="74" y="64"/>
                  </a:cxn>
                  <a:cxn ang="0">
                    <a:pos x="74" y="60"/>
                  </a:cxn>
                  <a:cxn ang="0">
                    <a:pos x="64" y="64"/>
                  </a:cxn>
                  <a:cxn ang="0">
                    <a:pos x="64" y="56"/>
                  </a:cxn>
                </a:cxnLst>
                <a:rect l="0" t="0" r="r" b="b"/>
                <a:pathLst>
                  <a:path w="80" h="98">
                    <a:moveTo>
                      <a:pt x="70" y="48"/>
                    </a:moveTo>
                    <a:lnTo>
                      <a:pt x="70" y="46"/>
                    </a:lnTo>
                    <a:lnTo>
                      <a:pt x="70" y="46"/>
                    </a:lnTo>
                    <a:lnTo>
                      <a:pt x="64" y="46"/>
                    </a:lnTo>
                    <a:lnTo>
                      <a:pt x="60" y="46"/>
                    </a:lnTo>
                    <a:lnTo>
                      <a:pt x="58" y="44"/>
                    </a:lnTo>
                    <a:lnTo>
                      <a:pt x="48" y="48"/>
                    </a:lnTo>
                    <a:lnTo>
                      <a:pt x="50" y="42"/>
                    </a:lnTo>
                    <a:lnTo>
                      <a:pt x="48" y="44"/>
                    </a:lnTo>
                    <a:lnTo>
                      <a:pt x="42" y="44"/>
                    </a:lnTo>
                    <a:lnTo>
                      <a:pt x="42" y="40"/>
                    </a:lnTo>
                    <a:lnTo>
                      <a:pt x="40" y="40"/>
                    </a:lnTo>
                    <a:lnTo>
                      <a:pt x="46" y="36"/>
                    </a:lnTo>
                    <a:lnTo>
                      <a:pt x="38" y="34"/>
                    </a:lnTo>
                    <a:lnTo>
                      <a:pt x="40" y="32"/>
                    </a:lnTo>
                    <a:lnTo>
                      <a:pt x="38" y="32"/>
                    </a:lnTo>
                    <a:lnTo>
                      <a:pt x="30" y="40"/>
                    </a:lnTo>
                    <a:lnTo>
                      <a:pt x="30" y="40"/>
                    </a:lnTo>
                    <a:lnTo>
                      <a:pt x="30" y="38"/>
                    </a:lnTo>
                    <a:lnTo>
                      <a:pt x="30" y="36"/>
                    </a:lnTo>
                    <a:lnTo>
                      <a:pt x="34" y="28"/>
                    </a:lnTo>
                    <a:lnTo>
                      <a:pt x="36" y="22"/>
                    </a:lnTo>
                    <a:lnTo>
                      <a:pt x="38" y="18"/>
                    </a:lnTo>
                    <a:lnTo>
                      <a:pt x="38" y="16"/>
                    </a:lnTo>
                    <a:lnTo>
                      <a:pt x="38" y="18"/>
                    </a:lnTo>
                    <a:lnTo>
                      <a:pt x="40" y="16"/>
                    </a:lnTo>
                    <a:lnTo>
                      <a:pt x="42" y="10"/>
                    </a:lnTo>
                    <a:lnTo>
                      <a:pt x="40" y="8"/>
                    </a:lnTo>
                    <a:lnTo>
                      <a:pt x="40" y="6"/>
                    </a:lnTo>
                    <a:lnTo>
                      <a:pt x="44" y="6"/>
                    </a:lnTo>
                    <a:lnTo>
                      <a:pt x="46" y="2"/>
                    </a:lnTo>
                    <a:lnTo>
                      <a:pt x="46" y="0"/>
                    </a:lnTo>
                    <a:lnTo>
                      <a:pt x="46" y="0"/>
                    </a:lnTo>
                    <a:lnTo>
                      <a:pt x="38" y="2"/>
                    </a:lnTo>
                    <a:lnTo>
                      <a:pt x="32" y="6"/>
                    </a:lnTo>
                    <a:lnTo>
                      <a:pt x="30" y="10"/>
                    </a:lnTo>
                    <a:lnTo>
                      <a:pt x="28" y="12"/>
                    </a:lnTo>
                    <a:lnTo>
                      <a:pt x="28" y="16"/>
                    </a:lnTo>
                    <a:lnTo>
                      <a:pt x="24" y="20"/>
                    </a:lnTo>
                    <a:lnTo>
                      <a:pt x="26" y="22"/>
                    </a:lnTo>
                    <a:lnTo>
                      <a:pt x="22" y="28"/>
                    </a:lnTo>
                    <a:lnTo>
                      <a:pt x="24" y="30"/>
                    </a:lnTo>
                    <a:lnTo>
                      <a:pt x="20" y="32"/>
                    </a:lnTo>
                    <a:lnTo>
                      <a:pt x="20" y="32"/>
                    </a:lnTo>
                    <a:lnTo>
                      <a:pt x="18" y="38"/>
                    </a:lnTo>
                    <a:lnTo>
                      <a:pt x="18" y="44"/>
                    </a:lnTo>
                    <a:lnTo>
                      <a:pt x="14" y="46"/>
                    </a:lnTo>
                    <a:lnTo>
                      <a:pt x="14" y="48"/>
                    </a:lnTo>
                    <a:lnTo>
                      <a:pt x="16" y="48"/>
                    </a:lnTo>
                    <a:lnTo>
                      <a:pt x="16" y="52"/>
                    </a:lnTo>
                    <a:lnTo>
                      <a:pt x="12" y="52"/>
                    </a:lnTo>
                    <a:lnTo>
                      <a:pt x="8" y="60"/>
                    </a:lnTo>
                    <a:lnTo>
                      <a:pt x="6" y="62"/>
                    </a:lnTo>
                    <a:lnTo>
                      <a:pt x="6" y="60"/>
                    </a:lnTo>
                    <a:lnTo>
                      <a:pt x="2" y="62"/>
                    </a:lnTo>
                    <a:lnTo>
                      <a:pt x="10" y="62"/>
                    </a:lnTo>
                    <a:lnTo>
                      <a:pt x="10" y="64"/>
                    </a:lnTo>
                    <a:lnTo>
                      <a:pt x="0" y="74"/>
                    </a:lnTo>
                    <a:lnTo>
                      <a:pt x="0" y="78"/>
                    </a:lnTo>
                    <a:lnTo>
                      <a:pt x="0" y="80"/>
                    </a:lnTo>
                    <a:lnTo>
                      <a:pt x="0" y="80"/>
                    </a:lnTo>
                    <a:lnTo>
                      <a:pt x="4" y="80"/>
                    </a:lnTo>
                    <a:lnTo>
                      <a:pt x="8" y="80"/>
                    </a:lnTo>
                    <a:lnTo>
                      <a:pt x="14" y="78"/>
                    </a:lnTo>
                    <a:lnTo>
                      <a:pt x="14" y="78"/>
                    </a:lnTo>
                    <a:lnTo>
                      <a:pt x="30" y="80"/>
                    </a:lnTo>
                    <a:lnTo>
                      <a:pt x="36" y="80"/>
                    </a:lnTo>
                    <a:lnTo>
                      <a:pt x="42" y="76"/>
                    </a:lnTo>
                    <a:lnTo>
                      <a:pt x="42" y="80"/>
                    </a:lnTo>
                    <a:lnTo>
                      <a:pt x="38" y="82"/>
                    </a:lnTo>
                    <a:lnTo>
                      <a:pt x="46" y="82"/>
                    </a:lnTo>
                    <a:lnTo>
                      <a:pt x="48" y="80"/>
                    </a:lnTo>
                    <a:lnTo>
                      <a:pt x="54" y="80"/>
                    </a:lnTo>
                    <a:lnTo>
                      <a:pt x="54" y="80"/>
                    </a:lnTo>
                    <a:lnTo>
                      <a:pt x="50" y="84"/>
                    </a:lnTo>
                    <a:lnTo>
                      <a:pt x="46" y="90"/>
                    </a:lnTo>
                    <a:lnTo>
                      <a:pt x="42" y="90"/>
                    </a:lnTo>
                    <a:lnTo>
                      <a:pt x="42" y="94"/>
                    </a:lnTo>
                    <a:lnTo>
                      <a:pt x="44" y="94"/>
                    </a:lnTo>
                    <a:lnTo>
                      <a:pt x="48" y="92"/>
                    </a:lnTo>
                    <a:lnTo>
                      <a:pt x="54" y="84"/>
                    </a:lnTo>
                    <a:lnTo>
                      <a:pt x="58" y="84"/>
                    </a:lnTo>
                    <a:lnTo>
                      <a:pt x="62" y="74"/>
                    </a:lnTo>
                    <a:lnTo>
                      <a:pt x="64" y="74"/>
                    </a:lnTo>
                    <a:lnTo>
                      <a:pt x="64" y="74"/>
                    </a:lnTo>
                    <a:lnTo>
                      <a:pt x="64" y="84"/>
                    </a:lnTo>
                    <a:lnTo>
                      <a:pt x="62" y="94"/>
                    </a:lnTo>
                    <a:lnTo>
                      <a:pt x="64" y="94"/>
                    </a:lnTo>
                    <a:lnTo>
                      <a:pt x="68" y="88"/>
                    </a:lnTo>
                    <a:lnTo>
                      <a:pt x="70" y="90"/>
                    </a:lnTo>
                    <a:lnTo>
                      <a:pt x="68" y="96"/>
                    </a:lnTo>
                    <a:lnTo>
                      <a:pt x="70" y="98"/>
                    </a:lnTo>
                    <a:lnTo>
                      <a:pt x="72" y="96"/>
                    </a:lnTo>
                    <a:lnTo>
                      <a:pt x="74" y="98"/>
                    </a:lnTo>
                    <a:lnTo>
                      <a:pt x="74" y="98"/>
                    </a:lnTo>
                    <a:lnTo>
                      <a:pt x="78" y="88"/>
                    </a:lnTo>
                    <a:lnTo>
                      <a:pt x="80" y="78"/>
                    </a:lnTo>
                    <a:lnTo>
                      <a:pt x="78" y="78"/>
                    </a:lnTo>
                    <a:lnTo>
                      <a:pt x="74" y="84"/>
                    </a:lnTo>
                    <a:lnTo>
                      <a:pt x="74" y="82"/>
                    </a:lnTo>
                    <a:lnTo>
                      <a:pt x="74" y="82"/>
                    </a:lnTo>
                    <a:lnTo>
                      <a:pt x="74" y="76"/>
                    </a:lnTo>
                    <a:lnTo>
                      <a:pt x="76" y="68"/>
                    </a:lnTo>
                    <a:lnTo>
                      <a:pt x="72" y="72"/>
                    </a:lnTo>
                    <a:lnTo>
                      <a:pt x="70" y="80"/>
                    </a:lnTo>
                    <a:lnTo>
                      <a:pt x="68" y="80"/>
                    </a:lnTo>
                    <a:lnTo>
                      <a:pt x="66" y="76"/>
                    </a:lnTo>
                    <a:lnTo>
                      <a:pt x="68" y="72"/>
                    </a:lnTo>
                    <a:lnTo>
                      <a:pt x="66" y="68"/>
                    </a:lnTo>
                    <a:lnTo>
                      <a:pt x="74" y="64"/>
                    </a:lnTo>
                    <a:lnTo>
                      <a:pt x="74" y="60"/>
                    </a:lnTo>
                    <a:lnTo>
                      <a:pt x="74" y="60"/>
                    </a:lnTo>
                    <a:lnTo>
                      <a:pt x="68" y="62"/>
                    </a:lnTo>
                    <a:lnTo>
                      <a:pt x="64" y="64"/>
                    </a:lnTo>
                    <a:lnTo>
                      <a:pt x="66" y="58"/>
                    </a:lnTo>
                    <a:lnTo>
                      <a:pt x="64" y="56"/>
                    </a:lnTo>
                    <a:lnTo>
                      <a:pt x="70" y="4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3" name="Freeform 1431">
                <a:extLst>
                  <a:ext uri="{FF2B5EF4-FFF2-40B4-BE49-F238E27FC236}">
                    <a16:creationId xmlns:a16="http://schemas.microsoft.com/office/drawing/2014/main" id="{C831E832-9E7A-4F51-A6EA-A6B25A1EFEB7}"/>
                  </a:ext>
                </a:extLst>
              </p:cNvPr>
              <p:cNvSpPr>
                <a:spLocks/>
              </p:cNvSpPr>
              <p:nvPr/>
            </p:nvSpPr>
            <p:spPr bwMode="auto">
              <a:xfrm>
                <a:off x="1436" y="2170"/>
                <a:ext cx="62" cy="50"/>
              </a:xfrm>
              <a:custGeom>
                <a:avLst/>
                <a:gdLst/>
                <a:ahLst/>
                <a:cxnLst>
                  <a:cxn ang="0">
                    <a:pos x="10" y="10"/>
                  </a:cxn>
                  <a:cxn ang="0">
                    <a:pos x="10" y="4"/>
                  </a:cxn>
                  <a:cxn ang="0">
                    <a:pos x="6" y="2"/>
                  </a:cxn>
                  <a:cxn ang="0">
                    <a:pos x="4" y="6"/>
                  </a:cxn>
                  <a:cxn ang="0">
                    <a:pos x="0" y="4"/>
                  </a:cxn>
                  <a:cxn ang="0">
                    <a:pos x="2" y="2"/>
                  </a:cxn>
                  <a:cxn ang="0">
                    <a:pos x="4" y="0"/>
                  </a:cxn>
                  <a:cxn ang="0">
                    <a:pos x="34" y="10"/>
                  </a:cxn>
                  <a:cxn ang="0">
                    <a:pos x="34" y="10"/>
                  </a:cxn>
                  <a:cxn ang="0">
                    <a:pos x="40" y="18"/>
                  </a:cxn>
                  <a:cxn ang="0">
                    <a:pos x="44" y="26"/>
                  </a:cxn>
                  <a:cxn ang="0">
                    <a:pos x="56" y="36"/>
                  </a:cxn>
                  <a:cxn ang="0">
                    <a:pos x="58" y="44"/>
                  </a:cxn>
                  <a:cxn ang="0">
                    <a:pos x="60" y="44"/>
                  </a:cxn>
                  <a:cxn ang="0">
                    <a:pos x="62" y="46"/>
                  </a:cxn>
                  <a:cxn ang="0">
                    <a:pos x="58" y="50"/>
                  </a:cxn>
                  <a:cxn ang="0">
                    <a:pos x="44" y="44"/>
                  </a:cxn>
                  <a:cxn ang="0">
                    <a:pos x="46" y="40"/>
                  </a:cxn>
                  <a:cxn ang="0">
                    <a:pos x="42" y="42"/>
                  </a:cxn>
                  <a:cxn ang="0">
                    <a:pos x="40" y="40"/>
                  </a:cxn>
                  <a:cxn ang="0">
                    <a:pos x="42" y="36"/>
                  </a:cxn>
                  <a:cxn ang="0">
                    <a:pos x="34" y="38"/>
                  </a:cxn>
                  <a:cxn ang="0">
                    <a:pos x="32" y="36"/>
                  </a:cxn>
                  <a:cxn ang="0">
                    <a:pos x="36" y="36"/>
                  </a:cxn>
                  <a:cxn ang="0">
                    <a:pos x="32" y="32"/>
                  </a:cxn>
                  <a:cxn ang="0">
                    <a:pos x="24" y="28"/>
                  </a:cxn>
                  <a:cxn ang="0">
                    <a:pos x="22" y="26"/>
                  </a:cxn>
                  <a:cxn ang="0">
                    <a:pos x="30" y="24"/>
                  </a:cxn>
                  <a:cxn ang="0">
                    <a:pos x="22" y="22"/>
                  </a:cxn>
                  <a:cxn ang="0">
                    <a:pos x="18" y="18"/>
                  </a:cxn>
                  <a:cxn ang="0">
                    <a:pos x="16" y="20"/>
                  </a:cxn>
                  <a:cxn ang="0">
                    <a:pos x="16" y="18"/>
                  </a:cxn>
                  <a:cxn ang="0">
                    <a:pos x="16" y="14"/>
                  </a:cxn>
                  <a:cxn ang="0">
                    <a:pos x="14" y="14"/>
                  </a:cxn>
                  <a:cxn ang="0">
                    <a:pos x="14" y="16"/>
                  </a:cxn>
                  <a:cxn ang="0">
                    <a:pos x="12" y="14"/>
                  </a:cxn>
                  <a:cxn ang="0">
                    <a:pos x="8" y="14"/>
                  </a:cxn>
                  <a:cxn ang="0">
                    <a:pos x="8" y="10"/>
                  </a:cxn>
                  <a:cxn ang="0">
                    <a:pos x="6" y="8"/>
                  </a:cxn>
                  <a:cxn ang="0">
                    <a:pos x="10" y="10"/>
                  </a:cxn>
                </a:cxnLst>
                <a:rect l="0" t="0" r="r" b="b"/>
                <a:pathLst>
                  <a:path w="62" h="50">
                    <a:moveTo>
                      <a:pt x="10" y="10"/>
                    </a:moveTo>
                    <a:lnTo>
                      <a:pt x="10" y="4"/>
                    </a:lnTo>
                    <a:lnTo>
                      <a:pt x="6" y="2"/>
                    </a:lnTo>
                    <a:lnTo>
                      <a:pt x="4" y="6"/>
                    </a:lnTo>
                    <a:lnTo>
                      <a:pt x="0" y="4"/>
                    </a:lnTo>
                    <a:lnTo>
                      <a:pt x="2" y="2"/>
                    </a:lnTo>
                    <a:lnTo>
                      <a:pt x="4" y="0"/>
                    </a:lnTo>
                    <a:lnTo>
                      <a:pt x="34" y="10"/>
                    </a:lnTo>
                    <a:lnTo>
                      <a:pt x="34" y="10"/>
                    </a:lnTo>
                    <a:lnTo>
                      <a:pt x="40" y="18"/>
                    </a:lnTo>
                    <a:lnTo>
                      <a:pt x="44" y="26"/>
                    </a:lnTo>
                    <a:lnTo>
                      <a:pt x="56" y="36"/>
                    </a:lnTo>
                    <a:lnTo>
                      <a:pt x="58" y="44"/>
                    </a:lnTo>
                    <a:lnTo>
                      <a:pt x="60" y="44"/>
                    </a:lnTo>
                    <a:lnTo>
                      <a:pt x="62" y="46"/>
                    </a:lnTo>
                    <a:lnTo>
                      <a:pt x="58" y="50"/>
                    </a:lnTo>
                    <a:lnTo>
                      <a:pt x="44" y="44"/>
                    </a:lnTo>
                    <a:lnTo>
                      <a:pt x="46" y="40"/>
                    </a:lnTo>
                    <a:lnTo>
                      <a:pt x="42" y="42"/>
                    </a:lnTo>
                    <a:lnTo>
                      <a:pt x="40" y="40"/>
                    </a:lnTo>
                    <a:lnTo>
                      <a:pt x="42" y="36"/>
                    </a:lnTo>
                    <a:lnTo>
                      <a:pt x="34" y="38"/>
                    </a:lnTo>
                    <a:lnTo>
                      <a:pt x="32" y="36"/>
                    </a:lnTo>
                    <a:lnTo>
                      <a:pt x="36" y="36"/>
                    </a:lnTo>
                    <a:lnTo>
                      <a:pt x="32" y="32"/>
                    </a:lnTo>
                    <a:lnTo>
                      <a:pt x="24" y="28"/>
                    </a:lnTo>
                    <a:lnTo>
                      <a:pt x="22" y="26"/>
                    </a:lnTo>
                    <a:lnTo>
                      <a:pt x="30" y="24"/>
                    </a:lnTo>
                    <a:lnTo>
                      <a:pt x="22" y="22"/>
                    </a:lnTo>
                    <a:lnTo>
                      <a:pt x="18" y="18"/>
                    </a:lnTo>
                    <a:lnTo>
                      <a:pt x="16" y="20"/>
                    </a:lnTo>
                    <a:lnTo>
                      <a:pt x="16" y="18"/>
                    </a:lnTo>
                    <a:lnTo>
                      <a:pt x="16" y="14"/>
                    </a:lnTo>
                    <a:lnTo>
                      <a:pt x="14" y="14"/>
                    </a:lnTo>
                    <a:lnTo>
                      <a:pt x="14" y="16"/>
                    </a:lnTo>
                    <a:lnTo>
                      <a:pt x="12" y="14"/>
                    </a:lnTo>
                    <a:lnTo>
                      <a:pt x="8" y="14"/>
                    </a:lnTo>
                    <a:lnTo>
                      <a:pt x="8" y="10"/>
                    </a:lnTo>
                    <a:lnTo>
                      <a:pt x="6" y="8"/>
                    </a:lnTo>
                    <a:lnTo>
                      <a:pt x="10"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4" name="Freeform 1432">
                <a:extLst>
                  <a:ext uri="{FF2B5EF4-FFF2-40B4-BE49-F238E27FC236}">
                    <a16:creationId xmlns:a16="http://schemas.microsoft.com/office/drawing/2014/main" id="{55AFD5BC-6887-4E1F-9228-22D936D93D04}"/>
                  </a:ext>
                </a:extLst>
              </p:cNvPr>
              <p:cNvSpPr>
                <a:spLocks/>
              </p:cNvSpPr>
              <p:nvPr/>
            </p:nvSpPr>
            <p:spPr bwMode="auto">
              <a:xfrm>
                <a:off x="1384" y="2100"/>
                <a:ext cx="18" cy="22"/>
              </a:xfrm>
              <a:custGeom>
                <a:avLst/>
                <a:gdLst/>
                <a:ahLst/>
                <a:cxnLst>
                  <a:cxn ang="0">
                    <a:pos x="16" y="4"/>
                  </a:cxn>
                  <a:cxn ang="0">
                    <a:pos x="18" y="8"/>
                  </a:cxn>
                  <a:cxn ang="0">
                    <a:pos x="18" y="8"/>
                  </a:cxn>
                  <a:cxn ang="0">
                    <a:pos x="12" y="20"/>
                  </a:cxn>
                  <a:cxn ang="0">
                    <a:pos x="10" y="20"/>
                  </a:cxn>
                  <a:cxn ang="0">
                    <a:pos x="8" y="22"/>
                  </a:cxn>
                  <a:cxn ang="0">
                    <a:pos x="6" y="18"/>
                  </a:cxn>
                  <a:cxn ang="0">
                    <a:pos x="8" y="18"/>
                  </a:cxn>
                  <a:cxn ang="0">
                    <a:pos x="8" y="16"/>
                  </a:cxn>
                  <a:cxn ang="0">
                    <a:pos x="2" y="12"/>
                  </a:cxn>
                  <a:cxn ang="0">
                    <a:pos x="2" y="12"/>
                  </a:cxn>
                  <a:cxn ang="0">
                    <a:pos x="0" y="6"/>
                  </a:cxn>
                  <a:cxn ang="0">
                    <a:pos x="0" y="0"/>
                  </a:cxn>
                  <a:cxn ang="0">
                    <a:pos x="6" y="2"/>
                  </a:cxn>
                  <a:cxn ang="0">
                    <a:pos x="4" y="4"/>
                  </a:cxn>
                  <a:cxn ang="0">
                    <a:pos x="8" y="2"/>
                  </a:cxn>
                  <a:cxn ang="0">
                    <a:pos x="10" y="8"/>
                  </a:cxn>
                  <a:cxn ang="0">
                    <a:pos x="6" y="12"/>
                  </a:cxn>
                  <a:cxn ang="0">
                    <a:pos x="8" y="12"/>
                  </a:cxn>
                  <a:cxn ang="0">
                    <a:pos x="8" y="12"/>
                  </a:cxn>
                  <a:cxn ang="0">
                    <a:pos x="12" y="8"/>
                  </a:cxn>
                  <a:cxn ang="0">
                    <a:pos x="16" y="4"/>
                  </a:cxn>
                  <a:cxn ang="0">
                    <a:pos x="16" y="4"/>
                  </a:cxn>
                </a:cxnLst>
                <a:rect l="0" t="0" r="r" b="b"/>
                <a:pathLst>
                  <a:path w="18" h="22">
                    <a:moveTo>
                      <a:pt x="16" y="4"/>
                    </a:moveTo>
                    <a:lnTo>
                      <a:pt x="18" y="8"/>
                    </a:lnTo>
                    <a:lnTo>
                      <a:pt x="18" y="8"/>
                    </a:lnTo>
                    <a:lnTo>
                      <a:pt x="12" y="20"/>
                    </a:lnTo>
                    <a:lnTo>
                      <a:pt x="10" y="20"/>
                    </a:lnTo>
                    <a:lnTo>
                      <a:pt x="8" y="22"/>
                    </a:lnTo>
                    <a:lnTo>
                      <a:pt x="6" y="18"/>
                    </a:lnTo>
                    <a:lnTo>
                      <a:pt x="8" y="18"/>
                    </a:lnTo>
                    <a:lnTo>
                      <a:pt x="8" y="16"/>
                    </a:lnTo>
                    <a:lnTo>
                      <a:pt x="2" y="12"/>
                    </a:lnTo>
                    <a:lnTo>
                      <a:pt x="2" y="12"/>
                    </a:lnTo>
                    <a:lnTo>
                      <a:pt x="0" y="6"/>
                    </a:lnTo>
                    <a:lnTo>
                      <a:pt x="0" y="0"/>
                    </a:lnTo>
                    <a:lnTo>
                      <a:pt x="6" y="2"/>
                    </a:lnTo>
                    <a:lnTo>
                      <a:pt x="4" y="4"/>
                    </a:lnTo>
                    <a:lnTo>
                      <a:pt x="8" y="2"/>
                    </a:lnTo>
                    <a:lnTo>
                      <a:pt x="10" y="8"/>
                    </a:lnTo>
                    <a:lnTo>
                      <a:pt x="6" y="12"/>
                    </a:lnTo>
                    <a:lnTo>
                      <a:pt x="8" y="12"/>
                    </a:lnTo>
                    <a:lnTo>
                      <a:pt x="8" y="12"/>
                    </a:lnTo>
                    <a:lnTo>
                      <a:pt x="12" y="8"/>
                    </a:lnTo>
                    <a:lnTo>
                      <a:pt x="16" y="4"/>
                    </a:lnTo>
                    <a:lnTo>
                      <a:pt x="16"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5" name="Freeform 1433">
                <a:extLst>
                  <a:ext uri="{FF2B5EF4-FFF2-40B4-BE49-F238E27FC236}">
                    <a16:creationId xmlns:a16="http://schemas.microsoft.com/office/drawing/2014/main" id="{87D9F726-937F-46E1-99EB-4DBF5B492B05}"/>
                  </a:ext>
                </a:extLst>
              </p:cNvPr>
              <p:cNvSpPr>
                <a:spLocks/>
              </p:cNvSpPr>
              <p:nvPr/>
            </p:nvSpPr>
            <p:spPr bwMode="auto">
              <a:xfrm>
                <a:off x="1394" y="2122"/>
                <a:ext cx="14" cy="22"/>
              </a:xfrm>
              <a:custGeom>
                <a:avLst/>
                <a:gdLst/>
                <a:ahLst/>
                <a:cxnLst>
                  <a:cxn ang="0">
                    <a:pos x="0" y="4"/>
                  </a:cxn>
                  <a:cxn ang="0">
                    <a:pos x="6" y="0"/>
                  </a:cxn>
                  <a:cxn ang="0">
                    <a:pos x="8" y="2"/>
                  </a:cxn>
                  <a:cxn ang="0">
                    <a:pos x="4" y="4"/>
                  </a:cxn>
                  <a:cxn ang="0">
                    <a:pos x="4" y="4"/>
                  </a:cxn>
                  <a:cxn ang="0">
                    <a:pos x="6" y="8"/>
                  </a:cxn>
                  <a:cxn ang="0">
                    <a:pos x="8" y="12"/>
                  </a:cxn>
                  <a:cxn ang="0">
                    <a:pos x="14" y="22"/>
                  </a:cxn>
                  <a:cxn ang="0">
                    <a:pos x="14" y="22"/>
                  </a:cxn>
                  <a:cxn ang="0">
                    <a:pos x="6" y="14"/>
                  </a:cxn>
                  <a:cxn ang="0">
                    <a:pos x="2" y="8"/>
                  </a:cxn>
                  <a:cxn ang="0">
                    <a:pos x="0" y="4"/>
                  </a:cxn>
                  <a:cxn ang="0">
                    <a:pos x="0" y="4"/>
                  </a:cxn>
                </a:cxnLst>
                <a:rect l="0" t="0" r="r" b="b"/>
                <a:pathLst>
                  <a:path w="14" h="22">
                    <a:moveTo>
                      <a:pt x="0" y="4"/>
                    </a:moveTo>
                    <a:lnTo>
                      <a:pt x="6" y="0"/>
                    </a:lnTo>
                    <a:lnTo>
                      <a:pt x="8" y="2"/>
                    </a:lnTo>
                    <a:lnTo>
                      <a:pt x="4" y="4"/>
                    </a:lnTo>
                    <a:lnTo>
                      <a:pt x="4" y="4"/>
                    </a:lnTo>
                    <a:lnTo>
                      <a:pt x="6" y="8"/>
                    </a:lnTo>
                    <a:lnTo>
                      <a:pt x="8" y="12"/>
                    </a:lnTo>
                    <a:lnTo>
                      <a:pt x="14" y="22"/>
                    </a:lnTo>
                    <a:lnTo>
                      <a:pt x="14" y="22"/>
                    </a:lnTo>
                    <a:lnTo>
                      <a:pt x="6" y="14"/>
                    </a:lnTo>
                    <a:lnTo>
                      <a:pt x="2" y="8"/>
                    </a:lnTo>
                    <a:lnTo>
                      <a:pt x="0" y="4"/>
                    </a:lnTo>
                    <a:lnTo>
                      <a:pt x="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6" name="Freeform 1434">
                <a:extLst>
                  <a:ext uri="{FF2B5EF4-FFF2-40B4-BE49-F238E27FC236}">
                    <a16:creationId xmlns:a16="http://schemas.microsoft.com/office/drawing/2014/main" id="{25D1D284-DF78-45B1-B2F5-C952C6D5FBE1}"/>
                  </a:ext>
                </a:extLst>
              </p:cNvPr>
              <p:cNvSpPr>
                <a:spLocks/>
              </p:cNvSpPr>
              <p:nvPr/>
            </p:nvSpPr>
            <p:spPr bwMode="auto">
              <a:xfrm>
                <a:off x="1982" y="2266"/>
                <a:ext cx="16" cy="6"/>
              </a:xfrm>
              <a:custGeom>
                <a:avLst/>
                <a:gdLst/>
                <a:ahLst/>
                <a:cxnLst>
                  <a:cxn ang="0">
                    <a:pos x="0" y="0"/>
                  </a:cxn>
                  <a:cxn ang="0">
                    <a:pos x="14" y="6"/>
                  </a:cxn>
                  <a:cxn ang="0">
                    <a:pos x="16" y="6"/>
                  </a:cxn>
                  <a:cxn ang="0">
                    <a:pos x="16" y="0"/>
                  </a:cxn>
                  <a:cxn ang="0">
                    <a:pos x="0" y="0"/>
                  </a:cxn>
                </a:cxnLst>
                <a:rect l="0" t="0" r="r" b="b"/>
                <a:pathLst>
                  <a:path w="16" h="6">
                    <a:moveTo>
                      <a:pt x="0" y="0"/>
                    </a:moveTo>
                    <a:lnTo>
                      <a:pt x="14" y="6"/>
                    </a:lnTo>
                    <a:lnTo>
                      <a:pt x="16" y="6"/>
                    </a:lnTo>
                    <a:lnTo>
                      <a:pt x="16"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7" name="Freeform 1435">
                <a:extLst>
                  <a:ext uri="{FF2B5EF4-FFF2-40B4-BE49-F238E27FC236}">
                    <a16:creationId xmlns:a16="http://schemas.microsoft.com/office/drawing/2014/main" id="{78B3F22F-DA49-4EA2-AD5D-F21A0D8902DC}"/>
                  </a:ext>
                </a:extLst>
              </p:cNvPr>
              <p:cNvSpPr>
                <a:spLocks/>
              </p:cNvSpPr>
              <p:nvPr/>
            </p:nvSpPr>
            <p:spPr bwMode="auto">
              <a:xfrm>
                <a:off x="1356" y="1666"/>
                <a:ext cx="18" cy="24"/>
              </a:xfrm>
              <a:custGeom>
                <a:avLst/>
                <a:gdLst/>
                <a:ahLst/>
                <a:cxnLst>
                  <a:cxn ang="0">
                    <a:pos x="4" y="12"/>
                  </a:cxn>
                  <a:cxn ang="0">
                    <a:pos x="6" y="12"/>
                  </a:cxn>
                  <a:cxn ang="0">
                    <a:pos x="4" y="10"/>
                  </a:cxn>
                  <a:cxn ang="0">
                    <a:pos x="10" y="10"/>
                  </a:cxn>
                  <a:cxn ang="0">
                    <a:pos x="10" y="8"/>
                  </a:cxn>
                  <a:cxn ang="0">
                    <a:pos x="12" y="4"/>
                  </a:cxn>
                  <a:cxn ang="0">
                    <a:pos x="10" y="0"/>
                  </a:cxn>
                  <a:cxn ang="0">
                    <a:pos x="10" y="0"/>
                  </a:cxn>
                  <a:cxn ang="0">
                    <a:pos x="14" y="6"/>
                  </a:cxn>
                  <a:cxn ang="0">
                    <a:pos x="18" y="6"/>
                  </a:cxn>
                  <a:cxn ang="0">
                    <a:pos x="18" y="6"/>
                  </a:cxn>
                  <a:cxn ang="0">
                    <a:pos x="18" y="10"/>
                  </a:cxn>
                  <a:cxn ang="0">
                    <a:pos x="14" y="16"/>
                  </a:cxn>
                  <a:cxn ang="0">
                    <a:pos x="8" y="24"/>
                  </a:cxn>
                  <a:cxn ang="0">
                    <a:pos x="4" y="24"/>
                  </a:cxn>
                  <a:cxn ang="0">
                    <a:pos x="6" y="22"/>
                  </a:cxn>
                  <a:cxn ang="0">
                    <a:pos x="4" y="20"/>
                  </a:cxn>
                  <a:cxn ang="0">
                    <a:pos x="0" y="12"/>
                  </a:cxn>
                  <a:cxn ang="0">
                    <a:pos x="4" y="12"/>
                  </a:cxn>
                </a:cxnLst>
                <a:rect l="0" t="0" r="r" b="b"/>
                <a:pathLst>
                  <a:path w="18" h="24">
                    <a:moveTo>
                      <a:pt x="4" y="12"/>
                    </a:moveTo>
                    <a:lnTo>
                      <a:pt x="6" y="12"/>
                    </a:lnTo>
                    <a:lnTo>
                      <a:pt x="4" y="10"/>
                    </a:lnTo>
                    <a:lnTo>
                      <a:pt x="10" y="10"/>
                    </a:lnTo>
                    <a:lnTo>
                      <a:pt x="10" y="8"/>
                    </a:lnTo>
                    <a:lnTo>
                      <a:pt x="12" y="4"/>
                    </a:lnTo>
                    <a:lnTo>
                      <a:pt x="10" y="0"/>
                    </a:lnTo>
                    <a:lnTo>
                      <a:pt x="10" y="0"/>
                    </a:lnTo>
                    <a:lnTo>
                      <a:pt x="14" y="6"/>
                    </a:lnTo>
                    <a:lnTo>
                      <a:pt x="18" y="6"/>
                    </a:lnTo>
                    <a:lnTo>
                      <a:pt x="18" y="6"/>
                    </a:lnTo>
                    <a:lnTo>
                      <a:pt x="18" y="10"/>
                    </a:lnTo>
                    <a:lnTo>
                      <a:pt x="14" y="16"/>
                    </a:lnTo>
                    <a:lnTo>
                      <a:pt x="8" y="24"/>
                    </a:lnTo>
                    <a:lnTo>
                      <a:pt x="4" y="24"/>
                    </a:lnTo>
                    <a:lnTo>
                      <a:pt x="6" y="22"/>
                    </a:lnTo>
                    <a:lnTo>
                      <a:pt x="4" y="20"/>
                    </a:lnTo>
                    <a:lnTo>
                      <a:pt x="0" y="12"/>
                    </a:lnTo>
                    <a:lnTo>
                      <a:pt x="4"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8" name="Freeform 1436">
                <a:extLst>
                  <a:ext uri="{FF2B5EF4-FFF2-40B4-BE49-F238E27FC236}">
                    <a16:creationId xmlns:a16="http://schemas.microsoft.com/office/drawing/2014/main" id="{F3155E4F-D595-42B2-B21F-F487576B2BC8}"/>
                  </a:ext>
                </a:extLst>
              </p:cNvPr>
              <p:cNvSpPr>
                <a:spLocks/>
              </p:cNvSpPr>
              <p:nvPr/>
            </p:nvSpPr>
            <p:spPr bwMode="auto">
              <a:xfrm>
                <a:off x="1350" y="1682"/>
                <a:ext cx="10" cy="12"/>
              </a:xfrm>
              <a:custGeom>
                <a:avLst/>
                <a:gdLst/>
                <a:ahLst/>
                <a:cxnLst>
                  <a:cxn ang="0">
                    <a:pos x="0" y="0"/>
                  </a:cxn>
                  <a:cxn ang="0">
                    <a:pos x="0" y="6"/>
                  </a:cxn>
                  <a:cxn ang="0">
                    <a:pos x="2" y="8"/>
                  </a:cxn>
                  <a:cxn ang="0">
                    <a:pos x="10" y="12"/>
                  </a:cxn>
                  <a:cxn ang="0">
                    <a:pos x="2" y="0"/>
                  </a:cxn>
                  <a:cxn ang="0">
                    <a:pos x="0" y="0"/>
                  </a:cxn>
                </a:cxnLst>
                <a:rect l="0" t="0" r="r" b="b"/>
                <a:pathLst>
                  <a:path w="10" h="12">
                    <a:moveTo>
                      <a:pt x="0" y="0"/>
                    </a:moveTo>
                    <a:lnTo>
                      <a:pt x="0" y="6"/>
                    </a:lnTo>
                    <a:lnTo>
                      <a:pt x="2" y="8"/>
                    </a:lnTo>
                    <a:lnTo>
                      <a:pt x="10" y="12"/>
                    </a:lnTo>
                    <a:lnTo>
                      <a:pt x="2"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29" name="Freeform 1437">
                <a:extLst>
                  <a:ext uri="{FF2B5EF4-FFF2-40B4-BE49-F238E27FC236}">
                    <a16:creationId xmlns:a16="http://schemas.microsoft.com/office/drawing/2014/main" id="{950C72E8-594A-4A00-AD80-069299728FCF}"/>
                  </a:ext>
                </a:extLst>
              </p:cNvPr>
              <p:cNvSpPr>
                <a:spLocks/>
              </p:cNvSpPr>
              <p:nvPr/>
            </p:nvSpPr>
            <p:spPr bwMode="auto">
              <a:xfrm>
                <a:off x="1696" y="1502"/>
                <a:ext cx="30" cy="38"/>
              </a:xfrm>
              <a:custGeom>
                <a:avLst/>
                <a:gdLst/>
                <a:ahLst/>
                <a:cxnLst>
                  <a:cxn ang="0">
                    <a:pos x="30" y="8"/>
                  </a:cxn>
                  <a:cxn ang="0">
                    <a:pos x="26" y="2"/>
                  </a:cxn>
                  <a:cxn ang="0">
                    <a:pos x="8" y="0"/>
                  </a:cxn>
                  <a:cxn ang="0">
                    <a:pos x="0" y="12"/>
                  </a:cxn>
                  <a:cxn ang="0">
                    <a:pos x="0" y="12"/>
                  </a:cxn>
                  <a:cxn ang="0">
                    <a:pos x="6" y="16"/>
                  </a:cxn>
                  <a:cxn ang="0">
                    <a:pos x="12" y="24"/>
                  </a:cxn>
                  <a:cxn ang="0">
                    <a:pos x="20" y="38"/>
                  </a:cxn>
                  <a:cxn ang="0">
                    <a:pos x="20" y="38"/>
                  </a:cxn>
                  <a:cxn ang="0">
                    <a:pos x="24" y="32"/>
                  </a:cxn>
                  <a:cxn ang="0">
                    <a:pos x="26" y="24"/>
                  </a:cxn>
                  <a:cxn ang="0">
                    <a:pos x="30" y="8"/>
                  </a:cxn>
                  <a:cxn ang="0">
                    <a:pos x="30" y="8"/>
                  </a:cxn>
                </a:cxnLst>
                <a:rect l="0" t="0" r="r" b="b"/>
                <a:pathLst>
                  <a:path w="30" h="38">
                    <a:moveTo>
                      <a:pt x="30" y="8"/>
                    </a:moveTo>
                    <a:lnTo>
                      <a:pt x="26" y="2"/>
                    </a:lnTo>
                    <a:lnTo>
                      <a:pt x="8" y="0"/>
                    </a:lnTo>
                    <a:lnTo>
                      <a:pt x="0" y="12"/>
                    </a:lnTo>
                    <a:lnTo>
                      <a:pt x="0" y="12"/>
                    </a:lnTo>
                    <a:lnTo>
                      <a:pt x="6" y="16"/>
                    </a:lnTo>
                    <a:lnTo>
                      <a:pt x="12" y="24"/>
                    </a:lnTo>
                    <a:lnTo>
                      <a:pt x="20" y="38"/>
                    </a:lnTo>
                    <a:lnTo>
                      <a:pt x="20" y="38"/>
                    </a:lnTo>
                    <a:lnTo>
                      <a:pt x="24" y="32"/>
                    </a:lnTo>
                    <a:lnTo>
                      <a:pt x="26" y="24"/>
                    </a:lnTo>
                    <a:lnTo>
                      <a:pt x="30" y="8"/>
                    </a:lnTo>
                    <a:lnTo>
                      <a:pt x="30"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0" name="Freeform 1438">
                <a:extLst>
                  <a:ext uri="{FF2B5EF4-FFF2-40B4-BE49-F238E27FC236}">
                    <a16:creationId xmlns:a16="http://schemas.microsoft.com/office/drawing/2014/main" id="{787ECAF3-E9EB-48AE-B130-36D9D1D8E376}"/>
                  </a:ext>
                </a:extLst>
              </p:cNvPr>
              <p:cNvSpPr>
                <a:spLocks/>
              </p:cNvSpPr>
              <p:nvPr/>
            </p:nvSpPr>
            <p:spPr bwMode="auto">
              <a:xfrm>
                <a:off x="1788" y="1486"/>
                <a:ext cx="18" cy="12"/>
              </a:xfrm>
              <a:custGeom>
                <a:avLst/>
                <a:gdLst/>
                <a:ahLst/>
                <a:cxnLst>
                  <a:cxn ang="0">
                    <a:pos x="8" y="12"/>
                  </a:cxn>
                  <a:cxn ang="0">
                    <a:pos x="16" y="8"/>
                  </a:cxn>
                  <a:cxn ang="0">
                    <a:pos x="18" y="0"/>
                  </a:cxn>
                  <a:cxn ang="0">
                    <a:pos x="0" y="10"/>
                  </a:cxn>
                  <a:cxn ang="0">
                    <a:pos x="8" y="12"/>
                  </a:cxn>
                </a:cxnLst>
                <a:rect l="0" t="0" r="r" b="b"/>
                <a:pathLst>
                  <a:path w="18" h="12">
                    <a:moveTo>
                      <a:pt x="8" y="12"/>
                    </a:moveTo>
                    <a:lnTo>
                      <a:pt x="16" y="8"/>
                    </a:lnTo>
                    <a:lnTo>
                      <a:pt x="18" y="0"/>
                    </a:lnTo>
                    <a:lnTo>
                      <a:pt x="0" y="10"/>
                    </a:lnTo>
                    <a:lnTo>
                      <a:pt x="8"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1" name="Freeform 1439">
                <a:extLst>
                  <a:ext uri="{FF2B5EF4-FFF2-40B4-BE49-F238E27FC236}">
                    <a16:creationId xmlns:a16="http://schemas.microsoft.com/office/drawing/2014/main" id="{37AF7CED-D037-4BB5-8C71-DBE9A9CD6D91}"/>
                  </a:ext>
                </a:extLst>
              </p:cNvPr>
              <p:cNvSpPr>
                <a:spLocks/>
              </p:cNvSpPr>
              <p:nvPr/>
            </p:nvSpPr>
            <p:spPr bwMode="auto">
              <a:xfrm>
                <a:off x="1786" y="1660"/>
                <a:ext cx="52" cy="50"/>
              </a:xfrm>
              <a:custGeom>
                <a:avLst/>
                <a:gdLst/>
                <a:ahLst/>
                <a:cxnLst>
                  <a:cxn ang="0">
                    <a:pos x="26" y="8"/>
                  </a:cxn>
                  <a:cxn ang="0">
                    <a:pos x="26" y="4"/>
                  </a:cxn>
                  <a:cxn ang="0">
                    <a:pos x="20" y="0"/>
                  </a:cxn>
                  <a:cxn ang="0">
                    <a:pos x="14" y="10"/>
                  </a:cxn>
                  <a:cxn ang="0">
                    <a:pos x="16" y="14"/>
                  </a:cxn>
                  <a:cxn ang="0">
                    <a:pos x="12" y="14"/>
                  </a:cxn>
                  <a:cxn ang="0">
                    <a:pos x="12" y="22"/>
                  </a:cxn>
                  <a:cxn ang="0">
                    <a:pos x="10" y="26"/>
                  </a:cxn>
                  <a:cxn ang="0">
                    <a:pos x="0" y="30"/>
                  </a:cxn>
                  <a:cxn ang="0">
                    <a:pos x="0" y="36"/>
                  </a:cxn>
                  <a:cxn ang="0">
                    <a:pos x="4" y="40"/>
                  </a:cxn>
                  <a:cxn ang="0">
                    <a:pos x="8" y="36"/>
                  </a:cxn>
                  <a:cxn ang="0">
                    <a:pos x="8" y="36"/>
                  </a:cxn>
                  <a:cxn ang="0">
                    <a:pos x="14" y="40"/>
                  </a:cxn>
                  <a:cxn ang="0">
                    <a:pos x="22" y="46"/>
                  </a:cxn>
                  <a:cxn ang="0">
                    <a:pos x="30" y="50"/>
                  </a:cxn>
                  <a:cxn ang="0">
                    <a:pos x="38" y="50"/>
                  </a:cxn>
                  <a:cxn ang="0">
                    <a:pos x="42" y="46"/>
                  </a:cxn>
                  <a:cxn ang="0">
                    <a:pos x="50" y="44"/>
                  </a:cxn>
                  <a:cxn ang="0">
                    <a:pos x="52" y="38"/>
                  </a:cxn>
                  <a:cxn ang="0">
                    <a:pos x="48" y="40"/>
                  </a:cxn>
                  <a:cxn ang="0">
                    <a:pos x="48" y="40"/>
                  </a:cxn>
                  <a:cxn ang="0">
                    <a:pos x="44" y="32"/>
                  </a:cxn>
                  <a:cxn ang="0">
                    <a:pos x="40" y="22"/>
                  </a:cxn>
                  <a:cxn ang="0">
                    <a:pos x="26" y="8"/>
                  </a:cxn>
                  <a:cxn ang="0">
                    <a:pos x="26" y="8"/>
                  </a:cxn>
                </a:cxnLst>
                <a:rect l="0" t="0" r="r" b="b"/>
                <a:pathLst>
                  <a:path w="52" h="50">
                    <a:moveTo>
                      <a:pt x="26" y="8"/>
                    </a:moveTo>
                    <a:lnTo>
                      <a:pt x="26" y="4"/>
                    </a:lnTo>
                    <a:lnTo>
                      <a:pt x="20" y="0"/>
                    </a:lnTo>
                    <a:lnTo>
                      <a:pt x="14" y="10"/>
                    </a:lnTo>
                    <a:lnTo>
                      <a:pt x="16" y="14"/>
                    </a:lnTo>
                    <a:lnTo>
                      <a:pt x="12" y="14"/>
                    </a:lnTo>
                    <a:lnTo>
                      <a:pt x="12" y="22"/>
                    </a:lnTo>
                    <a:lnTo>
                      <a:pt x="10" y="26"/>
                    </a:lnTo>
                    <a:lnTo>
                      <a:pt x="0" y="30"/>
                    </a:lnTo>
                    <a:lnTo>
                      <a:pt x="0" y="36"/>
                    </a:lnTo>
                    <a:lnTo>
                      <a:pt x="4" y="40"/>
                    </a:lnTo>
                    <a:lnTo>
                      <a:pt x="8" y="36"/>
                    </a:lnTo>
                    <a:lnTo>
                      <a:pt x="8" y="36"/>
                    </a:lnTo>
                    <a:lnTo>
                      <a:pt x="14" y="40"/>
                    </a:lnTo>
                    <a:lnTo>
                      <a:pt x="22" y="46"/>
                    </a:lnTo>
                    <a:lnTo>
                      <a:pt x="30" y="50"/>
                    </a:lnTo>
                    <a:lnTo>
                      <a:pt x="38" y="50"/>
                    </a:lnTo>
                    <a:lnTo>
                      <a:pt x="42" y="46"/>
                    </a:lnTo>
                    <a:lnTo>
                      <a:pt x="50" y="44"/>
                    </a:lnTo>
                    <a:lnTo>
                      <a:pt x="52" y="38"/>
                    </a:lnTo>
                    <a:lnTo>
                      <a:pt x="48" y="40"/>
                    </a:lnTo>
                    <a:lnTo>
                      <a:pt x="48" y="40"/>
                    </a:lnTo>
                    <a:lnTo>
                      <a:pt x="44" y="32"/>
                    </a:lnTo>
                    <a:lnTo>
                      <a:pt x="40" y="22"/>
                    </a:lnTo>
                    <a:lnTo>
                      <a:pt x="26" y="8"/>
                    </a:lnTo>
                    <a:lnTo>
                      <a:pt x="26"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2" name="Freeform 1440">
                <a:extLst>
                  <a:ext uri="{FF2B5EF4-FFF2-40B4-BE49-F238E27FC236}">
                    <a16:creationId xmlns:a16="http://schemas.microsoft.com/office/drawing/2014/main" id="{42E6AF31-2AFE-4278-AFF5-E60D56DADB3A}"/>
                  </a:ext>
                </a:extLst>
              </p:cNvPr>
              <p:cNvSpPr>
                <a:spLocks/>
              </p:cNvSpPr>
              <p:nvPr/>
            </p:nvSpPr>
            <p:spPr bwMode="auto">
              <a:xfrm>
                <a:off x="1356" y="1666"/>
                <a:ext cx="18" cy="24"/>
              </a:xfrm>
              <a:custGeom>
                <a:avLst/>
                <a:gdLst/>
                <a:ahLst/>
                <a:cxnLst>
                  <a:cxn ang="0">
                    <a:pos x="4" y="12"/>
                  </a:cxn>
                  <a:cxn ang="0">
                    <a:pos x="6" y="12"/>
                  </a:cxn>
                  <a:cxn ang="0">
                    <a:pos x="4" y="10"/>
                  </a:cxn>
                  <a:cxn ang="0">
                    <a:pos x="10" y="10"/>
                  </a:cxn>
                  <a:cxn ang="0">
                    <a:pos x="10" y="8"/>
                  </a:cxn>
                  <a:cxn ang="0">
                    <a:pos x="12" y="4"/>
                  </a:cxn>
                  <a:cxn ang="0">
                    <a:pos x="10" y="0"/>
                  </a:cxn>
                  <a:cxn ang="0">
                    <a:pos x="10" y="0"/>
                  </a:cxn>
                  <a:cxn ang="0">
                    <a:pos x="14" y="6"/>
                  </a:cxn>
                  <a:cxn ang="0">
                    <a:pos x="18" y="6"/>
                  </a:cxn>
                  <a:cxn ang="0">
                    <a:pos x="18" y="6"/>
                  </a:cxn>
                  <a:cxn ang="0">
                    <a:pos x="18" y="10"/>
                  </a:cxn>
                  <a:cxn ang="0">
                    <a:pos x="14" y="16"/>
                  </a:cxn>
                  <a:cxn ang="0">
                    <a:pos x="8" y="24"/>
                  </a:cxn>
                  <a:cxn ang="0">
                    <a:pos x="4" y="24"/>
                  </a:cxn>
                  <a:cxn ang="0">
                    <a:pos x="6" y="22"/>
                  </a:cxn>
                  <a:cxn ang="0">
                    <a:pos x="4" y="20"/>
                  </a:cxn>
                  <a:cxn ang="0">
                    <a:pos x="0" y="12"/>
                  </a:cxn>
                  <a:cxn ang="0">
                    <a:pos x="4" y="12"/>
                  </a:cxn>
                </a:cxnLst>
                <a:rect l="0" t="0" r="r" b="b"/>
                <a:pathLst>
                  <a:path w="18" h="24">
                    <a:moveTo>
                      <a:pt x="4" y="12"/>
                    </a:moveTo>
                    <a:lnTo>
                      <a:pt x="6" y="12"/>
                    </a:lnTo>
                    <a:lnTo>
                      <a:pt x="4" y="10"/>
                    </a:lnTo>
                    <a:lnTo>
                      <a:pt x="10" y="10"/>
                    </a:lnTo>
                    <a:lnTo>
                      <a:pt x="10" y="8"/>
                    </a:lnTo>
                    <a:lnTo>
                      <a:pt x="12" y="4"/>
                    </a:lnTo>
                    <a:lnTo>
                      <a:pt x="10" y="0"/>
                    </a:lnTo>
                    <a:lnTo>
                      <a:pt x="10" y="0"/>
                    </a:lnTo>
                    <a:lnTo>
                      <a:pt x="14" y="6"/>
                    </a:lnTo>
                    <a:lnTo>
                      <a:pt x="18" y="6"/>
                    </a:lnTo>
                    <a:lnTo>
                      <a:pt x="18" y="6"/>
                    </a:lnTo>
                    <a:lnTo>
                      <a:pt x="18" y="10"/>
                    </a:lnTo>
                    <a:lnTo>
                      <a:pt x="14" y="16"/>
                    </a:lnTo>
                    <a:lnTo>
                      <a:pt x="8" y="24"/>
                    </a:lnTo>
                    <a:lnTo>
                      <a:pt x="4" y="24"/>
                    </a:lnTo>
                    <a:lnTo>
                      <a:pt x="6" y="22"/>
                    </a:lnTo>
                    <a:lnTo>
                      <a:pt x="4" y="20"/>
                    </a:lnTo>
                    <a:lnTo>
                      <a:pt x="0" y="12"/>
                    </a:lnTo>
                    <a:lnTo>
                      <a:pt x="4"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3" name="Freeform 1441">
                <a:extLst>
                  <a:ext uri="{FF2B5EF4-FFF2-40B4-BE49-F238E27FC236}">
                    <a16:creationId xmlns:a16="http://schemas.microsoft.com/office/drawing/2014/main" id="{11D76B63-5474-4C7F-9AB2-D7E5A4E03C13}"/>
                  </a:ext>
                </a:extLst>
              </p:cNvPr>
              <p:cNvSpPr>
                <a:spLocks/>
              </p:cNvSpPr>
              <p:nvPr/>
            </p:nvSpPr>
            <p:spPr bwMode="auto">
              <a:xfrm>
                <a:off x="1350" y="1682"/>
                <a:ext cx="10" cy="12"/>
              </a:xfrm>
              <a:custGeom>
                <a:avLst/>
                <a:gdLst/>
                <a:ahLst/>
                <a:cxnLst>
                  <a:cxn ang="0">
                    <a:pos x="0" y="0"/>
                  </a:cxn>
                  <a:cxn ang="0">
                    <a:pos x="0" y="6"/>
                  </a:cxn>
                  <a:cxn ang="0">
                    <a:pos x="2" y="8"/>
                  </a:cxn>
                  <a:cxn ang="0">
                    <a:pos x="10" y="12"/>
                  </a:cxn>
                  <a:cxn ang="0">
                    <a:pos x="2" y="0"/>
                  </a:cxn>
                  <a:cxn ang="0">
                    <a:pos x="0" y="0"/>
                  </a:cxn>
                </a:cxnLst>
                <a:rect l="0" t="0" r="r" b="b"/>
                <a:pathLst>
                  <a:path w="10" h="12">
                    <a:moveTo>
                      <a:pt x="0" y="0"/>
                    </a:moveTo>
                    <a:lnTo>
                      <a:pt x="0" y="6"/>
                    </a:lnTo>
                    <a:lnTo>
                      <a:pt x="2" y="8"/>
                    </a:lnTo>
                    <a:lnTo>
                      <a:pt x="10" y="12"/>
                    </a:lnTo>
                    <a:lnTo>
                      <a:pt x="2"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4" name="Freeform 1442">
                <a:extLst>
                  <a:ext uri="{FF2B5EF4-FFF2-40B4-BE49-F238E27FC236}">
                    <a16:creationId xmlns:a16="http://schemas.microsoft.com/office/drawing/2014/main" id="{DFA5C620-8D5B-470F-96FB-E0C97F7733DB}"/>
                  </a:ext>
                </a:extLst>
              </p:cNvPr>
              <p:cNvSpPr>
                <a:spLocks/>
              </p:cNvSpPr>
              <p:nvPr/>
            </p:nvSpPr>
            <p:spPr bwMode="auto">
              <a:xfrm>
                <a:off x="964" y="1604"/>
                <a:ext cx="358" cy="478"/>
              </a:xfrm>
              <a:custGeom>
                <a:avLst/>
                <a:gdLst/>
                <a:ahLst/>
                <a:cxnLst>
                  <a:cxn ang="0">
                    <a:pos x="330" y="354"/>
                  </a:cxn>
                  <a:cxn ang="0">
                    <a:pos x="298" y="46"/>
                  </a:cxn>
                  <a:cxn ang="0">
                    <a:pos x="256" y="46"/>
                  </a:cxn>
                  <a:cxn ang="0">
                    <a:pos x="196" y="34"/>
                  </a:cxn>
                  <a:cxn ang="0">
                    <a:pos x="184" y="18"/>
                  </a:cxn>
                  <a:cxn ang="0">
                    <a:pos x="162" y="16"/>
                  </a:cxn>
                  <a:cxn ang="0">
                    <a:pos x="154" y="24"/>
                  </a:cxn>
                  <a:cxn ang="0">
                    <a:pos x="150" y="8"/>
                  </a:cxn>
                  <a:cxn ang="0">
                    <a:pos x="122" y="20"/>
                  </a:cxn>
                  <a:cxn ang="0">
                    <a:pos x="102" y="20"/>
                  </a:cxn>
                  <a:cxn ang="0">
                    <a:pos x="94" y="40"/>
                  </a:cxn>
                  <a:cxn ang="0">
                    <a:pos x="74" y="40"/>
                  </a:cxn>
                  <a:cxn ang="0">
                    <a:pos x="50" y="88"/>
                  </a:cxn>
                  <a:cxn ang="0">
                    <a:pos x="28" y="118"/>
                  </a:cxn>
                  <a:cxn ang="0">
                    <a:pos x="64" y="158"/>
                  </a:cxn>
                  <a:cxn ang="0">
                    <a:pos x="80" y="158"/>
                  </a:cxn>
                  <a:cxn ang="0">
                    <a:pos x="90" y="178"/>
                  </a:cxn>
                  <a:cxn ang="0">
                    <a:pos x="72" y="186"/>
                  </a:cxn>
                  <a:cxn ang="0">
                    <a:pos x="42" y="170"/>
                  </a:cxn>
                  <a:cxn ang="0">
                    <a:pos x="12" y="192"/>
                  </a:cxn>
                  <a:cxn ang="0">
                    <a:pos x="18" y="216"/>
                  </a:cxn>
                  <a:cxn ang="0">
                    <a:pos x="24" y="232"/>
                  </a:cxn>
                  <a:cxn ang="0">
                    <a:pos x="60" y="234"/>
                  </a:cxn>
                  <a:cxn ang="0">
                    <a:pos x="64" y="242"/>
                  </a:cxn>
                  <a:cxn ang="0">
                    <a:pos x="86" y="234"/>
                  </a:cxn>
                  <a:cxn ang="0">
                    <a:pos x="88" y="256"/>
                  </a:cxn>
                  <a:cxn ang="0">
                    <a:pos x="56" y="276"/>
                  </a:cxn>
                  <a:cxn ang="0">
                    <a:pos x="36" y="290"/>
                  </a:cxn>
                  <a:cxn ang="0">
                    <a:pos x="22" y="316"/>
                  </a:cxn>
                  <a:cxn ang="0">
                    <a:pos x="28" y="324"/>
                  </a:cxn>
                  <a:cxn ang="0">
                    <a:pos x="52" y="336"/>
                  </a:cxn>
                  <a:cxn ang="0">
                    <a:pos x="44" y="358"/>
                  </a:cxn>
                  <a:cxn ang="0">
                    <a:pos x="68" y="354"/>
                  </a:cxn>
                  <a:cxn ang="0">
                    <a:pos x="70" y="350"/>
                  </a:cxn>
                  <a:cxn ang="0">
                    <a:pos x="76" y="394"/>
                  </a:cxn>
                  <a:cxn ang="0">
                    <a:pos x="102" y="386"/>
                  </a:cxn>
                  <a:cxn ang="0">
                    <a:pos x="114" y="388"/>
                  </a:cxn>
                  <a:cxn ang="0">
                    <a:pos x="126" y="404"/>
                  </a:cxn>
                  <a:cxn ang="0">
                    <a:pos x="108" y="436"/>
                  </a:cxn>
                  <a:cxn ang="0">
                    <a:pos x="86" y="454"/>
                  </a:cxn>
                  <a:cxn ang="0">
                    <a:pos x="62" y="472"/>
                  </a:cxn>
                  <a:cxn ang="0">
                    <a:pos x="62" y="478"/>
                  </a:cxn>
                  <a:cxn ang="0">
                    <a:pos x="88" y="464"/>
                  </a:cxn>
                  <a:cxn ang="0">
                    <a:pos x="112" y="454"/>
                  </a:cxn>
                  <a:cxn ang="0">
                    <a:pos x="146" y="418"/>
                  </a:cxn>
                  <a:cxn ang="0">
                    <a:pos x="168" y="374"/>
                  </a:cxn>
                  <a:cxn ang="0">
                    <a:pos x="188" y="348"/>
                  </a:cxn>
                  <a:cxn ang="0">
                    <a:pos x="208" y="326"/>
                  </a:cxn>
                  <a:cxn ang="0">
                    <a:pos x="216" y="330"/>
                  </a:cxn>
                  <a:cxn ang="0">
                    <a:pos x="200" y="340"/>
                  </a:cxn>
                  <a:cxn ang="0">
                    <a:pos x="204" y="364"/>
                  </a:cxn>
                  <a:cxn ang="0">
                    <a:pos x="202" y="376"/>
                  </a:cxn>
                  <a:cxn ang="0">
                    <a:pos x="234" y="358"/>
                  </a:cxn>
                  <a:cxn ang="0">
                    <a:pos x="232" y="346"/>
                  </a:cxn>
                  <a:cxn ang="0">
                    <a:pos x="244" y="334"/>
                  </a:cxn>
                  <a:cxn ang="0">
                    <a:pos x="308" y="358"/>
                  </a:cxn>
                  <a:cxn ang="0">
                    <a:pos x="348" y="362"/>
                  </a:cxn>
                  <a:cxn ang="0">
                    <a:pos x="356" y="378"/>
                  </a:cxn>
                </a:cxnLst>
                <a:rect l="0" t="0" r="r" b="b"/>
                <a:pathLst>
                  <a:path w="358" h="478">
                    <a:moveTo>
                      <a:pt x="358" y="374"/>
                    </a:moveTo>
                    <a:lnTo>
                      <a:pt x="358" y="374"/>
                    </a:lnTo>
                    <a:lnTo>
                      <a:pt x="346" y="358"/>
                    </a:lnTo>
                    <a:lnTo>
                      <a:pt x="346" y="350"/>
                    </a:lnTo>
                    <a:lnTo>
                      <a:pt x="332" y="352"/>
                    </a:lnTo>
                    <a:lnTo>
                      <a:pt x="330" y="354"/>
                    </a:lnTo>
                    <a:lnTo>
                      <a:pt x="324" y="352"/>
                    </a:lnTo>
                    <a:lnTo>
                      <a:pt x="324" y="62"/>
                    </a:lnTo>
                    <a:lnTo>
                      <a:pt x="322" y="62"/>
                    </a:lnTo>
                    <a:lnTo>
                      <a:pt x="322" y="66"/>
                    </a:lnTo>
                    <a:lnTo>
                      <a:pt x="298" y="46"/>
                    </a:lnTo>
                    <a:lnTo>
                      <a:pt x="298" y="46"/>
                    </a:lnTo>
                    <a:lnTo>
                      <a:pt x="286" y="48"/>
                    </a:lnTo>
                    <a:lnTo>
                      <a:pt x="274" y="52"/>
                    </a:lnTo>
                    <a:lnTo>
                      <a:pt x="264" y="46"/>
                    </a:lnTo>
                    <a:lnTo>
                      <a:pt x="264" y="46"/>
                    </a:lnTo>
                    <a:lnTo>
                      <a:pt x="260" y="46"/>
                    </a:lnTo>
                    <a:lnTo>
                      <a:pt x="256" y="46"/>
                    </a:lnTo>
                    <a:lnTo>
                      <a:pt x="244" y="42"/>
                    </a:lnTo>
                    <a:lnTo>
                      <a:pt x="226" y="32"/>
                    </a:lnTo>
                    <a:lnTo>
                      <a:pt x="214" y="36"/>
                    </a:lnTo>
                    <a:lnTo>
                      <a:pt x="216" y="34"/>
                    </a:lnTo>
                    <a:lnTo>
                      <a:pt x="214" y="32"/>
                    </a:lnTo>
                    <a:lnTo>
                      <a:pt x="196" y="34"/>
                    </a:lnTo>
                    <a:lnTo>
                      <a:pt x="198" y="30"/>
                    </a:lnTo>
                    <a:lnTo>
                      <a:pt x="198" y="30"/>
                    </a:lnTo>
                    <a:lnTo>
                      <a:pt x="194" y="30"/>
                    </a:lnTo>
                    <a:lnTo>
                      <a:pt x="190" y="26"/>
                    </a:lnTo>
                    <a:lnTo>
                      <a:pt x="192" y="20"/>
                    </a:lnTo>
                    <a:lnTo>
                      <a:pt x="184" y="18"/>
                    </a:lnTo>
                    <a:lnTo>
                      <a:pt x="184" y="22"/>
                    </a:lnTo>
                    <a:lnTo>
                      <a:pt x="182" y="22"/>
                    </a:lnTo>
                    <a:lnTo>
                      <a:pt x="178" y="16"/>
                    </a:lnTo>
                    <a:lnTo>
                      <a:pt x="166" y="20"/>
                    </a:lnTo>
                    <a:lnTo>
                      <a:pt x="162" y="18"/>
                    </a:lnTo>
                    <a:lnTo>
                      <a:pt x="162" y="16"/>
                    </a:lnTo>
                    <a:lnTo>
                      <a:pt x="160" y="10"/>
                    </a:lnTo>
                    <a:lnTo>
                      <a:pt x="156" y="8"/>
                    </a:lnTo>
                    <a:lnTo>
                      <a:pt x="152" y="14"/>
                    </a:lnTo>
                    <a:lnTo>
                      <a:pt x="152" y="14"/>
                    </a:lnTo>
                    <a:lnTo>
                      <a:pt x="152" y="18"/>
                    </a:lnTo>
                    <a:lnTo>
                      <a:pt x="154" y="24"/>
                    </a:lnTo>
                    <a:lnTo>
                      <a:pt x="152" y="24"/>
                    </a:lnTo>
                    <a:lnTo>
                      <a:pt x="150" y="20"/>
                    </a:lnTo>
                    <a:lnTo>
                      <a:pt x="142" y="20"/>
                    </a:lnTo>
                    <a:lnTo>
                      <a:pt x="142" y="16"/>
                    </a:lnTo>
                    <a:lnTo>
                      <a:pt x="150" y="12"/>
                    </a:lnTo>
                    <a:lnTo>
                      <a:pt x="150" y="8"/>
                    </a:lnTo>
                    <a:lnTo>
                      <a:pt x="136" y="0"/>
                    </a:lnTo>
                    <a:lnTo>
                      <a:pt x="134" y="4"/>
                    </a:lnTo>
                    <a:lnTo>
                      <a:pt x="134" y="8"/>
                    </a:lnTo>
                    <a:lnTo>
                      <a:pt x="134" y="8"/>
                    </a:lnTo>
                    <a:lnTo>
                      <a:pt x="128" y="14"/>
                    </a:lnTo>
                    <a:lnTo>
                      <a:pt x="122" y="20"/>
                    </a:lnTo>
                    <a:lnTo>
                      <a:pt x="114" y="24"/>
                    </a:lnTo>
                    <a:lnTo>
                      <a:pt x="106" y="26"/>
                    </a:lnTo>
                    <a:lnTo>
                      <a:pt x="104" y="24"/>
                    </a:lnTo>
                    <a:lnTo>
                      <a:pt x="110" y="16"/>
                    </a:lnTo>
                    <a:lnTo>
                      <a:pt x="110" y="16"/>
                    </a:lnTo>
                    <a:lnTo>
                      <a:pt x="102" y="20"/>
                    </a:lnTo>
                    <a:lnTo>
                      <a:pt x="98" y="24"/>
                    </a:lnTo>
                    <a:lnTo>
                      <a:pt x="96" y="26"/>
                    </a:lnTo>
                    <a:lnTo>
                      <a:pt x="104" y="32"/>
                    </a:lnTo>
                    <a:lnTo>
                      <a:pt x="98" y="40"/>
                    </a:lnTo>
                    <a:lnTo>
                      <a:pt x="96" y="38"/>
                    </a:lnTo>
                    <a:lnTo>
                      <a:pt x="94" y="40"/>
                    </a:lnTo>
                    <a:lnTo>
                      <a:pt x="98" y="32"/>
                    </a:lnTo>
                    <a:lnTo>
                      <a:pt x="94" y="30"/>
                    </a:lnTo>
                    <a:lnTo>
                      <a:pt x="74" y="46"/>
                    </a:lnTo>
                    <a:lnTo>
                      <a:pt x="76" y="42"/>
                    </a:lnTo>
                    <a:lnTo>
                      <a:pt x="74" y="40"/>
                    </a:lnTo>
                    <a:lnTo>
                      <a:pt x="74" y="40"/>
                    </a:lnTo>
                    <a:lnTo>
                      <a:pt x="68" y="50"/>
                    </a:lnTo>
                    <a:lnTo>
                      <a:pt x="62" y="62"/>
                    </a:lnTo>
                    <a:lnTo>
                      <a:pt x="62" y="62"/>
                    </a:lnTo>
                    <a:lnTo>
                      <a:pt x="56" y="76"/>
                    </a:lnTo>
                    <a:lnTo>
                      <a:pt x="54" y="84"/>
                    </a:lnTo>
                    <a:lnTo>
                      <a:pt x="50" y="88"/>
                    </a:lnTo>
                    <a:lnTo>
                      <a:pt x="22" y="92"/>
                    </a:lnTo>
                    <a:lnTo>
                      <a:pt x="22" y="106"/>
                    </a:lnTo>
                    <a:lnTo>
                      <a:pt x="24" y="106"/>
                    </a:lnTo>
                    <a:lnTo>
                      <a:pt x="14" y="110"/>
                    </a:lnTo>
                    <a:lnTo>
                      <a:pt x="14" y="110"/>
                    </a:lnTo>
                    <a:lnTo>
                      <a:pt x="28" y="118"/>
                    </a:lnTo>
                    <a:lnTo>
                      <a:pt x="40" y="128"/>
                    </a:lnTo>
                    <a:lnTo>
                      <a:pt x="44" y="134"/>
                    </a:lnTo>
                    <a:lnTo>
                      <a:pt x="48" y="138"/>
                    </a:lnTo>
                    <a:lnTo>
                      <a:pt x="52" y="146"/>
                    </a:lnTo>
                    <a:lnTo>
                      <a:pt x="54" y="154"/>
                    </a:lnTo>
                    <a:lnTo>
                      <a:pt x="64" y="158"/>
                    </a:lnTo>
                    <a:lnTo>
                      <a:pt x="64" y="154"/>
                    </a:lnTo>
                    <a:lnTo>
                      <a:pt x="68" y="152"/>
                    </a:lnTo>
                    <a:lnTo>
                      <a:pt x="66" y="156"/>
                    </a:lnTo>
                    <a:lnTo>
                      <a:pt x="68" y="158"/>
                    </a:lnTo>
                    <a:lnTo>
                      <a:pt x="78" y="156"/>
                    </a:lnTo>
                    <a:lnTo>
                      <a:pt x="80" y="158"/>
                    </a:lnTo>
                    <a:lnTo>
                      <a:pt x="74" y="164"/>
                    </a:lnTo>
                    <a:lnTo>
                      <a:pt x="82" y="166"/>
                    </a:lnTo>
                    <a:lnTo>
                      <a:pt x="84" y="170"/>
                    </a:lnTo>
                    <a:lnTo>
                      <a:pt x="102" y="168"/>
                    </a:lnTo>
                    <a:lnTo>
                      <a:pt x="104" y="170"/>
                    </a:lnTo>
                    <a:lnTo>
                      <a:pt x="90" y="178"/>
                    </a:lnTo>
                    <a:lnTo>
                      <a:pt x="84" y="172"/>
                    </a:lnTo>
                    <a:lnTo>
                      <a:pt x="76" y="174"/>
                    </a:lnTo>
                    <a:lnTo>
                      <a:pt x="74" y="178"/>
                    </a:lnTo>
                    <a:lnTo>
                      <a:pt x="86" y="180"/>
                    </a:lnTo>
                    <a:lnTo>
                      <a:pt x="76" y="190"/>
                    </a:lnTo>
                    <a:lnTo>
                      <a:pt x="72" y="186"/>
                    </a:lnTo>
                    <a:lnTo>
                      <a:pt x="54" y="186"/>
                    </a:lnTo>
                    <a:lnTo>
                      <a:pt x="48" y="182"/>
                    </a:lnTo>
                    <a:lnTo>
                      <a:pt x="52" y="180"/>
                    </a:lnTo>
                    <a:lnTo>
                      <a:pt x="52" y="172"/>
                    </a:lnTo>
                    <a:lnTo>
                      <a:pt x="54" y="170"/>
                    </a:lnTo>
                    <a:lnTo>
                      <a:pt x="42" y="170"/>
                    </a:lnTo>
                    <a:lnTo>
                      <a:pt x="28" y="180"/>
                    </a:lnTo>
                    <a:lnTo>
                      <a:pt x="30" y="184"/>
                    </a:lnTo>
                    <a:lnTo>
                      <a:pt x="22" y="184"/>
                    </a:lnTo>
                    <a:lnTo>
                      <a:pt x="22" y="184"/>
                    </a:lnTo>
                    <a:lnTo>
                      <a:pt x="16" y="190"/>
                    </a:lnTo>
                    <a:lnTo>
                      <a:pt x="12" y="192"/>
                    </a:lnTo>
                    <a:lnTo>
                      <a:pt x="8" y="194"/>
                    </a:lnTo>
                    <a:lnTo>
                      <a:pt x="8" y="196"/>
                    </a:lnTo>
                    <a:lnTo>
                      <a:pt x="0" y="198"/>
                    </a:lnTo>
                    <a:lnTo>
                      <a:pt x="10" y="208"/>
                    </a:lnTo>
                    <a:lnTo>
                      <a:pt x="24" y="210"/>
                    </a:lnTo>
                    <a:lnTo>
                      <a:pt x="18" y="216"/>
                    </a:lnTo>
                    <a:lnTo>
                      <a:pt x="16" y="212"/>
                    </a:lnTo>
                    <a:lnTo>
                      <a:pt x="14" y="214"/>
                    </a:lnTo>
                    <a:lnTo>
                      <a:pt x="20" y="222"/>
                    </a:lnTo>
                    <a:lnTo>
                      <a:pt x="20" y="228"/>
                    </a:lnTo>
                    <a:lnTo>
                      <a:pt x="24" y="232"/>
                    </a:lnTo>
                    <a:lnTo>
                      <a:pt x="24" y="232"/>
                    </a:lnTo>
                    <a:lnTo>
                      <a:pt x="30" y="236"/>
                    </a:lnTo>
                    <a:lnTo>
                      <a:pt x="38" y="236"/>
                    </a:lnTo>
                    <a:lnTo>
                      <a:pt x="46" y="236"/>
                    </a:lnTo>
                    <a:lnTo>
                      <a:pt x="54" y="232"/>
                    </a:lnTo>
                    <a:lnTo>
                      <a:pt x="60" y="238"/>
                    </a:lnTo>
                    <a:lnTo>
                      <a:pt x="60" y="234"/>
                    </a:lnTo>
                    <a:lnTo>
                      <a:pt x="56" y="232"/>
                    </a:lnTo>
                    <a:lnTo>
                      <a:pt x="60" y="230"/>
                    </a:lnTo>
                    <a:lnTo>
                      <a:pt x="60" y="230"/>
                    </a:lnTo>
                    <a:lnTo>
                      <a:pt x="64" y="236"/>
                    </a:lnTo>
                    <a:lnTo>
                      <a:pt x="64" y="242"/>
                    </a:lnTo>
                    <a:lnTo>
                      <a:pt x="64" y="242"/>
                    </a:lnTo>
                    <a:lnTo>
                      <a:pt x="70" y="232"/>
                    </a:lnTo>
                    <a:lnTo>
                      <a:pt x="76" y="226"/>
                    </a:lnTo>
                    <a:lnTo>
                      <a:pt x="82" y="226"/>
                    </a:lnTo>
                    <a:lnTo>
                      <a:pt x="84" y="222"/>
                    </a:lnTo>
                    <a:lnTo>
                      <a:pt x="88" y="226"/>
                    </a:lnTo>
                    <a:lnTo>
                      <a:pt x="86" y="234"/>
                    </a:lnTo>
                    <a:lnTo>
                      <a:pt x="80" y="234"/>
                    </a:lnTo>
                    <a:lnTo>
                      <a:pt x="80" y="238"/>
                    </a:lnTo>
                    <a:lnTo>
                      <a:pt x="84" y="238"/>
                    </a:lnTo>
                    <a:lnTo>
                      <a:pt x="84" y="238"/>
                    </a:lnTo>
                    <a:lnTo>
                      <a:pt x="86" y="248"/>
                    </a:lnTo>
                    <a:lnTo>
                      <a:pt x="88" y="256"/>
                    </a:lnTo>
                    <a:lnTo>
                      <a:pt x="84" y="262"/>
                    </a:lnTo>
                    <a:lnTo>
                      <a:pt x="72" y="268"/>
                    </a:lnTo>
                    <a:lnTo>
                      <a:pt x="72" y="264"/>
                    </a:lnTo>
                    <a:lnTo>
                      <a:pt x="70" y="264"/>
                    </a:lnTo>
                    <a:lnTo>
                      <a:pt x="62" y="276"/>
                    </a:lnTo>
                    <a:lnTo>
                      <a:pt x="56" y="276"/>
                    </a:lnTo>
                    <a:lnTo>
                      <a:pt x="56" y="276"/>
                    </a:lnTo>
                    <a:lnTo>
                      <a:pt x="48" y="282"/>
                    </a:lnTo>
                    <a:lnTo>
                      <a:pt x="48" y="286"/>
                    </a:lnTo>
                    <a:lnTo>
                      <a:pt x="42" y="286"/>
                    </a:lnTo>
                    <a:lnTo>
                      <a:pt x="42" y="286"/>
                    </a:lnTo>
                    <a:lnTo>
                      <a:pt x="36" y="290"/>
                    </a:lnTo>
                    <a:lnTo>
                      <a:pt x="32" y="296"/>
                    </a:lnTo>
                    <a:lnTo>
                      <a:pt x="28" y="302"/>
                    </a:lnTo>
                    <a:lnTo>
                      <a:pt x="28" y="310"/>
                    </a:lnTo>
                    <a:lnTo>
                      <a:pt x="24" y="312"/>
                    </a:lnTo>
                    <a:lnTo>
                      <a:pt x="26" y="314"/>
                    </a:lnTo>
                    <a:lnTo>
                      <a:pt x="22" y="316"/>
                    </a:lnTo>
                    <a:lnTo>
                      <a:pt x="22" y="320"/>
                    </a:lnTo>
                    <a:lnTo>
                      <a:pt x="32" y="316"/>
                    </a:lnTo>
                    <a:lnTo>
                      <a:pt x="34" y="318"/>
                    </a:lnTo>
                    <a:lnTo>
                      <a:pt x="28" y="320"/>
                    </a:lnTo>
                    <a:lnTo>
                      <a:pt x="26" y="322"/>
                    </a:lnTo>
                    <a:lnTo>
                      <a:pt x="28" y="324"/>
                    </a:lnTo>
                    <a:lnTo>
                      <a:pt x="32" y="322"/>
                    </a:lnTo>
                    <a:lnTo>
                      <a:pt x="32" y="326"/>
                    </a:lnTo>
                    <a:lnTo>
                      <a:pt x="34" y="332"/>
                    </a:lnTo>
                    <a:lnTo>
                      <a:pt x="34" y="332"/>
                    </a:lnTo>
                    <a:lnTo>
                      <a:pt x="42" y="336"/>
                    </a:lnTo>
                    <a:lnTo>
                      <a:pt x="52" y="336"/>
                    </a:lnTo>
                    <a:lnTo>
                      <a:pt x="52" y="338"/>
                    </a:lnTo>
                    <a:lnTo>
                      <a:pt x="52" y="338"/>
                    </a:lnTo>
                    <a:lnTo>
                      <a:pt x="50" y="340"/>
                    </a:lnTo>
                    <a:lnTo>
                      <a:pt x="46" y="344"/>
                    </a:lnTo>
                    <a:lnTo>
                      <a:pt x="42" y="352"/>
                    </a:lnTo>
                    <a:lnTo>
                      <a:pt x="44" y="358"/>
                    </a:lnTo>
                    <a:lnTo>
                      <a:pt x="48" y="356"/>
                    </a:lnTo>
                    <a:lnTo>
                      <a:pt x="48" y="360"/>
                    </a:lnTo>
                    <a:lnTo>
                      <a:pt x="48" y="362"/>
                    </a:lnTo>
                    <a:lnTo>
                      <a:pt x="50" y="366"/>
                    </a:lnTo>
                    <a:lnTo>
                      <a:pt x="60" y="368"/>
                    </a:lnTo>
                    <a:lnTo>
                      <a:pt x="68" y="354"/>
                    </a:lnTo>
                    <a:lnTo>
                      <a:pt x="66" y="350"/>
                    </a:lnTo>
                    <a:lnTo>
                      <a:pt x="66" y="350"/>
                    </a:lnTo>
                    <a:lnTo>
                      <a:pt x="68" y="346"/>
                    </a:lnTo>
                    <a:lnTo>
                      <a:pt x="72" y="342"/>
                    </a:lnTo>
                    <a:lnTo>
                      <a:pt x="78" y="336"/>
                    </a:lnTo>
                    <a:lnTo>
                      <a:pt x="70" y="350"/>
                    </a:lnTo>
                    <a:lnTo>
                      <a:pt x="76" y="370"/>
                    </a:lnTo>
                    <a:lnTo>
                      <a:pt x="72" y="378"/>
                    </a:lnTo>
                    <a:lnTo>
                      <a:pt x="78" y="382"/>
                    </a:lnTo>
                    <a:lnTo>
                      <a:pt x="72" y="392"/>
                    </a:lnTo>
                    <a:lnTo>
                      <a:pt x="76" y="394"/>
                    </a:lnTo>
                    <a:lnTo>
                      <a:pt x="76" y="394"/>
                    </a:lnTo>
                    <a:lnTo>
                      <a:pt x="86" y="386"/>
                    </a:lnTo>
                    <a:lnTo>
                      <a:pt x="90" y="382"/>
                    </a:lnTo>
                    <a:lnTo>
                      <a:pt x="94" y="376"/>
                    </a:lnTo>
                    <a:lnTo>
                      <a:pt x="94" y="386"/>
                    </a:lnTo>
                    <a:lnTo>
                      <a:pt x="98" y="388"/>
                    </a:lnTo>
                    <a:lnTo>
                      <a:pt x="102" y="386"/>
                    </a:lnTo>
                    <a:lnTo>
                      <a:pt x="108" y="398"/>
                    </a:lnTo>
                    <a:lnTo>
                      <a:pt x="112" y="396"/>
                    </a:lnTo>
                    <a:lnTo>
                      <a:pt x="110" y="390"/>
                    </a:lnTo>
                    <a:lnTo>
                      <a:pt x="114" y="384"/>
                    </a:lnTo>
                    <a:lnTo>
                      <a:pt x="116" y="384"/>
                    </a:lnTo>
                    <a:lnTo>
                      <a:pt x="114" y="388"/>
                    </a:lnTo>
                    <a:lnTo>
                      <a:pt x="120" y="392"/>
                    </a:lnTo>
                    <a:lnTo>
                      <a:pt x="136" y="382"/>
                    </a:lnTo>
                    <a:lnTo>
                      <a:pt x="126" y="400"/>
                    </a:lnTo>
                    <a:lnTo>
                      <a:pt x="128" y="400"/>
                    </a:lnTo>
                    <a:lnTo>
                      <a:pt x="128" y="400"/>
                    </a:lnTo>
                    <a:lnTo>
                      <a:pt x="126" y="404"/>
                    </a:lnTo>
                    <a:lnTo>
                      <a:pt x="124" y="412"/>
                    </a:lnTo>
                    <a:lnTo>
                      <a:pt x="120" y="424"/>
                    </a:lnTo>
                    <a:lnTo>
                      <a:pt x="118" y="424"/>
                    </a:lnTo>
                    <a:lnTo>
                      <a:pt x="112" y="436"/>
                    </a:lnTo>
                    <a:lnTo>
                      <a:pt x="108" y="436"/>
                    </a:lnTo>
                    <a:lnTo>
                      <a:pt x="108" y="436"/>
                    </a:lnTo>
                    <a:lnTo>
                      <a:pt x="102" y="440"/>
                    </a:lnTo>
                    <a:lnTo>
                      <a:pt x="96" y="446"/>
                    </a:lnTo>
                    <a:lnTo>
                      <a:pt x="90" y="452"/>
                    </a:lnTo>
                    <a:lnTo>
                      <a:pt x="88" y="460"/>
                    </a:lnTo>
                    <a:lnTo>
                      <a:pt x="86" y="456"/>
                    </a:lnTo>
                    <a:lnTo>
                      <a:pt x="86" y="454"/>
                    </a:lnTo>
                    <a:lnTo>
                      <a:pt x="86" y="454"/>
                    </a:lnTo>
                    <a:lnTo>
                      <a:pt x="82" y="454"/>
                    </a:lnTo>
                    <a:lnTo>
                      <a:pt x="80" y="456"/>
                    </a:lnTo>
                    <a:lnTo>
                      <a:pt x="72" y="460"/>
                    </a:lnTo>
                    <a:lnTo>
                      <a:pt x="66" y="466"/>
                    </a:lnTo>
                    <a:lnTo>
                      <a:pt x="62" y="472"/>
                    </a:lnTo>
                    <a:lnTo>
                      <a:pt x="62" y="472"/>
                    </a:lnTo>
                    <a:lnTo>
                      <a:pt x="58" y="474"/>
                    </a:lnTo>
                    <a:lnTo>
                      <a:pt x="54" y="474"/>
                    </a:lnTo>
                    <a:lnTo>
                      <a:pt x="60" y="478"/>
                    </a:lnTo>
                    <a:lnTo>
                      <a:pt x="58" y="474"/>
                    </a:lnTo>
                    <a:lnTo>
                      <a:pt x="62" y="478"/>
                    </a:lnTo>
                    <a:lnTo>
                      <a:pt x="72" y="474"/>
                    </a:lnTo>
                    <a:lnTo>
                      <a:pt x="78" y="464"/>
                    </a:lnTo>
                    <a:lnTo>
                      <a:pt x="80" y="464"/>
                    </a:lnTo>
                    <a:lnTo>
                      <a:pt x="78" y="470"/>
                    </a:lnTo>
                    <a:lnTo>
                      <a:pt x="88" y="466"/>
                    </a:lnTo>
                    <a:lnTo>
                      <a:pt x="88" y="464"/>
                    </a:lnTo>
                    <a:lnTo>
                      <a:pt x="90" y="466"/>
                    </a:lnTo>
                    <a:lnTo>
                      <a:pt x="98" y="458"/>
                    </a:lnTo>
                    <a:lnTo>
                      <a:pt x="100" y="460"/>
                    </a:lnTo>
                    <a:lnTo>
                      <a:pt x="100" y="460"/>
                    </a:lnTo>
                    <a:lnTo>
                      <a:pt x="106" y="458"/>
                    </a:lnTo>
                    <a:lnTo>
                      <a:pt x="112" y="454"/>
                    </a:lnTo>
                    <a:lnTo>
                      <a:pt x="112" y="448"/>
                    </a:lnTo>
                    <a:lnTo>
                      <a:pt x="124" y="440"/>
                    </a:lnTo>
                    <a:lnTo>
                      <a:pt x="126" y="440"/>
                    </a:lnTo>
                    <a:lnTo>
                      <a:pt x="126" y="436"/>
                    </a:lnTo>
                    <a:lnTo>
                      <a:pt x="126" y="436"/>
                    </a:lnTo>
                    <a:lnTo>
                      <a:pt x="146" y="418"/>
                    </a:lnTo>
                    <a:lnTo>
                      <a:pt x="158" y="408"/>
                    </a:lnTo>
                    <a:lnTo>
                      <a:pt x="166" y="404"/>
                    </a:lnTo>
                    <a:lnTo>
                      <a:pt x="176" y="388"/>
                    </a:lnTo>
                    <a:lnTo>
                      <a:pt x="172" y="382"/>
                    </a:lnTo>
                    <a:lnTo>
                      <a:pt x="166" y="382"/>
                    </a:lnTo>
                    <a:lnTo>
                      <a:pt x="168" y="374"/>
                    </a:lnTo>
                    <a:lnTo>
                      <a:pt x="168" y="374"/>
                    </a:lnTo>
                    <a:lnTo>
                      <a:pt x="172" y="370"/>
                    </a:lnTo>
                    <a:lnTo>
                      <a:pt x="176" y="366"/>
                    </a:lnTo>
                    <a:lnTo>
                      <a:pt x="184" y="356"/>
                    </a:lnTo>
                    <a:lnTo>
                      <a:pt x="180" y="352"/>
                    </a:lnTo>
                    <a:lnTo>
                      <a:pt x="188" y="348"/>
                    </a:lnTo>
                    <a:lnTo>
                      <a:pt x="188" y="348"/>
                    </a:lnTo>
                    <a:lnTo>
                      <a:pt x="192" y="342"/>
                    </a:lnTo>
                    <a:lnTo>
                      <a:pt x="196" y="334"/>
                    </a:lnTo>
                    <a:lnTo>
                      <a:pt x="202" y="328"/>
                    </a:lnTo>
                    <a:lnTo>
                      <a:pt x="208" y="326"/>
                    </a:lnTo>
                    <a:lnTo>
                      <a:pt x="208" y="326"/>
                    </a:lnTo>
                    <a:lnTo>
                      <a:pt x="208" y="314"/>
                    </a:lnTo>
                    <a:lnTo>
                      <a:pt x="210" y="302"/>
                    </a:lnTo>
                    <a:lnTo>
                      <a:pt x="214" y="300"/>
                    </a:lnTo>
                    <a:lnTo>
                      <a:pt x="224" y="322"/>
                    </a:lnTo>
                    <a:lnTo>
                      <a:pt x="216" y="328"/>
                    </a:lnTo>
                    <a:lnTo>
                      <a:pt x="216" y="330"/>
                    </a:lnTo>
                    <a:lnTo>
                      <a:pt x="228" y="336"/>
                    </a:lnTo>
                    <a:lnTo>
                      <a:pt x="226" y="338"/>
                    </a:lnTo>
                    <a:lnTo>
                      <a:pt x="214" y="336"/>
                    </a:lnTo>
                    <a:lnTo>
                      <a:pt x="212" y="332"/>
                    </a:lnTo>
                    <a:lnTo>
                      <a:pt x="200" y="340"/>
                    </a:lnTo>
                    <a:lnTo>
                      <a:pt x="200" y="340"/>
                    </a:lnTo>
                    <a:lnTo>
                      <a:pt x="200" y="346"/>
                    </a:lnTo>
                    <a:lnTo>
                      <a:pt x="200" y="352"/>
                    </a:lnTo>
                    <a:lnTo>
                      <a:pt x="194" y="364"/>
                    </a:lnTo>
                    <a:lnTo>
                      <a:pt x="198" y="368"/>
                    </a:lnTo>
                    <a:lnTo>
                      <a:pt x="204" y="364"/>
                    </a:lnTo>
                    <a:lnTo>
                      <a:pt x="204" y="364"/>
                    </a:lnTo>
                    <a:lnTo>
                      <a:pt x="202" y="368"/>
                    </a:lnTo>
                    <a:lnTo>
                      <a:pt x="200" y="372"/>
                    </a:lnTo>
                    <a:lnTo>
                      <a:pt x="194" y="378"/>
                    </a:lnTo>
                    <a:lnTo>
                      <a:pt x="196" y="380"/>
                    </a:lnTo>
                    <a:lnTo>
                      <a:pt x="202" y="378"/>
                    </a:lnTo>
                    <a:lnTo>
                      <a:pt x="202" y="376"/>
                    </a:lnTo>
                    <a:lnTo>
                      <a:pt x="204" y="378"/>
                    </a:lnTo>
                    <a:lnTo>
                      <a:pt x="210" y="370"/>
                    </a:lnTo>
                    <a:lnTo>
                      <a:pt x="212" y="374"/>
                    </a:lnTo>
                    <a:lnTo>
                      <a:pt x="220" y="366"/>
                    </a:lnTo>
                    <a:lnTo>
                      <a:pt x="222" y="356"/>
                    </a:lnTo>
                    <a:lnTo>
                      <a:pt x="234" y="358"/>
                    </a:lnTo>
                    <a:lnTo>
                      <a:pt x="234" y="356"/>
                    </a:lnTo>
                    <a:lnTo>
                      <a:pt x="238" y="352"/>
                    </a:lnTo>
                    <a:lnTo>
                      <a:pt x="236" y="352"/>
                    </a:lnTo>
                    <a:lnTo>
                      <a:pt x="240" y="344"/>
                    </a:lnTo>
                    <a:lnTo>
                      <a:pt x="238" y="344"/>
                    </a:lnTo>
                    <a:lnTo>
                      <a:pt x="232" y="346"/>
                    </a:lnTo>
                    <a:lnTo>
                      <a:pt x="232" y="344"/>
                    </a:lnTo>
                    <a:lnTo>
                      <a:pt x="236" y="342"/>
                    </a:lnTo>
                    <a:lnTo>
                      <a:pt x="236" y="330"/>
                    </a:lnTo>
                    <a:lnTo>
                      <a:pt x="238" y="332"/>
                    </a:lnTo>
                    <a:lnTo>
                      <a:pt x="242" y="326"/>
                    </a:lnTo>
                    <a:lnTo>
                      <a:pt x="244" y="334"/>
                    </a:lnTo>
                    <a:lnTo>
                      <a:pt x="256" y="330"/>
                    </a:lnTo>
                    <a:lnTo>
                      <a:pt x="272" y="350"/>
                    </a:lnTo>
                    <a:lnTo>
                      <a:pt x="278" y="350"/>
                    </a:lnTo>
                    <a:lnTo>
                      <a:pt x="288" y="358"/>
                    </a:lnTo>
                    <a:lnTo>
                      <a:pt x="288" y="358"/>
                    </a:lnTo>
                    <a:lnTo>
                      <a:pt x="308" y="358"/>
                    </a:lnTo>
                    <a:lnTo>
                      <a:pt x="322" y="360"/>
                    </a:lnTo>
                    <a:lnTo>
                      <a:pt x="326" y="362"/>
                    </a:lnTo>
                    <a:lnTo>
                      <a:pt x="328" y="366"/>
                    </a:lnTo>
                    <a:lnTo>
                      <a:pt x="336" y="364"/>
                    </a:lnTo>
                    <a:lnTo>
                      <a:pt x="342" y="356"/>
                    </a:lnTo>
                    <a:lnTo>
                      <a:pt x="348" y="362"/>
                    </a:lnTo>
                    <a:lnTo>
                      <a:pt x="344" y="364"/>
                    </a:lnTo>
                    <a:lnTo>
                      <a:pt x="344" y="370"/>
                    </a:lnTo>
                    <a:lnTo>
                      <a:pt x="342" y="368"/>
                    </a:lnTo>
                    <a:lnTo>
                      <a:pt x="338" y="370"/>
                    </a:lnTo>
                    <a:lnTo>
                      <a:pt x="352" y="380"/>
                    </a:lnTo>
                    <a:lnTo>
                      <a:pt x="356" y="378"/>
                    </a:lnTo>
                    <a:lnTo>
                      <a:pt x="356" y="374"/>
                    </a:lnTo>
                    <a:lnTo>
                      <a:pt x="358" y="37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5" name="Freeform 1443">
                <a:extLst>
                  <a:ext uri="{FF2B5EF4-FFF2-40B4-BE49-F238E27FC236}">
                    <a16:creationId xmlns:a16="http://schemas.microsoft.com/office/drawing/2014/main" id="{B391D1FE-ECE5-486F-B66C-7585677B5A39}"/>
                  </a:ext>
                </a:extLst>
              </p:cNvPr>
              <p:cNvSpPr>
                <a:spLocks/>
              </p:cNvSpPr>
              <p:nvPr/>
            </p:nvSpPr>
            <p:spPr bwMode="auto">
              <a:xfrm>
                <a:off x="1322" y="1968"/>
                <a:ext cx="98" cy="118"/>
              </a:xfrm>
              <a:custGeom>
                <a:avLst/>
                <a:gdLst/>
                <a:ahLst/>
                <a:cxnLst>
                  <a:cxn ang="0">
                    <a:pos x="0" y="12"/>
                  </a:cxn>
                  <a:cxn ang="0">
                    <a:pos x="6" y="28"/>
                  </a:cxn>
                  <a:cxn ang="0">
                    <a:pos x="6" y="30"/>
                  </a:cxn>
                  <a:cxn ang="0">
                    <a:pos x="20" y="38"/>
                  </a:cxn>
                  <a:cxn ang="0">
                    <a:pos x="24" y="36"/>
                  </a:cxn>
                  <a:cxn ang="0">
                    <a:pos x="18" y="24"/>
                  </a:cxn>
                  <a:cxn ang="0">
                    <a:pos x="16" y="20"/>
                  </a:cxn>
                  <a:cxn ang="0">
                    <a:pos x="24" y="22"/>
                  </a:cxn>
                  <a:cxn ang="0">
                    <a:pos x="28" y="34"/>
                  </a:cxn>
                  <a:cxn ang="0">
                    <a:pos x="32" y="32"/>
                  </a:cxn>
                  <a:cxn ang="0">
                    <a:pos x="36" y="38"/>
                  </a:cxn>
                  <a:cxn ang="0">
                    <a:pos x="30" y="12"/>
                  </a:cxn>
                  <a:cxn ang="0">
                    <a:pos x="40" y="34"/>
                  </a:cxn>
                  <a:cxn ang="0">
                    <a:pos x="48" y="38"/>
                  </a:cxn>
                  <a:cxn ang="0">
                    <a:pos x="52" y="44"/>
                  </a:cxn>
                  <a:cxn ang="0">
                    <a:pos x="54" y="46"/>
                  </a:cxn>
                  <a:cxn ang="0">
                    <a:pos x="56" y="52"/>
                  </a:cxn>
                  <a:cxn ang="0">
                    <a:pos x="56" y="56"/>
                  </a:cxn>
                  <a:cxn ang="0">
                    <a:pos x="60" y="60"/>
                  </a:cxn>
                  <a:cxn ang="0">
                    <a:pos x="56" y="64"/>
                  </a:cxn>
                  <a:cxn ang="0">
                    <a:pos x="66" y="70"/>
                  </a:cxn>
                  <a:cxn ang="0">
                    <a:pos x="72" y="76"/>
                  </a:cxn>
                  <a:cxn ang="0">
                    <a:pos x="80" y="86"/>
                  </a:cxn>
                  <a:cxn ang="0">
                    <a:pos x="74" y="96"/>
                  </a:cxn>
                  <a:cxn ang="0">
                    <a:pos x="72" y="98"/>
                  </a:cxn>
                  <a:cxn ang="0">
                    <a:pos x="74" y="102"/>
                  </a:cxn>
                  <a:cxn ang="0">
                    <a:pos x="78" y="94"/>
                  </a:cxn>
                  <a:cxn ang="0">
                    <a:pos x="86" y="88"/>
                  </a:cxn>
                  <a:cxn ang="0">
                    <a:pos x="84" y="94"/>
                  </a:cxn>
                  <a:cxn ang="0">
                    <a:pos x="88" y="106"/>
                  </a:cxn>
                  <a:cxn ang="0">
                    <a:pos x="92" y="112"/>
                  </a:cxn>
                  <a:cxn ang="0">
                    <a:pos x="88" y="118"/>
                  </a:cxn>
                  <a:cxn ang="0">
                    <a:pos x="90" y="118"/>
                  </a:cxn>
                  <a:cxn ang="0">
                    <a:pos x="94" y="116"/>
                  </a:cxn>
                  <a:cxn ang="0">
                    <a:pos x="98" y="112"/>
                  </a:cxn>
                  <a:cxn ang="0">
                    <a:pos x="76" y="78"/>
                  </a:cxn>
                  <a:cxn ang="0">
                    <a:pos x="74" y="68"/>
                  </a:cxn>
                  <a:cxn ang="0">
                    <a:pos x="68" y="60"/>
                  </a:cxn>
                  <a:cxn ang="0">
                    <a:pos x="54" y="30"/>
                  </a:cxn>
                  <a:cxn ang="0">
                    <a:pos x="46" y="24"/>
                  </a:cxn>
                  <a:cxn ang="0">
                    <a:pos x="44" y="18"/>
                  </a:cxn>
                  <a:cxn ang="0">
                    <a:pos x="34" y="0"/>
                  </a:cxn>
                  <a:cxn ang="0">
                    <a:pos x="18" y="16"/>
                  </a:cxn>
                  <a:cxn ang="0">
                    <a:pos x="8" y="22"/>
                  </a:cxn>
                  <a:cxn ang="0">
                    <a:pos x="4" y="12"/>
                  </a:cxn>
                  <a:cxn ang="0">
                    <a:pos x="2" y="10"/>
                  </a:cxn>
                </a:cxnLst>
                <a:rect l="0" t="0" r="r" b="b"/>
                <a:pathLst>
                  <a:path w="98" h="118">
                    <a:moveTo>
                      <a:pt x="2" y="10"/>
                    </a:moveTo>
                    <a:lnTo>
                      <a:pt x="0" y="12"/>
                    </a:lnTo>
                    <a:lnTo>
                      <a:pt x="0" y="20"/>
                    </a:lnTo>
                    <a:lnTo>
                      <a:pt x="6" y="28"/>
                    </a:lnTo>
                    <a:lnTo>
                      <a:pt x="8" y="28"/>
                    </a:lnTo>
                    <a:lnTo>
                      <a:pt x="6" y="30"/>
                    </a:lnTo>
                    <a:lnTo>
                      <a:pt x="18" y="38"/>
                    </a:lnTo>
                    <a:lnTo>
                      <a:pt x="20" y="38"/>
                    </a:lnTo>
                    <a:lnTo>
                      <a:pt x="20" y="36"/>
                    </a:lnTo>
                    <a:lnTo>
                      <a:pt x="24" y="36"/>
                    </a:lnTo>
                    <a:lnTo>
                      <a:pt x="24" y="32"/>
                    </a:lnTo>
                    <a:lnTo>
                      <a:pt x="18" y="24"/>
                    </a:lnTo>
                    <a:lnTo>
                      <a:pt x="14" y="22"/>
                    </a:lnTo>
                    <a:lnTo>
                      <a:pt x="16" y="20"/>
                    </a:lnTo>
                    <a:lnTo>
                      <a:pt x="22" y="26"/>
                    </a:lnTo>
                    <a:lnTo>
                      <a:pt x="24" y="22"/>
                    </a:lnTo>
                    <a:lnTo>
                      <a:pt x="28" y="30"/>
                    </a:lnTo>
                    <a:lnTo>
                      <a:pt x="28" y="34"/>
                    </a:lnTo>
                    <a:lnTo>
                      <a:pt x="32" y="34"/>
                    </a:lnTo>
                    <a:lnTo>
                      <a:pt x="32" y="32"/>
                    </a:lnTo>
                    <a:lnTo>
                      <a:pt x="34" y="38"/>
                    </a:lnTo>
                    <a:lnTo>
                      <a:pt x="36" y="38"/>
                    </a:lnTo>
                    <a:lnTo>
                      <a:pt x="36" y="34"/>
                    </a:lnTo>
                    <a:lnTo>
                      <a:pt x="30" y="12"/>
                    </a:lnTo>
                    <a:lnTo>
                      <a:pt x="32" y="10"/>
                    </a:lnTo>
                    <a:lnTo>
                      <a:pt x="40" y="34"/>
                    </a:lnTo>
                    <a:lnTo>
                      <a:pt x="48" y="38"/>
                    </a:lnTo>
                    <a:lnTo>
                      <a:pt x="48" y="38"/>
                    </a:lnTo>
                    <a:lnTo>
                      <a:pt x="50" y="42"/>
                    </a:lnTo>
                    <a:lnTo>
                      <a:pt x="52" y="44"/>
                    </a:lnTo>
                    <a:lnTo>
                      <a:pt x="54" y="50"/>
                    </a:lnTo>
                    <a:lnTo>
                      <a:pt x="54" y="46"/>
                    </a:lnTo>
                    <a:lnTo>
                      <a:pt x="62" y="56"/>
                    </a:lnTo>
                    <a:lnTo>
                      <a:pt x="56" y="52"/>
                    </a:lnTo>
                    <a:lnTo>
                      <a:pt x="56" y="54"/>
                    </a:lnTo>
                    <a:lnTo>
                      <a:pt x="56" y="56"/>
                    </a:lnTo>
                    <a:lnTo>
                      <a:pt x="58" y="60"/>
                    </a:lnTo>
                    <a:lnTo>
                      <a:pt x="60" y="60"/>
                    </a:lnTo>
                    <a:lnTo>
                      <a:pt x="56" y="62"/>
                    </a:lnTo>
                    <a:lnTo>
                      <a:pt x="56" y="64"/>
                    </a:lnTo>
                    <a:lnTo>
                      <a:pt x="64" y="66"/>
                    </a:lnTo>
                    <a:lnTo>
                      <a:pt x="66" y="70"/>
                    </a:lnTo>
                    <a:lnTo>
                      <a:pt x="64" y="72"/>
                    </a:lnTo>
                    <a:lnTo>
                      <a:pt x="72" y="76"/>
                    </a:lnTo>
                    <a:lnTo>
                      <a:pt x="72" y="82"/>
                    </a:lnTo>
                    <a:lnTo>
                      <a:pt x="80" y="86"/>
                    </a:lnTo>
                    <a:lnTo>
                      <a:pt x="76" y="88"/>
                    </a:lnTo>
                    <a:lnTo>
                      <a:pt x="74" y="96"/>
                    </a:lnTo>
                    <a:lnTo>
                      <a:pt x="72" y="98"/>
                    </a:lnTo>
                    <a:lnTo>
                      <a:pt x="72" y="98"/>
                    </a:lnTo>
                    <a:lnTo>
                      <a:pt x="74" y="102"/>
                    </a:lnTo>
                    <a:lnTo>
                      <a:pt x="74" y="102"/>
                    </a:lnTo>
                    <a:lnTo>
                      <a:pt x="76" y="98"/>
                    </a:lnTo>
                    <a:lnTo>
                      <a:pt x="78" y="94"/>
                    </a:lnTo>
                    <a:lnTo>
                      <a:pt x="82" y="94"/>
                    </a:lnTo>
                    <a:lnTo>
                      <a:pt x="86" y="88"/>
                    </a:lnTo>
                    <a:lnTo>
                      <a:pt x="84" y="94"/>
                    </a:lnTo>
                    <a:lnTo>
                      <a:pt x="84" y="94"/>
                    </a:lnTo>
                    <a:lnTo>
                      <a:pt x="88" y="100"/>
                    </a:lnTo>
                    <a:lnTo>
                      <a:pt x="88" y="106"/>
                    </a:lnTo>
                    <a:lnTo>
                      <a:pt x="92" y="106"/>
                    </a:lnTo>
                    <a:lnTo>
                      <a:pt x="92" y="112"/>
                    </a:lnTo>
                    <a:lnTo>
                      <a:pt x="88" y="114"/>
                    </a:lnTo>
                    <a:lnTo>
                      <a:pt x="88" y="118"/>
                    </a:lnTo>
                    <a:lnTo>
                      <a:pt x="90" y="116"/>
                    </a:lnTo>
                    <a:lnTo>
                      <a:pt x="90" y="118"/>
                    </a:lnTo>
                    <a:lnTo>
                      <a:pt x="90" y="118"/>
                    </a:lnTo>
                    <a:lnTo>
                      <a:pt x="94" y="116"/>
                    </a:lnTo>
                    <a:lnTo>
                      <a:pt x="96" y="112"/>
                    </a:lnTo>
                    <a:lnTo>
                      <a:pt x="98" y="112"/>
                    </a:lnTo>
                    <a:lnTo>
                      <a:pt x="98" y="92"/>
                    </a:lnTo>
                    <a:lnTo>
                      <a:pt x="76" y="78"/>
                    </a:lnTo>
                    <a:lnTo>
                      <a:pt x="74" y="68"/>
                    </a:lnTo>
                    <a:lnTo>
                      <a:pt x="74" y="68"/>
                    </a:lnTo>
                    <a:lnTo>
                      <a:pt x="72" y="66"/>
                    </a:lnTo>
                    <a:lnTo>
                      <a:pt x="68" y="60"/>
                    </a:lnTo>
                    <a:lnTo>
                      <a:pt x="62" y="46"/>
                    </a:lnTo>
                    <a:lnTo>
                      <a:pt x="54" y="30"/>
                    </a:lnTo>
                    <a:lnTo>
                      <a:pt x="50" y="26"/>
                    </a:lnTo>
                    <a:lnTo>
                      <a:pt x="46" y="24"/>
                    </a:lnTo>
                    <a:lnTo>
                      <a:pt x="46" y="24"/>
                    </a:lnTo>
                    <a:lnTo>
                      <a:pt x="44" y="18"/>
                    </a:lnTo>
                    <a:lnTo>
                      <a:pt x="40" y="12"/>
                    </a:lnTo>
                    <a:lnTo>
                      <a:pt x="34" y="0"/>
                    </a:lnTo>
                    <a:lnTo>
                      <a:pt x="22" y="6"/>
                    </a:lnTo>
                    <a:lnTo>
                      <a:pt x="18" y="16"/>
                    </a:lnTo>
                    <a:lnTo>
                      <a:pt x="8" y="22"/>
                    </a:lnTo>
                    <a:lnTo>
                      <a:pt x="8" y="22"/>
                    </a:lnTo>
                    <a:lnTo>
                      <a:pt x="6" y="16"/>
                    </a:lnTo>
                    <a:lnTo>
                      <a:pt x="4" y="12"/>
                    </a:lnTo>
                    <a:lnTo>
                      <a:pt x="2" y="10"/>
                    </a:lnTo>
                    <a:lnTo>
                      <a:pt x="2"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6" name="Freeform 1444">
                <a:extLst>
                  <a:ext uri="{FF2B5EF4-FFF2-40B4-BE49-F238E27FC236}">
                    <a16:creationId xmlns:a16="http://schemas.microsoft.com/office/drawing/2014/main" id="{845CB743-9FD7-4963-A003-6B6EEAA92B11}"/>
                  </a:ext>
                </a:extLst>
              </p:cNvPr>
              <p:cNvSpPr>
                <a:spLocks/>
              </p:cNvSpPr>
              <p:nvPr/>
            </p:nvSpPr>
            <p:spPr bwMode="auto">
              <a:xfrm>
                <a:off x="1032" y="1768"/>
                <a:ext cx="6" cy="6"/>
              </a:xfrm>
              <a:custGeom>
                <a:avLst/>
                <a:gdLst/>
                <a:ahLst/>
                <a:cxnLst>
                  <a:cxn ang="0">
                    <a:pos x="0" y="0"/>
                  </a:cxn>
                  <a:cxn ang="0">
                    <a:pos x="2" y="0"/>
                  </a:cxn>
                  <a:cxn ang="0">
                    <a:pos x="6" y="6"/>
                  </a:cxn>
                  <a:cxn ang="0">
                    <a:pos x="2" y="6"/>
                  </a:cxn>
                  <a:cxn ang="0">
                    <a:pos x="0" y="2"/>
                  </a:cxn>
                  <a:cxn ang="0">
                    <a:pos x="0" y="0"/>
                  </a:cxn>
                </a:cxnLst>
                <a:rect l="0" t="0" r="r" b="b"/>
                <a:pathLst>
                  <a:path w="6" h="6">
                    <a:moveTo>
                      <a:pt x="0" y="0"/>
                    </a:moveTo>
                    <a:lnTo>
                      <a:pt x="2" y="0"/>
                    </a:lnTo>
                    <a:lnTo>
                      <a:pt x="6" y="6"/>
                    </a:lnTo>
                    <a:lnTo>
                      <a:pt x="2" y="6"/>
                    </a:lnTo>
                    <a:lnTo>
                      <a:pt x="0" y="2"/>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7" name="Freeform 1445">
                <a:extLst>
                  <a:ext uri="{FF2B5EF4-FFF2-40B4-BE49-F238E27FC236}">
                    <a16:creationId xmlns:a16="http://schemas.microsoft.com/office/drawing/2014/main" id="{878940BB-1B8A-404B-AD5A-D807D35987C3}"/>
                  </a:ext>
                </a:extLst>
              </p:cNvPr>
              <p:cNvSpPr>
                <a:spLocks/>
              </p:cNvSpPr>
              <p:nvPr/>
            </p:nvSpPr>
            <p:spPr bwMode="auto">
              <a:xfrm>
                <a:off x="1354" y="2024"/>
                <a:ext cx="10" cy="30"/>
              </a:xfrm>
              <a:custGeom>
                <a:avLst/>
                <a:gdLst/>
                <a:ahLst/>
                <a:cxnLst>
                  <a:cxn ang="0">
                    <a:pos x="8" y="6"/>
                  </a:cxn>
                  <a:cxn ang="0">
                    <a:pos x="8" y="6"/>
                  </a:cxn>
                  <a:cxn ang="0">
                    <a:pos x="10" y="18"/>
                  </a:cxn>
                  <a:cxn ang="0">
                    <a:pos x="10" y="24"/>
                  </a:cxn>
                  <a:cxn ang="0">
                    <a:pos x="10" y="30"/>
                  </a:cxn>
                  <a:cxn ang="0">
                    <a:pos x="8" y="30"/>
                  </a:cxn>
                  <a:cxn ang="0">
                    <a:pos x="6" y="22"/>
                  </a:cxn>
                  <a:cxn ang="0">
                    <a:pos x="8" y="16"/>
                  </a:cxn>
                  <a:cxn ang="0">
                    <a:pos x="6" y="20"/>
                  </a:cxn>
                  <a:cxn ang="0">
                    <a:pos x="2" y="16"/>
                  </a:cxn>
                  <a:cxn ang="0">
                    <a:pos x="4" y="10"/>
                  </a:cxn>
                  <a:cxn ang="0">
                    <a:pos x="0" y="4"/>
                  </a:cxn>
                  <a:cxn ang="0">
                    <a:pos x="0" y="0"/>
                  </a:cxn>
                  <a:cxn ang="0">
                    <a:pos x="8" y="6"/>
                  </a:cxn>
                </a:cxnLst>
                <a:rect l="0" t="0" r="r" b="b"/>
                <a:pathLst>
                  <a:path w="10" h="30">
                    <a:moveTo>
                      <a:pt x="8" y="6"/>
                    </a:moveTo>
                    <a:lnTo>
                      <a:pt x="8" y="6"/>
                    </a:lnTo>
                    <a:lnTo>
                      <a:pt x="10" y="18"/>
                    </a:lnTo>
                    <a:lnTo>
                      <a:pt x="10" y="24"/>
                    </a:lnTo>
                    <a:lnTo>
                      <a:pt x="10" y="30"/>
                    </a:lnTo>
                    <a:lnTo>
                      <a:pt x="8" y="30"/>
                    </a:lnTo>
                    <a:lnTo>
                      <a:pt x="6" y="22"/>
                    </a:lnTo>
                    <a:lnTo>
                      <a:pt x="8" y="16"/>
                    </a:lnTo>
                    <a:lnTo>
                      <a:pt x="6" y="20"/>
                    </a:lnTo>
                    <a:lnTo>
                      <a:pt x="2" y="16"/>
                    </a:lnTo>
                    <a:lnTo>
                      <a:pt x="4" y="10"/>
                    </a:lnTo>
                    <a:lnTo>
                      <a:pt x="0" y="4"/>
                    </a:lnTo>
                    <a:lnTo>
                      <a:pt x="0" y="0"/>
                    </a:lnTo>
                    <a:lnTo>
                      <a:pt x="8"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8" name="Freeform 1446">
                <a:extLst>
                  <a:ext uri="{FF2B5EF4-FFF2-40B4-BE49-F238E27FC236}">
                    <a16:creationId xmlns:a16="http://schemas.microsoft.com/office/drawing/2014/main" id="{28D1CE86-2278-4192-9B13-4EB513FEA934}"/>
                  </a:ext>
                </a:extLst>
              </p:cNvPr>
              <p:cNvSpPr>
                <a:spLocks/>
              </p:cNvSpPr>
              <p:nvPr/>
            </p:nvSpPr>
            <p:spPr bwMode="auto">
              <a:xfrm>
                <a:off x="1364" y="2008"/>
                <a:ext cx="10" cy="26"/>
              </a:xfrm>
              <a:custGeom>
                <a:avLst/>
                <a:gdLst/>
                <a:ahLst/>
                <a:cxnLst>
                  <a:cxn ang="0">
                    <a:pos x="0" y="4"/>
                  </a:cxn>
                  <a:cxn ang="0">
                    <a:pos x="0" y="0"/>
                  </a:cxn>
                  <a:cxn ang="0">
                    <a:pos x="6" y="0"/>
                  </a:cxn>
                  <a:cxn ang="0">
                    <a:pos x="6" y="0"/>
                  </a:cxn>
                  <a:cxn ang="0">
                    <a:pos x="8" y="8"/>
                  </a:cxn>
                  <a:cxn ang="0">
                    <a:pos x="10" y="14"/>
                  </a:cxn>
                  <a:cxn ang="0">
                    <a:pos x="4" y="8"/>
                  </a:cxn>
                  <a:cxn ang="0">
                    <a:pos x="4" y="12"/>
                  </a:cxn>
                  <a:cxn ang="0">
                    <a:pos x="10" y="16"/>
                  </a:cxn>
                  <a:cxn ang="0">
                    <a:pos x="10" y="20"/>
                  </a:cxn>
                  <a:cxn ang="0">
                    <a:pos x="6" y="20"/>
                  </a:cxn>
                  <a:cxn ang="0">
                    <a:pos x="2" y="26"/>
                  </a:cxn>
                  <a:cxn ang="0">
                    <a:pos x="0" y="26"/>
                  </a:cxn>
                  <a:cxn ang="0">
                    <a:pos x="2" y="20"/>
                  </a:cxn>
                  <a:cxn ang="0">
                    <a:pos x="4" y="18"/>
                  </a:cxn>
                  <a:cxn ang="0">
                    <a:pos x="4" y="18"/>
                  </a:cxn>
                  <a:cxn ang="0">
                    <a:pos x="0" y="12"/>
                  </a:cxn>
                  <a:cxn ang="0">
                    <a:pos x="0" y="4"/>
                  </a:cxn>
                  <a:cxn ang="0">
                    <a:pos x="0" y="4"/>
                  </a:cxn>
                </a:cxnLst>
                <a:rect l="0" t="0" r="r" b="b"/>
                <a:pathLst>
                  <a:path w="10" h="26">
                    <a:moveTo>
                      <a:pt x="0" y="4"/>
                    </a:moveTo>
                    <a:lnTo>
                      <a:pt x="0" y="0"/>
                    </a:lnTo>
                    <a:lnTo>
                      <a:pt x="6" y="0"/>
                    </a:lnTo>
                    <a:lnTo>
                      <a:pt x="6" y="0"/>
                    </a:lnTo>
                    <a:lnTo>
                      <a:pt x="8" y="8"/>
                    </a:lnTo>
                    <a:lnTo>
                      <a:pt x="10" y="14"/>
                    </a:lnTo>
                    <a:lnTo>
                      <a:pt x="4" y="8"/>
                    </a:lnTo>
                    <a:lnTo>
                      <a:pt x="4" y="12"/>
                    </a:lnTo>
                    <a:lnTo>
                      <a:pt x="10" y="16"/>
                    </a:lnTo>
                    <a:lnTo>
                      <a:pt x="10" y="20"/>
                    </a:lnTo>
                    <a:lnTo>
                      <a:pt x="6" y="20"/>
                    </a:lnTo>
                    <a:lnTo>
                      <a:pt x="2" y="26"/>
                    </a:lnTo>
                    <a:lnTo>
                      <a:pt x="0" y="26"/>
                    </a:lnTo>
                    <a:lnTo>
                      <a:pt x="2" y="20"/>
                    </a:lnTo>
                    <a:lnTo>
                      <a:pt x="4" y="18"/>
                    </a:lnTo>
                    <a:lnTo>
                      <a:pt x="4" y="18"/>
                    </a:lnTo>
                    <a:lnTo>
                      <a:pt x="0" y="12"/>
                    </a:lnTo>
                    <a:lnTo>
                      <a:pt x="0" y="4"/>
                    </a:lnTo>
                    <a:lnTo>
                      <a:pt x="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39" name="Freeform 1447">
                <a:extLst>
                  <a:ext uri="{FF2B5EF4-FFF2-40B4-BE49-F238E27FC236}">
                    <a16:creationId xmlns:a16="http://schemas.microsoft.com/office/drawing/2014/main" id="{36F13002-24E8-420F-A606-53E6AA9904E5}"/>
                  </a:ext>
                </a:extLst>
              </p:cNvPr>
              <p:cNvSpPr>
                <a:spLocks/>
              </p:cNvSpPr>
              <p:nvPr/>
            </p:nvSpPr>
            <p:spPr bwMode="auto">
              <a:xfrm>
                <a:off x="1372" y="2034"/>
                <a:ext cx="12" cy="14"/>
              </a:xfrm>
              <a:custGeom>
                <a:avLst/>
                <a:gdLst/>
                <a:ahLst/>
                <a:cxnLst>
                  <a:cxn ang="0">
                    <a:pos x="0" y="0"/>
                  </a:cxn>
                  <a:cxn ang="0">
                    <a:pos x="2" y="0"/>
                  </a:cxn>
                  <a:cxn ang="0">
                    <a:pos x="12" y="2"/>
                  </a:cxn>
                  <a:cxn ang="0">
                    <a:pos x="12" y="10"/>
                  </a:cxn>
                  <a:cxn ang="0">
                    <a:pos x="8" y="6"/>
                  </a:cxn>
                  <a:cxn ang="0">
                    <a:pos x="10" y="14"/>
                  </a:cxn>
                  <a:cxn ang="0">
                    <a:pos x="6" y="14"/>
                  </a:cxn>
                  <a:cxn ang="0">
                    <a:pos x="4" y="6"/>
                  </a:cxn>
                  <a:cxn ang="0">
                    <a:pos x="2" y="4"/>
                  </a:cxn>
                  <a:cxn ang="0">
                    <a:pos x="0" y="0"/>
                  </a:cxn>
                </a:cxnLst>
                <a:rect l="0" t="0" r="r" b="b"/>
                <a:pathLst>
                  <a:path w="12" h="14">
                    <a:moveTo>
                      <a:pt x="0" y="0"/>
                    </a:moveTo>
                    <a:lnTo>
                      <a:pt x="2" y="0"/>
                    </a:lnTo>
                    <a:lnTo>
                      <a:pt x="12" y="2"/>
                    </a:lnTo>
                    <a:lnTo>
                      <a:pt x="12" y="10"/>
                    </a:lnTo>
                    <a:lnTo>
                      <a:pt x="8" y="6"/>
                    </a:lnTo>
                    <a:lnTo>
                      <a:pt x="10" y="14"/>
                    </a:lnTo>
                    <a:lnTo>
                      <a:pt x="6" y="14"/>
                    </a:lnTo>
                    <a:lnTo>
                      <a:pt x="4" y="6"/>
                    </a:lnTo>
                    <a:lnTo>
                      <a:pt x="2" y="4"/>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0" name="Freeform 1448">
                <a:extLst>
                  <a:ext uri="{FF2B5EF4-FFF2-40B4-BE49-F238E27FC236}">
                    <a16:creationId xmlns:a16="http://schemas.microsoft.com/office/drawing/2014/main" id="{2C57BB97-FFD5-4B1B-B379-E6D88517AA53}"/>
                  </a:ext>
                </a:extLst>
              </p:cNvPr>
              <p:cNvSpPr>
                <a:spLocks/>
              </p:cNvSpPr>
              <p:nvPr/>
            </p:nvSpPr>
            <p:spPr bwMode="auto">
              <a:xfrm>
                <a:off x="1344" y="2004"/>
                <a:ext cx="16" cy="22"/>
              </a:xfrm>
              <a:custGeom>
                <a:avLst/>
                <a:gdLst/>
                <a:ahLst/>
                <a:cxnLst>
                  <a:cxn ang="0">
                    <a:pos x="16" y="6"/>
                  </a:cxn>
                  <a:cxn ang="0">
                    <a:pos x="16" y="10"/>
                  </a:cxn>
                  <a:cxn ang="0">
                    <a:pos x="14" y="10"/>
                  </a:cxn>
                  <a:cxn ang="0">
                    <a:pos x="16" y="22"/>
                  </a:cxn>
                  <a:cxn ang="0">
                    <a:pos x="8" y="14"/>
                  </a:cxn>
                  <a:cxn ang="0">
                    <a:pos x="8" y="20"/>
                  </a:cxn>
                  <a:cxn ang="0">
                    <a:pos x="8" y="22"/>
                  </a:cxn>
                  <a:cxn ang="0">
                    <a:pos x="4" y="22"/>
                  </a:cxn>
                  <a:cxn ang="0">
                    <a:pos x="6" y="20"/>
                  </a:cxn>
                  <a:cxn ang="0">
                    <a:pos x="0" y="12"/>
                  </a:cxn>
                  <a:cxn ang="0">
                    <a:pos x="6" y="0"/>
                  </a:cxn>
                  <a:cxn ang="0">
                    <a:pos x="10" y="6"/>
                  </a:cxn>
                  <a:cxn ang="0">
                    <a:pos x="16" y="6"/>
                  </a:cxn>
                </a:cxnLst>
                <a:rect l="0" t="0" r="r" b="b"/>
                <a:pathLst>
                  <a:path w="16" h="22">
                    <a:moveTo>
                      <a:pt x="16" y="6"/>
                    </a:moveTo>
                    <a:lnTo>
                      <a:pt x="16" y="10"/>
                    </a:lnTo>
                    <a:lnTo>
                      <a:pt x="14" y="10"/>
                    </a:lnTo>
                    <a:lnTo>
                      <a:pt x="16" y="22"/>
                    </a:lnTo>
                    <a:lnTo>
                      <a:pt x="8" y="14"/>
                    </a:lnTo>
                    <a:lnTo>
                      <a:pt x="8" y="20"/>
                    </a:lnTo>
                    <a:lnTo>
                      <a:pt x="8" y="22"/>
                    </a:lnTo>
                    <a:lnTo>
                      <a:pt x="4" y="22"/>
                    </a:lnTo>
                    <a:lnTo>
                      <a:pt x="6" y="20"/>
                    </a:lnTo>
                    <a:lnTo>
                      <a:pt x="0" y="12"/>
                    </a:lnTo>
                    <a:lnTo>
                      <a:pt x="6" y="0"/>
                    </a:lnTo>
                    <a:lnTo>
                      <a:pt x="10" y="6"/>
                    </a:lnTo>
                    <a:lnTo>
                      <a:pt x="16"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1" name="Freeform 1449">
                <a:extLst>
                  <a:ext uri="{FF2B5EF4-FFF2-40B4-BE49-F238E27FC236}">
                    <a16:creationId xmlns:a16="http://schemas.microsoft.com/office/drawing/2014/main" id="{EF086E7D-DE18-4C12-B8D4-AF97AEF68C68}"/>
                  </a:ext>
                </a:extLst>
              </p:cNvPr>
              <p:cNvSpPr>
                <a:spLocks/>
              </p:cNvSpPr>
              <p:nvPr/>
            </p:nvSpPr>
            <p:spPr bwMode="auto">
              <a:xfrm>
                <a:off x="1376" y="2052"/>
                <a:ext cx="20" cy="36"/>
              </a:xfrm>
              <a:custGeom>
                <a:avLst/>
                <a:gdLst/>
                <a:ahLst/>
                <a:cxnLst>
                  <a:cxn ang="0">
                    <a:pos x="12" y="8"/>
                  </a:cxn>
                  <a:cxn ang="0">
                    <a:pos x="12" y="8"/>
                  </a:cxn>
                  <a:cxn ang="0">
                    <a:pos x="14" y="14"/>
                  </a:cxn>
                  <a:cxn ang="0">
                    <a:pos x="16" y="22"/>
                  </a:cxn>
                  <a:cxn ang="0">
                    <a:pos x="20" y="26"/>
                  </a:cxn>
                  <a:cxn ang="0">
                    <a:pos x="18" y="32"/>
                  </a:cxn>
                  <a:cxn ang="0">
                    <a:pos x="20" y="36"/>
                  </a:cxn>
                  <a:cxn ang="0">
                    <a:pos x="18" y="36"/>
                  </a:cxn>
                  <a:cxn ang="0">
                    <a:pos x="12" y="26"/>
                  </a:cxn>
                  <a:cxn ang="0">
                    <a:pos x="6" y="22"/>
                  </a:cxn>
                  <a:cxn ang="0">
                    <a:pos x="8" y="22"/>
                  </a:cxn>
                  <a:cxn ang="0">
                    <a:pos x="10" y="18"/>
                  </a:cxn>
                  <a:cxn ang="0">
                    <a:pos x="4" y="16"/>
                  </a:cxn>
                  <a:cxn ang="0">
                    <a:pos x="6" y="12"/>
                  </a:cxn>
                  <a:cxn ang="0">
                    <a:pos x="6" y="4"/>
                  </a:cxn>
                  <a:cxn ang="0">
                    <a:pos x="0" y="10"/>
                  </a:cxn>
                  <a:cxn ang="0">
                    <a:pos x="2" y="4"/>
                  </a:cxn>
                  <a:cxn ang="0">
                    <a:pos x="2" y="0"/>
                  </a:cxn>
                  <a:cxn ang="0">
                    <a:pos x="6" y="0"/>
                  </a:cxn>
                  <a:cxn ang="0">
                    <a:pos x="8" y="2"/>
                  </a:cxn>
                  <a:cxn ang="0">
                    <a:pos x="8" y="6"/>
                  </a:cxn>
                  <a:cxn ang="0">
                    <a:pos x="12" y="8"/>
                  </a:cxn>
                </a:cxnLst>
                <a:rect l="0" t="0" r="r" b="b"/>
                <a:pathLst>
                  <a:path w="20" h="36">
                    <a:moveTo>
                      <a:pt x="12" y="8"/>
                    </a:moveTo>
                    <a:lnTo>
                      <a:pt x="12" y="8"/>
                    </a:lnTo>
                    <a:lnTo>
                      <a:pt x="14" y="14"/>
                    </a:lnTo>
                    <a:lnTo>
                      <a:pt x="16" y="22"/>
                    </a:lnTo>
                    <a:lnTo>
                      <a:pt x="20" y="26"/>
                    </a:lnTo>
                    <a:lnTo>
                      <a:pt x="18" y="32"/>
                    </a:lnTo>
                    <a:lnTo>
                      <a:pt x="20" y="36"/>
                    </a:lnTo>
                    <a:lnTo>
                      <a:pt x="18" y="36"/>
                    </a:lnTo>
                    <a:lnTo>
                      <a:pt x="12" y="26"/>
                    </a:lnTo>
                    <a:lnTo>
                      <a:pt x="6" y="22"/>
                    </a:lnTo>
                    <a:lnTo>
                      <a:pt x="8" y="22"/>
                    </a:lnTo>
                    <a:lnTo>
                      <a:pt x="10" y="18"/>
                    </a:lnTo>
                    <a:lnTo>
                      <a:pt x="4" y="16"/>
                    </a:lnTo>
                    <a:lnTo>
                      <a:pt x="6" y="12"/>
                    </a:lnTo>
                    <a:lnTo>
                      <a:pt x="6" y="4"/>
                    </a:lnTo>
                    <a:lnTo>
                      <a:pt x="0" y="10"/>
                    </a:lnTo>
                    <a:lnTo>
                      <a:pt x="2" y="4"/>
                    </a:lnTo>
                    <a:lnTo>
                      <a:pt x="2" y="0"/>
                    </a:lnTo>
                    <a:lnTo>
                      <a:pt x="6" y="0"/>
                    </a:lnTo>
                    <a:lnTo>
                      <a:pt x="8" y="2"/>
                    </a:lnTo>
                    <a:lnTo>
                      <a:pt x="8" y="6"/>
                    </a:lnTo>
                    <a:lnTo>
                      <a:pt x="12"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2" name="Freeform 1450">
                <a:extLst>
                  <a:ext uri="{FF2B5EF4-FFF2-40B4-BE49-F238E27FC236}">
                    <a16:creationId xmlns:a16="http://schemas.microsoft.com/office/drawing/2014/main" id="{BF58F042-DEBA-4AB2-97B2-6527BC0BFFA7}"/>
                  </a:ext>
                </a:extLst>
              </p:cNvPr>
              <p:cNvSpPr>
                <a:spLocks/>
              </p:cNvSpPr>
              <p:nvPr/>
            </p:nvSpPr>
            <p:spPr bwMode="auto">
              <a:xfrm>
                <a:off x="1398" y="2066"/>
                <a:ext cx="10" cy="16"/>
              </a:xfrm>
              <a:custGeom>
                <a:avLst/>
                <a:gdLst/>
                <a:ahLst/>
                <a:cxnLst>
                  <a:cxn ang="0">
                    <a:pos x="8" y="14"/>
                  </a:cxn>
                  <a:cxn ang="0">
                    <a:pos x="8" y="16"/>
                  </a:cxn>
                  <a:cxn ang="0">
                    <a:pos x="10" y="6"/>
                  </a:cxn>
                  <a:cxn ang="0">
                    <a:pos x="6" y="0"/>
                  </a:cxn>
                  <a:cxn ang="0">
                    <a:pos x="2" y="0"/>
                  </a:cxn>
                  <a:cxn ang="0">
                    <a:pos x="2" y="2"/>
                  </a:cxn>
                  <a:cxn ang="0">
                    <a:pos x="0" y="10"/>
                  </a:cxn>
                  <a:cxn ang="0">
                    <a:pos x="2" y="12"/>
                  </a:cxn>
                  <a:cxn ang="0">
                    <a:pos x="6" y="6"/>
                  </a:cxn>
                  <a:cxn ang="0">
                    <a:pos x="8" y="14"/>
                  </a:cxn>
                </a:cxnLst>
                <a:rect l="0" t="0" r="r" b="b"/>
                <a:pathLst>
                  <a:path w="10" h="16">
                    <a:moveTo>
                      <a:pt x="8" y="14"/>
                    </a:moveTo>
                    <a:lnTo>
                      <a:pt x="8" y="16"/>
                    </a:lnTo>
                    <a:lnTo>
                      <a:pt x="10" y="6"/>
                    </a:lnTo>
                    <a:lnTo>
                      <a:pt x="6" y="0"/>
                    </a:lnTo>
                    <a:lnTo>
                      <a:pt x="2" y="0"/>
                    </a:lnTo>
                    <a:lnTo>
                      <a:pt x="2" y="2"/>
                    </a:lnTo>
                    <a:lnTo>
                      <a:pt x="0" y="10"/>
                    </a:lnTo>
                    <a:lnTo>
                      <a:pt x="2" y="12"/>
                    </a:lnTo>
                    <a:lnTo>
                      <a:pt x="6" y="6"/>
                    </a:lnTo>
                    <a:lnTo>
                      <a:pt x="8"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3" name="Line 1451">
                <a:extLst>
                  <a:ext uri="{FF2B5EF4-FFF2-40B4-BE49-F238E27FC236}">
                    <a16:creationId xmlns:a16="http://schemas.microsoft.com/office/drawing/2014/main" id="{B1265BB2-614E-4B37-B1E5-D805E6B1B808}"/>
                  </a:ext>
                </a:extLst>
              </p:cNvPr>
              <p:cNvSpPr>
                <a:spLocks noChangeShapeType="1"/>
              </p:cNvSpPr>
              <p:nvPr/>
            </p:nvSpPr>
            <p:spPr bwMode="auto">
              <a:xfrm>
                <a:off x="990" y="2102"/>
                <a:ext cx="1" cy="1"/>
              </a:xfrm>
              <a:prstGeom prst="line">
                <a:avLst/>
              </a:prstGeom>
              <a:grpFill/>
              <a:ln w="3175">
                <a:solidFill>
                  <a:schemeClr val="bg1"/>
                </a:solidFill>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4" name="Freeform 1452">
                <a:extLst>
                  <a:ext uri="{FF2B5EF4-FFF2-40B4-BE49-F238E27FC236}">
                    <a16:creationId xmlns:a16="http://schemas.microsoft.com/office/drawing/2014/main" id="{B34DED65-4D1F-4F28-BEC5-DA3EE264BC56}"/>
                  </a:ext>
                </a:extLst>
              </p:cNvPr>
              <p:cNvSpPr>
                <a:spLocks/>
              </p:cNvSpPr>
              <p:nvPr/>
            </p:nvSpPr>
            <p:spPr bwMode="auto">
              <a:xfrm>
                <a:off x="1124" y="2014"/>
                <a:ext cx="26" cy="28"/>
              </a:xfrm>
              <a:custGeom>
                <a:avLst/>
                <a:gdLst/>
                <a:ahLst/>
                <a:cxnLst>
                  <a:cxn ang="0">
                    <a:pos x="0" y="14"/>
                  </a:cxn>
                  <a:cxn ang="0">
                    <a:pos x="0" y="14"/>
                  </a:cxn>
                  <a:cxn ang="0">
                    <a:pos x="4" y="8"/>
                  </a:cxn>
                  <a:cxn ang="0">
                    <a:pos x="10" y="4"/>
                  </a:cxn>
                  <a:cxn ang="0">
                    <a:pos x="10" y="2"/>
                  </a:cxn>
                  <a:cxn ang="0">
                    <a:pos x="12" y="0"/>
                  </a:cxn>
                  <a:cxn ang="0">
                    <a:pos x="14" y="6"/>
                  </a:cxn>
                  <a:cxn ang="0">
                    <a:pos x="26" y="0"/>
                  </a:cxn>
                  <a:cxn ang="0">
                    <a:pos x="26" y="8"/>
                  </a:cxn>
                  <a:cxn ang="0">
                    <a:pos x="22" y="10"/>
                  </a:cxn>
                  <a:cxn ang="0">
                    <a:pos x="22" y="10"/>
                  </a:cxn>
                  <a:cxn ang="0">
                    <a:pos x="16" y="16"/>
                  </a:cxn>
                  <a:cxn ang="0">
                    <a:pos x="14" y="22"/>
                  </a:cxn>
                  <a:cxn ang="0">
                    <a:pos x="12" y="26"/>
                  </a:cxn>
                  <a:cxn ang="0">
                    <a:pos x="8" y="28"/>
                  </a:cxn>
                  <a:cxn ang="0">
                    <a:pos x="8" y="28"/>
                  </a:cxn>
                  <a:cxn ang="0">
                    <a:pos x="4" y="22"/>
                  </a:cxn>
                  <a:cxn ang="0">
                    <a:pos x="0" y="14"/>
                  </a:cxn>
                  <a:cxn ang="0">
                    <a:pos x="0" y="14"/>
                  </a:cxn>
                </a:cxnLst>
                <a:rect l="0" t="0" r="r" b="b"/>
                <a:pathLst>
                  <a:path w="26" h="28">
                    <a:moveTo>
                      <a:pt x="0" y="14"/>
                    </a:moveTo>
                    <a:lnTo>
                      <a:pt x="0" y="14"/>
                    </a:lnTo>
                    <a:lnTo>
                      <a:pt x="4" y="8"/>
                    </a:lnTo>
                    <a:lnTo>
                      <a:pt x="10" y="4"/>
                    </a:lnTo>
                    <a:lnTo>
                      <a:pt x="10" y="2"/>
                    </a:lnTo>
                    <a:lnTo>
                      <a:pt x="12" y="0"/>
                    </a:lnTo>
                    <a:lnTo>
                      <a:pt x="14" y="6"/>
                    </a:lnTo>
                    <a:lnTo>
                      <a:pt x="26" y="0"/>
                    </a:lnTo>
                    <a:lnTo>
                      <a:pt x="26" y="8"/>
                    </a:lnTo>
                    <a:lnTo>
                      <a:pt x="22" y="10"/>
                    </a:lnTo>
                    <a:lnTo>
                      <a:pt x="22" y="10"/>
                    </a:lnTo>
                    <a:lnTo>
                      <a:pt x="16" y="16"/>
                    </a:lnTo>
                    <a:lnTo>
                      <a:pt x="14" y="22"/>
                    </a:lnTo>
                    <a:lnTo>
                      <a:pt x="12" y="26"/>
                    </a:lnTo>
                    <a:lnTo>
                      <a:pt x="8" y="28"/>
                    </a:lnTo>
                    <a:lnTo>
                      <a:pt x="8" y="28"/>
                    </a:lnTo>
                    <a:lnTo>
                      <a:pt x="4" y="22"/>
                    </a:lnTo>
                    <a:lnTo>
                      <a:pt x="0" y="14"/>
                    </a:lnTo>
                    <a:lnTo>
                      <a:pt x="0"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5" name="Freeform 1453">
                <a:extLst>
                  <a:ext uri="{FF2B5EF4-FFF2-40B4-BE49-F238E27FC236}">
                    <a16:creationId xmlns:a16="http://schemas.microsoft.com/office/drawing/2014/main" id="{9CD31F4B-EF08-4379-B588-36D7FF8D73DD}"/>
                  </a:ext>
                </a:extLst>
              </p:cNvPr>
              <p:cNvSpPr>
                <a:spLocks/>
              </p:cNvSpPr>
              <p:nvPr/>
            </p:nvSpPr>
            <p:spPr bwMode="auto">
              <a:xfrm>
                <a:off x="1142" y="2002"/>
                <a:ext cx="14" cy="10"/>
              </a:xfrm>
              <a:custGeom>
                <a:avLst/>
                <a:gdLst/>
                <a:ahLst/>
                <a:cxnLst>
                  <a:cxn ang="0">
                    <a:pos x="6" y="4"/>
                  </a:cxn>
                  <a:cxn ang="0">
                    <a:pos x="4" y="2"/>
                  </a:cxn>
                  <a:cxn ang="0">
                    <a:pos x="6" y="0"/>
                  </a:cxn>
                  <a:cxn ang="0">
                    <a:pos x="10" y="0"/>
                  </a:cxn>
                  <a:cxn ang="0">
                    <a:pos x="10" y="2"/>
                  </a:cxn>
                  <a:cxn ang="0">
                    <a:pos x="12" y="0"/>
                  </a:cxn>
                  <a:cxn ang="0">
                    <a:pos x="14" y="6"/>
                  </a:cxn>
                  <a:cxn ang="0">
                    <a:pos x="4" y="10"/>
                  </a:cxn>
                  <a:cxn ang="0">
                    <a:pos x="0" y="6"/>
                  </a:cxn>
                  <a:cxn ang="0">
                    <a:pos x="6" y="4"/>
                  </a:cxn>
                </a:cxnLst>
                <a:rect l="0" t="0" r="r" b="b"/>
                <a:pathLst>
                  <a:path w="14" h="10">
                    <a:moveTo>
                      <a:pt x="6" y="4"/>
                    </a:moveTo>
                    <a:lnTo>
                      <a:pt x="4" y="2"/>
                    </a:lnTo>
                    <a:lnTo>
                      <a:pt x="6" y="0"/>
                    </a:lnTo>
                    <a:lnTo>
                      <a:pt x="10" y="0"/>
                    </a:lnTo>
                    <a:lnTo>
                      <a:pt x="10" y="2"/>
                    </a:lnTo>
                    <a:lnTo>
                      <a:pt x="12" y="0"/>
                    </a:lnTo>
                    <a:lnTo>
                      <a:pt x="14" y="6"/>
                    </a:lnTo>
                    <a:lnTo>
                      <a:pt x="4" y="10"/>
                    </a:lnTo>
                    <a:lnTo>
                      <a:pt x="0" y="6"/>
                    </a:lnTo>
                    <a:lnTo>
                      <a:pt x="6"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6" name="Freeform 1454">
                <a:extLst>
                  <a:ext uri="{FF2B5EF4-FFF2-40B4-BE49-F238E27FC236}">
                    <a16:creationId xmlns:a16="http://schemas.microsoft.com/office/drawing/2014/main" id="{311BAD82-0C8A-47F2-933F-DE0670F68B05}"/>
                  </a:ext>
                </a:extLst>
              </p:cNvPr>
              <p:cNvSpPr>
                <a:spLocks/>
              </p:cNvSpPr>
              <p:nvPr/>
            </p:nvSpPr>
            <p:spPr bwMode="auto">
              <a:xfrm>
                <a:off x="1048" y="1992"/>
                <a:ext cx="4" cy="6"/>
              </a:xfrm>
              <a:custGeom>
                <a:avLst/>
                <a:gdLst/>
                <a:ahLst/>
                <a:cxnLst>
                  <a:cxn ang="0">
                    <a:pos x="4" y="0"/>
                  </a:cxn>
                  <a:cxn ang="0">
                    <a:pos x="2" y="6"/>
                  </a:cxn>
                  <a:cxn ang="0">
                    <a:pos x="0" y="6"/>
                  </a:cxn>
                  <a:cxn ang="0">
                    <a:pos x="0" y="2"/>
                  </a:cxn>
                  <a:cxn ang="0">
                    <a:pos x="4" y="0"/>
                  </a:cxn>
                </a:cxnLst>
                <a:rect l="0" t="0" r="r" b="b"/>
                <a:pathLst>
                  <a:path w="4" h="6">
                    <a:moveTo>
                      <a:pt x="4" y="0"/>
                    </a:moveTo>
                    <a:lnTo>
                      <a:pt x="2" y="6"/>
                    </a:lnTo>
                    <a:lnTo>
                      <a:pt x="0" y="6"/>
                    </a:lnTo>
                    <a:lnTo>
                      <a:pt x="0"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7" name="Freeform 1455">
                <a:extLst>
                  <a:ext uri="{FF2B5EF4-FFF2-40B4-BE49-F238E27FC236}">
                    <a16:creationId xmlns:a16="http://schemas.microsoft.com/office/drawing/2014/main" id="{70BEBFBF-51A7-4A44-8BA4-E0F906145E76}"/>
                  </a:ext>
                </a:extLst>
              </p:cNvPr>
              <p:cNvSpPr>
                <a:spLocks/>
              </p:cNvSpPr>
              <p:nvPr/>
            </p:nvSpPr>
            <p:spPr bwMode="auto">
              <a:xfrm>
                <a:off x="970" y="1954"/>
                <a:ext cx="24" cy="14"/>
              </a:xfrm>
              <a:custGeom>
                <a:avLst/>
                <a:gdLst/>
                <a:ahLst/>
                <a:cxnLst>
                  <a:cxn ang="0">
                    <a:pos x="0" y="2"/>
                  </a:cxn>
                  <a:cxn ang="0">
                    <a:pos x="0" y="2"/>
                  </a:cxn>
                  <a:cxn ang="0">
                    <a:pos x="12" y="0"/>
                  </a:cxn>
                  <a:cxn ang="0">
                    <a:pos x="18" y="0"/>
                  </a:cxn>
                  <a:cxn ang="0">
                    <a:pos x="22" y="2"/>
                  </a:cxn>
                  <a:cxn ang="0">
                    <a:pos x="22" y="6"/>
                  </a:cxn>
                  <a:cxn ang="0">
                    <a:pos x="24" y="8"/>
                  </a:cxn>
                  <a:cxn ang="0">
                    <a:pos x="16" y="14"/>
                  </a:cxn>
                  <a:cxn ang="0">
                    <a:pos x="6" y="8"/>
                  </a:cxn>
                  <a:cxn ang="0">
                    <a:pos x="0" y="2"/>
                  </a:cxn>
                </a:cxnLst>
                <a:rect l="0" t="0" r="r" b="b"/>
                <a:pathLst>
                  <a:path w="24" h="14">
                    <a:moveTo>
                      <a:pt x="0" y="2"/>
                    </a:moveTo>
                    <a:lnTo>
                      <a:pt x="0" y="2"/>
                    </a:lnTo>
                    <a:lnTo>
                      <a:pt x="12" y="0"/>
                    </a:lnTo>
                    <a:lnTo>
                      <a:pt x="18" y="0"/>
                    </a:lnTo>
                    <a:lnTo>
                      <a:pt x="22" y="2"/>
                    </a:lnTo>
                    <a:lnTo>
                      <a:pt x="22" y="6"/>
                    </a:lnTo>
                    <a:lnTo>
                      <a:pt x="24" y="8"/>
                    </a:lnTo>
                    <a:lnTo>
                      <a:pt x="16" y="14"/>
                    </a:lnTo>
                    <a:lnTo>
                      <a:pt x="6" y="8"/>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8" name="Freeform 1456">
                <a:extLst>
                  <a:ext uri="{FF2B5EF4-FFF2-40B4-BE49-F238E27FC236}">
                    <a16:creationId xmlns:a16="http://schemas.microsoft.com/office/drawing/2014/main" id="{1853B87C-E1CE-4408-8603-F706186922FE}"/>
                  </a:ext>
                </a:extLst>
              </p:cNvPr>
              <p:cNvSpPr>
                <a:spLocks/>
              </p:cNvSpPr>
              <p:nvPr/>
            </p:nvSpPr>
            <p:spPr bwMode="auto">
              <a:xfrm>
                <a:off x="998" y="1940"/>
                <a:ext cx="12" cy="14"/>
              </a:xfrm>
              <a:custGeom>
                <a:avLst/>
                <a:gdLst/>
                <a:ahLst/>
                <a:cxnLst>
                  <a:cxn ang="0">
                    <a:pos x="0" y="6"/>
                  </a:cxn>
                  <a:cxn ang="0">
                    <a:pos x="4" y="0"/>
                  </a:cxn>
                  <a:cxn ang="0">
                    <a:pos x="10" y="4"/>
                  </a:cxn>
                  <a:cxn ang="0">
                    <a:pos x="12" y="6"/>
                  </a:cxn>
                  <a:cxn ang="0">
                    <a:pos x="6" y="14"/>
                  </a:cxn>
                  <a:cxn ang="0">
                    <a:pos x="4" y="8"/>
                  </a:cxn>
                  <a:cxn ang="0">
                    <a:pos x="0" y="6"/>
                  </a:cxn>
                </a:cxnLst>
                <a:rect l="0" t="0" r="r" b="b"/>
                <a:pathLst>
                  <a:path w="12" h="14">
                    <a:moveTo>
                      <a:pt x="0" y="6"/>
                    </a:moveTo>
                    <a:lnTo>
                      <a:pt x="4" y="0"/>
                    </a:lnTo>
                    <a:lnTo>
                      <a:pt x="10" y="4"/>
                    </a:lnTo>
                    <a:lnTo>
                      <a:pt x="12" y="6"/>
                    </a:lnTo>
                    <a:lnTo>
                      <a:pt x="6" y="14"/>
                    </a:lnTo>
                    <a:lnTo>
                      <a:pt x="4" y="8"/>
                    </a:lnTo>
                    <a:lnTo>
                      <a:pt x="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49" name="Freeform 1457">
                <a:extLst>
                  <a:ext uri="{FF2B5EF4-FFF2-40B4-BE49-F238E27FC236}">
                    <a16:creationId xmlns:a16="http://schemas.microsoft.com/office/drawing/2014/main" id="{1CDDD867-72AF-4933-B152-12744D37D42D}"/>
                  </a:ext>
                </a:extLst>
              </p:cNvPr>
              <p:cNvSpPr>
                <a:spLocks/>
              </p:cNvSpPr>
              <p:nvPr/>
            </p:nvSpPr>
            <p:spPr bwMode="auto">
              <a:xfrm>
                <a:off x="1922" y="2340"/>
                <a:ext cx="40" cy="66"/>
              </a:xfrm>
              <a:custGeom>
                <a:avLst/>
                <a:gdLst/>
                <a:ahLst/>
                <a:cxnLst>
                  <a:cxn ang="0">
                    <a:pos x="8" y="0"/>
                  </a:cxn>
                  <a:cxn ang="0">
                    <a:pos x="12" y="2"/>
                  </a:cxn>
                  <a:cxn ang="0">
                    <a:pos x="14" y="0"/>
                  </a:cxn>
                  <a:cxn ang="0">
                    <a:pos x="40" y="0"/>
                  </a:cxn>
                  <a:cxn ang="0">
                    <a:pos x="40" y="44"/>
                  </a:cxn>
                  <a:cxn ang="0">
                    <a:pos x="40" y="44"/>
                  </a:cxn>
                  <a:cxn ang="0">
                    <a:pos x="40" y="50"/>
                  </a:cxn>
                  <a:cxn ang="0">
                    <a:pos x="40" y="50"/>
                  </a:cxn>
                  <a:cxn ang="0">
                    <a:pos x="36" y="50"/>
                  </a:cxn>
                  <a:cxn ang="0">
                    <a:pos x="32" y="50"/>
                  </a:cxn>
                  <a:cxn ang="0">
                    <a:pos x="32" y="54"/>
                  </a:cxn>
                  <a:cxn ang="0">
                    <a:pos x="30" y="54"/>
                  </a:cxn>
                  <a:cxn ang="0">
                    <a:pos x="30" y="58"/>
                  </a:cxn>
                  <a:cxn ang="0">
                    <a:pos x="28" y="58"/>
                  </a:cxn>
                  <a:cxn ang="0">
                    <a:pos x="26" y="62"/>
                  </a:cxn>
                  <a:cxn ang="0">
                    <a:pos x="26" y="62"/>
                  </a:cxn>
                  <a:cxn ang="0">
                    <a:pos x="22" y="58"/>
                  </a:cxn>
                  <a:cxn ang="0">
                    <a:pos x="22" y="60"/>
                  </a:cxn>
                  <a:cxn ang="0">
                    <a:pos x="20" y="60"/>
                  </a:cxn>
                  <a:cxn ang="0">
                    <a:pos x="18" y="64"/>
                  </a:cxn>
                  <a:cxn ang="0">
                    <a:pos x="16" y="62"/>
                  </a:cxn>
                  <a:cxn ang="0">
                    <a:pos x="12" y="66"/>
                  </a:cxn>
                  <a:cxn ang="0">
                    <a:pos x="6" y="62"/>
                  </a:cxn>
                  <a:cxn ang="0">
                    <a:pos x="6" y="64"/>
                  </a:cxn>
                  <a:cxn ang="0">
                    <a:pos x="6" y="64"/>
                  </a:cxn>
                  <a:cxn ang="0">
                    <a:pos x="4" y="64"/>
                  </a:cxn>
                  <a:cxn ang="0">
                    <a:pos x="2" y="66"/>
                  </a:cxn>
                  <a:cxn ang="0">
                    <a:pos x="2" y="66"/>
                  </a:cxn>
                  <a:cxn ang="0">
                    <a:pos x="0" y="64"/>
                  </a:cxn>
                  <a:cxn ang="0">
                    <a:pos x="2" y="64"/>
                  </a:cxn>
                  <a:cxn ang="0">
                    <a:pos x="2" y="60"/>
                  </a:cxn>
                  <a:cxn ang="0">
                    <a:pos x="2" y="60"/>
                  </a:cxn>
                  <a:cxn ang="0">
                    <a:pos x="2" y="60"/>
                  </a:cxn>
                  <a:cxn ang="0">
                    <a:pos x="2" y="58"/>
                  </a:cxn>
                  <a:cxn ang="0">
                    <a:pos x="2" y="58"/>
                  </a:cxn>
                  <a:cxn ang="0">
                    <a:pos x="6" y="52"/>
                  </a:cxn>
                  <a:cxn ang="0">
                    <a:pos x="8" y="48"/>
                  </a:cxn>
                  <a:cxn ang="0">
                    <a:pos x="6" y="44"/>
                  </a:cxn>
                  <a:cxn ang="0">
                    <a:pos x="6" y="44"/>
                  </a:cxn>
                  <a:cxn ang="0">
                    <a:pos x="8" y="36"/>
                  </a:cxn>
                  <a:cxn ang="0">
                    <a:pos x="8" y="22"/>
                  </a:cxn>
                  <a:cxn ang="0">
                    <a:pos x="8" y="0"/>
                  </a:cxn>
                  <a:cxn ang="0">
                    <a:pos x="8" y="0"/>
                  </a:cxn>
                </a:cxnLst>
                <a:rect l="0" t="0" r="r" b="b"/>
                <a:pathLst>
                  <a:path w="40" h="66">
                    <a:moveTo>
                      <a:pt x="8" y="0"/>
                    </a:moveTo>
                    <a:lnTo>
                      <a:pt x="12" y="2"/>
                    </a:lnTo>
                    <a:lnTo>
                      <a:pt x="14" y="0"/>
                    </a:lnTo>
                    <a:lnTo>
                      <a:pt x="40" y="0"/>
                    </a:lnTo>
                    <a:lnTo>
                      <a:pt x="40" y="44"/>
                    </a:lnTo>
                    <a:lnTo>
                      <a:pt x="40" y="44"/>
                    </a:lnTo>
                    <a:lnTo>
                      <a:pt x="40" y="50"/>
                    </a:lnTo>
                    <a:lnTo>
                      <a:pt x="40" y="50"/>
                    </a:lnTo>
                    <a:lnTo>
                      <a:pt x="36" y="50"/>
                    </a:lnTo>
                    <a:lnTo>
                      <a:pt x="32" y="50"/>
                    </a:lnTo>
                    <a:lnTo>
                      <a:pt x="32" y="54"/>
                    </a:lnTo>
                    <a:lnTo>
                      <a:pt x="30" y="54"/>
                    </a:lnTo>
                    <a:lnTo>
                      <a:pt x="30" y="58"/>
                    </a:lnTo>
                    <a:lnTo>
                      <a:pt x="28" y="58"/>
                    </a:lnTo>
                    <a:lnTo>
                      <a:pt x="26" y="62"/>
                    </a:lnTo>
                    <a:lnTo>
                      <a:pt x="26" y="62"/>
                    </a:lnTo>
                    <a:lnTo>
                      <a:pt x="22" y="58"/>
                    </a:lnTo>
                    <a:lnTo>
                      <a:pt x="22" y="60"/>
                    </a:lnTo>
                    <a:lnTo>
                      <a:pt x="20" y="60"/>
                    </a:lnTo>
                    <a:lnTo>
                      <a:pt x="18" y="64"/>
                    </a:lnTo>
                    <a:lnTo>
                      <a:pt x="16" y="62"/>
                    </a:lnTo>
                    <a:lnTo>
                      <a:pt x="12" y="66"/>
                    </a:lnTo>
                    <a:lnTo>
                      <a:pt x="6" y="62"/>
                    </a:lnTo>
                    <a:lnTo>
                      <a:pt x="6" y="64"/>
                    </a:lnTo>
                    <a:lnTo>
                      <a:pt x="6" y="64"/>
                    </a:lnTo>
                    <a:lnTo>
                      <a:pt x="4" y="64"/>
                    </a:lnTo>
                    <a:lnTo>
                      <a:pt x="2" y="66"/>
                    </a:lnTo>
                    <a:lnTo>
                      <a:pt x="2" y="66"/>
                    </a:lnTo>
                    <a:lnTo>
                      <a:pt x="0" y="64"/>
                    </a:lnTo>
                    <a:lnTo>
                      <a:pt x="2" y="64"/>
                    </a:lnTo>
                    <a:lnTo>
                      <a:pt x="2" y="60"/>
                    </a:lnTo>
                    <a:lnTo>
                      <a:pt x="2" y="60"/>
                    </a:lnTo>
                    <a:lnTo>
                      <a:pt x="2" y="60"/>
                    </a:lnTo>
                    <a:lnTo>
                      <a:pt x="2" y="58"/>
                    </a:lnTo>
                    <a:lnTo>
                      <a:pt x="2" y="58"/>
                    </a:lnTo>
                    <a:lnTo>
                      <a:pt x="6" y="52"/>
                    </a:lnTo>
                    <a:lnTo>
                      <a:pt x="8" y="48"/>
                    </a:lnTo>
                    <a:lnTo>
                      <a:pt x="6" y="44"/>
                    </a:lnTo>
                    <a:lnTo>
                      <a:pt x="6" y="44"/>
                    </a:lnTo>
                    <a:lnTo>
                      <a:pt x="8" y="36"/>
                    </a:lnTo>
                    <a:lnTo>
                      <a:pt x="8" y="22"/>
                    </a:lnTo>
                    <a:lnTo>
                      <a:pt x="8" y="0"/>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0" name="Freeform 1458">
                <a:extLst>
                  <a:ext uri="{FF2B5EF4-FFF2-40B4-BE49-F238E27FC236}">
                    <a16:creationId xmlns:a16="http://schemas.microsoft.com/office/drawing/2014/main" id="{58C3B496-5006-4550-AB5F-A48BEEFB4E6C}"/>
                  </a:ext>
                </a:extLst>
              </p:cNvPr>
              <p:cNvSpPr>
                <a:spLocks/>
              </p:cNvSpPr>
              <p:nvPr/>
            </p:nvSpPr>
            <p:spPr bwMode="auto">
              <a:xfrm>
                <a:off x="1952" y="2450"/>
                <a:ext cx="56" cy="70"/>
              </a:xfrm>
              <a:custGeom>
                <a:avLst/>
                <a:gdLst/>
                <a:ahLst/>
                <a:cxnLst>
                  <a:cxn ang="0">
                    <a:pos x="50" y="64"/>
                  </a:cxn>
                  <a:cxn ang="0">
                    <a:pos x="50" y="64"/>
                  </a:cxn>
                  <a:cxn ang="0">
                    <a:pos x="52" y="54"/>
                  </a:cxn>
                  <a:cxn ang="0">
                    <a:pos x="54" y="48"/>
                  </a:cxn>
                  <a:cxn ang="0">
                    <a:pos x="56" y="46"/>
                  </a:cxn>
                  <a:cxn ang="0">
                    <a:pos x="54" y="44"/>
                  </a:cxn>
                  <a:cxn ang="0">
                    <a:pos x="52" y="38"/>
                  </a:cxn>
                  <a:cxn ang="0">
                    <a:pos x="50" y="36"/>
                  </a:cxn>
                  <a:cxn ang="0">
                    <a:pos x="50" y="30"/>
                  </a:cxn>
                  <a:cxn ang="0">
                    <a:pos x="50" y="30"/>
                  </a:cxn>
                  <a:cxn ang="0">
                    <a:pos x="48" y="28"/>
                  </a:cxn>
                  <a:cxn ang="0">
                    <a:pos x="44" y="26"/>
                  </a:cxn>
                  <a:cxn ang="0">
                    <a:pos x="40" y="18"/>
                  </a:cxn>
                  <a:cxn ang="0">
                    <a:pos x="34" y="10"/>
                  </a:cxn>
                  <a:cxn ang="0">
                    <a:pos x="30" y="6"/>
                  </a:cxn>
                  <a:cxn ang="0">
                    <a:pos x="28" y="4"/>
                  </a:cxn>
                  <a:cxn ang="0">
                    <a:pos x="30" y="0"/>
                  </a:cxn>
                  <a:cxn ang="0">
                    <a:pos x="0" y="0"/>
                  </a:cxn>
                  <a:cxn ang="0">
                    <a:pos x="0" y="0"/>
                  </a:cxn>
                  <a:cxn ang="0">
                    <a:pos x="4" y="20"/>
                  </a:cxn>
                  <a:cxn ang="0">
                    <a:pos x="6" y="32"/>
                  </a:cxn>
                  <a:cxn ang="0">
                    <a:pos x="8" y="40"/>
                  </a:cxn>
                  <a:cxn ang="0">
                    <a:pos x="8" y="40"/>
                  </a:cxn>
                  <a:cxn ang="0">
                    <a:pos x="8" y="40"/>
                  </a:cxn>
                  <a:cxn ang="0">
                    <a:pos x="8" y="42"/>
                  </a:cxn>
                  <a:cxn ang="0">
                    <a:pos x="6" y="44"/>
                  </a:cxn>
                  <a:cxn ang="0">
                    <a:pos x="6" y="48"/>
                  </a:cxn>
                  <a:cxn ang="0">
                    <a:pos x="8" y="50"/>
                  </a:cxn>
                  <a:cxn ang="0">
                    <a:pos x="6" y="58"/>
                  </a:cxn>
                  <a:cxn ang="0">
                    <a:pos x="6" y="58"/>
                  </a:cxn>
                  <a:cxn ang="0">
                    <a:pos x="10" y="64"/>
                  </a:cxn>
                  <a:cxn ang="0">
                    <a:pos x="40" y="68"/>
                  </a:cxn>
                  <a:cxn ang="0">
                    <a:pos x="42" y="70"/>
                  </a:cxn>
                  <a:cxn ang="0">
                    <a:pos x="44" y="70"/>
                  </a:cxn>
                  <a:cxn ang="0">
                    <a:pos x="44" y="64"/>
                  </a:cxn>
                  <a:cxn ang="0">
                    <a:pos x="44" y="64"/>
                  </a:cxn>
                  <a:cxn ang="0">
                    <a:pos x="50" y="64"/>
                  </a:cxn>
                </a:cxnLst>
                <a:rect l="0" t="0" r="r" b="b"/>
                <a:pathLst>
                  <a:path w="56" h="70">
                    <a:moveTo>
                      <a:pt x="50" y="64"/>
                    </a:moveTo>
                    <a:lnTo>
                      <a:pt x="50" y="64"/>
                    </a:lnTo>
                    <a:lnTo>
                      <a:pt x="52" y="54"/>
                    </a:lnTo>
                    <a:lnTo>
                      <a:pt x="54" y="48"/>
                    </a:lnTo>
                    <a:lnTo>
                      <a:pt x="56" y="46"/>
                    </a:lnTo>
                    <a:lnTo>
                      <a:pt x="54" y="44"/>
                    </a:lnTo>
                    <a:lnTo>
                      <a:pt x="52" y="38"/>
                    </a:lnTo>
                    <a:lnTo>
                      <a:pt x="50" y="36"/>
                    </a:lnTo>
                    <a:lnTo>
                      <a:pt x="50" y="30"/>
                    </a:lnTo>
                    <a:lnTo>
                      <a:pt x="50" y="30"/>
                    </a:lnTo>
                    <a:lnTo>
                      <a:pt x="48" y="28"/>
                    </a:lnTo>
                    <a:lnTo>
                      <a:pt x="44" y="26"/>
                    </a:lnTo>
                    <a:lnTo>
                      <a:pt x="40" y="18"/>
                    </a:lnTo>
                    <a:lnTo>
                      <a:pt x="34" y="10"/>
                    </a:lnTo>
                    <a:lnTo>
                      <a:pt x="30" y="6"/>
                    </a:lnTo>
                    <a:lnTo>
                      <a:pt x="28" y="4"/>
                    </a:lnTo>
                    <a:lnTo>
                      <a:pt x="30" y="0"/>
                    </a:lnTo>
                    <a:lnTo>
                      <a:pt x="0" y="0"/>
                    </a:lnTo>
                    <a:lnTo>
                      <a:pt x="0" y="0"/>
                    </a:lnTo>
                    <a:lnTo>
                      <a:pt x="4" y="20"/>
                    </a:lnTo>
                    <a:lnTo>
                      <a:pt x="6" y="32"/>
                    </a:lnTo>
                    <a:lnTo>
                      <a:pt x="8" y="40"/>
                    </a:lnTo>
                    <a:lnTo>
                      <a:pt x="8" y="40"/>
                    </a:lnTo>
                    <a:lnTo>
                      <a:pt x="8" y="40"/>
                    </a:lnTo>
                    <a:lnTo>
                      <a:pt x="8" y="42"/>
                    </a:lnTo>
                    <a:lnTo>
                      <a:pt x="6" y="44"/>
                    </a:lnTo>
                    <a:lnTo>
                      <a:pt x="6" y="48"/>
                    </a:lnTo>
                    <a:lnTo>
                      <a:pt x="8" y="50"/>
                    </a:lnTo>
                    <a:lnTo>
                      <a:pt x="6" y="58"/>
                    </a:lnTo>
                    <a:lnTo>
                      <a:pt x="6" y="58"/>
                    </a:lnTo>
                    <a:lnTo>
                      <a:pt x="10" y="64"/>
                    </a:lnTo>
                    <a:lnTo>
                      <a:pt x="40" y="68"/>
                    </a:lnTo>
                    <a:lnTo>
                      <a:pt x="42" y="70"/>
                    </a:lnTo>
                    <a:lnTo>
                      <a:pt x="44" y="70"/>
                    </a:lnTo>
                    <a:lnTo>
                      <a:pt x="44" y="64"/>
                    </a:lnTo>
                    <a:lnTo>
                      <a:pt x="44" y="64"/>
                    </a:lnTo>
                    <a:lnTo>
                      <a:pt x="50" y="6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1" name="Freeform 1459">
                <a:extLst>
                  <a:ext uri="{FF2B5EF4-FFF2-40B4-BE49-F238E27FC236}">
                    <a16:creationId xmlns:a16="http://schemas.microsoft.com/office/drawing/2014/main" id="{3D58ACE4-7F61-4E63-9AD6-B618DF4CF2FA}"/>
                  </a:ext>
                </a:extLst>
              </p:cNvPr>
              <p:cNvSpPr>
                <a:spLocks/>
              </p:cNvSpPr>
              <p:nvPr/>
            </p:nvSpPr>
            <p:spPr bwMode="auto">
              <a:xfrm>
                <a:off x="1672" y="2418"/>
                <a:ext cx="72" cy="88"/>
              </a:xfrm>
              <a:custGeom>
                <a:avLst/>
                <a:gdLst/>
                <a:ahLst/>
                <a:cxnLst>
                  <a:cxn ang="0">
                    <a:pos x="72" y="78"/>
                  </a:cxn>
                  <a:cxn ang="0">
                    <a:pos x="72" y="8"/>
                  </a:cxn>
                  <a:cxn ang="0">
                    <a:pos x="72" y="8"/>
                  </a:cxn>
                  <a:cxn ang="0">
                    <a:pos x="72" y="0"/>
                  </a:cxn>
                  <a:cxn ang="0">
                    <a:pos x="0" y="0"/>
                  </a:cxn>
                  <a:cxn ang="0">
                    <a:pos x="0" y="88"/>
                  </a:cxn>
                  <a:cxn ang="0">
                    <a:pos x="10" y="88"/>
                  </a:cxn>
                  <a:cxn ang="0">
                    <a:pos x="10" y="80"/>
                  </a:cxn>
                  <a:cxn ang="0">
                    <a:pos x="28" y="80"/>
                  </a:cxn>
                  <a:cxn ang="0">
                    <a:pos x="28" y="78"/>
                  </a:cxn>
                  <a:cxn ang="0">
                    <a:pos x="72" y="78"/>
                  </a:cxn>
                </a:cxnLst>
                <a:rect l="0" t="0" r="r" b="b"/>
                <a:pathLst>
                  <a:path w="72" h="88">
                    <a:moveTo>
                      <a:pt x="72" y="78"/>
                    </a:moveTo>
                    <a:lnTo>
                      <a:pt x="72" y="8"/>
                    </a:lnTo>
                    <a:lnTo>
                      <a:pt x="72" y="8"/>
                    </a:lnTo>
                    <a:lnTo>
                      <a:pt x="72" y="0"/>
                    </a:lnTo>
                    <a:lnTo>
                      <a:pt x="0" y="0"/>
                    </a:lnTo>
                    <a:lnTo>
                      <a:pt x="0" y="88"/>
                    </a:lnTo>
                    <a:lnTo>
                      <a:pt x="10" y="88"/>
                    </a:lnTo>
                    <a:lnTo>
                      <a:pt x="10" y="80"/>
                    </a:lnTo>
                    <a:lnTo>
                      <a:pt x="28" y="80"/>
                    </a:lnTo>
                    <a:lnTo>
                      <a:pt x="28" y="78"/>
                    </a:lnTo>
                    <a:lnTo>
                      <a:pt x="72" y="7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2" name="Freeform 1460">
                <a:extLst>
                  <a:ext uri="{FF2B5EF4-FFF2-40B4-BE49-F238E27FC236}">
                    <a16:creationId xmlns:a16="http://schemas.microsoft.com/office/drawing/2014/main" id="{157883A2-358A-4021-9C33-52365A418F94}"/>
                  </a:ext>
                </a:extLst>
              </p:cNvPr>
              <p:cNvSpPr>
                <a:spLocks/>
              </p:cNvSpPr>
              <p:nvPr/>
            </p:nvSpPr>
            <p:spPr bwMode="auto">
              <a:xfrm>
                <a:off x="1602" y="2418"/>
                <a:ext cx="70" cy="88"/>
              </a:xfrm>
              <a:custGeom>
                <a:avLst/>
                <a:gdLst/>
                <a:ahLst/>
                <a:cxnLst>
                  <a:cxn ang="0">
                    <a:pos x="70" y="0"/>
                  </a:cxn>
                  <a:cxn ang="0">
                    <a:pos x="70" y="88"/>
                  </a:cxn>
                  <a:cxn ang="0">
                    <a:pos x="70" y="88"/>
                  </a:cxn>
                  <a:cxn ang="0">
                    <a:pos x="62" y="88"/>
                  </a:cxn>
                  <a:cxn ang="0">
                    <a:pos x="54" y="88"/>
                  </a:cxn>
                  <a:cxn ang="0">
                    <a:pos x="34" y="84"/>
                  </a:cxn>
                  <a:cxn ang="0">
                    <a:pos x="16" y="76"/>
                  </a:cxn>
                  <a:cxn ang="0">
                    <a:pos x="2" y="70"/>
                  </a:cxn>
                  <a:cxn ang="0">
                    <a:pos x="0" y="68"/>
                  </a:cxn>
                  <a:cxn ang="0">
                    <a:pos x="0" y="68"/>
                  </a:cxn>
                  <a:cxn ang="0">
                    <a:pos x="4" y="64"/>
                  </a:cxn>
                  <a:cxn ang="0">
                    <a:pos x="2" y="56"/>
                  </a:cxn>
                  <a:cxn ang="0">
                    <a:pos x="8" y="42"/>
                  </a:cxn>
                  <a:cxn ang="0">
                    <a:pos x="2" y="34"/>
                  </a:cxn>
                  <a:cxn ang="0">
                    <a:pos x="2" y="34"/>
                  </a:cxn>
                  <a:cxn ang="0">
                    <a:pos x="2" y="26"/>
                  </a:cxn>
                  <a:cxn ang="0">
                    <a:pos x="2" y="16"/>
                  </a:cxn>
                  <a:cxn ang="0">
                    <a:pos x="4" y="14"/>
                  </a:cxn>
                  <a:cxn ang="0">
                    <a:pos x="10" y="12"/>
                  </a:cxn>
                  <a:cxn ang="0">
                    <a:pos x="10" y="0"/>
                  </a:cxn>
                  <a:cxn ang="0">
                    <a:pos x="70" y="0"/>
                  </a:cxn>
                </a:cxnLst>
                <a:rect l="0" t="0" r="r" b="b"/>
                <a:pathLst>
                  <a:path w="70" h="88">
                    <a:moveTo>
                      <a:pt x="70" y="0"/>
                    </a:moveTo>
                    <a:lnTo>
                      <a:pt x="70" y="88"/>
                    </a:lnTo>
                    <a:lnTo>
                      <a:pt x="70" y="88"/>
                    </a:lnTo>
                    <a:lnTo>
                      <a:pt x="62" y="88"/>
                    </a:lnTo>
                    <a:lnTo>
                      <a:pt x="54" y="88"/>
                    </a:lnTo>
                    <a:lnTo>
                      <a:pt x="34" y="84"/>
                    </a:lnTo>
                    <a:lnTo>
                      <a:pt x="16" y="76"/>
                    </a:lnTo>
                    <a:lnTo>
                      <a:pt x="2" y="70"/>
                    </a:lnTo>
                    <a:lnTo>
                      <a:pt x="0" y="68"/>
                    </a:lnTo>
                    <a:lnTo>
                      <a:pt x="0" y="68"/>
                    </a:lnTo>
                    <a:lnTo>
                      <a:pt x="4" y="64"/>
                    </a:lnTo>
                    <a:lnTo>
                      <a:pt x="2" y="56"/>
                    </a:lnTo>
                    <a:lnTo>
                      <a:pt x="8" y="42"/>
                    </a:lnTo>
                    <a:lnTo>
                      <a:pt x="2" y="34"/>
                    </a:lnTo>
                    <a:lnTo>
                      <a:pt x="2" y="34"/>
                    </a:lnTo>
                    <a:lnTo>
                      <a:pt x="2" y="26"/>
                    </a:lnTo>
                    <a:lnTo>
                      <a:pt x="2" y="16"/>
                    </a:lnTo>
                    <a:lnTo>
                      <a:pt x="4" y="14"/>
                    </a:lnTo>
                    <a:lnTo>
                      <a:pt x="10" y="12"/>
                    </a:lnTo>
                    <a:lnTo>
                      <a:pt x="10" y="0"/>
                    </a:lnTo>
                    <a:lnTo>
                      <a:pt x="7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3" name="Freeform 1461">
                <a:extLst>
                  <a:ext uri="{FF2B5EF4-FFF2-40B4-BE49-F238E27FC236}">
                    <a16:creationId xmlns:a16="http://schemas.microsoft.com/office/drawing/2014/main" id="{EC8EE2BE-BA33-4A3A-9486-D2195E958266}"/>
                  </a:ext>
                </a:extLst>
              </p:cNvPr>
              <p:cNvSpPr>
                <a:spLocks/>
              </p:cNvSpPr>
              <p:nvPr/>
            </p:nvSpPr>
            <p:spPr bwMode="auto">
              <a:xfrm>
                <a:off x="1490" y="2336"/>
                <a:ext cx="120" cy="152"/>
              </a:xfrm>
              <a:custGeom>
                <a:avLst/>
                <a:gdLst/>
                <a:ahLst/>
                <a:cxnLst>
                  <a:cxn ang="0">
                    <a:pos x="114" y="138"/>
                  </a:cxn>
                  <a:cxn ang="0">
                    <a:pos x="120" y="124"/>
                  </a:cxn>
                  <a:cxn ang="0">
                    <a:pos x="114" y="116"/>
                  </a:cxn>
                  <a:cxn ang="0">
                    <a:pos x="114" y="114"/>
                  </a:cxn>
                  <a:cxn ang="0">
                    <a:pos x="50" y="50"/>
                  </a:cxn>
                  <a:cxn ang="0">
                    <a:pos x="50" y="0"/>
                  </a:cxn>
                  <a:cxn ang="0">
                    <a:pos x="2" y="0"/>
                  </a:cxn>
                  <a:cxn ang="0">
                    <a:pos x="2" y="0"/>
                  </a:cxn>
                  <a:cxn ang="0">
                    <a:pos x="4" y="12"/>
                  </a:cxn>
                  <a:cxn ang="0">
                    <a:pos x="2" y="20"/>
                  </a:cxn>
                  <a:cxn ang="0">
                    <a:pos x="0" y="24"/>
                  </a:cxn>
                  <a:cxn ang="0">
                    <a:pos x="0" y="26"/>
                  </a:cxn>
                  <a:cxn ang="0">
                    <a:pos x="6" y="38"/>
                  </a:cxn>
                  <a:cxn ang="0">
                    <a:pos x="6" y="38"/>
                  </a:cxn>
                  <a:cxn ang="0">
                    <a:pos x="6" y="44"/>
                  </a:cxn>
                  <a:cxn ang="0">
                    <a:pos x="8" y="50"/>
                  </a:cxn>
                  <a:cxn ang="0">
                    <a:pos x="12" y="56"/>
                  </a:cxn>
                  <a:cxn ang="0">
                    <a:pos x="16" y="60"/>
                  </a:cxn>
                  <a:cxn ang="0">
                    <a:pos x="16" y="64"/>
                  </a:cxn>
                  <a:cxn ang="0">
                    <a:pos x="18" y="66"/>
                  </a:cxn>
                  <a:cxn ang="0">
                    <a:pos x="22" y="68"/>
                  </a:cxn>
                  <a:cxn ang="0">
                    <a:pos x="22" y="64"/>
                  </a:cxn>
                  <a:cxn ang="0">
                    <a:pos x="28" y="64"/>
                  </a:cxn>
                  <a:cxn ang="0">
                    <a:pos x="24" y="68"/>
                  </a:cxn>
                  <a:cxn ang="0">
                    <a:pos x="26" y="74"/>
                  </a:cxn>
                  <a:cxn ang="0">
                    <a:pos x="22" y="70"/>
                  </a:cxn>
                  <a:cxn ang="0">
                    <a:pos x="22" y="70"/>
                  </a:cxn>
                  <a:cxn ang="0">
                    <a:pos x="24" y="80"/>
                  </a:cxn>
                  <a:cxn ang="0">
                    <a:pos x="30" y="90"/>
                  </a:cxn>
                  <a:cxn ang="0">
                    <a:pos x="30" y="92"/>
                  </a:cxn>
                  <a:cxn ang="0">
                    <a:pos x="30" y="92"/>
                  </a:cxn>
                  <a:cxn ang="0">
                    <a:pos x="34" y="98"/>
                  </a:cxn>
                  <a:cxn ang="0">
                    <a:pos x="40" y="106"/>
                  </a:cxn>
                  <a:cxn ang="0">
                    <a:pos x="44" y="114"/>
                  </a:cxn>
                  <a:cxn ang="0">
                    <a:pos x="46" y="120"/>
                  </a:cxn>
                  <a:cxn ang="0">
                    <a:pos x="46" y="120"/>
                  </a:cxn>
                  <a:cxn ang="0">
                    <a:pos x="56" y="124"/>
                  </a:cxn>
                  <a:cxn ang="0">
                    <a:pos x="66" y="130"/>
                  </a:cxn>
                  <a:cxn ang="0">
                    <a:pos x="68" y="128"/>
                  </a:cxn>
                  <a:cxn ang="0">
                    <a:pos x="68" y="128"/>
                  </a:cxn>
                  <a:cxn ang="0">
                    <a:pos x="70" y="132"/>
                  </a:cxn>
                  <a:cxn ang="0">
                    <a:pos x="76" y="136"/>
                  </a:cxn>
                  <a:cxn ang="0">
                    <a:pos x="84" y="142"/>
                  </a:cxn>
                  <a:cxn ang="0">
                    <a:pos x="86" y="152"/>
                  </a:cxn>
                  <a:cxn ang="0">
                    <a:pos x="112" y="150"/>
                  </a:cxn>
                  <a:cxn ang="0">
                    <a:pos x="112" y="150"/>
                  </a:cxn>
                  <a:cxn ang="0">
                    <a:pos x="116" y="146"/>
                  </a:cxn>
                  <a:cxn ang="0">
                    <a:pos x="114" y="138"/>
                  </a:cxn>
                </a:cxnLst>
                <a:rect l="0" t="0" r="r" b="b"/>
                <a:pathLst>
                  <a:path w="120" h="152">
                    <a:moveTo>
                      <a:pt x="114" y="138"/>
                    </a:moveTo>
                    <a:lnTo>
                      <a:pt x="120" y="124"/>
                    </a:lnTo>
                    <a:lnTo>
                      <a:pt x="114" y="116"/>
                    </a:lnTo>
                    <a:lnTo>
                      <a:pt x="114" y="114"/>
                    </a:lnTo>
                    <a:lnTo>
                      <a:pt x="50" y="50"/>
                    </a:lnTo>
                    <a:lnTo>
                      <a:pt x="50" y="0"/>
                    </a:lnTo>
                    <a:lnTo>
                      <a:pt x="2" y="0"/>
                    </a:lnTo>
                    <a:lnTo>
                      <a:pt x="2" y="0"/>
                    </a:lnTo>
                    <a:lnTo>
                      <a:pt x="4" y="12"/>
                    </a:lnTo>
                    <a:lnTo>
                      <a:pt x="2" y="20"/>
                    </a:lnTo>
                    <a:lnTo>
                      <a:pt x="0" y="24"/>
                    </a:lnTo>
                    <a:lnTo>
                      <a:pt x="0" y="26"/>
                    </a:lnTo>
                    <a:lnTo>
                      <a:pt x="6" y="38"/>
                    </a:lnTo>
                    <a:lnTo>
                      <a:pt x="6" y="38"/>
                    </a:lnTo>
                    <a:lnTo>
                      <a:pt x="6" y="44"/>
                    </a:lnTo>
                    <a:lnTo>
                      <a:pt x="8" y="50"/>
                    </a:lnTo>
                    <a:lnTo>
                      <a:pt x="12" y="56"/>
                    </a:lnTo>
                    <a:lnTo>
                      <a:pt x="16" y="60"/>
                    </a:lnTo>
                    <a:lnTo>
                      <a:pt x="16" y="64"/>
                    </a:lnTo>
                    <a:lnTo>
                      <a:pt x="18" y="66"/>
                    </a:lnTo>
                    <a:lnTo>
                      <a:pt x="22" y="68"/>
                    </a:lnTo>
                    <a:lnTo>
                      <a:pt x="22" y="64"/>
                    </a:lnTo>
                    <a:lnTo>
                      <a:pt x="28" y="64"/>
                    </a:lnTo>
                    <a:lnTo>
                      <a:pt x="24" y="68"/>
                    </a:lnTo>
                    <a:lnTo>
                      <a:pt x="26" y="74"/>
                    </a:lnTo>
                    <a:lnTo>
                      <a:pt x="22" y="70"/>
                    </a:lnTo>
                    <a:lnTo>
                      <a:pt x="22" y="70"/>
                    </a:lnTo>
                    <a:lnTo>
                      <a:pt x="24" y="80"/>
                    </a:lnTo>
                    <a:lnTo>
                      <a:pt x="30" y="90"/>
                    </a:lnTo>
                    <a:lnTo>
                      <a:pt x="30" y="92"/>
                    </a:lnTo>
                    <a:lnTo>
                      <a:pt x="30" y="92"/>
                    </a:lnTo>
                    <a:lnTo>
                      <a:pt x="34" y="98"/>
                    </a:lnTo>
                    <a:lnTo>
                      <a:pt x="40" y="106"/>
                    </a:lnTo>
                    <a:lnTo>
                      <a:pt x="44" y="114"/>
                    </a:lnTo>
                    <a:lnTo>
                      <a:pt x="46" y="120"/>
                    </a:lnTo>
                    <a:lnTo>
                      <a:pt x="46" y="120"/>
                    </a:lnTo>
                    <a:lnTo>
                      <a:pt x="56" y="124"/>
                    </a:lnTo>
                    <a:lnTo>
                      <a:pt x="66" y="130"/>
                    </a:lnTo>
                    <a:lnTo>
                      <a:pt x="68" y="128"/>
                    </a:lnTo>
                    <a:lnTo>
                      <a:pt x="68" y="128"/>
                    </a:lnTo>
                    <a:lnTo>
                      <a:pt x="70" y="132"/>
                    </a:lnTo>
                    <a:lnTo>
                      <a:pt x="76" y="136"/>
                    </a:lnTo>
                    <a:lnTo>
                      <a:pt x="84" y="142"/>
                    </a:lnTo>
                    <a:lnTo>
                      <a:pt x="86" y="152"/>
                    </a:lnTo>
                    <a:lnTo>
                      <a:pt x="112" y="150"/>
                    </a:lnTo>
                    <a:lnTo>
                      <a:pt x="112" y="150"/>
                    </a:lnTo>
                    <a:lnTo>
                      <a:pt x="116" y="146"/>
                    </a:lnTo>
                    <a:lnTo>
                      <a:pt x="114" y="13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4" name="Freeform 1462">
                <a:extLst>
                  <a:ext uri="{FF2B5EF4-FFF2-40B4-BE49-F238E27FC236}">
                    <a16:creationId xmlns:a16="http://schemas.microsoft.com/office/drawing/2014/main" id="{4E8BB699-51DE-4E72-9F02-8F342A33C6AA}"/>
                  </a:ext>
                </a:extLst>
              </p:cNvPr>
              <p:cNvSpPr>
                <a:spLocks/>
              </p:cNvSpPr>
              <p:nvPr/>
            </p:nvSpPr>
            <p:spPr bwMode="auto">
              <a:xfrm>
                <a:off x="1612" y="2336"/>
                <a:ext cx="60" cy="82"/>
              </a:xfrm>
              <a:custGeom>
                <a:avLst/>
                <a:gdLst/>
                <a:ahLst/>
                <a:cxnLst>
                  <a:cxn ang="0">
                    <a:pos x="36" y="0"/>
                  </a:cxn>
                  <a:cxn ang="0">
                    <a:pos x="36" y="16"/>
                  </a:cxn>
                  <a:cxn ang="0">
                    <a:pos x="60" y="16"/>
                  </a:cxn>
                  <a:cxn ang="0">
                    <a:pos x="60" y="82"/>
                  </a:cxn>
                  <a:cxn ang="0">
                    <a:pos x="0" y="82"/>
                  </a:cxn>
                  <a:cxn ang="0">
                    <a:pos x="0" y="0"/>
                  </a:cxn>
                  <a:cxn ang="0">
                    <a:pos x="36" y="0"/>
                  </a:cxn>
                </a:cxnLst>
                <a:rect l="0" t="0" r="r" b="b"/>
                <a:pathLst>
                  <a:path w="60" h="82">
                    <a:moveTo>
                      <a:pt x="36" y="0"/>
                    </a:moveTo>
                    <a:lnTo>
                      <a:pt x="36" y="16"/>
                    </a:lnTo>
                    <a:lnTo>
                      <a:pt x="60" y="16"/>
                    </a:lnTo>
                    <a:lnTo>
                      <a:pt x="60" y="82"/>
                    </a:lnTo>
                    <a:lnTo>
                      <a:pt x="0" y="82"/>
                    </a:lnTo>
                    <a:lnTo>
                      <a:pt x="0" y="0"/>
                    </a:lnTo>
                    <a:lnTo>
                      <a:pt x="3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5" name="Freeform 1463">
                <a:extLst>
                  <a:ext uri="{FF2B5EF4-FFF2-40B4-BE49-F238E27FC236}">
                    <a16:creationId xmlns:a16="http://schemas.microsoft.com/office/drawing/2014/main" id="{0C292DCA-AFAB-4C0F-87CE-593429447367}"/>
                  </a:ext>
                </a:extLst>
              </p:cNvPr>
              <p:cNvSpPr>
                <a:spLocks/>
              </p:cNvSpPr>
              <p:nvPr/>
            </p:nvSpPr>
            <p:spPr bwMode="auto">
              <a:xfrm>
                <a:off x="1540" y="2336"/>
                <a:ext cx="72" cy="114"/>
              </a:xfrm>
              <a:custGeom>
                <a:avLst/>
                <a:gdLst/>
                <a:ahLst/>
                <a:cxnLst>
                  <a:cxn ang="0">
                    <a:pos x="0" y="50"/>
                  </a:cxn>
                  <a:cxn ang="0">
                    <a:pos x="0" y="0"/>
                  </a:cxn>
                  <a:cxn ang="0">
                    <a:pos x="72" y="0"/>
                  </a:cxn>
                  <a:cxn ang="0">
                    <a:pos x="72" y="94"/>
                  </a:cxn>
                  <a:cxn ang="0">
                    <a:pos x="66" y="96"/>
                  </a:cxn>
                  <a:cxn ang="0">
                    <a:pos x="64" y="98"/>
                  </a:cxn>
                  <a:cxn ang="0">
                    <a:pos x="64" y="98"/>
                  </a:cxn>
                  <a:cxn ang="0">
                    <a:pos x="64" y="106"/>
                  </a:cxn>
                  <a:cxn ang="0">
                    <a:pos x="64" y="114"/>
                  </a:cxn>
                  <a:cxn ang="0">
                    <a:pos x="0" y="50"/>
                  </a:cxn>
                </a:cxnLst>
                <a:rect l="0" t="0" r="r" b="b"/>
                <a:pathLst>
                  <a:path w="72" h="114">
                    <a:moveTo>
                      <a:pt x="0" y="50"/>
                    </a:moveTo>
                    <a:lnTo>
                      <a:pt x="0" y="0"/>
                    </a:lnTo>
                    <a:lnTo>
                      <a:pt x="72" y="0"/>
                    </a:lnTo>
                    <a:lnTo>
                      <a:pt x="72" y="94"/>
                    </a:lnTo>
                    <a:lnTo>
                      <a:pt x="66" y="96"/>
                    </a:lnTo>
                    <a:lnTo>
                      <a:pt x="64" y="98"/>
                    </a:lnTo>
                    <a:lnTo>
                      <a:pt x="64" y="98"/>
                    </a:lnTo>
                    <a:lnTo>
                      <a:pt x="64" y="106"/>
                    </a:lnTo>
                    <a:lnTo>
                      <a:pt x="64" y="114"/>
                    </a:lnTo>
                    <a:lnTo>
                      <a:pt x="0"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6" name="Freeform 1464">
                <a:extLst>
                  <a:ext uri="{FF2B5EF4-FFF2-40B4-BE49-F238E27FC236}">
                    <a16:creationId xmlns:a16="http://schemas.microsoft.com/office/drawing/2014/main" id="{A0B222A9-81EB-490D-A31E-9FCE1DF0CFAD}"/>
                  </a:ext>
                </a:extLst>
              </p:cNvPr>
              <p:cNvSpPr>
                <a:spLocks/>
              </p:cNvSpPr>
              <p:nvPr/>
            </p:nvSpPr>
            <p:spPr bwMode="auto">
              <a:xfrm>
                <a:off x="1488" y="2260"/>
                <a:ext cx="94" cy="76"/>
              </a:xfrm>
              <a:custGeom>
                <a:avLst/>
                <a:gdLst/>
                <a:ahLst/>
                <a:cxnLst>
                  <a:cxn ang="0">
                    <a:pos x="4" y="76"/>
                  </a:cxn>
                  <a:cxn ang="0">
                    <a:pos x="4" y="76"/>
                  </a:cxn>
                  <a:cxn ang="0">
                    <a:pos x="0" y="62"/>
                  </a:cxn>
                  <a:cxn ang="0">
                    <a:pos x="0" y="56"/>
                  </a:cxn>
                  <a:cxn ang="0">
                    <a:pos x="4" y="50"/>
                  </a:cxn>
                  <a:cxn ang="0">
                    <a:pos x="4" y="50"/>
                  </a:cxn>
                  <a:cxn ang="0">
                    <a:pos x="4" y="48"/>
                  </a:cxn>
                  <a:cxn ang="0">
                    <a:pos x="4" y="48"/>
                  </a:cxn>
                  <a:cxn ang="0">
                    <a:pos x="6" y="24"/>
                  </a:cxn>
                  <a:cxn ang="0">
                    <a:pos x="6" y="2"/>
                  </a:cxn>
                  <a:cxn ang="0">
                    <a:pos x="14" y="0"/>
                  </a:cxn>
                  <a:cxn ang="0">
                    <a:pos x="18" y="2"/>
                  </a:cxn>
                  <a:cxn ang="0">
                    <a:pos x="20" y="10"/>
                  </a:cxn>
                  <a:cxn ang="0">
                    <a:pos x="36" y="10"/>
                  </a:cxn>
                  <a:cxn ang="0">
                    <a:pos x="38" y="12"/>
                  </a:cxn>
                  <a:cxn ang="0">
                    <a:pos x="90" y="4"/>
                  </a:cxn>
                  <a:cxn ang="0">
                    <a:pos x="94" y="12"/>
                  </a:cxn>
                  <a:cxn ang="0">
                    <a:pos x="86" y="32"/>
                  </a:cxn>
                  <a:cxn ang="0">
                    <a:pos x="90" y="38"/>
                  </a:cxn>
                  <a:cxn ang="0">
                    <a:pos x="88" y="76"/>
                  </a:cxn>
                  <a:cxn ang="0">
                    <a:pos x="4" y="76"/>
                  </a:cxn>
                </a:cxnLst>
                <a:rect l="0" t="0" r="r" b="b"/>
                <a:pathLst>
                  <a:path w="94" h="76">
                    <a:moveTo>
                      <a:pt x="4" y="76"/>
                    </a:moveTo>
                    <a:lnTo>
                      <a:pt x="4" y="76"/>
                    </a:lnTo>
                    <a:lnTo>
                      <a:pt x="0" y="62"/>
                    </a:lnTo>
                    <a:lnTo>
                      <a:pt x="0" y="56"/>
                    </a:lnTo>
                    <a:lnTo>
                      <a:pt x="4" y="50"/>
                    </a:lnTo>
                    <a:lnTo>
                      <a:pt x="4" y="50"/>
                    </a:lnTo>
                    <a:lnTo>
                      <a:pt x="4" y="48"/>
                    </a:lnTo>
                    <a:lnTo>
                      <a:pt x="4" y="48"/>
                    </a:lnTo>
                    <a:lnTo>
                      <a:pt x="6" y="24"/>
                    </a:lnTo>
                    <a:lnTo>
                      <a:pt x="6" y="2"/>
                    </a:lnTo>
                    <a:lnTo>
                      <a:pt x="14" y="0"/>
                    </a:lnTo>
                    <a:lnTo>
                      <a:pt x="18" y="2"/>
                    </a:lnTo>
                    <a:lnTo>
                      <a:pt x="20" y="10"/>
                    </a:lnTo>
                    <a:lnTo>
                      <a:pt x="36" y="10"/>
                    </a:lnTo>
                    <a:lnTo>
                      <a:pt x="38" y="12"/>
                    </a:lnTo>
                    <a:lnTo>
                      <a:pt x="90" y="4"/>
                    </a:lnTo>
                    <a:lnTo>
                      <a:pt x="94" y="12"/>
                    </a:lnTo>
                    <a:lnTo>
                      <a:pt x="86" y="32"/>
                    </a:lnTo>
                    <a:lnTo>
                      <a:pt x="90" y="38"/>
                    </a:lnTo>
                    <a:lnTo>
                      <a:pt x="88" y="76"/>
                    </a:lnTo>
                    <a:lnTo>
                      <a:pt x="4" y="7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7" name="Freeform 1465">
                <a:extLst>
                  <a:ext uri="{FF2B5EF4-FFF2-40B4-BE49-F238E27FC236}">
                    <a16:creationId xmlns:a16="http://schemas.microsoft.com/office/drawing/2014/main" id="{BCFAABA3-F992-48AA-823C-95A9128ADA18}"/>
                  </a:ext>
                </a:extLst>
              </p:cNvPr>
              <p:cNvSpPr>
                <a:spLocks/>
              </p:cNvSpPr>
              <p:nvPr/>
            </p:nvSpPr>
            <p:spPr bwMode="auto">
              <a:xfrm>
                <a:off x="1574" y="2208"/>
                <a:ext cx="74" cy="128"/>
              </a:xfrm>
              <a:custGeom>
                <a:avLst/>
                <a:gdLst/>
                <a:ahLst/>
                <a:cxnLst>
                  <a:cxn ang="0">
                    <a:pos x="74" y="128"/>
                  </a:cxn>
                  <a:cxn ang="0">
                    <a:pos x="74" y="84"/>
                  </a:cxn>
                  <a:cxn ang="0">
                    <a:pos x="70" y="78"/>
                  </a:cxn>
                  <a:cxn ang="0">
                    <a:pos x="68" y="80"/>
                  </a:cxn>
                  <a:cxn ang="0">
                    <a:pos x="68" y="82"/>
                  </a:cxn>
                  <a:cxn ang="0">
                    <a:pos x="68" y="82"/>
                  </a:cxn>
                  <a:cxn ang="0">
                    <a:pos x="60" y="82"/>
                  </a:cxn>
                  <a:cxn ang="0">
                    <a:pos x="54" y="84"/>
                  </a:cxn>
                  <a:cxn ang="0">
                    <a:pos x="52" y="86"/>
                  </a:cxn>
                  <a:cxn ang="0">
                    <a:pos x="52" y="86"/>
                  </a:cxn>
                  <a:cxn ang="0">
                    <a:pos x="48" y="82"/>
                  </a:cxn>
                  <a:cxn ang="0">
                    <a:pos x="44" y="74"/>
                  </a:cxn>
                  <a:cxn ang="0">
                    <a:pos x="38" y="62"/>
                  </a:cxn>
                  <a:cxn ang="0">
                    <a:pos x="34" y="66"/>
                  </a:cxn>
                  <a:cxn ang="0">
                    <a:pos x="32" y="64"/>
                  </a:cxn>
                  <a:cxn ang="0">
                    <a:pos x="32" y="54"/>
                  </a:cxn>
                  <a:cxn ang="0">
                    <a:pos x="32" y="52"/>
                  </a:cxn>
                  <a:cxn ang="0">
                    <a:pos x="34" y="44"/>
                  </a:cxn>
                  <a:cxn ang="0">
                    <a:pos x="28" y="42"/>
                  </a:cxn>
                  <a:cxn ang="0">
                    <a:pos x="28" y="42"/>
                  </a:cxn>
                  <a:cxn ang="0">
                    <a:pos x="16" y="24"/>
                  </a:cxn>
                  <a:cxn ang="0">
                    <a:pos x="14" y="14"/>
                  </a:cxn>
                  <a:cxn ang="0">
                    <a:pos x="14" y="0"/>
                  </a:cxn>
                  <a:cxn ang="0">
                    <a:pos x="2" y="0"/>
                  </a:cxn>
                  <a:cxn ang="0">
                    <a:pos x="2" y="0"/>
                  </a:cxn>
                  <a:cxn ang="0">
                    <a:pos x="0" y="32"/>
                  </a:cxn>
                  <a:cxn ang="0">
                    <a:pos x="2" y="50"/>
                  </a:cxn>
                  <a:cxn ang="0">
                    <a:pos x="6" y="58"/>
                  </a:cxn>
                  <a:cxn ang="0">
                    <a:pos x="8" y="64"/>
                  </a:cxn>
                  <a:cxn ang="0">
                    <a:pos x="0" y="84"/>
                  </a:cxn>
                  <a:cxn ang="0">
                    <a:pos x="4" y="90"/>
                  </a:cxn>
                  <a:cxn ang="0">
                    <a:pos x="2" y="128"/>
                  </a:cxn>
                  <a:cxn ang="0">
                    <a:pos x="74" y="128"/>
                  </a:cxn>
                </a:cxnLst>
                <a:rect l="0" t="0" r="r" b="b"/>
                <a:pathLst>
                  <a:path w="74" h="128">
                    <a:moveTo>
                      <a:pt x="74" y="128"/>
                    </a:moveTo>
                    <a:lnTo>
                      <a:pt x="74" y="84"/>
                    </a:lnTo>
                    <a:lnTo>
                      <a:pt x="70" y="78"/>
                    </a:lnTo>
                    <a:lnTo>
                      <a:pt x="68" y="80"/>
                    </a:lnTo>
                    <a:lnTo>
                      <a:pt x="68" y="82"/>
                    </a:lnTo>
                    <a:lnTo>
                      <a:pt x="68" y="82"/>
                    </a:lnTo>
                    <a:lnTo>
                      <a:pt x="60" y="82"/>
                    </a:lnTo>
                    <a:lnTo>
                      <a:pt x="54" y="84"/>
                    </a:lnTo>
                    <a:lnTo>
                      <a:pt x="52" y="86"/>
                    </a:lnTo>
                    <a:lnTo>
                      <a:pt x="52" y="86"/>
                    </a:lnTo>
                    <a:lnTo>
                      <a:pt x="48" y="82"/>
                    </a:lnTo>
                    <a:lnTo>
                      <a:pt x="44" y="74"/>
                    </a:lnTo>
                    <a:lnTo>
                      <a:pt x="38" y="62"/>
                    </a:lnTo>
                    <a:lnTo>
                      <a:pt x="34" y="66"/>
                    </a:lnTo>
                    <a:lnTo>
                      <a:pt x="32" y="64"/>
                    </a:lnTo>
                    <a:lnTo>
                      <a:pt x="32" y="54"/>
                    </a:lnTo>
                    <a:lnTo>
                      <a:pt x="32" y="52"/>
                    </a:lnTo>
                    <a:lnTo>
                      <a:pt x="34" y="44"/>
                    </a:lnTo>
                    <a:lnTo>
                      <a:pt x="28" y="42"/>
                    </a:lnTo>
                    <a:lnTo>
                      <a:pt x="28" y="42"/>
                    </a:lnTo>
                    <a:lnTo>
                      <a:pt x="16" y="24"/>
                    </a:lnTo>
                    <a:lnTo>
                      <a:pt x="14" y="14"/>
                    </a:lnTo>
                    <a:lnTo>
                      <a:pt x="14" y="0"/>
                    </a:lnTo>
                    <a:lnTo>
                      <a:pt x="2" y="0"/>
                    </a:lnTo>
                    <a:lnTo>
                      <a:pt x="2" y="0"/>
                    </a:lnTo>
                    <a:lnTo>
                      <a:pt x="0" y="32"/>
                    </a:lnTo>
                    <a:lnTo>
                      <a:pt x="2" y="50"/>
                    </a:lnTo>
                    <a:lnTo>
                      <a:pt x="6" y="58"/>
                    </a:lnTo>
                    <a:lnTo>
                      <a:pt x="8" y="64"/>
                    </a:lnTo>
                    <a:lnTo>
                      <a:pt x="0" y="84"/>
                    </a:lnTo>
                    <a:lnTo>
                      <a:pt x="4" y="90"/>
                    </a:lnTo>
                    <a:lnTo>
                      <a:pt x="2" y="128"/>
                    </a:lnTo>
                    <a:lnTo>
                      <a:pt x="74" y="1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8" name="Freeform 1466">
                <a:extLst>
                  <a:ext uri="{FF2B5EF4-FFF2-40B4-BE49-F238E27FC236}">
                    <a16:creationId xmlns:a16="http://schemas.microsoft.com/office/drawing/2014/main" id="{EFB4681D-639F-46A8-9407-C0E4AB44EC49}"/>
                  </a:ext>
                </a:extLst>
              </p:cNvPr>
              <p:cNvSpPr>
                <a:spLocks/>
              </p:cNvSpPr>
              <p:nvPr/>
            </p:nvSpPr>
            <p:spPr bwMode="auto">
              <a:xfrm>
                <a:off x="1486" y="2208"/>
                <a:ext cx="92" cy="64"/>
              </a:xfrm>
              <a:custGeom>
                <a:avLst/>
                <a:gdLst/>
                <a:ahLst/>
                <a:cxnLst>
                  <a:cxn ang="0">
                    <a:pos x="90" y="0"/>
                  </a:cxn>
                  <a:cxn ang="0">
                    <a:pos x="90" y="0"/>
                  </a:cxn>
                  <a:cxn ang="0">
                    <a:pos x="90" y="28"/>
                  </a:cxn>
                  <a:cxn ang="0">
                    <a:pos x="90" y="46"/>
                  </a:cxn>
                  <a:cxn ang="0">
                    <a:pos x="92" y="56"/>
                  </a:cxn>
                  <a:cxn ang="0">
                    <a:pos x="40" y="64"/>
                  </a:cxn>
                  <a:cxn ang="0">
                    <a:pos x="38" y="62"/>
                  </a:cxn>
                  <a:cxn ang="0">
                    <a:pos x="22" y="62"/>
                  </a:cxn>
                  <a:cxn ang="0">
                    <a:pos x="20" y="54"/>
                  </a:cxn>
                  <a:cxn ang="0">
                    <a:pos x="20" y="54"/>
                  </a:cxn>
                  <a:cxn ang="0">
                    <a:pos x="14" y="50"/>
                  </a:cxn>
                  <a:cxn ang="0">
                    <a:pos x="12" y="50"/>
                  </a:cxn>
                  <a:cxn ang="0">
                    <a:pos x="8" y="50"/>
                  </a:cxn>
                  <a:cxn ang="0">
                    <a:pos x="8" y="36"/>
                  </a:cxn>
                  <a:cxn ang="0">
                    <a:pos x="6" y="36"/>
                  </a:cxn>
                  <a:cxn ang="0">
                    <a:pos x="6" y="36"/>
                  </a:cxn>
                  <a:cxn ang="0">
                    <a:pos x="4" y="26"/>
                  </a:cxn>
                  <a:cxn ang="0">
                    <a:pos x="0" y="18"/>
                  </a:cxn>
                  <a:cxn ang="0">
                    <a:pos x="0" y="10"/>
                  </a:cxn>
                  <a:cxn ang="0">
                    <a:pos x="0" y="10"/>
                  </a:cxn>
                  <a:cxn ang="0">
                    <a:pos x="12" y="14"/>
                  </a:cxn>
                  <a:cxn ang="0">
                    <a:pos x="22" y="16"/>
                  </a:cxn>
                  <a:cxn ang="0">
                    <a:pos x="22" y="20"/>
                  </a:cxn>
                  <a:cxn ang="0">
                    <a:pos x="18" y="26"/>
                  </a:cxn>
                  <a:cxn ang="0">
                    <a:pos x="20" y="30"/>
                  </a:cxn>
                  <a:cxn ang="0">
                    <a:pos x="20" y="30"/>
                  </a:cxn>
                  <a:cxn ang="0">
                    <a:pos x="24" y="22"/>
                  </a:cxn>
                  <a:cxn ang="0">
                    <a:pos x="28" y="20"/>
                  </a:cxn>
                  <a:cxn ang="0">
                    <a:pos x="26" y="12"/>
                  </a:cxn>
                  <a:cxn ang="0">
                    <a:pos x="24" y="10"/>
                  </a:cxn>
                  <a:cxn ang="0">
                    <a:pos x="26" y="8"/>
                  </a:cxn>
                  <a:cxn ang="0">
                    <a:pos x="22" y="0"/>
                  </a:cxn>
                  <a:cxn ang="0">
                    <a:pos x="90" y="0"/>
                  </a:cxn>
                </a:cxnLst>
                <a:rect l="0" t="0" r="r" b="b"/>
                <a:pathLst>
                  <a:path w="92" h="64">
                    <a:moveTo>
                      <a:pt x="90" y="0"/>
                    </a:moveTo>
                    <a:lnTo>
                      <a:pt x="90" y="0"/>
                    </a:lnTo>
                    <a:lnTo>
                      <a:pt x="90" y="28"/>
                    </a:lnTo>
                    <a:lnTo>
                      <a:pt x="90" y="46"/>
                    </a:lnTo>
                    <a:lnTo>
                      <a:pt x="92" y="56"/>
                    </a:lnTo>
                    <a:lnTo>
                      <a:pt x="40" y="64"/>
                    </a:lnTo>
                    <a:lnTo>
                      <a:pt x="38" y="62"/>
                    </a:lnTo>
                    <a:lnTo>
                      <a:pt x="22" y="62"/>
                    </a:lnTo>
                    <a:lnTo>
                      <a:pt x="20" y="54"/>
                    </a:lnTo>
                    <a:lnTo>
                      <a:pt x="20" y="54"/>
                    </a:lnTo>
                    <a:lnTo>
                      <a:pt x="14" y="50"/>
                    </a:lnTo>
                    <a:lnTo>
                      <a:pt x="12" y="50"/>
                    </a:lnTo>
                    <a:lnTo>
                      <a:pt x="8" y="50"/>
                    </a:lnTo>
                    <a:lnTo>
                      <a:pt x="8" y="36"/>
                    </a:lnTo>
                    <a:lnTo>
                      <a:pt x="6" y="36"/>
                    </a:lnTo>
                    <a:lnTo>
                      <a:pt x="6" y="36"/>
                    </a:lnTo>
                    <a:lnTo>
                      <a:pt x="4" y="26"/>
                    </a:lnTo>
                    <a:lnTo>
                      <a:pt x="0" y="18"/>
                    </a:lnTo>
                    <a:lnTo>
                      <a:pt x="0" y="10"/>
                    </a:lnTo>
                    <a:lnTo>
                      <a:pt x="0" y="10"/>
                    </a:lnTo>
                    <a:lnTo>
                      <a:pt x="12" y="14"/>
                    </a:lnTo>
                    <a:lnTo>
                      <a:pt x="22" y="16"/>
                    </a:lnTo>
                    <a:lnTo>
                      <a:pt x="22" y="20"/>
                    </a:lnTo>
                    <a:lnTo>
                      <a:pt x="18" y="26"/>
                    </a:lnTo>
                    <a:lnTo>
                      <a:pt x="20" y="30"/>
                    </a:lnTo>
                    <a:lnTo>
                      <a:pt x="20" y="30"/>
                    </a:lnTo>
                    <a:lnTo>
                      <a:pt x="24" y="22"/>
                    </a:lnTo>
                    <a:lnTo>
                      <a:pt x="28" y="20"/>
                    </a:lnTo>
                    <a:lnTo>
                      <a:pt x="26" y="12"/>
                    </a:lnTo>
                    <a:lnTo>
                      <a:pt x="24" y="10"/>
                    </a:lnTo>
                    <a:lnTo>
                      <a:pt x="26" y="8"/>
                    </a:lnTo>
                    <a:lnTo>
                      <a:pt x="22" y="0"/>
                    </a:lnTo>
                    <a:lnTo>
                      <a:pt x="9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59" name="Freeform 1467">
                <a:extLst>
                  <a:ext uri="{FF2B5EF4-FFF2-40B4-BE49-F238E27FC236}">
                    <a16:creationId xmlns:a16="http://schemas.microsoft.com/office/drawing/2014/main" id="{DABEF399-E26D-42D8-B4E4-D99D6034AEF0}"/>
                  </a:ext>
                </a:extLst>
              </p:cNvPr>
              <p:cNvSpPr>
                <a:spLocks/>
              </p:cNvSpPr>
              <p:nvPr/>
            </p:nvSpPr>
            <p:spPr bwMode="auto">
              <a:xfrm>
                <a:off x="1588" y="2208"/>
                <a:ext cx="144" cy="86"/>
              </a:xfrm>
              <a:custGeom>
                <a:avLst/>
                <a:gdLst/>
                <a:ahLst/>
                <a:cxnLst>
                  <a:cxn ang="0">
                    <a:pos x="60" y="74"/>
                  </a:cxn>
                  <a:cxn ang="0">
                    <a:pos x="60" y="84"/>
                  </a:cxn>
                  <a:cxn ang="0">
                    <a:pos x="56" y="78"/>
                  </a:cxn>
                  <a:cxn ang="0">
                    <a:pos x="54" y="80"/>
                  </a:cxn>
                  <a:cxn ang="0">
                    <a:pos x="54" y="82"/>
                  </a:cxn>
                  <a:cxn ang="0">
                    <a:pos x="54" y="82"/>
                  </a:cxn>
                  <a:cxn ang="0">
                    <a:pos x="46" y="82"/>
                  </a:cxn>
                  <a:cxn ang="0">
                    <a:pos x="40" y="84"/>
                  </a:cxn>
                  <a:cxn ang="0">
                    <a:pos x="38" y="86"/>
                  </a:cxn>
                  <a:cxn ang="0">
                    <a:pos x="38" y="86"/>
                  </a:cxn>
                  <a:cxn ang="0">
                    <a:pos x="34" y="82"/>
                  </a:cxn>
                  <a:cxn ang="0">
                    <a:pos x="30" y="74"/>
                  </a:cxn>
                  <a:cxn ang="0">
                    <a:pos x="24" y="62"/>
                  </a:cxn>
                  <a:cxn ang="0">
                    <a:pos x="20" y="66"/>
                  </a:cxn>
                  <a:cxn ang="0">
                    <a:pos x="18" y="64"/>
                  </a:cxn>
                  <a:cxn ang="0">
                    <a:pos x="18" y="54"/>
                  </a:cxn>
                  <a:cxn ang="0">
                    <a:pos x="18" y="52"/>
                  </a:cxn>
                  <a:cxn ang="0">
                    <a:pos x="20" y="44"/>
                  </a:cxn>
                  <a:cxn ang="0">
                    <a:pos x="14" y="42"/>
                  </a:cxn>
                  <a:cxn ang="0">
                    <a:pos x="14" y="42"/>
                  </a:cxn>
                  <a:cxn ang="0">
                    <a:pos x="2" y="24"/>
                  </a:cxn>
                  <a:cxn ang="0">
                    <a:pos x="0" y="14"/>
                  </a:cxn>
                  <a:cxn ang="0">
                    <a:pos x="0" y="0"/>
                  </a:cxn>
                  <a:cxn ang="0">
                    <a:pos x="144" y="0"/>
                  </a:cxn>
                  <a:cxn ang="0">
                    <a:pos x="144" y="74"/>
                  </a:cxn>
                  <a:cxn ang="0">
                    <a:pos x="60" y="74"/>
                  </a:cxn>
                </a:cxnLst>
                <a:rect l="0" t="0" r="r" b="b"/>
                <a:pathLst>
                  <a:path w="144" h="86">
                    <a:moveTo>
                      <a:pt x="60" y="74"/>
                    </a:moveTo>
                    <a:lnTo>
                      <a:pt x="60" y="84"/>
                    </a:lnTo>
                    <a:lnTo>
                      <a:pt x="56" y="78"/>
                    </a:lnTo>
                    <a:lnTo>
                      <a:pt x="54" y="80"/>
                    </a:lnTo>
                    <a:lnTo>
                      <a:pt x="54" y="82"/>
                    </a:lnTo>
                    <a:lnTo>
                      <a:pt x="54" y="82"/>
                    </a:lnTo>
                    <a:lnTo>
                      <a:pt x="46" y="82"/>
                    </a:lnTo>
                    <a:lnTo>
                      <a:pt x="40" y="84"/>
                    </a:lnTo>
                    <a:lnTo>
                      <a:pt x="38" y="86"/>
                    </a:lnTo>
                    <a:lnTo>
                      <a:pt x="38" y="86"/>
                    </a:lnTo>
                    <a:lnTo>
                      <a:pt x="34" y="82"/>
                    </a:lnTo>
                    <a:lnTo>
                      <a:pt x="30" y="74"/>
                    </a:lnTo>
                    <a:lnTo>
                      <a:pt x="24" y="62"/>
                    </a:lnTo>
                    <a:lnTo>
                      <a:pt x="20" y="66"/>
                    </a:lnTo>
                    <a:lnTo>
                      <a:pt x="18" y="64"/>
                    </a:lnTo>
                    <a:lnTo>
                      <a:pt x="18" y="54"/>
                    </a:lnTo>
                    <a:lnTo>
                      <a:pt x="18" y="52"/>
                    </a:lnTo>
                    <a:lnTo>
                      <a:pt x="20" y="44"/>
                    </a:lnTo>
                    <a:lnTo>
                      <a:pt x="14" y="42"/>
                    </a:lnTo>
                    <a:lnTo>
                      <a:pt x="14" y="42"/>
                    </a:lnTo>
                    <a:lnTo>
                      <a:pt x="2" y="24"/>
                    </a:lnTo>
                    <a:lnTo>
                      <a:pt x="0" y="14"/>
                    </a:lnTo>
                    <a:lnTo>
                      <a:pt x="0" y="0"/>
                    </a:lnTo>
                    <a:lnTo>
                      <a:pt x="144" y="0"/>
                    </a:lnTo>
                    <a:lnTo>
                      <a:pt x="144" y="74"/>
                    </a:lnTo>
                    <a:lnTo>
                      <a:pt x="60" y="7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0" name="Rectangle 1468">
                <a:extLst>
                  <a:ext uri="{FF2B5EF4-FFF2-40B4-BE49-F238E27FC236}">
                    <a16:creationId xmlns:a16="http://schemas.microsoft.com/office/drawing/2014/main" id="{CF38B575-17DC-48E2-990E-BDC0B55D2718}"/>
                  </a:ext>
                </a:extLst>
              </p:cNvPr>
              <p:cNvSpPr>
                <a:spLocks noChangeArrowheads="1"/>
              </p:cNvSpPr>
              <p:nvPr/>
            </p:nvSpPr>
            <p:spPr bwMode="auto">
              <a:xfrm>
                <a:off x="1648" y="2282"/>
                <a:ext cx="84" cy="70"/>
              </a:xfrm>
              <a:prstGeom prst="rect">
                <a:avLst/>
              </a:prstGeom>
              <a:grpFill/>
              <a:ln w="3175">
                <a:solidFill>
                  <a:schemeClr val="bg1"/>
                </a:solidFill>
                <a:miter lim="800000"/>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1" name="Freeform 1469">
                <a:extLst>
                  <a:ext uri="{FF2B5EF4-FFF2-40B4-BE49-F238E27FC236}">
                    <a16:creationId xmlns:a16="http://schemas.microsoft.com/office/drawing/2014/main" id="{559E9747-2503-4904-AAA2-11F4BCF4465B}"/>
                  </a:ext>
                </a:extLst>
              </p:cNvPr>
              <p:cNvSpPr>
                <a:spLocks/>
              </p:cNvSpPr>
              <p:nvPr/>
            </p:nvSpPr>
            <p:spPr bwMode="auto">
              <a:xfrm>
                <a:off x="1732" y="2318"/>
                <a:ext cx="102" cy="50"/>
              </a:xfrm>
              <a:custGeom>
                <a:avLst/>
                <a:gdLst/>
                <a:ahLst/>
                <a:cxnLst>
                  <a:cxn ang="0">
                    <a:pos x="0" y="0"/>
                  </a:cxn>
                  <a:cxn ang="0">
                    <a:pos x="0" y="34"/>
                  </a:cxn>
                  <a:cxn ang="0">
                    <a:pos x="24" y="34"/>
                  </a:cxn>
                  <a:cxn ang="0">
                    <a:pos x="24" y="50"/>
                  </a:cxn>
                  <a:cxn ang="0">
                    <a:pos x="102" y="50"/>
                  </a:cxn>
                  <a:cxn ang="0">
                    <a:pos x="102" y="48"/>
                  </a:cxn>
                  <a:cxn ang="0">
                    <a:pos x="100" y="46"/>
                  </a:cxn>
                  <a:cxn ang="0">
                    <a:pos x="100" y="46"/>
                  </a:cxn>
                  <a:cxn ang="0">
                    <a:pos x="100" y="42"/>
                  </a:cxn>
                  <a:cxn ang="0">
                    <a:pos x="98" y="38"/>
                  </a:cxn>
                  <a:cxn ang="0">
                    <a:pos x="98" y="38"/>
                  </a:cxn>
                  <a:cxn ang="0">
                    <a:pos x="98" y="34"/>
                  </a:cxn>
                  <a:cxn ang="0">
                    <a:pos x="98" y="30"/>
                  </a:cxn>
                  <a:cxn ang="0">
                    <a:pos x="96" y="28"/>
                  </a:cxn>
                  <a:cxn ang="0">
                    <a:pos x="96" y="26"/>
                  </a:cxn>
                  <a:cxn ang="0">
                    <a:pos x="94" y="26"/>
                  </a:cxn>
                  <a:cxn ang="0">
                    <a:pos x="96" y="20"/>
                  </a:cxn>
                  <a:cxn ang="0">
                    <a:pos x="96" y="20"/>
                  </a:cxn>
                  <a:cxn ang="0">
                    <a:pos x="92" y="16"/>
                  </a:cxn>
                  <a:cxn ang="0">
                    <a:pos x="92" y="8"/>
                  </a:cxn>
                  <a:cxn ang="0">
                    <a:pos x="88" y="8"/>
                  </a:cxn>
                  <a:cxn ang="0">
                    <a:pos x="88" y="6"/>
                  </a:cxn>
                  <a:cxn ang="0">
                    <a:pos x="88" y="6"/>
                  </a:cxn>
                  <a:cxn ang="0">
                    <a:pos x="80" y="2"/>
                  </a:cxn>
                  <a:cxn ang="0">
                    <a:pos x="74" y="2"/>
                  </a:cxn>
                  <a:cxn ang="0">
                    <a:pos x="72" y="4"/>
                  </a:cxn>
                  <a:cxn ang="0">
                    <a:pos x="66" y="0"/>
                  </a:cxn>
                  <a:cxn ang="0">
                    <a:pos x="0" y="0"/>
                  </a:cxn>
                </a:cxnLst>
                <a:rect l="0" t="0" r="r" b="b"/>
                <a:pathLst>
                  <a:path w="102" h="50">
                    <a:moveTo>
                      <a:pt x="0" y="0"/>
                    </a:moveTo>
                    <a:lnTo>
                      <a:pt x="0" y="34"/>
                    </a:lnTo>
                    <a:lnTo>
                      <a:pt x="24" y="34"/>
                    </a:lnTo>
                    <a:lnTo>
                      <a:pt x="24" y="50"/>
                    </a:lnTo>
                    <a:lnTo>
                      <a:pt x="102" y="50"/>
                    </a:lnTo>
                    <a:lnTo>
                      <a:pt x="102" y="48"/>
                    </a:lnTo>
                    <a:lnTo>
                      <a:pt x="100" y="46"/>
                    </a:lnTo>
                    <a:lnTo>
                      <a:pt x="100" y="46"/>
                    </a:lnTo>
                    <a:lnTo>
                      <a:pt x="100" y="42"/>
                    </a:lnTo>
                    <a:lnTo>
                      <a:pt x="98" y="38"/>
                    </a:lnTo>
                    <a:lnTo>
                      <a:pt x="98" y="38"/>
                    </a:lnTo>
                    <a:lnTo>
                      <a:pt x="98" y="34"/>
                    </a:lnTo>
                    <a:lnTo>
                      <a:pt x="98" y="30"/>
                    </a:lnTo>
                    <a:lnTo>
                      <a:pt x="96" y="28"/>
                    </a:lnTo>
                    <a:lnTo>
                      <a:pt x="96" y="26"/>
                    </a:lnTo>
                    <a:lnTo>
                      <a:pt x="94" y="26"/>
                    </a:lnTo>
                    <a:lnTo>
                      <a:pt x="96" y="20"/>
                    </a:lnTo>
                    <a:lnTo>
                      <a:pt x="96" y="20"/>
                    </a:lnTo>
                    <a:lnTo>
                      <a:pt x="92" y="16"/>
                    </a:lnTo>
                    <a:lnTo>
                      <a:pt x="92" y="8"/>
                    </a:lnTo>
                    <a:lnTo>
                      <a:pt x="88" y="8"/>
                    </a:lnTo>
                    <a:lnTo>
                      <a:pt x="88" y="6"/>
                    </a:lnTo>
                    <a:lnTo>
                      <a:pt x="88" y="6"/>
                    </a:lnTo>
                    <a:lnTo>
                      <a:pt x="80" y="2"/>
                    </a:lnTo>
                    <a:lnTo>
                      <a:pt x="74" y="2"/>
                    </a:lnTo>
                    <a:lnTo>
                      <a:pt x="72" y="4"/>
                    </a:lnTo>
                    <a:lnTo>
                      <a:pt x="66"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2" name="Rectangle 1470">
                <a:extLst>
                  <a:ext uri="{FF2B5EF4-FFF2-40B4-BE49-F238E27FC236}">
                    <a16:creationId xmlns:a16="http://schemas.microsoft.com/office/drawing/2014/main" id="{D558F785-E431-420B-9A19-F12C3FD6FF1F}"/>
                  </a:ext>
                </a:extLst>
              </p:cNvPr>
              <p:cNvSpPr>
                <a:spLocks noChangeArrowheads="1"/>
              </p:cNvSpPr>
              <p:nvPr/>
            </p:nvSpPr>
            <p:spPr bwMode="auto">
              <a:xfrm>
                <a:off x="1672" y="2352"/>
                <a:ext cx="84" cy="66"/>
              </a:xfrm>
              <a:prstGeom prst="rect">
                <a:avLst/>
              </a:prstGeom>
              <a:grpFill/>
              <a:ln w="3175">
                <a:solidFill>
                  <a:schemeClr val="bg1"/>
                </a:solidFill>
                <a:miter lim="800000"/>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3" name="Freeform 1471">
                <a:extLst>
                  <a:ext uri="{FF2B5EF4-FFF2-40B4-BE49-F238E27FC236}">
                    <a16:creationId xmlns:a16="http://schemas.microsoft.com/office/drawing/2014/main" id="{B2A7F777-F0DF-4774-B2C4-C4FE6F73B871}"/>
                  </a:ext>
                </a:extLst>
              </p:cNvPr>
              <p:cNvSpPr>
                <a:spLocks/>
              </p:cNvSpPr>
              <p:nvPr/>
            </p:nvSpPr>
            <p:spPr bwMode="auto">
              <a:xfrm>
                <a:off x="1756" y="2368"/>
                <a:ext cx="88" cy="50"/>
              </a:xfrm>
              <a:custGeom>
                <a:avLst/>
                <a:gdLst/>
                <a:ahLst/>
                <a:cxnLst>
                  <a:cxn ang="0">
                    <a:pos x="0" y="0"/>
                  </a:cxn>
                  <a:cxn ang="0">
                    <a:pos x="0" y="50"/>
                  </a:cxn>
                  <a:cxn ang="0">
                    <a:pos x="88" y="50"/>
                  </a:cxn>
                  <a:cxn ang="0">
                    <a:pos x="88" y="16"/>
                  </a:cxn>
                  <a:cxn ang="0">
                    <a:pos x="86" y="14"/>
                  </a:cxn>
                  <a:cxn ang="0">
                    <a:pos x="82" y="8"/>
                  </a:cxn>
                  <a:cxn ang="0">
                    <a:pos x="84" y="6"/>
                  </a:cxn>
                  <a:cxn ang="0">
                    <a:pos x="86" y="6"/>
                  </a:cxn>
                  <a:cxn ang="0">
                    <a:pos x="84" y="2"/>
                  </a:cxn>
                  <a:cxn ang="0">
                    <a:pos x="82" y="4"/>
                  </a:cxn>
                  <a:cxn ang="0">
                    <a:pos x="78" y="0"/>
                  </a:cxn>
                  <a:cxn ang="0">
                    <a:pos x="0" y="0"/>
                  </a:cxn>
                </a:cxnLst>
                <a:rect l="0" t="0" r="r" b="b"/>
                <a:pathLst>
                  <a:path w="88" h="50">
                    <a:moveTo>
                      <a:pt x="0" y="0"/>
                    </a:moveTo>
                    <a:lnTo>
                      <a:pt x="0" y="50"/>
                    </a:lnTo>
                    <a:lnTo>
                      <a:pt x="88" y="50"/>
                    </a:lnTo>
                    <a:lnTo>
                      <a:pt x="88" y="16"/>
                    </a:lnTo>
                    <a:lnTo>
                      <a:pt x="86" y="14"/>
                    </a:lnTo>
                    <a:lnTo>
                      <a:pt x="82" y="8"/>
                    </a:lnTo>
                    <a:lnTo>
                      <a:pt x="84" y="6"/>
                    </a:lnTo>
                    <a:lnTo>
                      <a:pt x="86" y="6"/>
                    </a:lnTo>
                    <a:lnTo>
                      <a:pt x="84" y="2"/>
                    </a:lnTo>
                    <a:lnTo>
                      <a:pt x="82" y="4"/>
                    </a:lnTo>
                    <a:lnTo>
                      <a:pt x="78"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4" name="Freeform 1472">
                <a:extLst>
                  <a:ext uri="{FF2B5EF4-FFF2-40B4-BE49-F238E27FC236}">
                    <a16:creationId xmlns:a16="http://schemas.microsoft.com/office/drawing/2014/main" id="{D64DFCB8-2A1A-469D-A1FA-7AA1C6C44E3E}"/>
                  </a:ext>
                </a:extLst>
              </p:cNvPr>
              <p:cNvSpPr>
                <a:spLocks/>
              </p:cNvSpPr>
              <p:nvPr/>
            </p:nvSpPr>
            <p:spPr bwMode="auto">
              <a:xfrm>
                <a:off x="1700" y="2426"/>
                <a:ext cx="158" cy="160"/>
              </a:xfrm>
              <a:custGeom>
                <a:avLst/>
                <a:gdLst/>
                <a:ahLst/>
                <a:cxnLst>
                  <a:cxn ang="0">
                    <a:pos x="0" y="72"/>
                  </a:cxn>
                  <a:cxn ang="0">
                    <a:pos x="6" y="78"/>
                  </a:cxn>
                  <a:cxn ang="0">
                    <a:pos x="8" y="78"/>
                  </a:cxn>
                  <a:cxn ang="0">
                    <a:pos x="20" y="90"/>
                  </a:cxn>
                  <a:cxn ang="0">
                    <a:pos x="24" y="98"/>
                  </a:cxn>
                  <a:cxn ang="0">
                    <a:pos x="34" y="112"/>
                  </a:cxn>
                  <a:cxn ang="0">
                    <a:pos x="42" y="114"/>
                  </a:cxn>
                  <a:cxn ang="0">
                    <a:pos x="48" y="102"/>
                  </a:cxn>
                  <a:cxn ang="0">
                    <a:pos x="62" y="102"/>
                  </a:cxn>
                  <a:cxn ang="0">
                    <a:pos x="72" y="116"/>
                  </a:cxn>
                  <a:cxn ang="0">
                    <a:pos x="80" y="132"/>
                  </a:cxn>
                  <a:cxn ang="0">
                    <a:pos x="84" y="134"/>
                  </a:cxn>
                  <a:cxn ang="0">
                    <a:pos x="94" y="152"/>
                  </a:cxn>
                  <a:cxn ang="0">
                    <a:pos x="112" y="160"/>
                  </a:cxn>
                  <a:cxn ang="0">
                    <a:pos x="116" y="158"/>
                  </a:cxn>
                  <a:cxn ang="0">
                    <a:pos x="112" y="154"/>
                  </a:cxn>
                  <a:cxn ang="0">
                    <a:pos x="112" y="148"/>
                  </a:cxn>
                  <a:cxn ang="0">
                    <a:pos x="114" y="134"/>
                  </a:cxn>
                  <a:cxn ang="0">
                    <a:pos x="116" y="132"/>
                  </a:cxn>
                  <a:cxn ang="0">
                    <a:pos x="116" y="130"/>
                  </a:cxn>
                  <a:cxn ang="0">
                    <a:pos x="116" y="128"/>
                  </a:cxn>
                  <a:cxn ang="0">
                    <a:pos x="120" y="124"/>
                  </a:cxn>
                  <a:cxn ang="0">
                    <a:pos x="124" y="120"/>
                  </a:cxn>
                  <a:cxn ang="0">
                    <a:pos x="128" y="120"/>
                  </a:cxn>
                  <a:cxn ang="0">
                    <a:pos x="128" y="122"/>
                  </a:cxn>
                  <a:cxn ang="0">
                    <a:pos x="134" y="120"/>
                  </a:cxn>
                  <a:cxn ang="0">
                    <a:pos x="142" y="102"/>
                  </a:cxn>
                  <a:cxn ang="0">
                    <a:pos x="142" y="106"/>
                  </a:cxn>
                  <a:cxn ang="0">
                    <a:pos x="154" y="104"/>
                  </a:cxn>
                  <a:cxn ang="0">
                    <a:pos x="156" y="94"/>
                  </a:cxn>
                  <a:cxn ang="0">
                    <a:pos x="158" y="84"/>
                  </a:cxn>
                  <a:cxn ang="0">
                    <a:pos x="156" y="78"/>
                  </a:cxn>
                  <a:cxn ang="0">
                    <a:pos x="152" y="70"/>
                  </a:cxn>
                  <a:cxn ang="0">
                    <a:pos x="148" y="46"/>
                  </a:cxn>
                  <a:cxn ang="0">
                    <a:pos x="142" y="42"/>
                  </a:cxn>
                  <a:cxn ang="0">
                    <a:pos x="136" y="42"/>
                  </a:cxn>
                  <a:cxn ang="0">
                    <a:pos x="130" y="42"/>
                  </a:cxn>
                  <a:cxn ang="0">
                    <a:pos x="124" y="44"/>
                  </a:cxn>
                  <a:cxn ang="0">
                    <a:pos x="114" y="42"/>
                  </a:cxn>
                  <a:cxn ang="0">
                    <a:pos x="114" y="40"/>
                  </a:cxn>
                  <a:cxn ang="0">
                    <a:pos x="108" y="40"/>
                  </a:cxn>
                  <a:cxn ang="0">
                    <a:pos x="104" y="40"/>
                  </a:cxn>
                  <a:cxn ang="0">
                    <a:pos x="98" y="38"/>
                  </a:cxn>
                  <a:cxn ang="0">
                    <a:pos x="90" y="36"/>
                  </a:cxn>
                  <a:cxn ang="0">
                    <a:pos x="86" y="34"/>
                  </a:cxn>
                  <a:cxn ang="0">
                    <a:pos x="80" y="30"/>
                  </a:cxn>
                  <a:cxn ang="0">
                    <a:pos x="44" y="0"/>
                  </a:cxn>
                  <a:cxn ang="0">
                    <a:pos x="0" y="70"/>
                  </a:cxn>
                </a:cxnLst>
                <a:rect l="0" t="0" r="r" b="b"/>
                <a:pathLst>
                  <a:path w="158" h="160">
                    <a:moveTo>
                      <a:pt x="0" y="70"/>
                    </a:moveTo>
                    <a:lnTo>
                      <a:pt x="0" y="72"/>
                    </a:lnTo>
                    <a:lnTo>
                      <a:pt x="4" y="74"/>
                    </a:lnTo>
                    <a:lnTo>
                      <a:pt x="6" y="78"/>
                    </a:lnTo>
                    <a:lnTo>
                      <a:pt x="6" y="78"/>
                    </a:lnTo>
                    <a:lnTo>
                      <a:pt x="8" y="78"/>
                    </a:lnTo>
                    <a:lnTo>
                      <a:pt x="12" y="82"/>
                    </a:lnTo>
                    <a:lnTo>
                      <a:pt x="20" y="90"/>
                    </a:lnTo>
                    <a:lnTo>
                      <a:pt x="20" y="90"/>
                    </a:lnTo>
                    <a:lnTo>
                      <a:pt x="24" y="98"/>
                    </a:lnTo>
                    <a:lnTo>
                      <a:pt x="28" y="106"/>
                    </a:lnTo>
                    <a:lnTo>
                      <a:pt x="34" y="112"/>
                    </a:lnTo>
                    <a:lnTo>
                      <a:pt x="38" y="114"/>
                    </a:lnTo>
                    <a:lnTo>
                      <a:pt x="42" y="114"/>
                    </a:lnTo>
                    <a:lnTo>
                      <a:pt x="48" y="102"/>
                    </a:lnTo>
                    <a:lnTo>
                      <a:pt x="48" y="102"/>
                    </a:lnTo>
                    <a:lnTo>
                      <a:pt x="54" y="102"/>
                    </a:lnTo>
                    <a:lnTo>
                      <a:pt x="62" y="102"/>
                    </a:lnTo>
                    <a:lnTo>
                      <a:pt x="62" y="102"/>
                    </a:lnTo>
                    <a:lnTo>
                      <a:pt x="72" y="116"/>
                    </a:lnTo>
                    <a:lnTo>
                      <a:pt x="78" y="124"/>
                    </a:lnTo>
                    <a:lnTo>
                      <a:pt x="80" y="132"/>
                    </a:lnTo>
                    <a:lnTo>
                      <a:pt x="84" y="134"/>
                    </a:lnTo>
                    <a:lnTo>
                      <a:pt x="84" y="134"/>
                    </a:lnTo>
                    <a:lnTo>
                      <a:pt x="88" y="146"/>
                    </a:lnTo>
                    <a:lnTo>
                      <a:pt x="94" y="152"/>
                    </a:lnTo>
                    <a:lnTo>
                      <a:pt x="100" y="156"/>
                    </a:lnTo>
                    <a:lnTo>
                      <a:pt x="112" y="160"/>
                    </a:lnTo>
                    <a:lnTo>
                      <a:pt x="112" y="160"/>
                    </a:lnTo>
                    <a:lnTo>
                      <a:pt x="116" y="158"/>
                    </a:lnTo>
                    <a:lnTo>
                      <a:pt x="116" y="158"/>
                    </a:lnTo>
                    <a:lnTo>
                      <a:pt x="112" y="154"/>
                    </a:lnTo>
                    <a:lnTo>
                      <a:pt x="112" y="148"/>
                    </a:lnTo>
                    <a:lnTo>
                      <a:pt x="112" y="148"/>
                    </a:lnTo>
                    <a:lnTo>
                      <a:pt x="114" y="142"/>
                    </a:lnTo>
                    <a:lnTo>
                      <a:pt x="114" y="134"/>
                    </a:lnTo>
                    <a:lnTo>
                      <a:pt x="112" y="132"/>
                    </a:lnTo>
                    <a:lnTo>
                      <a:pt x="116" y="132"/>
                    </a:lnTo>
                    <a:lnTo>
                      <a:pt x="116" y="130"/>
                    </a:lnTo>
                    <a:lnTo>
                      <a:pt x="116" y="130"/>
                    </a:lnTo>
                    <a:lnTo>
                      <a:pt x="116" y="128"/>
                    </a:lnTo>
                    <a:lnTo>
                      <a:pt x="116" y="128"/>
                    </a:lnTo>
                    <a:lnTo>
                      <a:pt x="118" y="126"/>
                    </a:lnTo>
                    <a:lnTo>
                      <a:pt x="120" y="124"/>
                    </a:lnTo>
                    <a:lnTo>
                      <a:pt x="124" y="124"/>
                    </a:lnTo>
                    <a:lnTo>
                      <a:pt x="124" y="120"/>
                    </a:lnTo>
                    <a:lnTo>
                      <a:pt x="128" y="118"/>
                    </a:lnTo>
                    <a:lnTo>
                      <a:pt x="128" y="120"/>
                    </a:lnTo>
                    <a:lnTo>
                      <a:pt x="132" y="120"/>
                    </a:lnTo>
                    <a:lnTo>
                      <a:pt x="128" y="122"/>
                    </a:lnTo>
                    <a:lnTo>
                      <a:pt x="128" y="122"/>
                    </a:lnTo>
                    <a:lnTo>
                      <a:pt x="134" y="120"/>
                    </a:lnTo>
                    <a:lnTo>
                      <a:pt x="138" y="116"/>
                    </a:lnTo>
                    <a:lnTo>
                      <a:pt x="142" y="102"/>
                    </a:lnTo>
                    <a:lnTo>
                      <a:pt x="142" y="102"/>
                    </a:lnTo>
                    <a:lnTo>
                      <a:pt x="142" y="106"/>
                    </a:lnTo>
                    <a:lnTo>
                      <a:pt x="154" y="104"/>
                    </a:lnTo>
                    <a:lnTo>
                      <a:pt x="154" y="104"/>
                    </a:lnTo>
                    <a:lnTo>
                      <a:pt x="154" y="100"/>
                    </a:lnTo>
                    <a:lnTo>
                      <a:pt x="156" y="94"/>
                    </a:lnTo>
                    <a:lnTo>
                      <a:pt x="156" y="90"/>
                    </a:lnTo>
                    <a:lnTo>
                      <a:pt x="158" y="84"/>
                    </a:lnTo>
                    <a:lnTo>
                      <a:pt x="158" y="84"/>
                    </a:lnTo>
                    <a:lnTo>
                      <a:pt x="156" y="78"/>
                    </a:lnTo>
                    <a:lnTo>
                      <a:pt x="154" y="72"/>
                    </a:lnTo>
                    <a:lnTo>
                      <a:pt x="152" y="70"/>
                    </a:lnTo>
                    <a:lnTo>
                      <a:pt x="152" y="46"/>
                    </a:lnTo>
                    <a:lnTo>
                      <a:pt x="148" y="46"/>
                    </a:lnTo>
                    <a:lnTo>
                      <a:pt x="148" y="46"/>
                    </a:lnTo>
                    <a:lnTo>
                      <a:pt x="142" y="42"/>
                    </a:lnTo>
                    <a:lnTo>
                      <a:pt x="138" y="40"/>
                    </a:lnTo>
                    <a:lnTo>
                      <a:pt x="136" y="42"/>
                    </a:lnTo>
                    <a:lnTo>
                      <a:pt x="132" y="40"/>
                    </a:lnTo>
                    <a:lnTo>
                      <a:pt x="130" y="42"/>
                    </a:lnTo>
                    <a:lnTo>
                      <a:pt x="128" y="40"/>
                    </a:lnTo>
                    <a:lnTo>
                      <a:pt x="124" y="44"/>
                    </a:lnTo>
                    <a:lnTo>
                      <a:pt x="118" y="40"/>
                    </a:lnTo>
                    <a:lnTo>
                      <a:pt x="114" y="42"/>
                    </a:lnTo>
                    <a:lnTo>
                      <a:pt x="114" y="44"/>
                    </a:lnTo>
                    <a:lnTo>
                      <a:pt x="114" y="40"/>
                    </a:lnTo>
                    <a:lnTo>
                      <a:pt x="110" y="42"/>
                    </a:lnTo>
                    <a:lnTo>
                      <a:pt x="108" y="40"/>
                    </a:lnTo>
                    <a:lnTo>
                      <a:pt x="106" y="42"/>
                    </a:lnTo>
                    <a:lnTo>
                      <a:pt x="104" y="40"/>
                    </a:lnTo>
                    <a:lnTo>
                      <a:pt x="102" y="38"/>
                    </a:lnTo>
                    <a:lnTo>
                      <a:pt x="98" y="38"/>
                    </a:lnTo>
                    <a:lnTo>
                      <a:pt x="96" y="36"/>
                    </a:lnTo>
                    <a:lnTo>
                      <a:pt x="90" y="36"/>
                    </a:lnTo>
                    <a:lnTo>
                      <a:pt x="88" y="32"/>
                    </a:lnTo>
                    <a:lnTo>
                      <a:pt x="86" y="34"/>
                    </a:lnTo>
                    <a:lnTo>
                      <a:pt x="84" y="34"/>
                    </a:lnTo>
                    <a:lnTo>
                      <a:pt x="80" y="30"/>
                    </a:lnTo>
                    <a:lnTo>
                      <a:pt x="80" y="0"/>
                    </a:lnTo>
                    <a:lnTo>
                      <a:pt x="44" y="0"/>
                    </a:lnTo>
                    <a:lnTo>
                      <a:pt x="44" y="70"/>
                    </a:lnTo>
                    <a:lnTo>
                      <a:pt x="0" y="7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5" name="Freeform 1473">
                <a:extLst>
                  <a:ext uri="{FF2B5EF4-FFF2-40B4-BE49-F238E27FC236}">
                    <a16:creationId xmlns:a16="http://schemas.microsoft.com/office/drawing/2014/main" id="{8728A13E-66DC-42EB-BE1E-9B352F5F7303}"/>
                  </a:ext>
                </a:extLst>
              </p:cNvPr>
              <p:cNvSpPr>
                <a:spLocks/>
              </p:cNvSpPr>
              <p:nvPr/>
            </p:nvSpPr>
            <p:spPr bwMode="auto">
              <a:xfrm>
                <a:off x="1744" y="2418"/>
                <a:ext cx="102" cy="52"/>
              </a:xfrm>
              <a:custGeom>
                <a:avLst/>
                <a:gdLst/>
                <a:ahLst/>
                <a:cxnLst>
                  <a:cxn ang="0">
                    <a:pos x="36" y="8"/>
                  </a:cxn>
                  <a:cxn ang="0">
                    <a:pos x="36" y="38"/>
                  </a:cxn>
                  <a:cxn ang="0">
                    <a:pos x="40" y="42"/>
                  </a:cxn>
                  <a:cxn ang="0">
                    <a:pos x="42" y="42"/>
                  </a:cxn>
                  <a:cxn ang="0">
                    <a:pos x="44" y="40"/>
                  </a:cxn>
                  <a:cxn ang="0">
                    <a:pos x="46" y="44"/>
                  </a:cxn>
                  <a:cxn ang="0">
                    <a:pos x="52" y="44"/>
                  </a:cxn>
                  <a:cxn ang="0">
                    <a:pos x="54" y="46"/>
                  </a:cxn>
                  <a:cxn ang="0">
                    <a:pos x="58" y="46"/>
                  </a:cxn>
                  <a:cxn ang="0">
                    <a:pos x="60" y="48"/>
                  </a:cxn>
                  <a:cxn ang="0">
                    <a:pos x="62" y="50"/>
                  </a:cxn>
                  <a:cxn ang="0">
                    <a:pos x="64" y="48"/>
                  </a:cxn>
                  <a:cxn ang="0">
                    <a:pos x="66" y="50"/>
                  </a:cxn>
                  <a:cxn ang="0">
                    <a:pos x="70" y="48"/>
                  </a:cxn>
                  <a:cxn ang="0">
                    <a:pos x="70" y="52"/>
                  </a:cxn>
                  <a:cxn ang="0">
                    <a:pos x="70" y="50"/>
                  </a:cxn>
                  <a:cxn ang="0">
                    <a:pos x="74" y="48"/>
                  </a:cxn>
                  <a:cxn ang="0">
                    <a:pos x="80" y="52"/>
                  </a:cxn>
                  <a:cxn ang="0">
                    <a:pos x="84" y="48"/>
                  </a:cxn>
                  <a:cxn ang="0">
                    <a:pos x="86" y="50"/>
                  </a:cxn>
                  <a:cxn ang="0">
                    <a:pos x="88" y="48"/>
                  </a:cxn>
                  <a:cxn ang="0">
                    <a:pos x="92" y="50"/>
                  </a:cxn>
                  <a:cxn ang="0">
                    <a:pos x="94" y="48"/>
                  </a:cxn>
                  <a:cxn ang="0">
                    <a:pos x="102" y="52"/>
                  </a:cxn>
                  <a:cxn ang="0">
                    <a:pos x="102" y="52"/>
                  </a:cxn>
                  <a:cxn ang="0">
                    <a:pos x="102" y="26"/>
                  </a:cxn>
                  <a:cxn ang="0">
                    <a:pos x="100" y="0"/>
                  </a:cxn>
                  <a:cxn ang="0">
                    <a:pos x="0" y="0"/>
                  </a:cxn>
                  <a:cxn ang="0">
                    <a:pos x="0" y="8"/>
                  </a:cxn>
                  <a:cxn ang="0">
                    <a:pos x="36" y="8"/>
                  </a:cxn>
                </a:cxnLst>
                <a:rect l="0" t="0" r="r" b="b"/>
                <a:pathLst>
                  <a:path w="102" h="52">
                    <a:moveTo>
                      <a:pt x="36" y="8"/>
                    </a:moveTo>
                    <a:lnTo>
                      <a:pt x="36" y="38"/>
                    </a:lnTo>
                    <a:lnTo>
                      <a:pt x="40" y="42"/>
                    </a:lnTo>
                    <a:lnTo>
                      <a:pt x="42" y="42"/>
                    </a:lnTo>
                    <a:lnTo>
                      <a:pt x="44" y="40"/>
                    </a:lnTo>
                    <a:lnTo>
                      <a:pt x="46" y="44"/>
                    </a:lnTo>
                    <a:lnTo>
                      <a:pt x="52" y="44"/>
                    </a:lnTo>
                    <a:lnTo>
                      <a:pt x="54" y="46"/>
                    </a:lnTo>
                    <a:lnTo>
                      <a:pt x="58" y="46"/>
                    </a:lnTo>
                    <a:lnTo>
                      <a:pt x="60" y="48"/>
                    </a:lnTo>
                    <a:lnTo>
                      <a:pt x="62" y="50"/>
                    </a:lnTo>
                    <a:lnTo>
                      <a:pt x="64" y="48"/>
                    </a:lnTo>
                    <a:lnTo>
                      <a:pt x="66" y="50"/>
                    </a:lnTo>
                    <a:lnTo>
                      <a:pt x="70" y="48"/>
                    </a:lnTo>
                    <a:lnTo>
                      <a:pt x="70" y="52"/>
                    </a:lnTo>
                    <a:lnTo>
                      <a:pt x="70" y="50"/>
                    </a:lnTo>
                    <a:lnTo>
                      <a:pt x="74" y="48"/>
                    </a:lnTo>
                    <a:lnTo>
                      <a:pt x="80" y="52"/>
                    </a:lnTo>
                    <a:lnTo>
                      <a:pt x="84" y="48"/>
                    </a:lnTo>
                    <a:lnTo>
                      <a:pt x="86" y="50"/>
                    </a:lnTo>
                    <a:lnTo>
                      <a:pt x="88" y="48"/>
                    </a:lnTo>
                    <a:lnTo>
                      <a:pt x="92" y="50"/>
                    </a:lnTo>
                    <a:lnTo>
                      <a:pt x="94" y="48"/>
                    </a:lnTo>
                    <a:lnTo>
                      <a:pt x="102" y="52"/>
                    </a:lnTo>
                    <a:lnTo>
                      <a:pt x="102" y="52"/>
                    </a:lnTo>
                    <a:lnTo>
                      <a:pt x="102" y="26"/>
                    </a:lnTo>
                    <a:lnTo>
                      <a:pt x="100" y="0"/>
                    </a:lnTo>
                    <a:lnTo>
                      <a:pt x="0" y="0"/>
                    </a:lnTo>
                    <a:lnTo>
                      <a:pt x="0" y="8"/>
                    </a:lnTo>
                    <a:lnTo>
                      <a:pt x="36"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6" name="Freeform 1474">
                <a:extLst>
                  <a:ext uri="{FF2B5EF4-FFF2-40B4-BE49-F238E27FC236}">
                    <a16:creationId xmlns:a16="http://schemas.microsoft.com/office/drawing/2014/main" id="{E80D77F7-1249-4FC8-A528-381033BF6F74}"/>
                  </a:ext>
                </a:extLst>
              </p:cNvPr>
              <p:cNvSpPr>
                <a:spLocks/>
              </p:cNvSpPr>
              <p:nvPr/>
            </p:nvSpPr>
            <p:spPr bwMode="auto">
              <a:xfrm>
                <a:off x="1732" y="2266"/>
                <a:ext cx="90" cy="60"/>
              </a:xfrm>
              <a:custGeom>
                <a:avLst/>
                <a:gdLst/>
                <a:ahLst/>
                <a:cxnLst>
                  <a:cxn ang="0">
                    <a:pos x="0" y="0"/>
                  </a:cxn>
                  <a:cxn ang="0">
                    <a:pos x="0" y="52"/>
                  </a:cxn>
                  <a:cxn ang="0">
                    <a:pos x="66" y="52"/>
                  </a:cxn>
                  <a:cxn ang="0">
                    <a:pos x="72" y="56"/>
                  </a:cxn>
                  <a:cxn ang="0">
                    <a:pos x="74" y="54"/>
                  </a:cxn>
                  <a:cxn ang="0">
                    <a:pos x="74" y="54"/>
                  </a:cxn>
                  <a:cxn ang="0">
                    <a:pos x="80" y="54"/>
                  </a:cxn>
                  <a:cxn ang="0">
                    <a:pos x="88" y="58"/>
                  </a:cxn>
                  <a:cxn ang="0">
                    <a:pos x="88" y="60"/>
                  </a:cxn>
                  <a:cxn ang="0">
                    <a:pos x="90" y="60"/>
                  </a:cxn>
                  <a:cxn ang="0">
                    <a:pos x="88" y="56"/>
                  </a:cxn>
                  <a:cxn ang="0">
                    <a:pos x="90" y="50"/>
                  </a:cxn>
                  <a:cxn ang="0">
                    <a:pos x="88" y="48"/>
                  </a:cxn>
                  <a:cxn ang="0">
                    <a:pos x="88" y="44"/>
                  </a:cxn>
                  <a:cxn ang="0">
                    <a:pos x="90" y="44"/>
                  </a:cxn>
                  <a:cxn ang="0">
                    <a:pos x="90" y="10"/>
                  </a:cxn>
                  <a:cxn ang="0">
                    <a:pos x="86" y="6"/>
                  </a:cxn>
                  <a:cxn ang="0">
                    <a:pos x="90" y="0"/>
                  </a:cxn>
                  <a:cxn ang="0">
                    <a:pos x="0" y="0"/>
                  </a:cxn>
                </a:cxnLst>
                <a:rect l="0" t="0" r="r" b="b"/>
                <a:pathLst>
                  <a:path w="90" h="60">
                    <a:moveTo>
                      <a:pt x="0" y="0"/>
                    </a:moveTo>
                    <a:lnTo>
                      <a:pt x="0" y="52"/>
                    </a:lnTo>
                    <a:lnTo>
                      <a:pt x="66" y="52"/>
                    </a:lnTo>
                    <a:lnTo>
                      <a:pt x="72" y="56"/>
                    </a:lnTo>
                    <a:lnTo>
                      <a:pt x="74" y="54"/>
                    </a:lnTo>
                    <a:lnTo>
                      <a:pt x="74" y="54"/>
                    </a:lnTo>
                    <a:lnTo>
                      <a:pt x="80" y="54"/>
                    </a:lnTo>
                    <a:lnTo>
                      <a:pt x="88" y="58"/>
                    </a:lnTo>
                    <a:lnTo>
                      <a:pt x="88" y="60"/>
                    </a:lnTo>
                    <a:lnTo>
                      <a:pt x="90" y="60"/>
                    </a:lnTo>
                    <a:lnTo>
                      <a:pt x="88" y="56"/>
                    </a:lnTo>
                    <a:lnTo>
                      <a:pt x="90" y="50"/>
                    </a:lnTo>
                    <a:lnTo>
                      <a:pt x="88" y="48"/>
                    </a:lnTo>
                    <a:lnTo>
                      <a:pt x="88" y="44"/>
                    </a:lnTo>
                    <a:lnTo>
                      <a:pt x="90" y="44"/>
                    </a:lnTo>
                    <a:lnTo>
                      <a:pt x="90" y="10"/>
                    </a:lnTo>
                    <a:lnTo>
                      <a:pt x="86" y="6"/>
                    </a:lnTo>
                    <a:lnTo>
                      <a:pt x="9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7" name="Freeform 1475">
                <a:extLst>
                  <a:ext uri="{FF2B5EF4-FFF2-40B4-BE49-F238E27FC236}">
                    <a16:creationId xmlns:a16="http://schemas.microsoft.com/office/drawing/2014/main" id="{8CC46B36-8A8F-4194-9241-12A27D079BB1}"/>
                  </a:ext>
                </a:extLst>
              </p:cNvPr>
              <p:cNvSpPr>
                <a:spLocks/>
              </p:cNvSpPr>
              <p:nvPr/>
            </p:nvSpPr>
            <p:spPr bwMode="auto">
              <a:xfrm>
                <a:off x="1732" y="2208"/>
                <a:ext cx="90" cy="58"/>
              </a:xfrm>
              <a:custGeom>
                <a:avLst/>
                <a:gdLst/>
                <a:ahLst/>
                <a:cxnLst>
                  <a:cxn ang="0">
                    <a:pos x="0" y="0"/>
                  </a:cxn>
                  <a:cxn ang="0">
                    <a:pos x="0" y="58"/>
                  </a:cxn>
                  <a:cxn ang="0">
                    <a:pos x="90" y="58"/>
                  </a:cxn>
                  <a:cxn ang="0">
                    <a:pos x="90" y="58"/>
                  </a:cxn>
                  <a:cxn ang="0">
                    <a:pos x="86" y="36"/>
                  </a:cxn>
                  <a:cxn ang="0">
                    <a:pos x="82" y="16"/>
                  </a:cxn>
                  <a:cxn ang="0">
                    <a:pos x="82" y="16"/>
                  </a:cxn>
                  <a:cxn ang="0">
                    <a:pos x="82" y="8"/>
                  </a:cxn>
                  <a:cxn ang="0">
                    <a:pos x="82" y="4"/>
                  </a:cxn>
                  <a:cxn ang="0">
                    <a:pos x="80" y="0"/>
                  </a:cxn>
                  <a:cxn ang="0">
                    <a:pos x="0" y="0"/>
                  </a:cxn>
                </a:cxnLst>
                <a:rect l="0" t="0" r="r" b="b"/>
                <a:pathLst>
                  <a:path w="90" h="58">
                    <a:moveTo>
                      <a:pt x="0" y="0"/>
                    </a:moveTo>
                    <a:lnTo>
                      <a:pt x="0" y="58"/>
                    </a:lnTo>
                    <a:lnTo>
                      <a:pt x="90" y="58"/>
                    </a:lnTo>
                    <a:lnTo>
                      <a:pt x="90" y="58"/>
                    </a:lnTo>
                    <a:lnTo>
                      <a:pt x="86" y="36"/>
                    </a:lnTo>
                    <a:lnTo>
                      <a:pt x="82" y="16"/>
                    </a:lnTo>
                    <a:lnTo>
                      <a:pt x="82" y="16"/>
                    </a:lnTo>
                    <a:lnTo>
                      <a:pt x="82" y="8"/>
                    </a:lnTo>
                    <a:lnTo>
                      <a:pt x="82" y="4"/>
                    </a:lnTo>
                    <a:lnTo>
                      <a:pt x="8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8" name="Freeform 1476">
                <a:extLst>
                  <a:ext uri="{FF2B5EF4-FFF2-40B4-BE49-F238E27FC236}">
                    <a16:creationId xmlns:a16="http://schemas.microsoft.com/office/drawing/2014/main" id="{3DBFF4AE-2EE1-4592-A45A-F0E69636722B}"/>
                  </a:ext>
                </a:extLst>
              </p:cNvPr>
              <p:cNvSpPr>
                <a:spLocks/>
              </p:cNvSpPr>
              <p:nvPr/>
            </p:nvSpPr>
            <p:spPr bwMode="auto">
              <a:xfrm>
                <a:off x="1812" y="2200"/>
                <a:ext cx="92" cy="110"/>
              </a:xfrm>
              <a:custGeom>
                <a:avLst/>
                <a:gdLst/>
                <a:ahLst/>
                <a:cxnLst>
                  <a:cxn ang="0">
                    <a:pos x="74" y="110"/>
                  </a:cxn>
                  <a:cxn ang="0">
                    <a:pos x="72" y="102"/>
                  </a:cxn>
                  <a:cxn ang="0">
                    <a:pos x="72" y="102"/>
                  </a:cxn>
                  <a:cxn ang="0">
                    <a:pos x="66" y="98"/>
                  </a:cxn>
                  <a:cxn ang="0">
                    <a:pos x="62" y="92"/>
                  </a:cxn>
                  <a:cxn ang="0">
                    <a:pos x="62" y="92"/>
                  </a:cxn>
                  <a:cxn ang="0">
                    <a:pos x="58" y="90"/>
                  </a:cxn>
                  <a:cxn ang="0">
                    <a:pos x="54" y="86"/>
                  </a:cxn>
                  <a:cxn ang="0">
                    <a:pos x="54" y="86"/>
                  </a:cxn>
                  <a:cxn ang="0">
                    <a:pos x="54" y="80"/>
                  </a:cxn>
                  <a:cxn ang="0">
                    <a:pos x="56" y="74"/>
                  </a:cxn>
                  <a:cxn ang="0">
                    <a:pos x="54" y="72"/>
                  </a:cxn>
                  <a:cxn ang="0">
                    <a:pos x="54" y="70"/>
                  </a:cxn>
                  <a:cxn ang="0">
                    <a:pos x="54" y="70"/>
                  </a:cxn>
                  <a:cxn ang="0">
                    <a:pos x="56" y="66"/>
                  </a:cxn>
                  <a:cxn ang="0">
                    <a:pos x="60" y="62"/>
                  </a:cxn>
                  <a:cxn ang="0">
                    <a:pos x="60" y="52"/>
                  </a:cxn>
                  <a:cxn ang="0">
                    <a:pos x="62" y="50"/>
                  </a:cxn>
                  <a:cxn ang="0">
                    <a:pos x="62" y="52"/>
                  </a:cxn>
                  <a:cxn ang="0">
                    <a:pos x="62" y="52"/>
                  </a:cxn>
                  <a:cxn ang="0">
                    <a:pos x="76" y="38"/>
                  </a:cxn>
                  <a:cxn ang="0">
                    <a:pos x="92" y="28"/>
                  </a:cxn>
                  <a:cxn ang="0">
                    <a:pos x="92" y="28"/>
                  </a:cxn>
                  <a:cxn ang="0">
                    <a:pos x="82" y="24"/>
                  </a:cxn>
                  <a:cxn ang="0">
                    <a:pos x="76" y="24"/>
                  </a:cxn>
                  <a:cxn ang="0">
                    <a:pos x="72" y="26"/>
                  </a:cxn>
                  <a:cxn ang="0">
                    <a:pos x="54" y="14"/>
                  </a:cxn>
                  <a:cxn ang="0">
                    <a:pos x="54" y="14"/>
                  </a:cxn>
                  <a:cxn ang="0">
                    <a:pos x="48" y="16"/>
                  </a:cxn>
                  <a:cxn ang="0">
                    <a:pos x="42" y="14"/>
                  </a:cxn>
                  <a:cxn ang="0">
                    <a:pos x="38" y="12"/>
                  </a:cxn>
                  <a:cxn ang="0">
                    <a:pos x="34" y="12"/>
                  </a:cxn>
                  <a:cxn ang="0">
                    <a:pos x="28" y="0"/>
                  </a:cxn>
                  <a:cxn ang="0">
                    <a:pos x="26" y="0"/>
                  </a:cxn>
                  <a:cxn ang="0">
                    <a:pos x="26" y="8"/>
                  </a:cxn>
                  <a:cxn ang="0">
                    <a:pos x="0" y="8"/>
                  </a:cxn>
                  <a:cxn ang="0">
                    <a:pos x="0" y="8"/>
                  </a:cxn>
                  <a:cxn ang="0">
                    <a:pos x="2" y="12"/>
                  </a:cxn>
                  <a:cxn ang="0">
                    <a:pos x="2" y="16"/>
                  </a:cxn>
                  <a:cxn ang="0">
                    <a:pos x="2" y="24"/>
                  </a:cxn>
                  <a:cxn ang="0">
                    <a:pos x="2" y="24"/>
                  </a:cxn>
                  <a:cxn ang="0">
                    <a:pos x="6" y="44"/>
                  </a:cxn>
                  <a:cxn ang="0">
                    <a:pos x="10" y="66"/>
                  </a:cxn>
                  <a:cxn ang="0">
                    <a:pos x="6" y="72"/>
                  </a:cxn>
                  <a:cxn ang="0">
                    <a:pos x="10" y="76"/>
                  </a:cxn>
                  <a:cxn ang="0">
                    <a:pos x="10" y="110"/>
                  </a:cxn>
                  <a:cxn ang="0">
                    <a:pos x="74" y="110"/>
                  </a:cxn>
                </a:cxnLst>
                <a:rect l="0" t="0" r="r" b="b"/>
                <a:pathLst>
                  <a:path w="92" h="110">
                    <a:moveTo>
                      <a:pt x="74" y="110"/>
                    </a:moveTo>
                    <a:lnTo>
                      <a:pt x="72" y="102"/>
                    </a:lnTo>
                    <a:lnTo>
                      <a:pt x="72" y="102"/>
                    </a:lnTo>
                    <a:lnTo>
                      <a:pt x="66" y="98"/>
                    </a:lnTo>
                    <a:lnTo>
                      <a:pt x="62" y="92"/>
                    </a:lnTo>
                    <a:lnTo>
                      <a:pt x="62" y="92"/>
                    </a:lnTo>
                    <a:lnTo>
                      <a:pt x="58" y="90"/>
                    </a:lnTo>
                    <a:lnTo>
                      <a:pt x="54" y="86"/>
                    </a:lnTo>
                    <a:lnTo>
                      <a:pt x="54" y="86"/>
                    </a:lnTo>
                    <a:lnTo>
                      <a:pt x="54" y="80"/>
                    </a:lnTo>
                    <a:lnTo>
                      <a:pt x="56" y="74"/>
                    </a:lnTo>
                    <a:lnTo>
                      <a:pt x="54" y="72"/>
                    </a:lnTo>
                    <a:lnTo>
                      <a:pt x="54" y="70"/>
                    </a:lnTo>
                    <a:lnTo>
                      <a:pt x="54" y="70"/>
                    </a:lnTo>
                    <a:lnTo>
                      <a:pt x="56" y="66"/>
                    </a:lnTo>
                    <a:lnTo>
                      <a:pt x="60" y="62"/>
                    </a:lnTo>
                    <a:lnTo>
                      <a:pt x="60" y="52"/>
                    </a:lnTo>
                    <a:lnTo>
                      <a:pt x="62" y="50"/>
                    </a:lnTo>
                    <a:lnTo>
                      <a:pt x="62" y="52"/>
                    </a:lnTo>
                    <a:lnTo>
                      <a:pt x="62" y="52"/>
                    </a:lnTo>
                    <a:lnTo>
                      <a:pt x="76" y="38"/>
                    </a:lnTo>
                    <a:lnTo>
                      <a:pt x="92" y="28"/>
                    </a:lnTo>
                    <a:lnTo>
                      <a:pt x="92" y="28"/>
                    </a:lnTo>
                    <a:lnTo>
                      <a:pt x="82" y="24"/>
                    </a:lnTo>
                    <a:lnTo>
                      <a:pt x="76" y="24"/>
                    </a:lnTo>
                    <a:lnTo>
                      <a:pt x="72" y="26"/>
                    </a:lnTo>
                    <a:lnTo>
                      <a:pt x="54" y="14"/>
                    </a:lnTo>
                    <a:lnTo>
                      <a:pt x="54" y="14"/>
                    </a:lnTo>
                    <a:lnTo>
                      <a:pt x="48" y="16"/>
                    </a:lnTo>
                    <a:lnTo>
                      <a:pt x="42" y="14"/>
                    </a:lnTo>
                    <a:lnTo>
                      <a:pt x="38" y="12"/>
                    </a:lnTo>
                    <a:lnTo>
                      <a:pt x="34" y="12"/>
                    </a:lnTo>
                    <a:lnTo>
                      <a:pt x="28" y="0"/>
                    </a:lnTo>
                    <a:lnTo>
                      <a:pt x="26" y="0"/>
                    </a:lnTo>
                    <a:lnTo>
                      <a:pt x="26" y="8"/>
                    </a:lnTo>
                    <a:lnTo>
                      <a:pt x="0" y="8"/>
                    </a:lnTo>
                    <a:lnTo>
                      <a:pt x="0" y="8"/>
                    </a:lnTo>
                    <a:lnTo>
                      <a:pt x="2" y="12"/>
                    </a:lnTo>
                    <a:lnTo>
                      <a:pt x="2" y="16"/>
                    </a:lnTo>
                    <a:lnTo>
                      <a:pt x="2" y="24"/>
                    </a:lnTo>
                    <a:lnTo>
                      <a:pt x="2" y="24"/>
                    </a:lnTo>
                    <a:lnTo>
                      <a:pt x="6" y="44"/>
                    </a:lnTo>
                    <a:lnTo>
                      <a:pt x="10" y="66"/>
                    </a:lnTo>
                    <a:lnTo>
                      <a:pt x="6" y="72"/>
                    </a:lnTo>
                    <a:lnTo>
                      <a:pt x="10" y="76"/>
                    </a:lnTo>
                    <a:lnTo>
                      <a:pt x="10" y="110"/>
                    </a:lnTo>
                    <a:lnTo>
                      <a:pt x="74" y="1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69" name="Freeform 1477">
                <a:extLst>
                  <a:ext uri="{FF2B5EF4-FFF2-40B4-BE49-F238E27FC236}">
                    <a16:creationId xmlns:a16="http://schemas.microsoft.com/office/drawing/2014/main" id="{657F02E6-78BD-48EE-B1C8-6D8C9BF57DCD}"/>
                  </a:ext>
                </a:extLst>
              </p:cNvPr>
              <p:cNvSpPr>
                <a:spLocks/>
              </p:cNvSpPr>
              <p:nvPr/>
            </p:nvSpPr>
            <p:spPr bwMode="auto">
              <a:xfrm>
                <a:off x="1820" y="2310"/>
                <a:ext cx="78" cy="54"/>
              </a:xfrm>
              <a:custGeom>
                <a:avLst/>
                <a:gdLst/>
                <a:ahLst/>
                <a:cxnLst>
                  <a:cxn ang="0">
                    <a:pos x="66" y="0"/>
                  </a:cxn>
                  <a:cxn ang="0">
                    <a:pos x="68" y="12"/>
                  </a:cxn>
                  <a:cxn ang="0">
                    <a:pos x="72" y="14"/>
                  </a:cxn>
                  <a:cxn ang="0">
                    <a:pos x="72" y="18"/>
                  </a:cxn>
                  <a:cxn ang="0">
                    <a:pos x="78" y="24"/>
                  </a:cxn>
                  <a:cxn ang="0">
                    <a:pos x="78" y="24"/>
                  </a:cxn>
                  <a:cxn ang="0">
                    <a:pos x="78" y="28"/>
                  </a:cxn>
                  <a:cxn ang="0">
                    <a:pos x="76" y="32"/>
                  </a:cxn>
                  <a:cxn ang="0">
                    <a:pos x="68" y="36"/>
                  </a:cxn>
                  <a:cxn ang="0">
                    <a:pos x="66" y="38"/>
                  </a:cxn>
                  <a:cxn ang="0">
                    <a:pos x="68" y="40"/>
                  </a:cxn>
                  <a:cxn ang="0">
                    <a:pos x="68" y="40"/>
                  </a:cxn>
                  <a:cxn ang="0">
                    <a:pos x="68" y="44"/>
                  </a:cxn>
                  <a:cxn ang="0">
                    <a:pos x="66" y="48"/>
                  </a:cxn>
                  <a:cxn ang="0">
                    <a:pos x="62" y="50"/>
                  </a:cxn>
                  <a:cxn ang="0">
                    <a:pos x="64" y="52"/>
                  </a:cxn>
                  <a:cxn ang="0">
                    <a:pos x="62" y="54"/>
                  </a:cxn>
                  <a:cxn ang="0">
                    <a:pos x="58" y="50"/>
                  </a:cxn>
                  <a:cxn ang="0">
                    <a:pos x="10" y="50"/>
                  </a:cxn>
                  <a:cxn ang="0">
                    <a:pos x="10" y="46"/>
                  </a:cxn>
                  <a:cxn ang="0">
                    <a:pos x="10" y="46"/>
                  </a:cxn>
                  <a:cxn ang="0">
                    <a:pos x="10" y="42"/>
                  </a:cxn>
                  <a:cxn ang="0">
                    <a:pos x="10" y="38"/>
                  </a:cxn>
                  <a:cxn ang="0">
                    <a:pos x="8" y="36"/>
                  </a:cxn>
                  <a:cxn ang="0">
                    <a:pos x="8" y="34"/>
                  </a:cxn>
                  <a:cxn ang="0">
                    <a:pos x="6" y="34"/>
                  </a:cxn>
                  <a:cxn ang="0">
                    <a:pos x="8" y="28"/>
                  </a:cxn>
                  <a:cxn ang="0">
                    <a:pos x="8" y="28"/>
                  </a:cxn>
                  <a:cxn ang="0">
                    <a:pos x="4" y="24"/>
                  </a:cxn>
                  <a:cxn ang="0">
                    <a:pos x="4" y="16"/>
                  </a:cxn>
                  <a:cxn ang="0">
                    <a:pos x="2" y="16"/>
                  </a:cxn>
                  <a:cxn ang="0">
                    <a:pos x="0" y="12"/>
                  </a:cxn>
                  <a:cxn ang="0">
                    <a:pos x="2" y="6"/>
                  </a:cxn>
                  <a:cxn ang="0">
                    <a:pos x="0" y="4"/>
                  </a:cxn>
                  <a:cxn ang="0">
                    <a:pos x="0" y="0"/>
                  </a:cxn>
                  <a:cxn ang="0">
                    <a:pos x="66" y="0"/>
                  </a:cxn>
                </a:cxnLst>
                <a:rect l="0" t="0" r="r" b="b"/>
                <a:pathLst>
                  <a:path w="78" h="54">
                    <a:moveTo>
                      <a:pt x="66" y="0"/>
                    </a:moveTo>
                    <a:lnTo>
                      <a:pt x="68" y="12"/>
                    </a:lnTo>
                    <a:lnTo>
                      <a:pt x="72" y="14"/>
                    </a:lnTo>
                    <a:lnTo>
                      <a:pt x="72" y="18"/>
                    </a:lnTo>
                    <a:lnTo>
                      <a:pt x="78" y="24"/>
                    </a:lnTo>
                    <a:lnTo>
                      <a:pt x="78" y="24"/>
                    </a:lnTo>
                    <a:lnTo>
                      <a:pt x="78" y="28"/>
                    </a:lnTo>
                    <a:lnTo>
                      <a:pt x="76" y="32"/>
                    </a:lnTo>
                    <a:lnTo>
                      <a:pt x="68" y="36"/>
                    </a:lnTo>
                    <a:lnTo>
                      <a:pt x="66" y="38"/>
                    </a:lnTo>
                    <a:lnTo>
                      <a:pt x="68" y="40"/>
                    </a:lnTo>
                    <a:lnTo>
                      <a:pt x="68" y="40"/>
                    </a:lnTo>
                    <a:lnTo>
                      <a:pt x="68" y="44"/>
                    </a:lnTo>
                    <a:lnTo>
                      <a:pt x="66" y="48"/>
                    </a:lnTo>
                    <a:lnTo>
                      <a:pt x="62" y="50"/>
                    </a:lnTo>
                    <a:lnTo>
                      <a:pt x="64" y="52"/>
                    </a:lnTo>
                    <a:lnTo>
                      <a:pt x="62" y="54"/>
                    </a:lnTo>
                    <a:lnTo>
                      <a:pt x="58" y="50"/>
                    </a:lnTo>
                    <a:lnTo>
                      <a:pt x="10" y="50"/>
                    </a:lnTo>
                    <a:lnTo>
                      <a:pt x="10" y="46"/>
                    </a:lnTo>
                    <a:lnTo>
                      <a:pt x="10" y="46"/>
                    </a:lnTo>
                    <a:lnTo>
                      <a:pt x="10" y="42"/>
                    </a:lnTo>
                    <a:lnTo>
                      <a:pt x="10" y="38"/>
                    </a:lnTo>
                    <a:lnTo>
                      <a:pt x="8" y="36"/>
                    </a:lnTo>
                    <a:lnTo>
                      <a:pt x="8" y="34"/>
                    </a:lnTo>
                    <a:lnTo>
                      <a:pt x="6" y="34"/>
                    </a:lnTo>
                    <a:lnTo>
                      <a:pt x="8" y="28"/>
                    </a:lnTo>
                    <a:lnTo>
                      <a:pt x="8" y="28"/>
                    </a:lnTo>
                    <a:lnTo>
                      <a:pt x="4" y="24"/>
                    </a:lnTo>
                    <a:lnTo>
                      <a:pt x="4" y="16"/>
                    </a:lnTo>
                    <a:lnTo>
                      <a:pt x="2" y="16"/>
                    </a:lnTo>
                    <a:lnTo>
                      <a:pt x="0" y="12"/>
                    </a:lnTo>
                    <a:lnTo>
                      <a:pt x="2" y="6"/>
                    </a:lnTo>
                    <a:lnTo>
                      <a:pt x="0" y="4"/>
                    </a:lnTo>
                    <a:lnTo>
                      <a:pt x="0" y="0"/>
                    </a:lnTo>
                    <a:lnTo>
                      <a:pt x="6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0" name="Freeform 1478">
                <a:extLst>
                  <a:ext uri="{FF2B5EF4-FFF2-40B4-BE49-F238E27FC236}">
                    <a16:creationId xmlns:a16="http://schemas.microsoft.com/office/drawing/2014/main" id="{DC7117E9-5245-4FB9-9728-CAAAD3F63E3A}"/>
                  </a:ext>
                </a:extLst>
              </p:cNvPr>
              <p:cNvSpPr>
                <a:spLocks/>
              </p:cNvSpPr>
              <p:nvPr/>
            </p:nvSpPr>
            <p:spPr bwMode="auto">
              <a:xfrm>
                <a:off x="1906" y="2384"/>
                <a:ext cx="90" cy="42"/>
              </a:xfrm>
              <a:custGeom>
                <a:avLst/>
                <a:gdLst/>
                <a:ahLst/>
                <a:cxnLst>
                  <a:cxn ang="0">
                    <a:pos x="76" y="38"/>
                  </a:cxn>
                  <a:cxn ang="0">
                    <a:pos x="76" y="38"/>
                  </a:cxn>
                  <a:cxn ang="0">
                    <a:pos x="82" y="32"/>
                  </a:cxn>
                  <a:cxn ang="0">
                    <a:pos x="90" y="26"/>
                  </a:cxn>
                  <a:cxn ang="0">
                    <a:pos x="86" y="24"/>
                  </a:cxn>
                  <a:cxn ang="0">
                    <a:pos x="82" y="16"/>
                  </a:cxn>
                  <a:cxn ang="0">
                    <a:pos x="82" y="12"/>
                  </a:cxn>
                  <a:cxn ang="0">
                    <a:pos x="80" y="8"/>
                  </a:cxn>
                  <a:cxn ang="0">
                    <a:pos x="78" y="6"/>
                  </a:cxn>
                  <a:cxn ang="0">
                    <a:pos x="78" y="6"/>
                  </a:cxn>
                  <a:cxn ang="0">
                    <a:pos x="76" y="8"/>
                  </a:cxn>
                  <a:cxn ang="0">
                    <a:pos x="74" y="8"/>
                  </a:cxn>
                  <a:cxn ang="0">
                    <a:pos x="74" y="8"/>
                  </a:cxn>
                  <a:cxn ang="0">
                    <a:pos x="68" y="6"/>
                  </a:cxn>
                  <a:cxn ang="0">
                    <a:pos x="64" y="4"/>
                  </a:cxn>
                  <a:cxn ang="0">
                    <a:pos x="60" y="0"/>
                  </a:cxn>
                  <a:cxn ang="0">
                    <a:pos x="56" y="0"/>
                  </a:cxn>
                  <a:cxn ang="0">
                    <a:pos x="56" y="0"/>
                  </a:cxn>
                  <a:cxn ang="0">
                    <a:pos x="56" y="6"/>
                  </a:cxn>
                  <a:cxn ang="0">
                    <a:pos x="56" y="6"/>
                  </a:cxn>
                  <a:cxn ang="0">
                    <a:pos x="52" y="6"/>
                  </a:cxn>
                  <a:cxn ang="0">
                    <a:pos x="48" y="6"/>
                  </a:cxn>
                  <a:cxn ang="0">
                    <a:pos x="48" y="10"/>
                  </a:cxn>
                  <a:cxn ang="0">
                    <a:pos x="46" y="10"/>
                  </a:cxn>
                  <a:cxn ang="0">
                    <a:pos x="46" y="14"/>
                  </a:cxn>
                  <a:cxn ang="0">
                    <a:pos x="44" y="14"/>
                  </a:cxn>
                  <a:cxn ang="0">
                    <a:pos x="42" y="18"/>
                  </a:cxn>
                  <a:cxn ang="0">
                    <a:pos x="42" y="18"/>
                  </a:cxn>
                  <a:cxn ang="0">
                    <a:pos x="38" y="14"/>
                  </a:cxn>
                  <a:cxn ang="0">
                    <a:pos x="38" y="16"/>
                  </a:cxn>
                  <a:cxn ang="0">
                    <a:pos x="36" y="16"/>
                  </a:cxn>
                  <a:cxn ang="0">
                    <a:pos x="34" y="20"/>
                  </a:cxn>
                  <a:cxn ang="0">
                    <a:pos x="32" y="18"/>
                  </a:cxn>
                  <a:cxn ang="0">
                    <a:pos x="28" y="22"/>
                  </a:cxn>
                  <a:cxn ang="0">
                    <a:pos x="22" y="18"/>
                  </a:cxn>
                  <a:cxn ang="0">
                    <a:pos x="22" y="20"/>
                  </a:cxn>
                  <a:cxn ang="0">
                    <a:pos x="22" y="20"/>
                  </a:cxn>
                  <a:cxn ang="0">
                    <a:pos x="20" y="20"/>
                  </a:cxn>
                  <a:cxn ang="0">
                    <a:pos x="18" y="22"/>
                  </a:cxn>
                  <a:cxn ang="0">
                    <a:pos x="18" y="20"/>
                  </a:cxn>
                  <a:cxn ang="0">
                    <a:pos x="16" y="24"/>
                  </a:cxn>
                  <a:cxn ang="0">
                    <a:pos x="16" y="26"/>
                  </a:cxn>
                  <a:cxn ang="0">
                    <a:pos x="12" y="28"/>
                  </a:cxn>
                  <a:cxn ang="0">
                    <a:pos x="12" y="32"/>
                  </a:cxn>
                  <a:cxn ang="0">
                    <a:pos x="12" y="34"/>
                  </a:cxn>
                  <a:cxn ang="0">
                    <a:pos x="6" y="30"/>
                  </a:cxn>
                  <a:cxn ang="0">
                    <a:pos x="4" y="34"/>
                  </a:cxn>
                  <a:cxn ang="0">
                    <a:pos x="4" y="34"/>
                  </a:cxn>
                  <a:cxn ang="0">
                    <a:pos x="4" y="38"/>
                  </a:cxn>
                  <a:cxn ang="0">
                    <a:pos x="2" y="42"/>
                  </a:cxn>
                  <a:cxn ang="0">
                    <a:pos x="2" y="40"/>
                  </a:cxn>
                  <a:cxn ang="0">
                    <a:pos x="0" y="42"/>
                  </a:cxn>
                  <a:cxn ang="0">
                    <a:pos x="18" y="42"/>
                  </a:cxn>
                  <a:cxn ang="0">
                    <a:pos x="16" y="40"/>
                  </a:cxn>
                  <a:cxn ang="0">
                    <a:pos x="16" y="40"/>
                  </a:cxn>
                  <a:cxn ang="0">
                    <a:pos x="68" y="40"/>
                  </a:cxn>
                  <a:cxn ang="0">
                    <a:pos x="68" y="40"/>
                  </a:cxn>
                  <a:cxn ang="0">
                    <a:pos x="76" y="38"/>
                  </a:cxn>
                  <a:cxn ang="0">
                    <a:pos x="76" y="38"/>
                  </a:cxn>
                </a:cxnLst>
                <a:rect l="0" t="0" r="r" b="b"/>
                <a:pathLst>
                  <a:path w="90" h="42">
                    <a:moveTo>
                      <a:pt x="76" y="38"/>
                    </a:moveTo>
                    <a:lnTo>
                      <a:pt x="76" y="38"/>
                    </a:lnTo>
                    <a:lnTo>
                      <a:pt x="82" y="32"/>
                    </a:lnTo>
                    <a:lnTo>
                      <a:pt x="90" y="26"/>
                    </a:lnTo>
                    <a:lnTo>
                      <a:pt x="86" y="24"/>
                    </a:lnTo>
                    <a:lnTo>
                      <a:pt x="82" y="16"/>
                    </a:lnTo>
                    <a:lnTo>
                      <a:pt x="82" y="12"/>
                    </a:lnTo>
                    <a:lnTo>
                      <a:pt x="80" y="8"/>
                    </a:lnTo>
                    <a:lnTo>
                      <a:pt x="78" y="6"/>
                    </a:lnTo>
                    <a:lnTo>
                      <a:pt x="78" y="6"/>
                    </a:lnTo>
                    <a:lnTo>
                      <a:pt x="76" y="8"/>
                    </a:lnTo>
                    <a:lnTo>
                      <a:pt x="74" y="8"/>
                    </a:lnTo>
                    <a:lnTo>
                      <a:pt x="74" y="8"/>
                    </a:lnTo>
                    <a:lnTo>
                      <a:pt x="68" y="6"/>
                    </a:lnTo>
                    <a:lnTo>
                      <a:pt x="64" y="4"/>
                    </a:lnTo>
                    <a:lnTo>
                      <a:pt x="60" y="0"/>
                    </a:lnTo>
                    <a:lnTo>
                      <a:pt x="56" y="0"/>
                    </a:lnTo>
                    <a:lnTo>
                      <a:pt x="56" y="0"/>
                    </a:lnTo>
                    <a:lnTo>
                      <a:pt x="56" y="6"/>
                    </a:lnTo>
                    <a:lnTo>
                      <a:pt x="56" y="6"/>
                    </a:lnTo>
                    <a:lnTo>
                      <a:pt x="52" y="6"/>
                    </a:lnTo>
                    <a:lnTo>
                      <a:pt x="48" y="6"/>
                    </a:lnTo>
                    <a:lnTo>
                      <a:pt x="48" y="10"/>
                    </a:lnTo>
                    <a:lnTo>
                      <a:pt x="46" y="10"/>
                    </a:lnTo>
                    <a:lnTo>
                      <a:pt x="46" y="14"/>
                    </a:lnTo>
                    <a:lnTo>
                      <a:pt x="44" y="14"/>
                    </a:lnTo>
                    <a:lnTo>
                      <a:pt x="42" y="18"/>
                    </a:lnTo>
                    <a:lnTo>
                      <a:pt x="42" y="18"/>
                    </a:lnTo>
                    <a:lnTo>
                      <a:pt x="38" y="14"/>
                    </a:lnTo>
                    <a:lnTo>
                      <a:pt x="38" y="16"/>
                    </a:lnTo>
                    <a:lnTo>
                      <a:pt x="36" y="16"/>
                    </a:lnTo>
                    <a:lnTo>
                      <a:pt x="34" y="20"/>
                    </a:lnTo>
                    <a:lnTo>
                      <a:pt x="32" y="18"/>
                    </a:lnTo>
                    <a:lnTo>
                      <a:pt x="28" y="22"/>
                    </a:lnTo>
                    <a:lnTo>
                      <a:pt x="22" y="18"/>
                    </a:lnTo>
                    <a:lnTo>
                      <a:pt x="22" y="20"/>
                    </a:lnTo>
                    <a:lnTo>
                      <a:pt x="22" y="20"/>
                    </a:lnTo>
                    <a:lnTo>
                      <a:pt x="20" y="20"/>
                    </a:lnTo>
                    <a:lnTo>
                      <a:pt x="18" y="22"/>
                    </a:lnTo>
                    <a:lnTo>
                      <a:pt x="18" y="20"/>
                    </a:lnTo>
                    <a:lnTo>
                      <a:pt x="16" y="24"/>
                    </a:lnTo>
                    <a:lnTo>
                      <a:pt x="16" y="26"/>
                    </a:lnTo>
                    <a:lnTo>
                      <a:pt x="12" y="28"/>
                    </a:lnTo>
                    <a:lnTo>
                      <a:pt x="12" y="32"/>
                    </a:lnTo>
                    <a:lnTo>
                      <a:pt x="12" y="34"/>
                    </a:lnTo>
                    <a:lnTo>
                      <a:pt x="6" y="30"/>
                    </a:lnTo>
                    <a:lnTo>
                      <a:pt x="4" y="34"/>
                    </a:lnTo>
                    <a:lnTo>
                      <a:pt x="4" y="34"/>
                    </a:lnTo>
                    <a:lnTo>
                      <a:pt x="4" y="38"/>
                    </a:lnTo>
                    <a:lnTo>
                      <a:pt x="2" y="42"/>
                    </a:lnTo>
                    <a:lnTo>
                      <a:pt x="2" y="40"/>
                    </a:lnTo>
                    <a:lnTo>
                      <a:pt x="0" y="42"/>
                    </a:lnTo>
                    <a:lnTo>
                      <a:pt x="18" y="42"/>
                    </a:lnTo>
                    <a:lnTo>
                      <a:pt x="16" y="40"/>
                    </a:lnTo>
                    <a:lnTo>
                      <a:pt x="16" y="40"/>
                    </a:lnTo>
                    <a:lnTo>
                      <a:pt x="68" y="40"/>
                    </a:lnTo>
                    <a:lnTo>
                      <a:pt x="68" y="40"/>
                    </a:lnTo>
                    <a:lnTo>
                      <a:pt x="76" y="38"/>
                    </a:lnTo>
                    <a:lnTo>
                      <a:pt x="76" y="3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1" name="Freeform 1479">
                <a:extLst>
                  <a:ext uri="{FF2B5EF4-FFF2-40B4-BE49-F238E27FC236}">
                    <a16:creationId xmlns:a16="http://schemas.microsoft.com/office/drawing/2014/main" id="{493809DB-397B-4EE0-9253-18F3E7F5705D}"/>
                  </a:ext>
                </a:extLst>
              </p:cNvPr>
              <p:cNvSpPr>
                <a:spLocks/>
              </p:cNvSpPr>
              <p:nvPr/>
            </p:nvSpPr>
            <p:spPr bwMode="auto">
              <a:xfrm>
                <a:off x="1844" y="2426"/>
                <a:ext cx="60" cy="54"/>
              </a:xfrm>
              <a:custGeom>
                <a:avLst/>
                <a:gdLst/>
                <a:ahLst/>
                <a:cxnLst>
                  <a:cxn ang="0">
                    <a:pos x="0" y="0"/>
                  </a:cxn>
                  <a:cxn ang="0">
                    <a:pos x="0" y="0"/>
                  </a:cxn>
                  <a:cxn ang="0">
                    <a:pos x="2" y="44"/>
                  </a:cxn>
                  <a:cxn ang="0">
                    <a:pos x="4" y="46"/>
                  </a:cxn>
                  <a:cxn ang="0">
                    <a:pos x="8" y="46"/>
                  </a:cxn>
                  <a:cxn ang="0">
                    <a:pos x="8" y="54"/>
                  </a:cxn>
                  <a:cxn ang="0">
                    <a:pos x="42" y="54"/>
                  </a:cxn>
                  <a:cxn ang="0">
                    <a:pos x="42" y="52"/>
                  </a:cxn>
                  <a:cxn ang="0">
                    <a:pos x="42" y="50"/>
                  </a:cxn>
                  <a:cxn ang="0">
                    <a:pos x="42" y="48"/>
                  </a:cxn>
                  <a:cxn ang="0">
                    <a:pos x="40" y="46"/>
                  </a:cxn>
                  <a:cxn ang="0">
                    <a:pos x="40" y="46"/>
                  </a:cxn>
                  <a:cxn ang="0">
                    <a:pos x="42" y="46"/>
                  </a:cxn>
                  <a:cxn ang="0">
                    <a:pos x="40" y="44"/>
                  </a:cxn>
                  <a:cxn ang="0">
                    <a:pos x="42" y="42"/>
                  </a:cxn>
                  <a:cxn ang="0">
                    <a:pos x="42" y="40"/>
                  </a:cxn>
                  <a:cxn ang="0">
                    <a:pos x="46" y="38"/>
                  </a:cxn>
                  <a:cxn ang="0">
                    <a:pos x="44" y="36"/>
                  </a:cxn>
                  <a:cxn ang="0">
                    <a:pos x="46" y="34"/>
                  </a:cxn>
                  <a:cxn ang="0">
                    <a:pos x="46" y="34"/>
                  </a:cxn>
                  <a:cxn ang="0">
                    <a:pos x="48" y="32"/>
                  </a:cxn>
                  <a:cxn ang="0">
                    <a:pos x="48" y="28"/>
                  </a:cxn>
                  <a:cxn ang="0">
                    <a:pos x="52" y="26"/>
                  </a:cxn>
                  <a:cxn ang="0">
                    <a:pos x="52" y="24"/>
                  </a:cxn>
                  <a:cxn ang="0">
                    <a:pos x="54" y="22"/>
                  </a:cxn>
                  <a:cxn ang="0">
                    <a:pos x="54" y="18"/>
                  </a:cxn>
                  <a:cxn ang="0">
                    <a:pos x="56" y="16"/>
                  </a:cxn>
                  <a:cxn ang="0">
                    <a:pos x="56" y="12"/>
                  </a:cxn>
                  <a:cxn ang="0">
                    <a:pos x="60" y="10"/>
                  </a:cxn>
                  <a:cxn ang="0">
                    <a:pos x="58" y="8"/>
                  </a:cxn>
                  <a:cxn ang="0">
                    <a:pos x="52" y="8"/>
                  </a:cxn>
                  <a:cxn ang="0">
                    <a:pos x="54" y="4"/>
                  </a:cxn>
                  <a:cxn ang="0">
                    <a:pos x="54" y="0"/>
                  </a:cxn>
                  <a:cxn ang="0">
                    <a:pos x="0" y="0"/>
                  </a:cxn>
                </a:cxnLst>
                <a:rect l="0" t="0" r="r" b="b"/>
                <a:pathLst>
                  <a:path w="60" h="54">
                    <a:moveTo>
                      <a:pt x="0" y="0"/>
                    </a:moveTo>
                    <a:lnTo>
                      <a:pt x="0" y="0"/>
                    </a:lnTo>
                    <a:lnTo>
                      <a:pt x="2" y="44"/>
                    </a:lnTo>
                    <a:lnTo>
                      <a:pt x="4" y="46"/>
                    </a:lnTo>
                    <a:lnTo>
                      <a:pt x="8" y="46"/>
                    </a:lnTo>
                    <a:lnTo>
                      <a:pt x="8" y="54"/>
                    </a:lnTo>
                    <a:lnTo>
                      <a:pt x="42" y="54"/>
                    </a:lnTo>
                    <a:lnTo>
                      <a:pt x="42" y="52"/>
                    </a:lnTo>
                    <a:lnTo>
                      <a:pt x="42" y="50"/>
                    </a:lnTo>
                    <a:lnTo>
                      <a:pt x="42" y="48"/>
                    </a:lnTo>
                    <a:lnTo>
                      <a:pt x="40" y="46"/>
                    </a:lnTo>
                    <a:lnTo>
                      <a:pt x="40" y="46"/>
                    </a:lnTo>
                    <a:lnTo>
                      <a:pt x="42" y="46"/>
                    </a:lnTo>
                    <a:lnTo>
                      <a:pt x="40" y="44"/>
                    </a:lnTo>
                    <a:lnTo>
                      <a:pt x="42" y="42"/>
                    </a:lnTo>
                    <a:lnTo>
                      <a:pt x="42" y="40"/>
                    </a:lnTo>
                    <a:lnTo>
                      <a:pt x="46" y="38"/>
                    </a:lnTo>
                    <a:lnTo>
                      <a:pt x="44" y="36"/>
                    </a:lnTo>
                    <a:lnTo>
                      <a:pt x="46" y="34"/>
                    </a:lnTo>
                    <a:lnTo>
                      <a:pt x="46" y="34"/>
                    </a:lnTo>
                    <a:lnTo>
                      <a:pt x="48" y="32"/>
                    </a:lnTo>
                    <a:lnTo>
                      <a:pt x="48" y="28"/>
                    </a:lnTo>
                    <a:lnTo>
                      <a:pt x="52" y="26"/>
                    </a:lnTo>
                    <a:lnTo>
                      <a:pt x="52" y="24"/>
                    </a:lnTo>
                    <a:lnTo>
                      <a:pt x="54" y="22"/>
                    </a:lnTo>
                    <a:lnTo>
                      <a:pt x="54" y="18"/>
                    </a:lnTo>
                    <a:lnTo>
                      <a:pt x="56" y="16"/>
                    </a:lnTo>
                    <a:lnTo>
                      <a:pt x="56" y="12"/>
                    </a:lnTo>
                    <a:lnTo>
                      <a:pt x="60" y="10"/>
                    </a:lnTo>
                    <a:lnTo>
                      <a:pt x="58" y="8"/>
                    </a:lnTo>
                    <a:lnTo>
                      <a:pt x="52" y="8"/>
                    </a:lnTo>
                    <a:lnTo>
                      <a:pt x="54" y="4"/>
                    </a:lnTo>
                    <a:lnTo>
                      <a:pt x="54"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2" name="Freeform 1480">
                <a:extLst>
                  <a:ext uri="{FF2B5EF4-FFF2-40B4-BE49-F238E27FC236}">
                    <a16:creationId xmlns:a16="http://schemas.microsoft.com/office/drawing/2014/main" id="{39E8F191-9387-4E77-B509-9D2327975922}"/>
                  </a:ext>
                </a:extLst>
              </p:cNvPr>
              <p:cNvSpPr>
                <a:spLocks/>
              </p:cNvSpPr>
              <p:nvPr/>
            </p:nvSpPr>
            <p:spPr bwMode="auto">
              <a:xfrm>
                <a:off x="1830" y="2360"/>
                <a:ext cx="80" cy="74"/>
              </a:xfrm>
              <a:custGeom>
                <a:avLst/>
                <a:gdLst/>
                <a:ahLst/>
                <a:cxnLst>
                  <a:cxn ang="0">
                    <a:pos x="0" y="0"/>
                  </a:cxn>
                  <a:cxn ang="0">
                    <a:pos x="0" y="0"/>
                  </a:cxn>
                  <a:cxn ang="0">
                    <a:pos x="2" y="4"/>
                  </a:cxn>
                  <a:cxn ang="0">
                    <a:pos x="4" y="6"/>
                  </a:cxn>
                  <a:cxn ang="0">
                    <a:pos x="4" y="8"/>
                  </a:cxn>
                  <a:cxn ang="0">
                    <a:pos x="8" y="12"/>
                  </a:cxn>
                  <a:cxn ang="0">
                    <a:pos x="10" y="10"/>
                  </a:cxn>
                  <a:cxn ang="0">
                    <a:pos x="12" y="14"/>
                  </a:cxn>
                  <a:cxn ang="0">
                    <a:pos x="10" y="14"/>
                  </a:cxn>
                  <a:cxn ang="0">
                    <a:pos x="8" y="16"/>
                  </a:cxn>
                  <a:cxn ang="0">
                    <a:pos x="12" y="22"/>
                  </a:cxn>
                  <a:cxn ang="0">
                    <a:pos x="14" y="24"/>
                  </a:cxn>
                  <a:cxn ang="0">
                    <a:pos x="14" y="66"/>
                  </a:cxn>
                  <a:cxn ang="0">
                    <a:pos x="68" y="66"/>
                  </a:cxn>
                  <a:cxn ang="0">
                    <a:pos x="68" y="70"/>
                  </a:cxn>
                  <a:cxn ang="0">
                    <a:pos x="66" y="74"/>
                  </a:cxn>
                  <a:cxn ang="0">
                    <a:pos x="72" y="74"/>
                  </a:cxn>
                  <a:cxn ang="0">
                    <a:pos x="74" y="72"/>
                  </a:cxn>
                  <a:cxn ang="0">
                    <a:pos x="74" y="70"/>
                  </a:cxn>
                  <a:cxn ang="0">
                    <a:pos x="74" y="70"/>
                  </a:cxn>
                  <a:cxn ang="0">
                    <a:pos x="74" y="70"/>
                  </a:cxn>
                  <a:cxn ang="0">
                    <a:pos x="74" y="68"/>
                  </a:cxn>
                  <a:cxn ang="0">
                    <a:pos x="76" y="68"/>
                  </a:cxn>
                  <a:cxn ang="0">
                    <a:pos x="74" y="66"/>
                  </a:cxn>
                  <a:cxn ang="0">
                    <a:pos x="76" y="66"/>
                  </a:cxn>
                  <a:cxn ang="0">
                    <a:pos x="78" y="64"/>
                  </a:cxn>
                  <a:cxn ang="0">
                    <a:pos x="78" y="66"/>
                  </a:cxn>
                  <a:cxn ang="0">
                    <a:pos x="78" y="66"/>
                  </a:cxn>
                  <a:cxn ang="0">
                    <a:pos x="80" y="58"/>
                  </a:cxn>
                  <a:cxn ang="0">
                    <a:pos x="78" y="56"/>
                  </a:cxn>
                  <a:cxn ang="0">
                    <a:pos x="78" y="56"/>
                  </a:cxn>
                  <a:cxn ang="0">
                    <a:pos x="78" y="58"/>
                  </a:cxn>
                  <a:cxn ang="0">
                    <a:pos x="78" y="58"/>
                  </a:cxn>
                  <a:cxn ang="0">
                    <a:pos x="76" y="54"/>
                  </a:cxn>
                  <a:cxn ang="0">
                    <a:pos x="76" y="52"/>
                  </a:cxn>
                  <a:cxn ang="0">
                    <a:pos x="76" y="48"/>
                  </a:cxn>
                  <a:cxn ang="0">
                    <a:pos x="66" y="38"/>
                  </a:cxn>
                  <a:cxn ang="0">
                    <a:pos x="66" y="38"/>
                  </a:cxn>
                  <a:cxn ang="0">
                    <a:pos x="66" y="34"/>
                  </a:cxn>
                  <a:cxn ang="0">
                    <a:pos x="68" y="28"/>
                  </a:cxn>
                  <a:cxn ang="0">
                    <a:pos x="64" y="26"/>
                  </a:cxn>
                  <a:cxn ang="0">
                    <a:pos x="62" y="28"/>
                  </a:cxn>
                  <a:cxn ang="0">
                    <a:pos x="62" y="28"/>
                  </a:cxn>
                  <a:cxn ang="0">
                    <a:pos x="62" y="24"/>
                  </a:cxn>
                  <a:cxn ang="0">
                    <a:pos x="60" y="20"/>
                  </a:cxn>
                  <a:cxn ang="0">
                    <a:pos x="54" y="14"/>
                  </a:cxn>
                  <a:cxn ang="0">
                    <a:pos x="54" y="14"/>
                  </a:cxn>
                  <a:cxn ang="0">
                    <a:pos x="52" y="8"/>
                  </a:cxn>
                  <a:cxn ang="0">
                    <a:pos x="52" y="4"/>
                  </a:cxn>
                  <a:cxn ang="0">
                    <a:pos x="48" y="0"/>
                  </a:cxn>
                  <a:cxn ang="0">
                    <a:pos x="0" y="0"/>
                  </a:cxn>
                </a:cxnLst>
                <a:rect l="0" t="0" r="r" b="b"/>
                <a:pathLst>
                  <a:path w="80" h="74">
                    <a:moveTo>
                      <a:pt x="0" y="0"/>
                    </a:moveTo>
                    <a:lnTo>
                      <a:pt x="0" y="0"/>
                    </a:lnTo>
                    <a:lnTo>
                      <a:pt x="2" y="4"/>
                    </a:lnTo>
                    <a:lnTo>
                      <a:pt x="4" y="6"/>
                    </a:lnTo>
                    <a:lnTo>
                      <a:pt x="4" y="8"/>
                    </a:lnTo>
                    <a:lnTo>
                      <a:pt x="8" y="12"/>
                    </a:lnTo>
                    <a:lnTo>
                      <a:pt x="10" y="10"/>
                    </a:lnTo>
                    <a:lnTo>
                      <a:pt x="12" y="14"/>
                    </a:lnTo>
                    <a:lnTo>
                      <a:pt x="10" y="14"/>
                    </a:lnTo>
                    <a:lnTo>
                      <a:pt x="8" y="16"/>
                    </a:lnTo>
                    <a:lnTo>
                      <a:pt x="12" y="22"/>
                    </a:lnTo>
                    <a:lnTo>
                      <a:pt x="14" y="24"/>
                    </a:lnTo>
                    <a:lnTo>
                      <a:pt x="14" y="66"/>
                    </a:lnTo>
                    <a:lnTo>
                      <a:pt x="68" y="66"/>
                    </a:lnTo>
                    <a:lnTo>
                      <a:pt x="68" y="70"/>
                    </a:lnTo>
                    <a:lnTo>
                      <a:pt x="66" y="74"/>
                    </a:lnTo>
                    <a:lnTo>
                      <a:pt x="72" y="74"/>
                    </a:lnTo>
                    <a:lnTo>
                      <a:pt x="74" y="72"/>
                    </a:lnTo>
                    <a:lnTo>
                      <a:pt x="74" y="70"/>
                    </a:lnTo>
                    <a:lnTo>
                      <a:pt x="74" y="70"/>
                    </a:lnTo>
                    <a:lnTo>
                      <a:pt x="74" y="70"/>
                    </a:lnTo>
                    <a:lnTo>
                      <a:pt x="74" y="68"/>
                    </a:lnTo>
                    <a:lnTo>
                      <a:pt x="76" y="68"/>
                    </a:lnTo>
                    <a:lnTo>
                      <a:pt x="74" y="66"/>
                    </a:lnTo>
                    <a:lnTo>
                      <a:pt x="76" y="66"/>
                    </a:lnTo>
                    <a:lnTo>
                      <a:pt x="78" y="64"/>
                    </a:lnTo>
                    <a:lnTo>
                      <a:pt x="78" y="66"/>
                    </a:lnTo>
                    <a:lnTo>
                      <a:pt x="78" y="66"/>
                    </a:lnTo>
                    <a:lnTo>
                      <a:pt x="80" y="58"/>
                    </a:lnTo>
                    <a:lnTo>
                      <a:pt x="78" y="56"/>
                    </a:lnTo>
                    <a:lnTo>
                      <a:pt x="78" y="56"/>
                    </a:lnTo>
                    <a:lnTo>
                      <a:pt x="78" y="58"/>
                    </a:lnTo>
                    <a:lnTo>
                      <a:pt x="78" y="58"/>
                    </a:lnTo>
                    <a:lnTo>
                      <a:pt x="76" y="54"/>
                    </a:lnTo>
                    <a:lnTo>
                      <a:pt x="76" y="52"/>
                    </a:lnTo>
                    <a:lnTo>
                      <a:pt x="76" y="48"/>
                    </a:lnTo>
                    <a:lnTo>
                      <a:pt x="66" y="38"/>
                    </a:lnTo>
                    <a:lnTo>
                      <a:pt x="66" y="38"/>
                    </a:lnTo>
                    <a:lnTo>
                      <a:pt x="66" y="34"/>
                    </a:lnTo>
                    <a:lnTo>
                      <a:pt x="68" y="28"/>
                    </a:lnTo>
                    <a:lnTo>
                      <a:pt x="64" y="26"/>
                    </a:lnTo>
                    <a:lnTo>
                      <a:pt x="62" y="28"/>
                    </a:lnTo>
                    <a:lnTo>
                      <a:pt x="62" y="28"/>
                    </a:lnTo>
                    <a:lnTo>
                      <a:pt x="62" y="24"/>
                    </a:lnTo>
                    <a:lnTo>
                      <a:pt x="60" y="20"/>
                    </a:lnTo>
                    <a:lnTo>
                      <a:pt x="54" y="14"/>
                    </a:lnTo>
                    <a:lnTo>
                      <a:pt x="54" y="14"/>
                    </a:lnTo>
                    <a:lnTo>
                      <a:pt x="52" y="8"/>
                    </a:lnTo>
                    <a:lnTo>
                      <a:pt x="52" y="4"/>
                    </a:lnTo>
                    <a:lnTo>
                      <a:pt x="48"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3" name="Freeform 1481">
                <a:extLst>
                  <a:ext uri="{FF2B5EF4-FFF2-40B4-BE49-F238E27FC236}">
                    <a16:creationId xmlns:a16="http://schemas.microsoft.com/office/drawing/2014/main" id="{1B33DFD4-0588-4C61-9C8A-C6EB9DF1606C}"/>
                  </a:ext>
                </a:extLst>
              </p:cNvPr>
              <p:cNvSpPr>
                <a:spLocks/>
              </p:cNvSpPr>
              <p:nvPr/>
            </p:nvSpPr>
            <p:spPr bwMode="auto">
              <a:xfrm>
                <a:off x="1852" y="2480"/>
                <a:ext cx="58" cy="60"/>
              </a:xfrm>
              <a:custGeom>
                <a:avLst/>
                <a:gdLst/>
                <a:ahLst/>
                <a:cxnLst>
                  <a:cxn ang="0">
                    <a:pos x="52" y="42"/>
                  </a:cxn>
                  <a:cxn ang="0">
                    <a:pos x="46" y="40"/>
                  </a:cxn>
                  <a:cxn ang="0">
                    <a:pos x="44" y="40"/>
                  </a:cxn>
                  <a:cxn ang="0">
                    <a:pos x="42" y="42"/>
                  </a:cxn>
                  <a:cxn ang="0">
                    <a:pos x="44" y="44"/>
                  </a:cxn>
                  <a:cxn ang="0">
                    <a:pos x="50" y="44"/>
                  </a:cxn>
                  <a:cxn ang="0">
                    <a:pos x="50" y="46"/>
                  </a:cxn>
                  <a:cxn ang="0">
                    <a:pos x="50" y="46"/>
                  </a:cxn>
                  <a:cxn ang="0">
                    <a:pos x="54" y="44"/>
                  </a:cxn>
                  <a:cxn ang="0">
                    <a:pos x="56" y="44"/>
                  </a:cxn>
                  <a:cxn ang="0">
                    <a:pos x="56" y="48"/>
                  </a:cxn>
                  <a:cxn ang="0">
                    <a:pos x="52" y="52"/>
                  </a:cxn>
                  <a:cxn ang="0">
                    <a:pos x="58" y="58"/>
                  </a:cxn>
                  <a:cxn ang="0">
                    <a:pos x="56" y="60"/>
                  </a:cxn>
                  <a:cxn ang="0">
                    <a:pos x="52" y="56"/>
                  </a:cxn>
                  <a:cxn ang="0">
                    <a:pos x="48" y="54"/>
                  </a:cxn>
                  <a:cxn ang="0">
                    <a:pos x="46" y="58"/>
                  </a:cxn>
                  <a:cxn ang="0">
                    <a:pos x="34" y="56"/>
                  </a:cxn>
                  <a:cxn ang="0">
                    <a:pos x="34" y="56"/>
                  </a:cxn>
                  <a:cxn ang="0">
                    <a:pos x="28" y="50"/>
                  </a:cxn>
                  <a:cxn ang="0">
                    <a:pos x="26" y="48"/>
                  </a:cxn>
                  <a:cxn ang="0">
                    <a:pos x="22" y="48"/>
                  </a:cxn>
                  <a:cxn ang="0">
                    <a:pos x="22" y="50"/>
                  </a:cxn>
                  <a:cxn ang="0">
                    <a:pos x="22" y="50"/>
                  </a:cxn>
                  <a:cxn ang="0">
                    <a:pos x="18" y="52"/>
                  </a:cxn>
                  <a:cxn ang="0">
                    <a:pos x="12" y="50"/>
                  </a:cxn>
                  <a:cxn ang="0">
                    <a:pos x="6" y="48"/>
                  </a:cxn>
                  <a:cxn ang="0">
                    <a:pos x="2" y="50"/>
                  </a:cxn>
                  <a:cxn ang="0">
                    <a:pos x="2" y="50"/>
                  </a:cxn>
                  <a:cxn ang="0">
                    <a:pos x="2" y="46"/>
                  </a:cxn>
                  <a:cxn ang="0">
                    <a:pos x="4" y="40"/>
                  </a:cxn>
                  <a:cxn ang="0">
                    <a:pos x="4" y="36"/>
                  </a:cxn>
                  <a:cxn ang="0">
                    <a:pos x="6" y="30"/>
                  </a:cxn>
                  <a:cxn ang="0">
                    <a:pos x="6" y="30"/>
                  </a:cxn>
                  <a:cxn ang="0">
                    <a:pos x="4" y="24"/>
                  </a:cxn>
                  <a:cxn ang="0">
                    <a:pos x="2" y="18"/>
                  </a:cxn>
                  <a:cxn ang="0">
                    <a:pos x="0" y="16"/>
                  </a:cxn>
                  <a:cxn ang="0">
                    <a:pos x="0" y="0"/>
                  </a:cxn>
                  <a:cxn ang="0">
                    <a:pos x="34" y="0"/>
                  </a:cxn>
                  <a:cxn ang="0">
                    <a:pos x="34" y="0"/>
                  </a:cxn>
                  <a:cxn ang="0">
                    <a:pos x="34" y="2"/>
                  </a:cxn>
                  <a:cxn ang="0">
                    <a:pos x="34" y="4"/>
                  </a:cxn>
                  <a:cxn ang="0">
                    <a:pos x="34" y="4"/>
                  </a:cxn>
                  <a:cxn ang="0">
                    <a:pos x="34" y="6"/>
                  </a:cxn>
                  <a:cxn ang="0">
                    <a:pos x="34" y="6"/>
                  </a:cxn>
                  <a:cxn ang="0">
                    <a:pos x="34" y="8"/>
                  </a:cxn>
                  <a:cxn ang="0">
                    <a:pos x="36" y="10"/>
                  </a:cxn>
                  <a:cxn ang="0">
                    <a:pos x="34" y="14"/>
                  </a:cxn>
                  <a:cxn ang="0">
                    <a:pos x="34" y="16"/>
                  </a:cxn>
                  <a:cxn ang="0">
                    <a:pos x="34" y="16"/>
                  </a:cxn>
                  <a:cxn ang="0">
                    <a:pos x="30" y="20"/>
                  </a:cxn>
                  <a:cxn ang="0">
                    <a:pos x="30" y="26"/>
                  </a:cxn>
                  <a:cxn ang="0">
                    <a:pos x="28" y="26"/>
                  </a:cxn>
                  <a:cxn ang="0">
                    <a:pos x="28" y="30"/>
                  </a:cxn>
                  <a:cxn ang="0">
                    <a:pos x="28" y="30"/>
                  </a:cxn>
                  <a:cxn ang="0">
                    <a:pos x="50" y="30"/>
                  </a:cxn>
                  <a:cxn ang="0">
                    <a:pos x="50" y="36"/>
                  </a:cxn>
                  <a:cxn ang="0">
                    <a:pos x="52" y="42"/>
                  </a:cxn>
                </a:cxnLst>
                <a:rect l="0" t="0" r="r" b="b"/>
                <a:pathLst>
                  <a:path w="58" h="60">
                    <a:moveTo>
                      <a:pt x="52" y="42"/>
                    </a:moveTo>
                    <a:lnTo>
                      <a:pt x="46" y="40"/>
                    </a:lnTo>
                    <a:lnTo>
                      <a:pt x="44" y="40"/>
                    </a:lnTo>
                    <a:lnTo>
                      <a:pt x="42" y="42"/>
                    </a:lnTo>
                    <a:lnTo>
                      <a:pt x="44" y="44"/>
                    </a:lnTo>
                    <a:lnTo>
                      <a:pt x="50" y="44"/>
                    </a:lnTo>
                    <a:lnTo>
                      <a:pt x="50" y="46"/>
                    </a:lnTo>
                    <a:lnTo>
                      <a:pt x="50" y="46"/>
                    </a:lnTo>
                    <a:lnTo>
                      <a:pt x="54" y="44"/>
                    </a:lnTo>
                    <a:lnTo>
                      <a:pt x="56" y="44"/>
                    </a:lnTo>
                    <a:lnTo>
                      <a:pt x="56" y="48"/>
                    </a:lnTo>
                    <a:lnTo>
                      <a:pt x="52" y="52"/>
                    </a:lnTo>
                    <a:lnTo>
                      <a:pt x="58" y="58"/>
                    </a:lnTo>
                    <a:lnTo>
                      <a:pt x="56" y="60"/>
                    </a:lnTo>
                    <a:lnTo>
                      <a:pt x="52" y="56"/>
                    </a:lnTo>
                    <a:lnTo>
                      <a:pt x="48" y="54"/>
                    </a:lnTo>
                    <a:lnTo>
                      <a:pt x="46" y="58"/>
                    </a:lnTo>
                    <a:lnTo>
                      <a:pt x="34" y="56"/>
                    </a:lnTo>
                    <a:lnTo>
                      <a:pt x="34" y="56"/>
                    </a:lnTo>
                    <a:lnTo>
                      <a:pt x="28" y="50"/>
                    </a:lnTo>
                    <a:lnTo>
                      <a:pt x="26" y="48"/>
                    </a:lnTo>
                    <a:lnTo>
                      <a:pt x="22" y="48"/>
                    </a:lnTo>
                    <a:lnTo>
                      <a:pt x="22" y="50"/>
                    </a:lnTo>
                    <a:lnTo>
                      <a:pt x="22" y="50"/>
                    </a:lnTo>
                    <a:lnTo>
                      <a:pt x="18" y="52"/>
                    </a:lnTo>
                    <a:lnTo>
                      <a:pt x="12" y="50"/>
                    </a:lnTo>
                    <a:lnTo>
                      <a:pt x="6" y="48"/>
                    </a:lnTo>
                    <a:lnTo>
                      <a:pt x="2" y="50"/>
                    </a:lnTo>
                    <a:lnTo>
                      <a:pt x="2" y="50"/>
                    </a:lnTo>
                    <a:lnTo>
                      <a:pt x="2" y="46"/>
                    </a:lnTo>
                    <a:lnTo>
                      <a:pt x="4" y="40"/>
                    </a:lnTo>
                    <a:lnTo>
                      <a:pt x="4" y="36"/>
                    </a:lnTo>
                    <a:lnTo>
                      <a:pt x="6" y="30"/>
                    </a:lnTo>
                    <a:lnTo>
                      <a:pt x="6" y="30"/>
                    </a:lnTo>
                    <a:lnTo>
                      <a:pt x="4" y="24"/>
                    </a:lnTo>
                    <a:lnTo>
                      <a:pt x="2" y="18"/>
                    </a:lnTo>
                    <a:lnTo>
                      <a:pt x="0" y="16"/>
                    </a:lnTo>
                    <a:lnTo>
                      <a:pt x="0" y="0"/>
                    </a:lnTo>
                    <a:lnTo>
                      <a:pt x="34" y="0"/>
                    </a:lnTo>
                    <a:lnTo>
                      <a:pt x="34" y="0"/>
                    </a:lnTo>
                    <a:lnTo>
                      <a:pt x="34" y="2"/>
                    </a:lnTo>
                    <a:lnTo>
                      <a:pt x="34" y="4"/>
                    </a:lnTo>
                    <a:lnTo>
                      <a:pt x="34" y="4"/>
                    </a:lnTo>
                    <a:lnTo>
                      <a:pt x="34" y="6"/>
                    </a:lnTo>
                    <a:lnTo>
                      <a:pt x="34" y="6"/>
                    </a:lnTo>
                    <a:lnTo>
                      <a:pt x="34" y="8"/>
                    </a:lnTo>
                    <a:lnTo>
                      <a:pt x="36" y="10"/>
                    </a:lnTo>
                    <a:lnTo>
                      <a:pt x="34" y="14"/>
                    </a:lnTo>
                    <a:lnTo>
                      <a:pt x="34" y="16"/>
                    </a:lnTo>
                    <a:lnTo>
                      <a:pt x="34" y="16"/>
                    </a:lnTo>
                    <a:lnTo>
                      <a:pt x="30" y="20"/>
                    </a:lnTo>
                    <a:lnTo>
                      <a:pt x="30" y="26"/>
                    </a:lnTo>
                    <a:lnTo>
                      <a:pt x="28" y="26"/>
                    </a:lnTo>
                    <a:lnTo>
                      <a:pt x="28" y="30"/>
                    </a:lnTo>
                    <a:lnTo>
                      <a:pt x="28" y="30"/>
                    </a:lnTo>
                    <a:lnTo>
                      <a:pt x="50" y="30"/>
                    </a:lnTo>
                    <a:lnTo>
                      <a:pt x="50" y="36"/>
                    </a:lnTo>
                    <a:lnTo>
                      <a:pt x="52" y="4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4" name="Freeform 1482">
                <a:extLst>
                  <a:ext uri="{FF2B5EF4-FFF2-40B4-BE49-F238E27FC236}">
                    <a16:creationId xmlns:a16="http://schemas.microsoft.com/office/drawing/2014/main" id="{B1626F5D-3E13-4F24-B972-E008E920B04E}"/>
                  </a:ext>
                </a:extLst>
              </p:cNvPr>
              <p:cNvSpPr>
                <a:spLocks/>
              </p:cNvSpPr>
              <p:nvPr/>
            </p:nvSpPr>
            <p:spPr bwMode="auto">
              <a:xfrm>
                <a:off x="1918" y="2450"/>
                <a:ext cx="42" cy="72"/>
              </a:xfrm>
              <a:custGeom>
                <a:avLst/>
                <a:gdLst/>
                <a:ahLst/>
                <a:cxnLst>
                  <a:cxn ang="0">
                    <a:pos x="0" y="70"/>
                  </a:cxn>
                  <a:cxn ang="0">
                    <a:pos x="4" y="70"/>
                  </a:cxn>
                  <a:cxn ang="0">
                    <a:pos x="6" y="62"/>
                  </a:cxn>
                  <a:cxn ang="0">
                    <a:pos x="6" y="72"/>
                  </a:cxn>
                  <a:cxn ang="0">
                    <a:pos x="12" y="70"/>
                  </a:cxn>
                  <a:cxn ang="0">
                    <a:pos x="12" y="66"/>
                  </a:cxn>
                  <a:cxn ang="0">
                    <a:pos x="10" y="62"/>
                  </a:cxn>
                  <a:cxn ang="0">
                    <a:pos x="10" y="60"/>
                  </a:cxn>
                  <a:cxn ang="0">
                    <a:pos x="42" y="60"/>
                  </a:cxn>
                  <a:cxn ang="0">
                    <a:pos x="40" y="58"/>
                  </a:cxn>
                  <a:cxn ang="0">
                    <a:pos x="42" y="50"/>
                  </a:cxn>
                  <a:cxn ang="0">
                    <a:pos x="40" y="48"/>
                  </a:cxn>
                  <a:cxn ang="0">
                    <a:pos x="40" y="44"/>
                  </a:cxn>
                  <a:cxn ang="0">
                    <a:pos x="42" y="42"/>
                  </a:cxn>
                  <a:cxn ang="0">
                    <a:pos x="42" y="42"/>
                  </a:cxn>
                  <a:cxn ang="0">
                    <a:pos x="42" y="40"/>
                  </a:cxn>
                  <a:cxn ang="0">
                    <a:pos x="42" y="40"/>
                  </a:cxn>
                  <a:cxn ang="0">
                    <a:pos x="42" y="40"/>
                  </a:cxn>
                  <a:cxn ang="0">
                    <a:pos x="40" y="32"/>
                  </a:cxn>
                  <a:cxn ang="0">
                    <a:pos x="38" y="20"/>
                  </a:cxn>
                  <a:cxn ang="0">
                    <a:pos x="34" y="0"/>
                  </a:cxn>
                  <a:cxn ang="0">
                    <a:pos x="4" y="0"/>
                  </a:cxn>
                  <a:cxn ang="0">
                    <a:pos x="4" y="2"/>
                  </a:cxn>
                  <a:cxn ang="0">
                    <a:pos x="4" y="2"/>
                  </a:cxn>
                  <a:cxn ang="0">
                    <a:pos x="0" y="36"/>
                  </a:cxn>
                  <a:cxn ang="0">
                    <a:pos x="0" y="52"/>
                  </a:cxn>
                  <a:cxn ang="0">
                    <a:pos x="0" y="70"/>
                  </a:cxn>
                  <a:cxn ang="0">
                    <a:pos x="0" y="70"/>
                  </a:cxn>
                </a:cxnLst>
                <a:rect l="0" t="0" r="r" b="b"/>
                <a:pathLst>
                  <a:path w="42" h="72">
                    <a:moveTo>
                      <a:pt x="0" y="70"/>
                    </a:moveTo>
                    <a:lnTo>
                      <a:pt x="4" y="70"/>
                    </a:lnTo>
                    <a:lnTo>
                      <a:pt x="6" y="62"/>
                    </a:lnTo>
                    <a:lnTo>
                      <a:pt x="6" y="72"/>
                    </a:lnTo>
                    <a:lnTo>
                      <a:pt x="12" y="70"/>
                    </a:lnTo>
                    <a:lnTo>
                      <a:pt x="12" y="66"/>
                    </a:lnTo>
                    <a:lnTo>
                      <a:pt x="10" y="62"/>
                    </a:lnTo>
                    <a:lnTo>
                      <a:pt x="10" y="60"/>
                    </a:lnTo>
                    <a:lnTo>
                      <a:pt x="42" y="60"/>
                    </a:lnTo>
                    <a:lnTo>
                      <a:pt x="40" y="58"/>
                    </a:lnTo>
                    <a:lnTo>
                      <a:pt x="42" y="50"/>
                    </a:lnTo>
                    <a:lnTo>
                      <a:pt x="40" y="48"/>
                    </a:lnTo>
                    <a:lnTo>
                      <a:pt x="40" y="44"/>
                    </a:lnTo>
                    <a:lnTo>
                      <a:pt x="42" y="42"/>
                    </a:lnTo>
                    <a:lnTo>
                      <a:pt x="42" y="42"/>
                    </a:lnTo>
                    <a:lnTo>
                      <a:pt x="42" y="40"/>
                    </a:lnTo>
                    <a:lnTo>
                      <a:pt x="42" y="40"/>
                    </a:lnTo>
                    <a:lnTo>
                      <a:pt x="42" y="40"/>
                    </a:lnTo>
                    <a:lnTo>
                      <a:pt x="40" y="32"/>
                    </a:lnTo>
                    <a:lnTo>
                      <a:pt x="38" y="20"/>
                    </a:lnTo>
                    <a:lnTo>
                      <a:pt x="34" y="0"/>
                    </a:lnTo>
                    <a:lnTo>
                      <a:pt x="4" y="0"/>
                    </a:lnTo>
                    <a:lnTo>
                      <a:pt x="4" y="2"/>
                    </a:lnTo>
                    <a:lnTo>
                      <a:pt x="4" y="2"/>
                    </a:lnTo>
                    <a:lnTo>
                      <a:pt x="0" y="36"/>
                    </a:lnTo>
                    <a:lnTo>
                      <a:pt x="0" y="52"/>
                    </a:lnTo>
                    <a:lnTo>
                      <a:pt x="0" y="70"/>
                    </a:lnTo>
                    <a:lnTo>
                      <a:pt x="0" y="7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5" name="Freeform 1483">
                <a:extLst>
                  <a:ext uri="{FF2B5EF4-FFF2-40B4-BE49-F238E27FC236}">
                    <a16:creationId xmlns:a16="http://schemas.microsoft.com/office/drawing/2014/main" id="{723DEA65-450C-4B8B-8668-29A21A8D4E44}"/>
                  </a:ext>
                </a:extLst>
              </p:cNvPr>
              <p:cNvSpPr>
                <a:spLocks/>
              </p:cNvSpPr>
              <p:nvPr/>
            </p:nvSpPr>
            <p:spPr bwMode="auto">
              <a:xfrm>
                <a:off x="1928" y="2510"/>
                <a:ext cx="90" cy="86"/>
              </a:xfrm>
              <a:custGeom>
                <a:avLst/>
                <a:gdLst/>
                <a:ahLst/>
                <a:cxnLst>
                  <a:cxn ang="0">
                    <a:pos x="2" y="10"/>
                  </a:cxn>
                  <a:cxn ang="0">
                    <a:pos x="6" y="6"/>
                  </a:cxn>
                  <a:cxn ang="0">
                    <a:pos x="6" y="10"/>
                  </a:cxn>
                  <a:cxn ang="0">
                    <a:pos x="16" y="8"/>
                  </a:cxn>
                  <a:cxn ang="0">
                    <a:pos x="16" y="8"/>
                  </a:cxn>
                  <a:cxn ang="0">
                    <a:pos x="16" y="8"/>
                  </a:cxn>
                  <a:cxn ang="0">
                    <a:pos x="16" y="10"/>
                  </a:cxn>
                  <a:cxn ang="0">
                    <a:pos x="16" y="10"/>
                  </a:cxn>
                  <a:cxn ang="0">
                    <a:pos x="22" y="14"/>
                  </a:cxn>
                  <a:cxn ang="0">
                    <a:pos x="26" y="16"/>
                  </a:cxn>
                  <a:cxn ang="0">
                    <a:pos x="28" y="20"/>
                  </a:cxn>
                  <a:cxn ang="0">
                    <a:pos x="28" y="20"/>
                  </a:cxn>
                  <a:cxn ang="0">
                    <a:pos x="38" y="16"/>
                  </a:cxn>
                  <a:cxn ang="0">
                    <a:pos x="40" y="14"/>
                  </a:cxn>
                  <a:cxn ang="0">
                    <a:pos x="46" y="16"/>
                  </a:cxn>
                  <a:cxn ang="0">
                    <a:pos x="50" y="20"/>
                  </a:cxn>
                  <a:cxn ang="0">
                    <a:pos x="50" y="22"/>
                  </a:cxn>
                  <a:cxn ang="0">
                    <a:pos x="58" y="28"/>
                  </a:cxn>
                  <a:cxn ang="0">
                    <a:pos x="58" y="28"/>
                  </a:cxn>
                  <a:cxn ang="0">
                    <a:pos x="58" y="38"/>
                  </a:cxn>
                  <a:cxn ang="0">
                    <a:pos x="58" y="44"/>
                  </a:cxn>
                  <a:cxn ang="0">
                    <a:pos x="58" y="48"/>
                  </a:cxn>
                  <a:cxn ang="0">
                    <a:pos x="60" y="48"/>
                  </a:cxn>
                  <a:cxn ang="0">
                    <a:pos x="60" y="44"/>
                  </a:cxn>
                  <a:cxn ang="0">
                    <a:pos x="62" y="46"/>
                  </a:cxn>
                  <a:cxn ang="0">
                    <a:pos x="60" y="54"/>
                  </a:cxn>
                  <a:cxn ang="0">
                    <a:pos x="64" y="60"/>
                  </a:cxn>
                  <a:cxn ang="0">
                    <a:pos x="66" y="60"/>
                  </a:cxn>
                  <a:cxn ang="0">
                    <a:pos x="70" y="74"/>
                  </a:cxn>
                  <a:cxn ang="0">
                    <a:pos x="74" y="76"/>
                  </a:cxn>
                  <a:cxn ang="0">
                    <a:pos x="74" y="76"/>
                  </a:cxn>
                  <a:cxn ang="0">
                    <a:pos x="76" y="80"/>
                  </a:cxn>
                  <a:cxn ang="0">
                    <a:pos x="78" y="84"/>
                  </a:cxn>
                  <a:cxn ang="0">
                    <a:pos x="80" y="86"/>
                  </a:cxn>
                  <a:cxn ang="0">
                    <a:pos x="86" y="84"/>
                  </a:cxn>
                  <a:cxn ang="0">
                    <a:pos x="88" y="84"/>
                  </a:cxn>
                  <a:cxn ang="0">
                    <a:pos x="88" y="84"/>
                  </a:cxn>
                  <a:cxn ang="0">
                    <a:pos x="90" y="74"/>
                  </a:cxn>
                  <a:cxn ang="0">
                    <a:pos x="90" y="64"/>
                  </a:cxn>
                  <a:cxn ang="0">
                    <a:pos x="88" y="54"/>
                  </a:cxn>
                  <a:cxn ang="0">
                    <a:pos x="86" y="44"/>
                  </a:cxn>
                  <a:cxn ang="0">
                    <a:pos x="78" y="26"/>
                  </a:cxn>
                  <a:cxn ang="0">
                    <a:pos x="72" y="6"/>
                  </a:cxn>
                  <a:cxn ang="0">
                    <a:pos x="74" y="4"/>
                  </a:cxn>
                  <a:cxn ang="0">
                    <a:pos x="68" y="4"/>
                  </a:cxn>
                  <a:cxn ang="0">
                    <a:pos x="68" y="4"/>
                  </a:cxn>
                  <a:cxn ang="0">
                    <a:pos x="68" y="10"/>
                  </a:cxn>
                  <a:cxn ang="0">
                    <a:pos x="66" y="10"/>
                  </a:cxn>
                  <a:cxn ang="0">
                    <a:pos x="64" y="8"/>
                  </a:cxn>
                  <a:cxn ang="0">
                    <a:pos x="34" y="4"/>
                  </a:cxn>
                  <a:cxn ang="0">
                    <a:pos x="32" y="0"/>
                  </a:cxn>
                  <a:cxn ang="0">
                    <a:pos x="0" y="0"/>
                  </a:cxn>
                  <a:cxn ang="0">
                    <a:pos x="0" y="2"/>
                  </a:cxn>
                  <a:cxn ang="0">
                    <a:pos x="2" y="6"/>
                  </a:cxn>
                  <a:cxn ang="0">
                    <a:pos x="2" y="10"/>
                  </a:cxn>
                </a:cxnLst>
                <a:rect l="0" t="0" r="r" b="b"/>
                <a:pathLst>
                  <a:path w="90" h="86">
                    <a:moveTo>
                      <a:pt x="2" y="10"/>
                    </a:moveTo>
                    <a:lnTo>
                      <a:pt x="6" y="6"/>
                    </a:lnTo>
                    <a:lnTo>
                      <a:pt x="6" y="10"/>
                    </a:lnTo>
                    <a:lnTo>
                      <a:pt x="16" y="8"/>
                    </a:lnTo>
                    <a:lnTo>
                      <a:pt x="16" y="8"/>
                    </a:lnTo>
                    <a:lnTo>
                      <a:pt x="16" y="8"/>
                    </a:lnTo>
                    <a:lnTo>
                      <a:pt x="16" y="10"/>
                    </a:lnTo>
                    <a:lnTo>
                      <a:pt x="16" y="10"/>
                    </a:lnTo>
                    <a:lnTo>
                      <a:pt x="22" y="14"/>
                    </a:lnTo>
                    <a:lnTo>
                      <a:pt x="26" y="16"/>
                    </a:lnTo>
                    <a:lnTo>
                      <a:pt x="28" y="20"/>
                    </a:lnTo>
                    <a:lnTo>
                      <a:pt x="28" y="20"/>
                    </a:lnTo>
                    <a:lnTo>
                      <a:pt x="38" y="16"/>
                    </a:lnTo>
                    <a:lnTo>
                      <a:pt x="40" y="14"/>
                    </a:lnTo>
                    <a:lnTo>
                      <a:pt x="46" y="16"/>
                    </a:lnTo>
                    <a:lnTo>
                      <a:pt x="50" y="20"/>
                    </a:lnTo>
                    <a:lnTo>
                      <a:pt x="50" y="22"/>
                    </a:lnTo>
                    <a:lnTo>
                      <a:pt x="58" y="28"/>
                    </a:lnTo>
                    <a:lnTo>
                      <a:pt x="58" y="28"/>
                    </a:lnTo>
                    <a:lnTo>
                      <a:pt x="58" y="38"/>
                    </a:lnTo>
                    <a:lnTo>
                      <a:pt x="58" y="44"/>
                    </a:lnTo>
                    <a:lnTo>
                      <a:pt x="58" y="48"/>
                    </a:lnTo>
                    <a:lnTo>
                      <a:pt x="60" y="48"/>
                    </a:lnTo>
                    <a:lnTo>
                      <a:pt x="60" y="44"/>
                    </a:lnTo>
                    <a:lnTo>
                      <a:pt x="62" y="46"/>
                    </a:lnTo>
                    <a:lnTo>
                      <a:pt x="60" y="54"/>
                    </a:lnTo>
                    <a:lnTo>
                      <a:pt x="64" y="60"/>
                    </a:lnTo>
                    <a:lnTo>
                      <a:pt x="66" y="60"/>
                    </a:lnTo>
                    <a:lnTo>
                      <a:pt x="70" y="74"/>
                    </a:lnTo>
                    <a:lnTo>
                      <a:pt x="74" y="76"/>
                    </a:lnTo>
                    <a:lnTo>
                      <a:pt x="74" y="76"/>
                    </a:lnTo>
                    <a:lnTo>
                      <a:pt x="76" y="80"/>
                    </a:lnTo>
                    <a:lnTo>
                      <a:pt x="78" y="84"/>
                    </a:lnTo>
                    <a:lnTo>
                      <a:pt x="80" y="86"/>
                    </a:lnTo>
                    <a:lnTo>
                      <a:pt x="86" y="84"/>
                    </a:lnTo>
                    <a:lnTo>
                      <a:pt x="88" y="84"/>
                    </a:lnTo>
                    <a:lnTo>
                      <a:pt x="88" y="84"/>
                    </a:lnTo>
                    <a:lnTo>
                      <a:pt x="90" y="74"/>
                    </a:lnTo>
                    <a:lnTo>
                      <a:pt x="90" y="64"/>
                    </a:lnTo>
                    <a:lnTo>
                      <a:pt x="88" y="54"/>
                    </a:lnTo>
                    <a:lnTo>
                      <a:pt x="86" y="44"/>
                    </a:lnTo>
                    <a:lnTo>
                      <a:pt x="78" y="26"/>
                    </a:lnTo>
                    <a:lnTo>
                      <a:pt x="72" y="6"/>
                    </a:lnTo>
                    <a:lnTo>
                      <a:pt x="74" y="4"/>
                    </a:lnTo>
                    <a:lnTo>
                      <a:pt x="68" y="4"/>
                    </a:lnTo>
                    <a:lnTo>
                      <a:pt x="68" y="4"/>
                    </a:lnTo>
                    <a:lnTo>
                      <a:pt x="68" y="10"/>
                    </a:lnTo>
                    <a:lnTo>
                      <a:pt x="66" y="10"/>
                    </a:lnTo>
                    <a:lnTo>
                      <a:pt x="64" y="8"/>
                    </a:lnTo>
                    <a:lnTo>
                      <a:pt x="34" y="4"/>
                    </a:lnTo>
                    <a:lnTo>
                      <a:pt x="32" y="0"/>
                    </a:lnTo>
                    <a:lnTo>
                      <a:pt x="0" y="0"/>
                    </a:lnTo>
                    <a:lnTo>
                      <a:pt x="0" y="2"/>
                    </a:lnTo>
                    <a:lnTo>
                      <a:pt x="2" y="6"/>
                    </a:lnTo>
                    <a:lnTo>
                      <a:pt x="2"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6" name="Freeform 1484">
                <a:extLst>
                  <a:ext uri="{FF2B5EF4-FFF2-40B4-BE49-F238E27FC236}">
                    <a16:creationId xmlns:a16="http://schemas.microsoft.com/office/drawing/2014/main" id="{1C070127-AB05-49A9-AF01-1C40FD70DB79}"/>
                  </a:ext>
                </a:extLst>
              </p:cNvPr>
              <p:cNvSpPr>
                <a:spLocks/>
              </p:cNvSpPr>
              <p:nvPr/>
            </p:nvSpPr>
            <p:spPr bwMode="auto">
              <a:xfrm>
                <a:off x="1896" y="2424"/>
                <a:ext cx="104" cy="26"/>
              </a:xfrm>
              <a:custGeom>
                <a:avLst/>
                <a:gdLst/>
                <a:ahLst/>
                <a:cxnLst>
                  <a:cxn ang="0">
                    <a:pos x="104" y="0"/>
                  </a:cxn>
                  <a:cxn ang="0">
                    <a:pos x="26" y="0"/>
                  </a:cxn>
                  <a:cxn ang="0">
                    <a:pos x="28" y="2"/>
                  </a:cxn>
                  <a:cxn ang="0">
                    <a:pos x="10" y="2"/>
                  </a:cxn>
                  <a:cxn ang="0">
                    <a:pos x="8" y="2"/>
                  </a:cxn>
                  <a:cxn ang="0">
                    <a:pos x="10" y="4"/>
                  </a:cxn>
                  <a:cxn ang="0">
                    <a:pos x="10" y="4"/>
                  </a:cxn>
                  <a:cxn ang="0">
                    <a:pos x="8" y="4"/>
                  </a:cxn>
                  <a:cxn ang="0">
                    <a:pos x="8" y="6"/>
                  </a:cxn>
                  <a:cxn ang="0">
                    <a:pos x="8" y="6"/>
                  </a:cxn>
                  <a:cxn ang="0">
                    <a:pos x="8" y="8"/>
                  </a:cxn>
                  <a:cxn ang="0">
                    <a:pos x="6" y="10"/>
                  </a:cxn>
                  <a:cxn ang="0">
                    <a:pos x="8" y="12"/>
                  </a:cxn>
                  <a:cxn ang="0">
                    <a:pos x="4" y="14"/>
                  </a:cxn>
                  <a:cxn ang="0">
                    <a:pos x="4" y="18"/>
                  </a:cxn>
                  <a:cxn ang="0">
                    <a:pos x="2" y="20"/>
                  </a:cxn>
                  <a:cxn ang="0">
                    <a:pos x="2" y="24"/>
                  </a:cxn>
                  <a:cxn ang="0">
                    <a:pos x="0" y="26"/>
                  </a:cxn>
                  <a:cxn ang="0">
                    <a:pos x="72" y="26"/>
                  </a:cxn>
                  <a:cxn ang="0">
                    <a:pos x="72" y="22"/>
                  </a:cxn>
                  <a:cxn ang="0">
                    <a:pos x="74" y="22"/>
                  </a:cxn>
                  <a:cxn ang="0">
                    <a:pos x="76" y="18"/>
                  </a:cxn>
                  <a:cxn ang="0">
                    <a:pos x="88" y="14"/>
                  </a:cxn>
                  <a:cxn ang="0">
                    <a:pos x="88" y="10"/>
                  </a:cxn>
                  <a:cxn ang="0">
                    <a:pos x="92" y="10"/>
                  </a:cxn>
                  <a:cxn ang="0">
                    <a:pos x="96" y="8"/>
                  </a:cxn>
                  <a:cxn ang="0">
                    <a:pos x="98" y="8"/>
                  </a:cxn>
                  <a:cxn ang="0">
                    <a:pos x="104" y="4"/>
                  </a:cxn>
                  <a:cxn ang="0">
                    <a:pos x="104" y="0"/>
                  </a:cxn>
                </a:cxnLst>
                <a:rect l="0" t="0" r="r" b="b"/>
                <a:pathLst>
                  <a:path w="104" h="26">
                    <a:moveTo>
                      <a:pt x="104" y="0"/>
                    </a:moveTo>
                    <a:lnTo>
                      <a:pt x="26" y="0"/>
                    </a:lnTo>
                    <a:lnTo>
                      <a:pt x="28" y="2"/>
                    </a:lnTo>
                    <a:lnTo>
                      <a:pt x="10" y="2"/>
                    </a:lnTo>
                    <a:lnTo>
                      <a:pt x="8" y="2"/>
                    </a:lnTo>
                    <a:lnTo>
                      <a:pt x="10" y="4"/>
                    </a:lnTo>
                    <a:lnTo>
                      <a:pt x="10" y="4"/>
                    </a:lnTo>
                    <a:lnTo>
                      <a:pt x="8" y="4"/>
                    </a:lnTo>
                    <a:lnTo>
                      <a:pt x="8" y="6"/>
                    </a:lnTo>
                    <a:lnTo>
                      <a:pt x="8" y="6"/>
                    </a:lnTo>
                    <a:lnTo>
                      <a:pt x="8" y="8"/>
                    </a:lnTo>
                    <a:lnTo>
                      <a:pt x="6" y="10"/>
                    </a:lnTo>
                    <a:lnTo>
                      <a:pt x="8" y="12"/>
                    </a:lnTo>
                    <a:lnTo>
                      <a:pt x="4" y="14"/>
                    </a:lnTo>
                    <a:lnTo>
                      <a:pt x="4" y="18"/>
                    </a:lnTo>
                    <a:lnTo>
                      <a:pt x="2" y="20"/>
                    </a:lnTo>
                    <a:lnTo>
                      <a:pt x="2" y="24"/>
                    </a:lnTo>
                    <a:lnTo>
                      <a:pt x="0" y="26"/>
                    </a:lnTo>
                    <a:lnTo>
                      <a:pt x="72" y="26"/>
                    </a:lnTo>
                    <a:lnTo>
                      <a:pt x="72" y="22"/>
                    </a:lnTo>
                    <a:lnTo>
                      <a:pt x="74" y="22"/>
                    </a:lnTo>
                    <a:lnTo>
                      <a:pt x="76" y="18"/>
                    </a:lnTo>
                    <a:lnTo>
                      <a:pt x="88" y="14"/>
                    </a:lnTo>
                    <a:lnTo>
                      <a:pt x="88" y="10"/>
                    </a:lnTo>
                    <a:lnTo>
                      <a:pt x="92" y="10"/>
                    </a:lnTo>
                    <a:lnTo>
                      <a:pt x="96" y="8"/>
                    </a:lnTo>
                    <a:lnTo>
                      <a:pt x="98" y="8"/>
                    </a:lnTo>
                    <a:lnTo>
                      <a:pt x="104" y="4"/>
                    </a:lnTo>
                    <a:lnTo>
                      <a:pt x="10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7" name="Freeform 1485">
                <a:extLst>
                  <a:ext uri="{FF2B5EF4-FFF2-40B4-BE49-F238E27FC236}">
                    <a16:creationId xmlns:a16="http://schemas.microsoft.com/office/drawing/2014/main" id="{447B7D64-9E8D-4EB5-A77E-DD9421BAE21D}"/>
                  </a:ext>
                </a:extLst>
              </p:cNvPr>
              <p:cNvSpPr>
                <a:spLocks/>
              </p:cNvSpPr>
              <p:nvPr/>
            </p:nvSpPr>
            <p:spPr bwMode="auto">
              <a:xfrm>
                <a:off x="1880" y="2450"/>
                <a:ext cx="42" cy="72"/>
              </a:xfrm>
              <a:custGeom>
                <a:avLst/>
                <a:gdLst/>
                <a:ahLst/>
                <a:cxnLst>
                  <a:cxn ang="0">
                    <a:pos x="38" y="70"/>
                  </a:cxn>
                  <a:cxn ang="0">
                    <a:pos x="38" y="70"/>
                  </a:cxn>
                  <a:cxn ang="0">
                    <a:pos x="32" y="70"/>
                  </a:cxn>
                  <a:cxn ang="0">
                    <a:pos x="24" y="72"/>
                  </a:cxn>
                  <a:cxn ang="0">
                    <a:pos x="22" y="66"/>
                  </a:cxn>
                  <a:cxn ang="0">
                    <a:pos x="22" y="60"/>
                  </a:cxn>
                  <a:cxn ang="0">
                    <a:pos x="0" y="60"/>
                  </a:cxn>
                  <a:cxn ang="0">
                    <a:pos x="0" y="60"/>
                  </a:cxn>
                  <a:cxn ang="0">
                    <a:pos x="0" y="56"/>
                  </a:cxn>
                  <a:cxn ang="0">
                    <a:pos x="2" y="56"/>
                  </a:cxn>
                  <a:cxn ang="0">
                    <a:pos x="2" y="56"/>
                  </a:cxn>
                  <a:cxn ang="0">
                    <a:pos x="2" y="50"/>
                  </a:cxn>
                  <a:cxn ang="0">
                    <a:pos x="6" y="46"/>
                  </a:cxn>
                  <a:cxn ang="0">
                    <a:pos x="6" y="44"/>
                  </a:cxn>
                  <a:cxn ang="0">
                    <a:pos x="8" y="40"/>
                  </a:cxn>
                  <a:cxn ang="0">
                    <a:pos x="6" y="38"/>
                  </a:cxn>
                  <a:cxn ang="0">
                    <a:pos x="6" y="36"/>
                  </a:cxn>
                  <a:cxn ang="0">
                    <a:pos x="6" y="36"/>
                  </a:cxn>
                  <a:cxn ang="0">
                    <a:pos x="6" y="36"/>
                  </a:cxn>
                  <a:cxn ang="0">
                    <a:pos x="6" y="34"/>
                  </a:cxn>
                  <a:cxn ang="0">
                    <a:pos x="6" y="32"/>
                  </a:cxn>
                  <a:cxn ang="0">
                    <a:pos x="6" y="32"/>
                  </a:cxn>
                  <a:cxn ang="0">
                    <a:pos x="6" y="30"/>
                  </a:cxn>
                  <a:cxn ang="0">
                    <a:pos x="6" y="28"/>
                  </a:cxn>
                  <a:cxn ang="0">
                    <a:pos x="6" y="26"/>
                  </a:cxn>
                  <a:cxn ang="0">
                    <a:pos x="6" y="24"/>
                  </a:cxn>
                  <a:cxn ang="0">
                    <a:pos x="4" y="22"/>
                  </a:cxn>
                  <a:cxn ang="0">
                    <a:pos x="4" y="22"/>
                  </a:cxn>
                  <a:cxn ang="0">
                    <a:pos x="6" y="22"/>
                  </a:cxn>
                  <a:cxn ang="0">
                    <a:pos x="4" y="20"/>
                  </a:cxn>
                  <a:cxn ang="0">
                    <a:pos x="6" y="18"/>
                  </a:cxn>
                  <a:cxn ang="0">
                    <a:pos x="6" y="16"/>
                  </a:cxn>
                  <a:cxn ang="0">
                    <a:pos x="10" y="14"/>
                  </a:cxn>
                  <a:cxn ang="0">
                    <a:pos x="8" y="12"/>
                  </a:cxn>
                  <a:cxn ang="0">
                    <a:pos x="10" y="10"/>
                  </a:cxn>
                  <a:cxn ang="0">
                    <a:pos x="10" y="10"/>
                  </a:cxn>
                  <a:cxn ang="0">
                    <a:pos x="12" y="8"/>
                  </a:cxn>
                  <a:cxn ang="0">
                    <a:pos x="12" y="4"/>
                  </a:cxn>
                  <a:cxn ang="0">
                    <a:pos x="16" y="2"/>
                  </a:cxn>
                  <a:cxn ang="0">
                    <a:pos x="16" y="0"/>
                  </a:cxn>
                  <a:cxn ang="0">
                    <a:pos x="42" y="0"/>
                  </a:cxn>
                  <a:cxn ang="0">
                    <a:pos x="42" y="2"/>
                  </a:cxn>
                  <a:cxn ang="0">
                    <a:pos x="42" y="2"/>
                  </a:cxn>
                  <a:cxn ang="0">
                    <a:pos x="38" y="36"/>
                  </a:cxn>
                  <a:cxn ang="0">
                    <a:pos x="38" y="52"/>
                  </a:cxn>
                  <a:cxn ang="0">
                    <a:pos x="38" y="70"/>
                  </a:cxn>
                  <a:cxn ang="0">
                    <a:pos x="38" y="70"/>
                  </a:cxn>
                </a:cxnLst>
                <a:rect l="0" t="0" r="r" b="b"/>
                <a:pathLst>
                  <a:path w="42" h="72">
                    <a:moveTo>
                      <a:pt x="38" y="70"/>
                    </a:moveTo>
                    <a:lnTo>
                      <a:pt x="38" y="70"/>
                    </a:lnTo>
                    <a:lnTo>
                      <a:pt x="32" y="70"/>
                    </a:lnTo>
                    <a:lnTo>
                      <a:pt x="24" y="72"/>
                    </a:lnTo>
                    <a:lnTo>
                      <a:pt x="22" y="66"/>
                    </a:lnTo>
                    <a:lnTo>
                      <a:pt x="22" y="60"/>
                    </a:lnTo>
                    <a:lnTo>
                      <a:pt x="0" y="60"/>
                    </a:lnTo>
                    <a:lnTo>
                      <a:pt x="0" y="60"/>
                    </a:lnTo>
                    <a:lnTo>
                      <a:pt x="0" y="56"/>
                    </a:lnTo>
                    <a:lnTo>
                      <a:pt x="2" y="56"/>
                    </a:lnTo>
                    <a:lnTo>
                      <a:pt x="2" y="56"/>
                    </a:lnTo>
                    <a:lnTo>
                      <a:pt x="2" y="50"/>
                    </a:lnTo>
                    <a:lnTo>
                      <a:pt x="6" y="46"/>
                    </a:lnTo>
                    <a:lnTo>
                      <a:pt x="6" y="44"/>
                    </a:lnTo>
                    <a:lnTo>
                      <a:pt x="8" y="40"/>
                    </a:lnTo>
                    <a:lnTo>
                      <a:pt x="6" y="38"/>
                    </a:lnTo>
                    <a:lnTo>
                      <a:pt x="6" y="36"/>
                    </a:lnTo>
                    <a:lnTo>
                      <a:pt x="6" y="36"/>
                    </a:lnTo>
                    <a:lnTo>
                      <a:pt x="6" y="36"/>
                    </a:lnTo>
                    <a:lnTo>
                      <a:pt x="6" y="34"/>
                    </a:lnTo>
                    <a:lnTo>
                      <a:pt x="6" y="32"/>
                    </a:lnTo>
                    <a:lnTo>
                      <a:pt x="6" y="32"/>
                    </a:lnTo>
                    <a:lnTo>
                      <a:pt x="6" y="30"/>
                    </a:lnTo>
                    <a:lnTo>
                      <a:pt x="6" y="28"/>
                    </a:lnTo>
                    <a:lnTo>
                      <a:pt x="6" y="26"/>
                    </a:lnTo>
                    <a:lnTo>
                      <a:pt x="6" y="24"/>
                    </a:lnTo>
                    <a:lnTo>
                      <a:pt x="4" y="22"/>
                    </a:lnTo>
                    <a:lnTo>
                      <a:pt x="4" y="22"/>
                    </a:lnTo>
                    <a:lnTo>
                      <a:pt x="6" y="22"/>
                    </a:lnTo>
                    <a:lnTo>
                      <a:pt x="4" y="20"/>
                    </a:lnTo>
                    <a:lnTo>
                      <a:pt x="6" y="18"/>
                    </a:lnTo>
                    <a:lnTo>
                      <a:pt x="6" y="16"/>
                    </a:lnTo>
                    <a:lnTo>
                      <a:pt x="10" y="14"/>
                    </a:lnTo>
                    <a:lnTo>
                      <a:pt x="8" y="12"/>
                    </a:lnTo>
                    <a:lnTo>
                      <a:pt x="10" y="10"/>
                    </a:lnTo>
                    <a:lnTo>
                      <a:pt x="10" y="10"/>
                    </a:lnTo>
                    <a:lnTo>
                      <a:pt x="12" y="8"/>
                    </a:lnTo>
                    <a:lnTo>
                      <a:pt x="12" y="4"/>
                    </a:lnTo>
                    <a:lnTo>
                      <a:pt x="16" y="2"/>
                    </a:lnTo>
                    <a:lnTo>
                      <a:pt x="16" y="0"/>
                    </a:lnTo>
                    <a:lnTo>
                      <a:pt x="42" y="0"/>
                    </a:lnTo>
                    <a:lnTo>
                      <a:pt x="42" y="2"/>
                    </a:lnTo>
                    <a:lnTo>
                      <a:pt x="42" y="2"/>
                    </a:lnTo>
                    <a:lnTo>
                      <a:pt x="38" y="36"/>
                    </a:lnTo>
                    <a:lnTo>
                      <a:pt x="38" y="52"/>
                    </a:lnTo>
                    <a:lnTo>
                      <a:pt x="38" y="70"/>
                    </a:lnTo>
                    <a:lnTo>
                      <a:pt x="38" y="7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8" name="Freeform 1486">
                <a:extLst>
                  <a:ext uri="{FF2B5EF4-FFF2-40B4-BE49-F238E27FC236}">
                    <a16:creationId xmlns:a16="http://schemas.microsoft.com/office/drawing/2014/main" id="{12706377-2D9A-4CFA-9965-33EF0848A690}"/>
                  </a:ext>
                </a:extLst>
              </p:cNvPr>
              <p:cNvSpPr>
                <a:spLocks/>
              </p:cNvSpPr>
              <p:nvPr/>
            </p:nvSpPr>
            <p:spPr bwMode="auto">
              <a:xfrm>
                <a:off x="1866" y="2246"/>
                <a:ext cx="68" cy="82"/>
              </a:xfrm>
              <a:custGeom>
                <a:avLst/>
                <a:gdLst/>
                <a:ahLst/>
                <a:cxnLst>
                  <a:cxn ang="0">
                    <a:pos x="28" y="8"/>
                  </a:cxn>
                  <a:cxn ang="0">
                    <a:pos x="24" y="8"/>
                  </a:cxn>
                  <a:cxn ang="0">
                    <a:pos x="24" y="2"/>
                  </a:cxn>
                  <a:cxn ang="0">
                    <a:pos x="22" y="0"/>
                  </a:cxn>
                  <a:cxn ang="0">
                    <a:pos x="22" y="0"/>
                  </a:cxn>
                  <a:cxn ang="0">
                    <a:pos x="16" y="6"/>
                  </a:cxn>
                  <a:cxn ang="0">
                    <a:pos x="12" y="6"/>
                  </a:cxn>
                  <a:cxn ang="0">
                    <a:pos x="10" y="6"/>
                  </a:cxn>
                  <a:cxn ang="0">
                    <a:pos x="10" y="6"/>
                  </a:cxn>
                  <a:cxn ang="0">
                    <a:pos x="8" y="4"/>
                  </a:cxn>
                  <a:cxn ang="0">
                    <a:pos x="6" y="6"/>
                  </a:cxn>
                  <a:cxn ang="0">
                    <a:pos x="6" y="16"/>
                  </a:cxn>
                  <a:cxn ang="0">
                    <a:pos x="6" y="16"/>
                  </a:cxn>
                  <a:cxn ang="0">
                    <a:pos x="2" y="20"/>
                  </a:cxn>
                  <a:cxn ang="0">
                    <a:pos x="0" y="24"/>
                  </a:cxn>
                  <a:cxn ang="0">
                    <a:pos x="0" y="26"/>
                  </a:cxn>
                  <a:cxn ang="0">
                    <a:pos x="2" y="28"/>
                  </a:cxn>
                  <a:cxn ang="0">
                    <a:pos x="2" y="28"/>
                  </a:cxn>
                  <a:cxn ang="0">
                    <a:pos x="0" y="34"/>
                  </a:cxn>
                  <a:cxn ang="0">
                    <a:pos x="0" y="40"/>
                  </a:cxn>
                  <a:cxn ang="0">
                    <a:pos x="0" y="40"/>
                  </a:cxn>
                  <a:cxn ang="0">
                    <a:pos x="4" y="44"/>
                  </a:cxn>
                  <a:cxn ang="0">
                    <a:pos x="8" y="46"/>
                  </a:cxn>
                  <a:cxn ang="0">
                    <a:pos x="8" y="46"/>
                  </a:cxn>
                  <a:cxn ang="0">
                    <a:pos x="12" y="52"/>
                  </a:cxn>
                  <a:cxn ang="0">
                    <a:pos x="18" y="56"/>
                  </a:cxn>
                  <a:cxn ang="0">
                    <a:pos x="18" y="56"/>
                  </a:cxn>
                  <a:cxn ang="0">
                    <a:pos x="22" y="76"/>
                  </a:cxn>
                  <a:cxn ang="0">
                    <a:pos x="26" y="78"/>
                  </a:cxn>
                  <a:cxn ang="0">
                    <a:pos x="26" y="82"/>
                  </a:cxn>
                  <a:cxn ang="0">
                    <a:pos x="60" y="82"/>
                  </a:cxn>
                  <a:cxn ang="0">
                    <a:pos x="60" y="82"/>
                  </a:cxn>
                  <a:cxn ang="0">
                    <a:pos x="60" y="70"/>
                  </a:cxn>
                  <a:cxn ang="0">
                    <a:pos x="62" y="56"/>
                  </a:cxn>
                  <a:cxn ang="0">
                    <a:pos x="64" y="44"/>
                  </a:cxn>
                  <a:cxn ang="0">
                    <a:pos x="68" y="34"/>
                  </a:cxn>
                  <a:cxn ang="0">
                    <a:pos x="68" y="32"/>
                  </a:cxn>
                  <a:cxn ang="0">
                    <a:pos x="66" y="36"/>
                  </a:cxn>
                  <a:cxn ang="0">
                    <a:pos x="64" y="40"/>
                  </a:cxn>
                  <a:cxn ang="0">
                    <a:pos x="58" y="44"/>
                  </a:cxn>
                  <a:cxn ang="0">
                    <a:pos x="58" y="44"/>
                  </a:cxn>
                  <a:cxn ang="0">
                    <a:pos x="62" y="34"/>
                  </a:cxn>
                  <a:cxn ang="0">
                    <a:pos x="60" y="34"/>
                  </a:cxn>
                  <a:cxn ang="0">
                    <a:pos x="62" y="30"/>
                  </a:cxn>
                  <a:cxn ang="0">
                    <a:pos x="60" y="30"/>
                  </a:cxn>
                  <a:cxn ang="0">
                    <a:pos x="60" y="24"/>
                  </a:cxn>
                  <a:cxn ang="0">
                    <a:pos x="56" y="22"/>
                  </a:cxn>
                  <a:cxn ang="0">
                    <a:pos x="56" y="20"/>
                  </a:cxn>
                  <a:cxn ang="0">
                    <a:pos x="32" y="12"/>
                  </a:cxn>
                  <a:cxn ang="0">
                    <a:pos x="32" y="8"/>
                  </a:cxn>
                  <a:cxn ang="0">
                    <a:pos x="28" y="8"/>
                  </a:cxn>
                </a:cxnLst>
                <a:rect l="0" t="0" r="r" b="b"/>
                <a:pathLst>
                  <a:path w="68" h="82">
                    <a:moveTo>
                      <a:pt x="28" y="8"/>
                    </a:moveTo>
                    <a:lnTo>
                      <a:pt x="24" y="8"/>
                    </a:lnTo>
                    <a:lnTo>
                      <a:pt x="24" y="2"/>
                    </a:lnTo>
                    <a:lnTo>
                      <a:pt x="22" y="0"/>
                    </a:lnTo>
                    <a:lnTo>
                      <a:pt x="22" y="0"/>
                    </a:lnTo>
                    <a:lnTo>
                      <a:pt x="16" y="6"/>
                    </a:lnTo>
                    <a:lnTo>
                      <a:pt x="12" y="6"/>
                    </a:lnTo>
                    <a:lnTo>
                      <a:pt x="10" y="6"/>
                    </a:lnTo>
                    <a:lnTo>
                      <a:pt x="10" y="6"/>
                    </a:lnTo>
                    <a:lnTo>
                      <a:pt x="8" y="4"/>
                    </a:lnTo>
                    <a:lnTo>
                      <a:pt x="6" y="6"/>
                    </a:lnTo>
                    <a:lnTo>
                      <a:pt x="6" y="16"/>
                    </a:lnTo>
                    <a:lnTo>
                      <a:pt x="6" y="16"/>
                    </a:lnTo>
                    <a:lnTo>
                      <a:pt x="2" y="20"/>
                    </a:lnTo>
                    <a:lnTo>
                      <a:pt x="0" y="24"/>
                    </a:lnTo>
                    <a:lnTo>
                      <a:pt x="0" y="26"/>
                    </a:lnTo>
                    <a:lnTo>
                      <a:pt x="2" y="28"/>
                    </a:lnTo>
                    <a:lnTo>
                      <a:pt x="2" y="28"/>
                    </a:lnTo>
                    <a:lnTo>
                      <a:pt x="0" y="34"/>
                    </a:lnTo>
                    <a:lnTo>
                      <a:pt x="0" y="40"/>
                    </a:lnTo>
                    <a:lnTo>
                      <a:pt x="0" y="40"/>
                    </a:lnTo>
                    <a:lnTo>
                      <a:pt x="4" y="44"/>
                    </a:lnTo>
                    <a:lnTo>
                      <a:pt x="8" y="46"/>
                    </a:lnTo>
                    <a:lnTo>
                      <a:pt x="8" y="46"/>
                    </a:lnTo>
                    <a:lnTo>
                      <a:pt x="12" y="52"/>
                    </a:lnTo>
                    <a:lnTo>
                      <a:pt x="18" y="56"/>
                    </a:lnTo>
                    <a:lnTo>
                      <a:pt x="18" y="56"/>
                    </a:lnTo>
                    <a:lnTo>
                      <a:pt x="22" y="76"/>
                    </a:lnTo>
                    <a:lnTo>
                      <a:pt x="26" y="78"/>
                    </a:lnTo>
                    <a:lnTo>
                      <a:pt x="26" y="82"/>
                    </a:lnTo>
                    <a:lnTo>
                      <a:pt x="60" y="82"/>
                    </a:lnTo>
                    <a:lnTo>
                      <a:pt x="60" y="82"/>
                    </a:lnTo>
                    <a:lnTo>
                      <a:pt x="60" y="70"/>
                    </a:lnTo>
                    <a:lnTo>
                      <a:pt x="62" y="56"/>
                    </a:lnTo>
                    <a:lnTo>
                      <a:pt x="64" y="44"/>
                    </a:lnTo>
                    <a:lnTo>
                      <a:pt x="68" y="34"/>
                    </a:lnTo>
                    <a:lnTo>
                      <a:pt x="68" y="32"/>
                    </a:lnTo>
                    <a:lnTo>
                      <a:pt x="66" y="36"/>
                    </a:lnTo>
                    <a:lnTo>
                      <a:pt x="64" y="40"/>
                    </a:lnTo>
                    <a:lnTo>
                      <a:pt x="58" y="44"/>
                    </a:lnTo>
                    <a:lnTo>
                      <a:pt x="58" y="44"/>
                    </a:lnTo>
                    <a:lnTo>
                      <a:pt x="62" y="34"/>
                    </a:lnTo>
                    <a:lnTo>
                      <a:pt x="60" y="34"/>
                    </a:lnTo>
                    <a:lnTo>
                      <a:pt x="62" y="30"/>
                    </a:lnTo>
                    <a:lnTo>
                      <a:pt x="60" y="30"/>
                    </a:lnTo>
                    <a:lnTo>
                      <a:pt x="60" y="24"/>
                    </a:lnTo>
                    <a:lnTo>
                      <a:pt x="56" y="22"/>
                    </a:lnTo>
                    <a:lnTo>
                      <a:pt x="56" y="20"/>
                    </a:lnTo>
                    <a:lnTo>
                      <a:pt x="32" y="12"/>
                    </a:lnTo>
                    <a:lnTo>
                      <a:pt x="32" y="8"/>
                    </a:lnTo>
                    <a:lnTo>
                      <a:pt x="28"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79" name="Freeform 1487">
                <a:extLst>
                  <a:ext uri="{FF2B5EF4-FFF2-40B4-BE49-F238E27FC236}">
                    <a16:creationId xmlns:a16="http://schemas.microsoft.com/office/drawing/2014/main" id="{9C2CC801-EFB4-4BD5-B127-1DE8D3DAD4ED}"/>
                  </a:ext>
                </a:extLst>
              </p:cNvPr>
              <p:cNvSpPr>
                <a:spLocks/>
              </p:cNvSpPr>
              <p:nvPr/>
            </p:nvSpPr>
            <p:spPr bwMode="auto">
              <a:xfrm>
                <a:off x="1882" y="2328"/>
                <a:ext cx="48" cy="90"/>
              </a:xfrm>
              <a:custGeom>
                <a:avLst/>
                <a:gdLst/>
                <a:ahLst/>
                <a:cxnLst>
                  <a:cxn ang="0">
                    <a:pos x="0" y="36"/>
                  </a:cxn>
                  <a:cxn ang="0">
                    <a:pos x="0" y="36"/>
                  </a:cxn>
                  <a:cxn ang="0">
                    <a:pos x="0" y="40"/>
                  </a:cxn>
                  <a:cxn ang="0">
                    <a:pos x="2" y="46"/>
                  </a:cxn>
                  <a:cxn ang="0">
                    <a:pos x="2" y="46"/>
                  </a:cxn>
                  <a:cxn ang="0">
                    <a:pos x="8" y="52"/>
                  </a:cxn>
                  <a:cxn ang="0">
                    <a:pos x="10" y="56"/>
                  </a:cxn>
                  <a:cxn ang="0">
                    <a:pos x="10" y="60"/>
                  </a:cxn>
                  <a:cxn ang="0">
                    <a:pos x="12" y="58"/>
                  </a:cxn>
                  <a:cxn ang="0">
                    <a:pos x="16" y="60"/>
                  </a:cxn>
                  <a:cxn ang="0">
                    <a:pos x="16" y="60"/>
                  </a:cxn>
                  <a:cxn ang="0">
                    <a:pos x="14" y="66"/>
                  </a:cxn>
                  <a:cxn ang="0">
                    <a:pos x="14" y="70"/>
                  </a:cxn>
                  <a:cxn ang="0">
                    <a:pos x="24" y="80"/>
                  </a:cxn>
                  <a:cxn ang="0">
                    <a:pos x="24" y="84"/>
                  </a:cxn>
                  <a:cxn ang="0">
                    <a:pos x="24" y="86"/>
                  </a:cxn>
                  <a:cxn ang="0">
                    <a:pos x="26" y="90"/>
                  </a:cxn>
                  <a:cxn ang="0">
                    <a:pos x="26" y="90"/>
                  </a:cxn>
                  <a:cxn ang="0">
                    <a:pos x="26" y="90"/>
                  </a:cxn>
                  <a:cxn ang="0">
                    <a:pos x="26" y="88"/>
                  </a:cxn>
                  <a:cxn ang="0">
                    <a:pos x="28" y="90"/>
                  </a:cxn>
                  <a:cxn ang="0">
                    <a:pos x="28" y="90"/>
                  </a:cxn>
                  <a:cxn ang="0">
                    <a:pos x="30" y="86"/>
                  </a:cxn>
                  <a:cxn ang="0">
                    <a:pos x="36" y="90"/>
                  </a:cxn>
                  <a:cxn ang="0">
                    <a:pos x="36" y="88"/>
                  </a:cxn>
                  <a:cxn ang="0">
                    <a:pos x="36" y="84"/>
                  </a:cxn>
                  <a:cxn ang="0">
                    <a:pos x="40" y="82"/>
                  </a:cxn>
                  <a:cxn ang="0">
                    <a:pos x="40" y="80"/>
                  </a:cxn>
                  <a:cxn ang="0">
                    <a:pos x="42" y="76"/>
                  </a:cxn>
                  <a:cxn ang="0">
                    <a:pos x="40" y="76"/>
                  </a:cxn>
                  <a:cxn ang="0">
                    <a:pos x="42" y="76"/>
                  </a:cxn>
                  <a:cxn ang="0">
                    <a:pos x="42" y="72"/>
                  </a:cxn>
                  <a:cxn ang="0">
                    <a:pos x="42" y="72"/>
                  </a:cxn>
                  <a:cxn ang="0">
                    <a:pos x="42" y="72"/>
                  </a:cxn>
                  <a:cxn ang="0">
                    <a:pos x="42" y="70"/>
                  </a:cxn>
                  <a:cxn ang="0">
                    <a:pos x="42" y="70"/>
                  </a:cxn>
                  <a:cxn ang="0">
                    <a:pos x="46" y="64"/>
                  </a:cxn>
                  <a:cxn ang="0">
                    <a:pos x="48" y="60"/>
                  </a:cxn>
                  <a:cxn ang="0">
                    <a:pos x="46" y="56"/>
                  </a:cxn>
                  <a:cxn ang="0">
                    <a:pos x="46" y="56"/>
                  </a:cxn>
                  <a:cxn ang="0">
                    <a:pos x="48" y="52"/>
                  </a:cxn>
                  <a:cxn ang="0">
                    <a:pos x="48" y="44"/>
                  </a:cxn>
                  <a:cxn ang="0">
                    <a:pos x="48" y="24"/>
                  </a:cxn>
                  <a:cxn ang="0">
                    <a:pos x="44" y="0"/>
                  </a:cxn>
                  <a:cxn ang="0">
                    <a:pos x="10" y="0"/>
                  </a:cxn>
                  <a:cxn ang="0">
                    <a:pos x="16" y="6"/>
                  </a:cxn>
                  <a:cxn ang="0">
                    <a:pos x="16" y="6"/>
                  </a:cxn>
                  <a:cxn ang="0">
                    <a:pos x="16" y="10"/>
                  </a:cxn>
                  <a:cxn ang="0">
                    <a:pos x="14" y="14"/>
                  </a:cxn>
                  <a:cxn ang="0">
                    <a:pos x="6" y="18"/>
                  </a:cxn>
                  <a:cxn ang="0">
                    <a:pos x="4" y="20"/>
                  </a:cxn>
                  <a:cxn ang="0">
                    <a:pos x="6" y="22"/>
                  </a:cxn>
                  <a:cxn ang="0">
                    <a:pos x="6" y="22"/>
                  </a:cxn>
                  <a:cxn ang="0">
                    <a:pos x="6" y="26"/>
                  </a:cxn>
                  <a:cxn ang="0">
                    <a:pos x="4" y="30"/>
                  </a:cxn>
                  <a:cxn ang="0">
                    <a:pos x="0" y="32"/>
                  </a:cxn>
                  <a:cxn ang="0">
                    <a:pos x="2" y="34"/>
                  </a:cxn>
                  <a:cxn ang="0">
                    <a:pos x="0" y="36"/>
                  </a:cxn>
                </a:cxnLst>
                <a:rect l="0" t="0" r="r" b="b"/>
                <a:pathLst>
                  <a:path w="48" h="90">
                    <a:moveTo>
                      <a:pt x="0" y="36"/>
                    </a:moveTo>
                    <a:lnTo>
                      <a:pt x="0" y="36"/>
                    </a:lnTo>
                    <a:lnTo>
                      <a:pt x="0" y="40"/>
                    </a:lnTo>
                    <a:lnTo>
                      <a:pt x="2" y="46"/>
                    </a:lnTo>
                    <a:lnTo>
                      <a:pt x="2" y="46"/>
                    </a:lnTo>
                    <a:lnTo>
                      <a:pt x="8" y="52"/>
                    </a:lnTo>
                    <a:lnTo>
                      <a:pt x="10" y="56"/>
                    </a:lnTo>
                    <a:lnTo>
                      <a:pt x="10" y="60"/>
                    </a:lnTo>
                    <a:lnTo>
                      <a:pt x="12" y="58"/>
                    </a:lnTo>
                    <a:lnTo>
                      <a:pt x="16" y="60"/>
                    </a:lnTo>
                    <a:lnTo>
                      <a:pt x="16" y="60"/>
                    </a:lnTo>
                    <a:lnTo>
                      <a:pt x="14" y="66"/>
                    </a:lnTo>
                    <a:lnTo>
                      <a:pt x="14" y="70"/>
                    </a:lnTo>
                    <a:lnTo>
                      <a:pt x="24" y="80"/>
                    </a:lnTo>
                    <a:lnTo>
                      <a:pt x="24" y="84"/>
                    </a:lnTo>
                    <a:lnTo>
                      <a:pt x="24" y="86"/>
                    </a:lnTo>
                    <a:lnTo>
                      <a:pt x="26" y="90"/>
                    </a:lnTo>
                    <a:lnTo>
                      <a:pt x="26" y="90"/>
                    </a:lnTo>
                    <a:lnTo>
                      <a:pt x="26" y="90"/>
                    </a:lnTo>
                    <a:lnTo>
                      <a:pt x="26" y="88"/>
                    </a:lnTo>
                    <a:lnTo>
                      <a:pt x="28" y="90"/>
                    </a:lnTo>
                    <a:lnTo>
                      <a:pt x="28" y="90"/>
                    </a:lnTo>
                    <a:lnTo>
                      <a:pt x="30" y="86"/>
                    </a:lnTo>
                    <a:lnTo>
                      <a:pt x="36" y="90"/>
                    </a:lnTo>
                    <a:lnTo>
                      <a:pt x="36" y="88"/>
                    </a:lnTo>
                    <a:lnTo>
                      <a:pt x="36" y="84"/>
                    </a:lnTo>
                    <a:lnTo>
                      <a:pt x="40" y="82"/>
                    </a:lnTo>
                    <a:lnTo>
                      <a:pt x="40" y="80"/>
                    </a:lnTo>
                    <a:lnTo>
                      <a:pt x="42" y="76"/>
                    </a:lnTo>
                    <a:lnTo>
                      <a:pt x="40" y="76"/>
                    </a:lnTo>
                    <a:lnTo>
                      <a:pt x="42" y="76"/>
                    </a:lnTo>
                    <a:lnTo>
                      <a:pt x="42" y="72"/>
                    </a:lnTo>
                    <a:lnTo>
                      <a:pt x="42" y="72"/>
                    </a:lnTo>
                    <a:lnTo>
                      <a:pt x="42" y="72"/>
                    </a:lnTo>
                    <a:lnTo>
                      <a:pt x="42" y="70"/>
                    </a:lnTo>
                    <a:lnTo>
                      <a:pt x="42" y="70"/>
                    </a:lnTo>
                    <a:lnTo>
                      <a:pt x="46" y="64"/>
                    </a:lnTo>
                    <a:lnTo>
                      <a:pt x="48" y="60"/>
                    </a:lnTo>
                    <a:lnTo>
                      <a:pt x="46" y="56"/>
                    </a:lnTo>
                    <a:lnTo>
                      <a:pt x="46" y="56"/>
                    </a:lnTo>
                    <a:lnTo>
                      <a:pt x="48" y="52"/>
                    </a:lnTo>
                    <a:lnTo>
                      <a:pt x="48" y="44"/>
                    </a:lnTo>
                    <a:lnTo>
                      <a:pt x="48" y="24"/>
                    </a:lnTo>
                    <a:lnTo>
                      <a:pt x="44" y="0"/>
                    </a:lnTo>
                    <a:lnTo>
                      <a:pt x="10" y="0"/>
                    </a:lnTo>
                    <a:lnTo>
                      <a:pt x="16" y="6"/>
                    </a:lnTo>
                    <a:lnTo>
                      <a:pt x="16" y="6"/>
                    </a:lnTo>
                    <a:lnTo>
                      <a:pt x="16" y="10"/>
                    </a:lnTo>
                    <a:lnTo>
                      <a:pt x="14" y="14"/>
                    </a:lnTo>
                    <a:lnTo>
                      <a:pt x="6" y="18"/>
                    </a:lnTo>
                    <a:lnTo>
                      <a:pt x="4" y="20"/>
                    </a:lnTo>
                    <a:lnTo>
                      <a:pt x="6" y="22"/>
                    </a:lnTo>
                    <a:lnTo>
                      <a:pt x="6" y="22"/>
                    </a:lnTo>
                    <a:lnTo>
                      <a:pt x="6" y="26"/>
                    </a:lnTo>
                    <a:lnTo>
                      <a:pt x="4" y="30"/>
                    </a:lnTo>
                    <a:lnTo>
                      <a:pt x="0" y="32"/>
                    </a:lnTo>
                    <a:lnTo>
                      <a:pt x="2" y="34"/>
                    </a:lnTo>
                    <a:lnTo>
                      <a:pt x="0" y="3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0" name="Freeform 1488">
                <a:extLst>
                  <a:ext uri="{FF2B5EF4-FFF2-40B4-BE49-F238E27FC236}">
                    <a16:creationId xmlns:a16="http://schemas.microsoft.com/office/drawing/2014/main" id="{E5767F04-CD8B-44F9-818A-76A6C4AD0770}"/>
                  </a:ext>
                </a:extLst>
              </p:cNvPr>
              <p:cNvSpPr>
                <a:spLocks/>
              </p:cNvSpPr>
              <p:nvPr/>
            </p:nvSpPr>
            <p:spPr bwMode="auto">
              <a:xfrm>
                <a:off x="1968" y="2424"/>
                <a:ext cx="104" cy="44"/>
              </a:xfrm>
              <a:custGeom>
                <a:avLst/>
                <a:gdLst/>
                <a:ahLst/>
                <a:cxnLst>
                  <a:cxn ang="0">
                    <a:pos x="32" y="0"/>
                  </a:cxn>
                  <a:cxn ang="0">
                    <a:pos x="32" y="4"/>
                  </a:cxn>
                  <a:cxn ang="0">
                    <a:pos x="26" y="8"/>
                  </a:cxn>
                  <a:cxn ang="0">
                    <a:pos x="24" y="8"/>
                  </a:cxn>
                  <a:cxn ang="0">
                    <a:pos x="20" y="10"/>
                  </a:cxn>
                  <a:cxn ang="0">
                    <a:pos x="16" y="10"/>
                  </a:cxn>
                  <a:cxn ang="0">
                    <a:pos x="16" y="14"/>
                  </a:cxn>
                  <a:cxn ang="0">
                    <a:pos x="4" y="18"/>
                  </a:cxn>
                  <a:cxn ang="0">
                    <a:pos x="2" y="22"/>
                  </a:cxn>
                  <a:cxn ang="0">
                    <a:pos x="0" y="22"/>
                  </a:cxn>
                  <a:cxn ang="0">
                    <a:pos x="0" y="26"/>
                  </a:cxn>
                  <a:cxn ang="0">
                    <a:pos x="0" y="26"/>
                  </a:cxn>
                  <a:cxn ang="0">
                    <a:pos x="14" y="26"/>
                  </a:cxn>
                  <a:cxn ang="0">
                    <a:pos x="14" y="26"/>
                  </a:cxn>
                  <a:cxn ang="0">
                    <a:pos x="18" y="24"/>
                  </a:cxn>
                  <a:cxn ang="0">
                    <a:pos x="24" y="22"/>
                  </a:cxn>
                  <a:cxn ang="0">
                    <a:pos x="32" y="22"/>
                  </a:cxn>
                  <a:cxn ang="0">
                    <a:pos x="40" y="24"/>
                  </a:cxn>
                  <a:cxn ang="0">
                    <a:pos x="42" y="28"/>
                  </a:cxn>
                  <a:cxn ang="0">
                    <a:pos x="56" y="28"/>
                  </a:cxn>
                  <a:cxn ang="0">
                    <a:pos x="68" y="44"/>
                  </a:cxn>
                  <a:cxn ang="0">
                    <a:pos x="78" y="40"/>
                  </a:cxn>
                  <a:cxn ang="0">
                    <a:pos x="78" y="40"/>
                  </a:cxn>
                  <a:cxn ang="0">
                    <a:pos x="84" y="34"/>
                  </a:cxn>
                  <a:cxn ang="0">
                    <a:pos x="88" y="32"/>
                  </a:cxn>
                  <a:cxn ang="0">
                    <a:pos x="92" y="32"/>
                  </a:cxn>
                  <a:cxn ang="0">
                    <a:pos x="96" y="30"/>
                  </a:cxn>
                  <a:cxn ang="0">
                    <a:pos x="96" y="26"/>
                  </a:cxn>
                  <a:cxn ang="0">
                    <a:pos x="92" y="26"/>
                  </a:cxn>
                  <a:cxn ang="0">
                    <a:pos x="94" y="22"/>
                  </a:cxn>
                  <a:cxn ang="0">
                    <a:pos x="90" y="20"/>
                  </a:cxn>
                  <a:cxn ang="0">
                    <a:pos x="94" y="18"/>
                  </a:cxn>
                  <a:cxn ang="0">
                    <a:pos x="96" y="20"/>
                  </a:cxn>
                  <a:cxn ang="0">
                    <a:pos x="98" y="20"/>
                  </a:cxn>
                  <a:cxn ang="0">
                    <a:pos x="104" y="16"/>
                  </a:cxn>
                  <a:cxn ang="0">
                    <a:pos x="102" y="12"/>
                  </a:cxn>
                  <a:cxn ang="0">
                    <a:pos x="102" y="12"/>
                  </a:cxn>
                  <a:cxn ang="0">
                    <a:pos x="98" y="12"/>
                  </a:cxn>
                  <a:cxn ang="0">
                    <a:pos x="92" y="12"/>
                  </a:cxn>
                  <a:cxn ang="0">
                    <a:pos x="92" y="6"/>
                  </a:cxn>
                  <a:cxn ang="0">
                    <a:pos x="94" y="8"/>
                  </a:cxn>
                  <a:cxn ang="0">
                    <a:pos x="94" y="8"/>
                  </a:cxn>
                  <a:cxn ang="0">
                    <a:pos x="98" y="6"/>
                  </a:cxn>
                  <a:cxn ang="0">
                    <a:pos x="102" y="8"/>
                  </a:cxn>
                  <a:cxn ang="0">
                    <a:pos x="102" y="8"/>
                  </a:cxn>
                  <a:cxn ang="0">
                    <a:pos x="100" y="4"/>
                  </a:cxn>
                  <a:cxn ang="0">
                    <a:pos x="102" y="0"/>
                  </a:cxn>
                  <a:cxn ang="0">
                    <a:pos x="32" y="0"/>
                  </a:cxn>
                </a:cxnLst>
                <a:rect l="0" t="0" r="r" b="b"/>
                <a:pathLst>
                  <a:path w="104" h="44">
                    <a:moveTo>
                      <a:pt x="32" y="0"/>
                    </a:moveTo>
                    <a:lnTo>
                      <a:pt x="32" y="4"/>
                    </a:lnTo>
                    <a:lnTo>
                      <a:pt x="26" y="8"/>
                    </a:lnTo>
                    <a:lnTo>
                      <a:pt x="24" y="8"/>
                    </a:lnTo>
                    <a:lnTo>
                      <a:pt x="20" y="10"/>
                    </a:lnTo>
                    <a:lnTo>
                      <a:pt x="16" y="10"/>
                    </a:lnTo>
                    <a:lnTo>
                      <a:pt x="16" y="14"/>
                    </a:lnTo>
                    <a:lnTo>
                      <a:pt x="4" y="18"/>
                    </a:lnTo>
                    <a:lnTo>
                      <a:pt x="2" y="22"/>
                    </a:lnTo>
                    <a:lnTo>
                      <a:pt x="0" y="22"/>
                    </a:lnTo>
                    <a:lnTo>
                      <a:pt x="0" y="26"/>
                    </a:lnTo>
                    <a:lnTo>
                      <a:pt x="0" y="26"/>
                    </a:lnTo>
                    <a:lnTo>
                      <a:pt x="14" y="26"/>
                    </a:lnTo>
                    <a:lnTo>
                      <a:pt x="14" y="26"/>
                    </a:lnTo>
                    <a:lnTo>
                      <a:pt x="18" y="24"/>
                    </a:lnTo>
                    <a:lnTo>
                      <a:pt x="24" y="22"/>
                    </a:lnTo>
                    <a:lnTo>
                      <a:pt x="32" y="22"/>
                    </a:lnTo>
                    <a:lnTo>
                      <a:pt x="40" y="24"/>
                    </a:lnTo>
                    <a:lnTo>
                      <a:pt x="42" y="28"/>
                    </a:lnTo>
                    <a:lnTo>
                      <a:pt x="56" y="28"/>
                    </a:lnTo>
                    <a:lnTo>
                      <a:pt x="68" y="44"/>
                    </a:lnTo>
                    <a:lnTo>
                      <a:pt x="78" y="40"/>
                    </a:lnTo>
                    <a:lnTo>
                      <a:pt x="78" y="40"/>
                    </a:lnTo>
                    <a:lnTo>
                      <a:pt x="84" y="34"/>
                    </a:lnTo>
                    <a:lnTo>
                      <a:pt x="88" y="32"/>
                    </a:lnTo>
                    <a:lnTo>
                      <a:pt x="92" y="32"/>
                    </a:lnTo>
                    <a:lnTo>
                      <a:pt x="96" y="30"/>
                    </a:lnTo>
                    <a:lnTo>
                      <a:pt x="96" y="26"/>
                    </a:lnTo>
                    <a:lnTo>
                      <a:pt x="92" y="26"/>
                    </a:lnTo>
                    <a:lnTo>
                      <a:pt x="94" y="22"/>
                    </a:lnTo>
                    <a:lnTo>
                      <a:pt x="90" y="20"/>
                    </a:lnTo>
                    <a:lnTo>
                      <a:pt x="94" y="18"/>
                    </a:lnTo>
                    <a:lnTo>
                      <a:pt x="96" y="20"/>
                    </a:lnTo>
                    <a:lnTo>
                      <a:pt x="98" y="20"/>
                    </a:lnTo>
                    <a:lnTo>
                      <a:pt x="104" y="16"/>
                    </a:lnTo>
                    <a:lnTo>
                      <a:pt x="102" y="12"/>
                    </a:lnTo>
                    <a:lnTo>
                      <a:pt x="102" y="12"/>
                    </a:lnTo>
                    <a:lnTo>
                      <a:pt x="98" y="12"/>
                    </a:lnTo>
                    <a:lnTo>
                      <a:pt x="92" y="12"/>
                    </a:lnTo>
                    <a:lnTo>
                      <a:pt x="92" y="6"/>
                    </a:lnTo>
                    <a:lnTo>
                      <a:pt x="94" y="8"/>
                    </a:lnTo>
                    <a:lnTo>
                      <a:pt x="94" y="8"/>
                    </a:lnTo>
                    <a:lnTo>
                      <a:pt x="98" y="6"/>
                    </a:lnTo>
                    <a:lnTo>
                      <a:pt x="102" y="8"/>
                    </a:lnTo>
                    <a:lnTo>
                      <a:pt x="102" y="8"/>
                    </a:lnTo>
                    <a:lnTo>
                      <a:pt x="100" y="4"/>
                    </a:lnTo>
                    <a:lnTo>
                      <a:pt x="102" y="0"/>
                    </a:lnTo>
                    <a:lnTo>
                      <a:pt x="3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1" name="Freeform 1489">
                <a:extLst>
                  <a:ext uri="{FF2B5EF4-FFF2-40B4-BE49-F238E27FC236}">
                    <a16:creationId xmlns:a16="http://schemas.microsoft.com/office/drawing/2014/main" id="{BCBBF942-76DE-4857-9C97-185B06581FE8}"/>
                  </a:ext>
                </a:extLst>
              </p:cNvPr>
              <p:cNvSpPr>
                <a:spLocks/>
              </p:cNvSpPr>
              <p:nvPr/>
            </p:nvSpPr>
            <p:spPr bwMode="auto">
              <a:xfrm>
                <a:off x="1976" y="2378"/>
                <a:ext cx="94" cy="46"/>
              </a:xfrm>
              <a:custGeom>
                <a:avLst/>
                <a:gdLst/>
                <a:ahLst/>
                <a:cxnLst>
                  <a:cxn ang="0">
                    <a:pos x="0" y="46"/>
                  </a:cxn>
                  <a:cxn ang="0">
                    <a:pos x="6" y="44"/>
                  </a:cxn>
                  <a:cxn ang="0">
                    <a:pos x="6" y="44"/>
                  </a:cxn>
                  <a:cxn ang="0">
                    <a:pos x="12" y="38"/>
                  </a:cxn>
                  <a:cxn ang="0">
                    <a:pos x="20" y="32"/>
                  </a:cxn>
                  <a:cxn ang="0">
                    <a:pos x="20" y="34"/>
                  </a:cxn>
                  <a:cxn ang="0">
                    <a:pos x="24" y="36"/>
                  </a:cxn>
                  <a:cxn ang="0">
                    <a:pos x="28" y="34"/>
                  </a:cxn>
                  <a:cxn ang="0">
                    <a:pos x="28" y="36"/>
                  </a:cxn>
                  <a:cxn ang="0">
                    <a:pos x="40" y="32"/>
                  </a:cxn>
                  <a:cxn ang="0">
                    <a:pos x="40" y="30"/>
                  </a:cxn>
                  <a:cxn ang="0">
                    <a:pos x="40" y="30"/>
                  </a:cxn>
                  <a:cxn ang="0">
                    <a:pos x="44" y="22"/>
                  </a:cxn>
                  <a:cxn ang="0">
                    <a:pos x="48" y="14"/>
                  </a:cxn>
                  <a:cxn ang="0">
                    <a:pos x="52" y="18"/>
                  </a:cxn>
                  <a:cxn ang="0">
                    <a:pos x="52" y="18"/>
                  </a:cxn>
                  <a:cxn ang="0">
                    <a:pos x="60" y="10"/>
                  </a:cxn>
                  <a:cxn ang="0">
                    <a:pos x="62" y="4"/>
                  </a:cxn>
                  <a:cxn ang="0">
                    <a:pos x="64" y="0"/>
                  </a:cxn>
                  <a:cxn ang="0">
                    <a:pos x="70" y="6"/>
                  </a:cxn>
                  <a:cxn ang="0">
                    <a:pos x="70" y="2"/>
                  </a:cxn>
                  <a:cxn ang="0">
                    <a:pos x="74" y="4"/>
                  </a:cxn>
                  <a:cxn ang="0">
                    <a:pos x="74" y="6"/>
                  </a:cxn>
                  <a:cxn ang="0">
                    <a:pos x="78" y="8"/>
                  </a:cxn>
                  <a:cxn ang="0">
                    <a:pos x="78" y="8"/>
                  </a:cxn>
                  <a:cxn ang="0">
                    <a:pos x="80" y="12"/>
                  </a:cxn>
                  <a:cxn ang="0">
                    <a:pos x="76" y="16"/>
                  </a:cxn>
                  <a:cxn ang="0">
                    <a:pos x="76" y="18"/>
                  </a:cxn>
                  <a:cxn ang="0">
                    <a:pos x="88" y="26"/>
                  </a:cxn>
                  <a:cxn ang="0">
                    <a:pos x="88" y="30"/>
                  </a:cxn>
                  <a:cxn ang="0">
                    <a:pos x="90" y="34"/>
                  </a:cxn>
                  <a:cxn ang="0">
                    <a:pos x="88" y="36"/>
                  </a:cxn>
                  <a:cxn ang="0">
                    <a:pos x="88" y="36"/>
                  </a:cxn>
                  <a:cxn ang="0">
                    <a:pos x="86" y="40"/>
                  </a:cxn>
                  <a:cxn ang="0">
                    <a:pos x="94" y="42"/>
                  </a:cxn>
                  <a:cxn ang="0">
                    <a:pos x="94" y="46"/>
                  </a:cxn>
                  <a:cxn ang="0">
                    <a:pos x="0" y="46"/>
                  </a:cxn>
                </a:cxnLst>
                <a:rect l="0" t="0" r="r" b="b"/>
                <a:pathLst>
                  <a:path w="94" h="46">
                    <a:moveTo>
                      <a:pt x="0" y="46"/>
                    </a:moveTo>
                    <a:lnTo>
                      <a:pt x="6" y="44"/>
                    </a:lnTo>
                    <a:lnTo>
                      <a:pt x="6" y="44"/>
                    </a:lnTo>
                    <a:lnTo>
                      <a:pt x="12" y="38"/>
                    </a:lnTo>
                    <a:lnTo>
                      <a:pt x="20" y="32"/>
                    </a:lnTo>
                    <a:lnTo>
                      <a:pt x="20" y="34"/>
                    </a:lnTo>
                    <a:lnTo>
                      <a:pt x="24" y="36"/>
                    </a:lnTo>
                    <a:lnTo>
                      <a:pt x="28" y="34"/>
                    </a:lnTo>
                    <a:lnTo>
                      <a:pt x="28" y="36"/>
                    </a:lnTo>
                    <a:lnTo>
                      <a:pt x="40" y="32"/>
                    </a:lnTo>
                    <a:lnTo>
                      <a:pt x="40" y="30"/>
                    </a:lnTo>
                    <a:lnTo>
                      <a:pt x="40" y="30"/>
                    </a:lnTo>
                    <a:lnTo>
                      <a:pt x="44" y="22"/>
                    </a:lnTo>
                    <a:lnTo>
                      <a:pt x="48" y="14"/>
                    </a:lnTo>
                    <a:lnTo>
                      <a:pt x="52" y="18"/>
                    </a:lnTo>
                    <a:lnTo>
                      <a:pt x="52" y="18"/>
                    </a:lnTo>
                    <a:lnTo>
                      <a:pt x="60" y="10"/>
                    </a:lnTo>
                    <a:lnTo>
                      <a:pt x="62" y="4"/>
                    </a:lnTo>
                    <a:lnTo>
                      <a:pt x="64" y="0"/>
                    </a:lnTo>
                    <a:lnTo>
                      <a:pt x="70" y="6"/>
                    </a:lnTo>
                    <a:lnTo>
                      <a:pt x="70" y="2"/>
                    </a:lnTo>
                    <a:lnTo>
                      <a:pt x="74" y="4"/>
                    </a:lnTo>
                    <a:lnTo>
                      <a:pt x="74" y="6"/>
                    </a:lnTo>
                    <a:lnTo>
                      <a:pt x="78" y="8"/>
                    </a:lnTo>
                    <a:lnTo>
                      <a:pt x="78" y="8"/>
                    </a:lnTo>
                    <a:lnTo>
                      <a:pt x="80" y="12"/>
                    </a:lnTo>
                    <a:lnTo>
                      <a:pt x="76" y="16"/>
                    </a:lnTo>
                    <a:lnTo>
                      <a:pt x="76" y="18"/>
                    </a:lnTo>
                    <a:lnTo>
                      <a:pt x="88" y="26"/>
                    </a:lnTo>
                    <a:lnTo>
                      <a:pt x="88" y="30"/>
                    </a:lnTo>
                    <a:lnTo>
                      <a:pt x="90" y="34"/>
                    </a:lnTo>
                    <a:lnTo>
                      <a:pt x="88" y="36"/>
                    </a:lnTo>
                    <a:lnTo>
                      <a:pt x="88" y="36"/>
                    </a:lnTo>
                    <a:lnTo>
                      <a:pt x="86" y="40"/>
                    </a:lnTo>
                    <a:lnTo>
                      <a:pt x="94" y="42"/>
                    </a:lnTo>
                    <a:lnTo>
                      <a:pt x="94" y="46"/>
                    </a:lnTo>
                    <a:lnTo>
                      <a:pt x="0" y="4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2" name="Freeform 1490">
                <a:extLst>
                  <a:ext uri="{FF2B5EF4-FFF2-40B4-BE49-F238E27FC236}">
                    <a16:creationId xmlns:a16="http://schemas.microsoft.com/office/drawing/2014/main" id="{0935B3A5-C005-49CB-BBD4-2183CF2E1FB5}"/>
                  </a:ext>
                </a:extLst>
              </p:cNvPr>
              <p:cNvSpPr>
                <a:spLocks/>
              </p:cNvSpPr>
              <p:nvPr/>
            </p:nvSpPr>
            <p:spPr bwMode="auto">
              <a:xfrm>
                <a:off x="2026" y="2374"/>
                <a:ext cx="52" cy="28"/>
              </a:xfrm>
              <a:custGeom>
                <a:avLst/>
                <a:gdLst/>
                <a:ahLst/>
                <a:cxnLst>
                  <a:cxn ang="0">
                    <a:pos x="44" y="0"/>
                  </a:cxn>
                  <a:cxn ang="0">
                    <a:pos x="0" y="0"/>
                  </a:cxn>
                  <a:cxn ang="0">
                    <a:pos x="0" y="8"/>
                  </a:cxn>
                  <a:cxn ang="0">
                    <a:pos x="0" y="8"/>
                  </a:cxn>
                  <a:cxn ang="0">
                    <a:pos x="4" y="6"/>
                  </a:cxn>
                  <a:cxn ang="0">
                    <a:pos x="8" y="2"/>
                  </a:cxn>
                  <a:cxn ang="0">
                    <a:pos x="10" y="4"/>
                  </a:cxn>
                  <a:cxn ang="0">
                    <a:pos x="16" y="0"/>
                  </a:cxn>
                  <a:cxn ang="0">
                    <a:pos x="20" y="2"/>
                  </a:cxn>
                  <a:cxn ang="0">
                    <a:pos x="20" y="6"/>
                  </a:cxn>
                  <a:cxn ang="0">
                    <a:pos x="24" y="8"/>
                  </a:cxn>
                  <a:cxn ang="0">
                    <a:pos x="24" y="10"/>
                  </a:cxn>
                  <a:cxn ang="0">
                    <a:pos x="28" y="12"/>
                  </a:cxn>
                  <a:cxn ang="0">
                    <a:pos x="30" y="12"/>
                  </a:cxn>
                  <a:cxn ang="0">
                    <a:pos x="30" y="14"/>
                  </a:cxn>
                  <a:cxn ang="0">
                    <a:pos x="30" y="16"/>
                  </a:cxn>
                  <a:cxn ang="0">
                    <a:pos x="30" y="20"/>
                  </a:cxn>
                  <a:cxn ang="0">
                    <a:pos x="38" y="26"/>
                  </a:cxn>
                  <a:cxn ang="0">
                    <a:pos x="36" y="8"/>
                  </a:cxn>
                  <a:cxn ang="0">
                    <a:pos x="40" y="6"/>
                  </a:cxn>
                  <a:cxn ang="0">
                    <a:pos x="40" y="24"/>
                  </a:cxn>
                  <a:cxn ang="0">
                    <a:pos x="44" y="24"/>
                  </a:cxn>
                  <a:cxn ang="0">
                    <a:pos x="46" y="28"/>
                  </a:cxn>
                  <a:cxn ang="0">
                    <a:pos x="50" y="28"/>
                  </a:cxn>
                  <a:cxn ang="0">
                    <a:pos x="50" y="26"/>
                  </a:cxn>
                  <a:cxn ang="0">
                    <a:pos x="52" y="20"/>
                  </a:cxn>
                  <a:cxn ang="0">
                    <a:pos x="44" y="20"/>
                  </a:cxn>
                  <a:cxn ang="0">
                    <a:pos x="44" y="0"/>
                  </a:cxn>
                </a:cxnLst>
                <a:rect l="0" t="0" r="r" b="b"/>
                <a:pathLst>
                  <a:path w="52" h="28">
                    <a:moveTo>
                      <a:pt x="44" y="0"/>
                    </a:moveTo>
                    <a:lnTo>
                      <a:pt x="0" y="0"/>
                    </a:lnTo>
                    <a:lnTo>
                      <a:pt x="0" y="8"/>
                    </a:lnTo>
                    <a:lnTo>
                      <a:pt x="0" y="8"/>
                    </a:lnTo>
                    <a:lnTo>
                      <a:pt x="4" y="6"/>
                    </a:lnTo>
                    <a:lnTo>
                      <a:pt x="8" y="2"/>
                    </a:lnTo>
                    <a:lnTo>
                      <a:pt x="10" y="4"/>
                    </a:lnTo>
                    <a:lnTo>
                      <a:pt x="16" y="0"/>
                    </a:lnTo>
                    <a:lnTo>
                      <a:pt x="20" y="2"/>
                    </a:lnTo>
                    <a:lnTo>
                      <a:pt x="20" y="6"/>
                    </a:lnTo>
                    <a:lnTo>
                      <a:pt x="24" y="8"/>
                    </a:lnTo>
                    <a:lnTo>
                      <a:pt x="24" y="10"/>
                    </a:lnTo>
                    <a:lnTo>
                      <a:pt x="28" y="12"/>
                    </a:lnTo>
                    <a:lnTo>
                      <a:pt x="30" y="12"/>
                    </a:lnTo>
                    <a:lnTo>
                      <a:pt x="30" y="14"/>
                    </a:lnTo>
                    <a:lnTo>
                      <a:pt x="30" y="16"/>
                    </a:lnTo>
                    <a:lnTo>
                      <a:pt x="30" y="20"/>
                    </a:lnTo>
                    <a:lnTo>
                      <a:pt x="38" y="26"/>
                    </a:lnTo>
                    <a:lnTo>
                      <a:pt x="36" y="8"/>
                    </a:lnTo>
                    <a:lnTo>
                      <a:pt x="40" y="6"/>
                    </a:lnTo>
                    <a:lnTo>
                      <a:pt x="40" y="24"/>
                    </a:lnTo>
                    <a:lnTo>
                      <a:pt x="44" y="24"/>
                    </a:lnTo>
                    <a:lnTo>
                      <a:pt x="46" y="28"/>
                    </a:lnTo>
                    <a:lnTo>
                      <a:pt x="50" y="28"/>
                    </a:lnTo>
                    <a:lnTo>
                      <a:pt x="50" y="26"/>
                    </a:lnTo>
                    <a:lnTo>
                      <a:pt x="52" y="20"/>
                    </a:lnTo>
                    <a:lnTo>
                      <a:pt x="44" y="20"/>
                    </a:lnTo>
                    <a:lnTo>
                      <a:pt x="4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3" name="Freeform 1491">
                <a:extLst>
                  <a:ext uri="{FF2B5EF4-FFF2-40B4-BE49-F238E27FC236}">
                    <a16:creationId xmlns:a16="http://schemas.microsoft.com/office/drawing/2014/main" id="{8C74378B-7EF3-4CFC-8B73-845E20FB0DC9}"/>
                  </a:ext>
                </a:extLst>
              </p:cNvPr>
              <p:cNvSpPr>
                <a:spLocks/>
              </p:cNvSpPr>
              <p:nvPr/>
            </p:nvSpPr>
            <p:spPr bwMode="auto">
              <a:xfrm>
                <a:off x="2014" y="2330"/>
                <a:ext cx="70" cy="44"/>
              </a:xfrm>
              <a:custGeom>
                <a:avLst/>
                <a:gdLst/>
                <a:ahLst/>
                <a:cxnLst>
                  <a:cxn ang="0">
                    <a:pos x="8" y="6"/>
                  </a:cxn>
                  <a:cxn ang="0">
                    <a:pos x="8" y="0"/>
                  </a:cxn>
                  <a:cxn ang="0">
                    <a:pos x="0" y="6"/>
                  </a:cxn>
                  <a:cxn ang="0">
                    <a:pos x="0" y="44"/>
                  </a:cxn>
                  <a:cxn ang="0">
                    <a:pos x="56" y="44"/>
                  </a:cxn>
                  <a:cxn ang="0">
                    <a:pos x="58" y="42"/>
                  </a:cxn>
                  <a:cxn ang="0">
                    <a:pos x="60" y="42"/>
                  </a:cxn>
                  <a:cxn ang="0">
                    <a:pos x="68" y="36"/>
                  </a:cxn>
                  <a:cxn ang="0">
                    <a:pos x="64" y="30"/>
                  </a:cxn>
                  <a:cxn ang="0">
                    <a:pos x="64" y="26"/>
                  </a:cxn>
                  <a:cxn ang="0">
                    <a:pos x="64" y="24"/>
                  </a:cxn>
                  <a:cxn ang="0">
                    <a:pos x="64" y="22"/>
                  </a:cxn>
                  <a:cxn ang="0">
                    <a:pos x="64" y="22"/>
                  </a:cxn>
                  <a:cxn ang="0">
                    <a:pos x="70" y="16"/>
                  </a:cxn>
                  <a:cxn ang="0">
                    <a:pos x="66" y="14"/>
                  </a:cxn>
                  <a:cxn ang="0">
                    <a:pos x="64" y="8"/>
                  </a:cxn>
                  <a:cxn ang="0">
                    <a:pos x="60" y="6"/>
                  </a:cxn>
                  <a:cxn ang="0">
                    <a:pos x="8" y="6"/>
                  </a:cxn>
                </a:cxnLst>
                <a:rect l="0" t="0" r="r" b="b"/>
                <a:pathLst>
                  <a:path w="70" h="44">
                    <a:moveTo>
                      <a:pt x="8" y="6"/>
                    </a:moveTo>
                    <a:lnTo>
                      <a:pt x="8" y="0"/>
                    </a:lnTo>
                    <a:lnTo>
                      <a:pt x="0" y="6"/>
                    </a:lnTo>
                    <a:lnTo>
                      <a:pt x="0" y="44"/>
                    </a:lnTo>
                    <a:lnTo>
                      <a:pt x="56" y="44"/>
                    </a:lnTo>
                    <a:lnTo>
                      <a:pt x="58" y="42"/>
                    </a:lnTo>
                    <a:lnTo>
                      <a:pt x="60" y="42"/>
                    </a:lnTo>
                    <a:lnTo>
                      <a:pt x="68" y="36"/>
                    </a:lnTo>
                    <a:lnTo>
                      <a:pt x="64" y="30"/>
                    </a:lnTo>
                    <a:lnTo>
                      <a:pt x="64" y="26"/>
                    </a:lnTo>
                    <a:lnTo>
                      <a:pt x="64" y="24"/>
                    </a:lnTo>
                    <a:lnTo>
                      <a:pt x="64" y="22"/>
                    </a:lnTo>
                    <a:lnTo>
                      <a:pt x="64" y="22"/>
                    </a:lnTo>
                    <a:lnTo>
                      <a:pt x="70" y="16"/>
                    </a:lnTo>
                    <a:lnTo>
                      <a:pt x="66" y="14"/>
                    </a:lnTo>
                    <a:lnTo>
                      <a:pt x="64" y="8"/>
                    </a:lnTo>
                    <a:lnTo>
                      <a:pt x="60" y="6"/>
                    </a:lnTo>
                    <a:lnTo>
                      <a:pt x="8"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4" name="Freeform 1492">
                <a:extLst>
                  <a:ext uri="{FF2B5EF4-FFF2-40B4-BE49-F238E27FC236}">
                    <a16:creationId xmlns:a16="http://schemas.microsoft.com/office/drawing/2014/main" id="{001D44A0-35DF-470D-AE20-34B92B0FD340}"/>
                  </a:ext>
                </a:extLst>
              </p:cNvPr>
              <p:cNvSpPr>
                <a:spLocks/>
              </p:cNvSpPr>
              <p:nvPr/>
            </p:nvSpPr>
            <p:spPr bwMode="auto">
              <a:xfrm>
                <a:off x="2022" y="2282"/>
                <a:ext cx="78" cy="76"/>
              </a:xfrm>
              <a:custGeom>
                <a:avLst/>
                <a:gdLst/>
                <a:ahLst/>
                <a:cxnLst>
                  <a:cxn ang="0">
                    <a:pos x="52" y="54"/>
                  </a:cxn>
                  <a:cxn ang="0">
                    <a:pos x="0" y="54"/>
                  </a:cxn>
                  <a:cxn ang="0">
                    <a:pos x="0" y="48"/>
                  </a:cxn>
                  <a:cxn ang="0">
                    <a:pos x="12" y="40"/>
                  </a:cxn>
                  <a:cxn ang="0">
                    <a:pos x="10" y="32"/>
                  </a:cxn>
                  <a:cxn ang="0">
                    <a:pos x="20" y="30"/>
                  </a:cxn>
                  <a:cxn ang="0">
                    <a:pos x="20" y="30"/>
                  </a:cxn>
                  <a:cxn ang="0">
                    <a:pos x="26" y="32"/>
                  </a:cxn>
                  <a:cxn ang="0">
                    <a:pos x="32" y="30"/>
                  </a:cxn>
                  <a:cxn ang="0">
                    <a:pos x="38" y="30"/>
                  </a:cxn>
                  <a:cxn ang="0">
                    <a:pos x="44" y="26"/>
                  </a:cxn>
                  <a:cxn ang="0">
                    <a:pos x="44" y="22"/>
                  </a:cxn>
                  <a:cxn ang="0">
                    <a:pos x="42" y="20"/>
                  </a:cxn>
                  <a:cxn ang="0">
                    <a:pos x="44" y="18"/>
                  </a:cxn>
                  <a:cxn ang="0">
                    <a:pos x="42" y="16"/>
                  </a:cxn>
                  <a:cxn ang="0">
                    <a:pos x="42" y="16"/>
                  </a:cxn>
                  <a:cxn ang="0">
                    <a:pos x="46" y="14"/>
                  </a:cxn>
                  <a:cxn ang="0">
                    <a:pos x="50" y="8"/>
                  </a:cxn>
                  <a:cxn ang="0">
                    <a:pos x="52" y="4"/>
                  </a:cxn>
                  <a:cxn ang="0">
                    <a:pos x="58" y="0"/>
                  </a:cxn>
                  <a:cxn ang="0">
                    <a:pos x="78" y="0"/>
                  </a:cxn>
                  <a:cxn ang="0">
                    <a:pos x="78" y="0"/>
                  </a:cxn>
                  <a:cxn ang="0">
                    <a:pos x="76" y="6"/>
                  </a:cxn>
                  <a:cxn ang="0">
                    <a:pos x="78" y="10"/>
                  </a:cxn>
                  <a:cxn ang="0">
                    <a:pos x="78" y="10"/>
                  </a:cxn>
                  <a:cxn ang="0">
                    <a:pos x="76" y="16"/>
                  </a:cxn>
                  <a:cxn ang="0">
                    <a:pos x="76" y="22"/>
                  </a:cxn>
                  <a:cxn ang="0">
                    <a:pos x="76" y="24"/>
                  </a:cxn>
                  <a:cxn ang="0">
                    <a:pos x="78" y="26"/>
                  </a:cxn>
                  <a:cxn ang="0">
                    <a:pos x="78" y="26"/>
                  </a:cxn>
                  <a:cxn ang="0">
                    <a:pos x="78" y="36"/>
                  </a:cxn>
                  <a:cxn ang="0">
                    <a:pos x="78" y="46"/>
                  </a:cxn>
                  <a:cxn ang="0">
                    <a:pos x="76" y="56"/>
                  </a:cxn>
                  <a:cxn ang="0">
                    <a:pos x="74" y="66"/>
                  </a:cxn>
                  <a:cxn ang="0">
                    <a:pos x="76" y="66"/>
                  </a:cxn>
                  <a:cxn ang="0">
                    <a:pos x="72" y="68"/>
                  </a:cxn>
                  <a:cxn ang="0">
                    <a:pos x="74" y="70"/>
                  </a:cxn>
                  <a:cxn ang="0">
                    <a:pos x="70" y="76"/>
                  </a:cxn>
                  <a:cxn ang="0">
                    <a:pos x="70" y="70"/>
                  </a:cxn>
                  <a:cxn ang="0">
                    <a:pos x="70" y="70"/>
                  </a:cxn>
                  <a:cxn ang="0">
                    <a:pos x="58" y="62"/>
                  </a:cxn>
                  <a:cxn ang="0">
                    <a:pos x="56" y="56"/>
                  </a:cxn>
                  <a:cxn ang="0">
                    <a:pos x="52" y="54"/>
                  </a:cxn>
                </a:cxnLst>
                <a:rect l="0" t="0" r="r" b="b"/>
                <a:pathLst>
                  <a:path w="78" h="76">
                    <a:moveTo>
                      <a:pt x="52" y="54"/>
                    </a:moveTo>
                    <a:lnTo>
                      <a:pt x="0" y="54"/>
                    </a:lnTo>
                    <a:lnTo>
                      <a:pt x="0" y="48"/>
                    </a:lnTo>
                    <a:lnTo>
                      <a:pt x="12" y="40"/>
                    </a:lnTo>
                    <a:lnTo>
                      <a:pt x="10" y="32"/>
                    </a:lnTo>
                    <a:lnTo>
                      <a:pt x="20" y="30"/>
                    </a:lnTo>
                    <a:lnTo>
                      <a:pt x="20" y="30"/>
                    </a:lnTo>
                    <a:lnTo>
                      <a:pt x="26" y="32"/>
                    </a:lnTo>
                    <a:lnTo>
                      <a:pt x="32" y="30"/>
                    </a:lnTo>
                    <a:lnTo>
                      <a:pt x="38" y="30"/>
                    </a:lnTo>
                    <a:lnTo>
                      <a:pt x="44" y="26"/>
                    </a:lnTo>
                    <a:lnTo>
                      <a:pt x="44" y="22"/>
                    </a:lnTo>
                    <a:lnTo>
                      <a:pt x="42" y="20"/>
                    </a:lnTo>
                    <a:lnTo>
                      <a:pt x="44" y="18"/>
                    </a:lnTo>
                    <a:lnTo>
                      <a:pt x="42" y="16"/>
                    </a:lnTo>
                    <a:lnTo>
                      <a:pt x="42" y="16"/>
                    </a:lnTo>
                    <a:lnTo>
                      <a:pt x="46" y="14"/>
                    </a:lnTo>
                    <a:lnTo>
                      <a:pt x="50" y="8"/>
                    </a:lnTo>
                    <a:lnTo>
                      <a:pt x="52" y="4"/>
                    </a:lnTo>
                    <a:lnTo>
                      <a:pt x="58" y="0"/>
                    </a:lnTo>
                    <a:lnTo>
                      <a:pt x="78" y="0"/>
                    </a:lnTo>
                    <a:lnTo>
                      <a:pt x="78" y="0"/>
                    </a:lnTo>
                    <a:lnTo>
                      <a:pt x="76" y="6"/>
                    </a:lnTo>
                    <a:lnTo>
                      <a:pt x="78" y="10"/>
                    </a:lnTo>
                    <a:lnTo>
                      <a:pt x="78" y="10"/>
                    </a:lnTo>
                    <a:lnTo>
                      <a:pt x="76" y="16"/>
                    </a:lnTo>
                    <a:lnTo>
                      <a:pt x="76" y="22"/>
                    </a:lnTo>
                    <a:lnTo>
                      <a:pt x="76" y="24"/>
                    </a:lnTo>
                    <a:lnTo>
                      <a:pt x="78" y="26"/>
                    </a:lnTo>
                    <a:lnTo>
                      <a:pt x="78" y="26"/>
                    </a:lnTo>
                    <a:lnTo>
                      <a:pt x="78" y="36"/>
                    </a:lnTo>
                    <a:lnTo>
                      <a:pt x="78" y="46"/>
                    </a:lnTo>
                    <a:lnTo>
                      <a:pt x="76" y="56"/>
                    </a:lnTo>
                    <a:lnTo>
                      <a:pt x="74" y="66"/>
                    </a:lnTo>
                    <a:lnTo>
                      <a:pt x="76" y="66"/>
                    </a:lnTo>
                    <a:lnTo>
                      <a:pt x="72" y="68"/>
                    </a:lnTo>
                    <a:lnTo>
                      <a:pt x="74" y="70"/>
                    </a:lnTo>
                    <a:lnTo>
                      <a:pt x="70" y="76"/>
                    </a:lnTo>
                    <a:lnTo>
                      <a:pt x="70" y="70"/>
                    </a:lnTo>
                    <a:lnTo>
                      <a:pt x="70" y="70"/>
                    </a:lnTo>
                    <a:lnTo>
                      <a:pt x="58" y="62"/>
                    </a:lnTo>
                    <a:lnTo>
                      <a:pt x="56" y="56"/>
                    </a:lnTo>
                    <a:lnTo>
                      <a:pt x="52" y="5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5" name="Freeform 1493">
                <a:extLst>
                  <a:ext uri="{FF2B5EF4-FFF2-40B4-BE49-F238E27FC236}">
                    <a16:creationId xmlns:a16="http://schemas.microsoft.com/office/drawing/2014/main" id="{D69597FA-F508-4D8E-AEB4-0119E1C834C9}"/>
                  </a:ext>
                </a:extLst>
              </p:cNvPr>
              <p:cNvSpPr>
                <a:spLocks/>
              </p:cNvSpPr>
              <p:nvPr/>
            </p:nvSpPr>
            <p:spPr bwMode="auto">
              <a:xfrm>
                <a:off x="2108" y="2278"/>
                <a:ext cx="22" cy="44"/>
              </a:xfrm>
              <a:custGeom>
                <a:avLst/>
                <a:gdLst/>
                <a:ahLst/>
                <a:cxnLst>
                  <a:cxn ang="0">
                    <a:pos x="22" y="38"/>
                  </a:cxn>
                  <a:cxn ang="0">
                    <a:pos x="22" y="38"/>
                  </a:cxn>
                  <a:cxn ang="0">
                    <a:pos x="20" y="32"/>
                  </a:cxn>
                  <a:cxn ang="0">
                    <a:pos x="18" y="20"/>
                  </a:cxn>
                  <a:cxn ang="0">
                    <a:pos x="18" y="0"/>
                  </a:cxn>
                  <a:cxn ang="0">
                    <a:pos x="16" y="0"/>
                  </a:cxn>
                  <a:cxn ang="0">
                    <a:pos x="12" y="4"/>
                  </a:cxn>
                  <a:cxn ang="0">
                    <a:pos x="12" y="4"/>
                  </a:cxn>
                  <a:cxn ang="0">
                    <a:pos x="14" y="8"/>
                  </a:cxn>
                  <a:cxn ang="0">
                    <a:pos x="12" y="14"/>
                  </a:cxn>
                  <a:cxn ang="0">
                    <a:pos x="8" y="16"/>
                  </a:cxn>
                  <a:cxn ang="0">
                    <a:pos x="0" y="42"/>
                  </a:cxn>
                  <a:cxn ang="0">
                    <a:pos x="2" y="44"/>
                  </a:cxn>
                  <a:cxn ang="0">
                    <a:pos x="2" y="44"/>
                  </a:cxn>
                  <a:cxn ang="0">
                    <a:pos x="12" y="44"/>
                  </a:cxn>
                  <a:cxn ang="0">
                    <a:pos x="18" y="44"/>
                  </a:cxn>
                  <a:cxn ang="0">
                    <a:pos x="22" y="42"/>
                  </a:cxn>
                  <a:cxn ang="0">
                    <a:pos x="22" y="38"/>
                  </a:cxn>
                </a:cxnLst>
                <a:rect l="0" t="0" r="r" b="b"/>
                <a:pathLst>
                  <a:path w="22" h="44">
                    <a:moveTo>
                      <a:pt x="22" y="38"/>
                    </a:moveTo>
                    <a:lnTo>
                      <a:pt x="22" y="38"/>
                    </a:lnTo>
                    <a:lnTo>
                      <a:pt x="20" y="32"/>
                    </a:lnTo>
                    <a:lnTo>
                      <a:pt x="18" y="20"/>
                    </a:lnTo>
                    <a:lnTo>
                      <a:pt x="18" y="0"/>
                    </a:lnTo>
                    <a:lnTo>
                      <a:pt x="16" y="0"/>
                    </a:lnTo>
                    <a:lnTo>
                      <a:pt x="12" y="4"/>
                    </a:lnTo>
                    <a:lnTo>
                      <a:pt x="12" y="4"/>
                    </a:lnTo>
                    <a:lnTo>
                      <a:pt x="14" y="8"/>
                    </a:lnTo>
                    <a:lnTo>
                      <a:pt x="12" y="14"/>
                    </a:lnTo>
                    <a:lnTo>
                      <a:pt x="8" y="16"/>
                    </a:lnTo>
                    <a:lnTo>
                      <a:pt x="0" y="42"/>
                    </a:lnTo>
                    <a:lnTo>
                      <a:pt x="2" y="44"/>
                    </a:lnTo>
                    <a:lnTo>
                      <a:pt x="2" y="44"/>
                    </a:lnTo>
                    <a:lnTo>
                      <a:pt x="12" y="44"/>
                    </a:lnTo>
                    <a:lnTo>
                      <a:pt x="18" y="44"/>
                    </a:lnTo>
                    <a:lnTo>
                      <a:pt x="22" y="42"/>
                    </a:lnTo>
                    <a:lnTo>
                      <a:pt x="22" y="3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6" name="Freeform 1494">
                <a:extLst>
                  <a:ext uri="{FF2B5EF4-FFF2-40B4-BE49-F238E27FC236}">
                    <a16:creationId xmlns:a16="http://schemas.microsoft.com/office/drawing/2014/main" id="{9B8C80B3-48EE-47C5-9203-4C9DBF0A8C0F}"/>
                  </a:ext>
                </a:extLst>
              </p:cNvPr>
              <p:cNvSpPr>
                <a:spLocks/>
              </p:cNvSpPr>
              <p:nvPr/>
            </p:nvSpPr>
            <p:spPr bwMode="auto">
              <a:xfrm>
                <a:off x="2126" y="2238"/>
                <a:ext cx="50" cy="78"/>
              </a:xfrm>
              <a:custGeom>
                <a:avLst/>
                <a:gdLst/>
                <a:ahLst/>
                <a:cxnLst>
                  <a:cxn ang="0">
                    <a:pos x="0" y="40"/>
                  </a:cxn>
                  <a:cxn ang="0">
                    <a:pos x="6" y="38"/>
                  </a:cxn>
                  <a:cxn ang="0">
                    <a:pos x="6" y="36"/>
                  </a:cxn>
                  <a:cxn ang="0">
                    <a:pos x="8" y="32"/>
                  </a:cxn>
                  <a:cxn ang="0">
                    <a:pos x="8" y="32"/>
                  </a:cxn>
                  <a:cxn ang="0">
                    <a:pos x="10" y="26"/>
                  </a:cxn>
                  <a:cxn ang="0">
                    <a:pos x="12" y="16"/>
                  </a:cxn>
                  <a:cxn ang="0">
                    <a:pos x="20" y="0"/>
                  </a:cxn>
                  <a:cxn ang="0">
                    <a:pos x="22" y="0"/>
                  </a:cxn>
                  <a:cxn ang="0">
                    <a:pos x="22" y="0"/>
                  </a:cxn>
                  <a:cxn ang="0">
                    <a:pos x="24" y="4"/>
                  </a:cxn>
                  <a:cxn ang="0">
                    <a:pos x="28" y="4"/>
                  </a:cxn>
                  <a:cxn ang="0">
                    <a:pos x="34" y="2"/>
                  </a:cxn>
                  <a:cxn ang="0">
                    <a:pos x="40" y="8"/>
                  </a:cxn>
                  <a:cxn ang="0">
                    <a:pos x="40" y="32"/>
                  </a:cxn>
                  <a:cxn ang="0">
                    <a:pos x="44" y="34"/>
                  </a:cxn>
                  <a:cxn ang="0">
                    <a:pos x="44" y="38"/>
                  </a:cxn>
                  <a:cxn ang="0">
                    <a:pos x="46" y="42"/>
                  </a:cxn>
                  <a:cxn ang="0">
                    <a:pos x="48" y="42"/>
                  </a:cxn>
                  <a:cxn ang="0">
                    <a:pos x="50" y="40"/>
                  </a:cxn>
                  <a:cxn ang="0">
                    <a:pos x="50" y="44"/>
                  </a:cxn>
                  <a:cxn ang="0">
                    <a:pos x="48" y="46"/>
                  </a:cxn>
                  <a:cxn ang="0">
                    <a:pos x="50" y="46"/>
                  </a:cxn>
                  <a:cxn ang="0">
                    <a:pos x="50" y="50"/>
                  </a:cxn>
                  <a:cxn ang="0">
                    <a:pos x="50" y="50"/>
                  </a:cxn>
                  <a:cxn ang="0">
                    <a:pos x="42" y="52"/>
                  </a:cxn>
                  <a:cxn ang="0">
                    <a:pos x="34" y="58"/>
                  </a:cxn>
                  <a:cxn ang="0">
                    <a:pos x="30" y="56"/>
                  </a:cxn>
                  <a:cxn ang="0">
                    <a:pos x="30" y="54"/>
                  </a:cxn>
                  <a:cxn ang="0">
                    <a:pos x="28" y="54"/>
                  </a:cxn>
                  <a:cxn ang="0">
                    <a:pos x="24" y="62"/>
                  </a:cxn>
                  <a:cxn ang="0">
                    <a:pos x="22" y="62"/>
                  </a:cxn>
                  <a:cxn ang="0">
                    <a:pos x="18" y="68"/>
                  </a:cxn>
                  <a:cxn ang="0">
                    <a:pos x="16" y="66"/>
                  </a:cxn>
                  <a:cxn ang="0">
                    <a:pos x="14" y="66"/>
                  </a:cxn>
                  <a:cxn ang="0">
                    <a:pos x="14" y="66"/>
                  </a:cxn>
                  <a:cxn ang="0">
                    <a:pos x="10" y="72"/>
                  </a:cxn>
                  <a:cxn ang="0">
                    <a:pos x="4" y="78"/>
                  </a:cxn>
                  <a:cxn ang="0">
                    <a:pos x="4" y="78"/>
                  </a:cxn>
                  <a:cxn ang="0">
                    <a:pos x="2" y="72"/>
                  </a:cxn>
                  <a:cxn ang="0">
                    <a:pos x="0" y="60"/>
                  </a:cxn>
                  <a:cxn ang="0">
                    <a:pos x="0" y="40"/>
                  </a:cxn>
                  <a:cxn ang="0">
                    <a:pos x="0" y="40"/>
                  </a:cxn>
                </a:cxnLst>
                <a:rect l="0" t="0" r="r" b="b"/>
                <a:pathLst>
                  <a:path w="50" h="78">
                    <a:moveTo>
                      <a:pt x="0" y="40"/>
                    </a:moveTo>
                    <a:lnTo>
                      <a:pt x="6" y="38"/>
                    </a:lnTo>
                    <a:lnTo>
                      <a:pt x="6" y="36"/>
                    </a:lnTo>
                    <a:lnTo>
                      <a:pt x="8" y="32"/>
                    </a:lnTo>
                    <a:lnTo>
                      <a:pt x="8" y="32"/>
                    </a:lnTo>
                    <a:lnTo>
                      <a:pt x="10" y="26"/>
                    </a:lnTo>
                    <a:lnTo>
                      <a:pt x="12" y="16"/>
                    </a:lnTo>
                    <a:lnTo>
                      <a:pt x="20" y="0"/>
                    </a:lnTo>
                    <a:lnTo>
                      <a:pt x="22" y="0"/>
                    </a:lnTo>
                    <a:lnTo>
                      <a:pt x="22" y="0"/>
                    </a:lnTo>
                    <a:lnTo>
                      <a:pt x="24" y="4"/>
                    </a:lnTo>
                    <a:lnTo>
                      <a:pt x="28" y="4"/>
                    </a:lnTo>
                    <a:lnTo>
                      <a:pt x="34" y="2"/>
                    </a:lnTo>
                    <a:lnTo>
                      <a:pt x="40" y="8"/>
                    </a:lnTo>
                    <a:lnTo>
                      <a:pt x="40" y="32"/>
                    </a:lnTo>
                    <a:lnTo>
                      <a:pt x="44" y="34"/>
                    </a:lnTo>
                    <a:lnTo>
                      <a:pt x="44" y="38"/>
                    </a:lnTo>
                    <a:lnTo>
                      <a:pt x="46" y="42"/>
                    </a:lnTo>
                    <a:lnTo>
                      <a:pt x="48" y="42"/>
                    </a:lnTo>
                    <a:lnTo>
                      <a:pt x="50" y="40"/>
                    </a:lnTo>
                    <a:lnTo>
                      <a:pt x="50" y="44"/>
                    </a:lnTo>
                    <a:lnTo>
                      <a:pt x="48" y="46"/>
                    </a:lnTo>
                    <a:lnTo>
                      <a:pt x="50" y="46"/>
                    </a:lnTo>
                    <a:lnTo>
                      <a:pt x="50" y="50"/>
                    </a:lnTo>
                    <a:lnTo>
                      <a:pt x="50" y="50"/>
                    </a:lnTo>
                    <a:lnTo>
                      <a:pt x="42" y="52"/>
                    </a:lnTo>
                    <a:lnTo>
                      <a:pt x="34" y="58"/>
                    </a:lnTo>
                    <a:lnTo>
                      <a:pt x="30" y="56"/>
                    </a:lnTo>
                    <a:lnTo>
                      <a:pt x="30" y="54"/>
                    </a:lnTo>
                    <a:lnTo>
                      <a:pt x="28" y="54"/>
                    </a:lnTo>
                    <a:lnTo>
                      <a:pt x="24" y="62"/>
                    </a:lnTo>
                    <a:lnTo>
                      <a:pt x="22" y="62"/>
                    </a:lnTo>
                    <a:lnTo>
                      <a:pt x="18" y="68"/>
                    </a:lnTo>
                    <a:lnTo>
                      <a:pt x="16" y="66"/>
                    </a:lnTo>
                    <a:lnTo>
                      <a:pt x="14" y="66"/>
                    </a:lnTo>
                    <a:lnTo>
                      <a:pt x="14" y="66"/>
                    </a:lnTo>
                    <a:lnTo>
                      <a:pt x="10" y="72"/>
                    </a:lnTo>
                    <a:lnTo>
                      <a:pt x="4" y="78"/>
                    </a:lnTo>
                    <a:lnTo>
                      <a:pt x="4" y="78"/>
                    </a:lnTo>
                    <a:lnTo>
                      <a:pt x="2" y="72"/>
                    </a:lnTo>
                    <a:lnTo>
                      <a:pt x="0" y="60"/>
                    </a:lnTo>
                    <a:lnTo>
                      <a:pt x="0" y="40"/>
                    </a:lnTo>
                    <a:lnTo>
                      <a:pt x="0" y="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7" name="Freeform 1495">
                <a:extLst>
                  <a:ext uri="{FF2B5EF4-FFF2-40B4-BE49-F238E27FC236}">
                    <a16:creationId xmlns:a16="http://schemas.microsoft.com/office/drawing/2014/main" id="{97F563C7-2FF6-4AE1-AC24-7B15FA14D85E}"/>
                  </a:ext>
                </a:extLst>
              </p:cNvPr>
              <p:cNvSpPr>
                <a:spLocks/>
              </p:cNvSpPr>
              <p:nvPr/>
            </p:nvSpPr>
            <p:spPr bwMode="auto">
              <a:xfrm>
                <a:off x="2098" y="2282"/>
                <a:ext cx="24" cy="40"/>
              </a:xfrm>
              <a:custGeom>
                <a:avLst/>
                <a:gdLst/>
                <a:ahLst/>
                <a:cxnLst>
                  <a:cxn ang="0">
                    <a:pos x="12" y="40"/>
                  </a:cxn>
                  <a:cxn ang="0">
                    <a:pos x="10" y="38"/>
                  </a:cxn>
                  <a:cxn ang="0">
                    <a:pos x="18" y="12"/>
                  </a:cxn>
                  <a:cxn ang="0">
                    <a:pos x="22" y="10"/>
                  </a:cxn>
                  <a:cxn ang="0">
                    <a:pos x="22" y="10"/>
                  </a:cxn>
                  <a:cxn ang="0">
                    <a:pos x="24" y="4"/>
                  </a:cxn>
                  <a:cxn ang="0">
                    <a:pos x="22" y="0"/>
                  </a:cxn>
                  <a:cxn ang="0">
                    <a:pos x="2" y="0"/>
                  </a:cxn>
                  <a:cxn ang="0">
                    <a:pos x="2" y="0"/>
                  </a:cxn>
                  <a:cxn ang="0">
                    <a:pos x="0" y="6"/>
                  </a:cxn>
                  <a:cxn ang="0">
                    <a:pos x="2" y="10"/>
                  </a:cxn>
                  <a:cxn ang="0">
                    <a:pos x="2" y="10"/>
                  </a:cxn>
                  <a:cxn ang="0">
                    <a:pos x="0" y="16"/>
                  </a:cxn>
                  <a:cxn ang="0">
                    <a:pos x="0" y="22"/>
                  </a:cxn>
                  <a:cxn ang="0">
                    <a:pos x="0" y="24"/>
                  </a:cxn>
                  <a:cxn ang="0">
                    <a:pos x="2" y="26"/>
                  </a:cxn>
                  <a:cxn ang="0">
                    <a:pos x="2" y="40"/>
                  </a:cxn>
                  <a:cxn ang="0">
                    <a:pos x="12" y="40"/>
                  </a:cxn>
                </a:cxnLst>
                <a:rect l="0" t="0" r="r" b="b"/>
                <a:pathLst>
                  <a:path w="24" h="40">
                    <a:moveTo>
                      <a:pt x="12" y="40"/>
                    </a:moveTo>
                    <a:lnTo>
                      <a:pt x="10" y="38"/>
                    </a:lnTo>
                    <a:lnTo>
                      <a:pt x="18" y="12"/>
                    </a:lnTo>
                    <a:lnTo>
                      <a:pt x="22" y="10"/>
                    </a:lnTo>
                    <a:lnTo>
                      <a:pt x="22" y="10"/>
                    </a:lnTo>
                    <a:lnTo>
                      <a:pt x="24" y="4"/>
                    </a:lnTo>
                    <a:lnTo>
                      <a:pt x="22" y="0"/>
                    </a:lnTo>
                    <a:lnTo>
                      <a:pt x="2" y="0"/>
                    </a:lnTo>
                    <a:lnTo>
                      <a:pt x="2" y="0"/>
                    </a:lnTo>
                    <a:lnTo>
                      <a:pt x="0" y="6"/>
                    </a:lnTo>
                    <a:lnTo>
                      <a:pt x="2" y="10"/>
                    </a:lnTo>
                    <a:lnTo>
                      <a:pt x="2" y="10"/>
                    </a:lnTo>
                    <a:lnTo>
                      <a:pt x="0" y="16"/>
                    </a:lnTo>
                    <a:lnTo>
                      <a:pt x="0" y="22"/>
                    </a:lnTo>
                    <a:lnTo>
                      <a:pt x="0" y="24"/>
                    </a:lnTo>
                    <a:lnTo>
                      <a:pt x="2" y="26"/>
                    </a:lnTo>
                    <a:lnTo>
                      <a:pt x="2" y="40"/>
                    </a:lnTo>
                    <a:lnTo>
                      <a:pt x="12" y="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8" name="Freeform 1496">
                <a:extLst>
                  <a:ext uri="{FF2B5EF4-FFF2-40B4-BE49-F238E27FC236}">
                    <a16:creationId xmlns:a16="http://schemas.microsoft.com/office/drawing/2014/main" id="{7EBDFA71-65C3-4FED-BCBF-3511286EDB0A}"/>
                  </a:ext>
                </a:extLst>
              </p:cNvPr>
              <p:cNvSpPr>
                <a:spLocks/>
              </p:cNvSpPr>
              <p:nvPr/>
            </p:nvSpPr>
            <p:spPr bwMode="auto">
              <a:xfrm>
                <a:off x="2072" y="2346"/>
                <a:ext cx="20" cy="40"/>
              </a:xfrm>
              <a:custGeom>
                <a:avLst/>
                <a:gdLst/>
                <a:ahLst/>
                <a:cxnLst>
                  <a:cxn ang="0">
                    <a:pos x="10" y="40"/>
                  </a:cxn>
                  <a:cxn ang="0">
                    <a:pos x="10" y="40"/>
                  </a:cxn>
                  <a:cxn ang="0">
                    <a:pos x="16" y="30"/>
                  </a:cxn>
                  <a:cxn ang="0">
                    <a:pos x="20" y="20"/>
                  </a:cxn>
                  <a:cxn ang="0">
                    <a:pos x="18" y="14"/>
                  </a:cxn>
                  <a:cxn ang="0">
                    <a:pos x="18" y="14"/>
                  </a:cxn>
                  <a:cxn ang="0">
                    <a:pos x="20" y="6"/>
                  </a:cxn>
                  <a:cxn ang="0">
                    <a:pos x="12" y="0"/>
                  </a:cxn>
                  <a:cxn ang="0">
                    <a:pos x="12" y="0"/>
                  </a:cxn>
                  <a:cxn ang="0">
                    <a:pos x="6" y="6"/>
                  </a:cxn>
                  <a:cxn ang="0">
                    <a:pos x="6" y="8"/>
                  </a:cxn>
                  <a:cxn ang="0">
                    <a:pos x="6" y="10"/>
                  </a:cxn>
                  <a:cxn ang="0">
                    <a:pos x="6" y="14"/>
                  </a:cxn>
                  <a:cxn ang="0">
                    <a:pos x="10" y="20"/>
                  </a:cxn>
                  <a:cxn ang="0">
                    <a:pos x="10" y="20"/>
                  </a:cxn>
                  <a:cxn ang="0">
                    <a:pos x="6" y="24"/>
                  </a:cxn>
                  <a:cxn ang="0">
                    <a:pos x="0" y="30"/>
                  </a:cxn>
                  <a:cxn ang="0">
                    <a:pos x="0" y="30"/>
                  </a:cxn>
                  <a:cxn ang="0">
                    <a:pos x="4" y="36"/>
                  </a:cxn>
                  <a:cxn ang="0">
                    <a:pos x="10" y="40"/>
                  </a:cxn>
                  <a:cxn ang="0">
                    <a:pos x="10" y="40"/>
                  </a:cxn>
                </a:cxnLst>
                <a:rect l="0" t="0" r="r" b="b"/>
                <a:pathLst>
                  <a:path w="20" h="40">
                    <a:moveTo>
                      <a:pt x="10" y="40"/>
                    </a:moveTo>
                    <a:lnTo>
                      <a:pt x="10" y="40"/>
                    </a:lnTo>
                    <a:lnTo>
                      <a:pt x="16" y="30"/>
                    </a:lnTo>
                    <a:lnTo>
                      <a:pt x="20" y="20"/>
                    </a:lnTo>
                    <a:lnTo>
                      <a:pt x="18" y="14"/>
                    </a:lnTo>
                    <a:lnTo>
                      <a:pt x="18" y="14"/>
                    </a:lnTo>
                    <a:lnTo>
                      <a:pt x="20" y="6"/>
                    </a:lnTo>
                    <a:lnTo>
                      <a:pt x="12" y="0"/>
                    </a:lnTo>
                    <a:lnTo>
                      <a:pt x="12" y="0"/>
                    </a:lnTo>
                    <a:lnTo>
                      <a:pt x="6" y="6"/>
                    </a:lnTo>
                    <a:lnTo>
                      <a:pt x="6" y="8"/>
                    </a:lnTo>
                    <a:lnTo>
                      <a:pt x="6" y="10"/>
                    </a:lnTo>
                    <a:lnTo>
                      <a:pt x="6" y="14"/>
                    </a:lnTo>
                    <a:lnTo>
                      <a:pt x="10" y="20"/>
                    </a:lnTo>
                    <a:lnTo>
                      <a:pt x="10" y="20"/>
                    </a:lnTo>
                    <a:lnTo>
                      <a:pt x="6" y="24"/>
                    </a:lnTo>
                    <a:lnTo>
                      <a:pt x="0" y="30"/>
                    </a:lnTo>
                    <a:lnTo>
                      <a:pt x="0" y="30"/>
                    </a:lnTo>
                    <a:lnTo>
                      <a:pt x="4" y="36"/>
                    </a:lnTo>
                    <a:lnTo>
                      <a:pt x="10" y="40"/>
                    </a:lnTo>
                    <a:lnTo>
                      <a:pt x="10" y="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89" name="Freeform 1497">
                <a:extLst>
                  <a:ext uri="{FF2B5EF4-FFF2-40B4-BE49-F238E27FC236}">
                    <a16:creationId xmlns:a16="http://schemas.microsoft.com/office/drawing/2014/main" id="{1796AC87-69D6-41CB-AA64-F54BD54B7BC6}"/>
                  </a:ext>
                </a:extLst>
              </p:cNvPr>
              <p:cNvSpPr>
                <a:spLocks/>
              </p:cNvSpPr>
              <p:nvPr/>
            </p:nvSpPr>
            <p:spPr bwMode="auto">
              <a:xfrm>
                <a:off x="2098" y="2320"/>
                <a:ext cx="44" cy="24"/>
              </a:xfrm>
              <a:custGeom>
                <a:avLst/>
                <a:gdLst/>
                <a:ahLst/>
                <a:cxnLst>
                  <a:cxn ang="0">
                    <a:pos x="0" y="14"/>
                  </a:cxn>
                  <a:cxn ang="0">
                    <a:pos x="2" y="2"/>
                  </a:cxn>
                  <a:cxn ang="0">
                    <a:pos x="2" y="2"/>
                  </a:cxn>
                  <a:cxn ang="0">
                    <a:pos x="18" y="2"/>
                  </a:cxn>
                  <a:cxn ang="0">
                    <a:pos x="26" y="2"/>
                  </a:cxn>
                  <a:cxn ang="0">
                    <a:pos x="32" y="0"/>
                  </a:cxn>
                  <a:cxn ang="0">
                    <a:pos x="34" y="4"/>
                  </a:cxn>
                  <a:cxn ang="0">
                    <a:pos x="30" y="10"/>
                  </a:cxn>
                  <a:cxn ang="0">
                    <a:pos x="34" y="12"/>
                  </a:cxn>
                  <a:cxn ang="0">
                    <a:pos x="36" y="18"/>
                  </a:cxn>
                  <a:cxn ang="0">
                    <a:pos x="42" y="20"/>
                  </a:cxn>
                  <a:cxn ang="0">
                    <a:pos x="42" y="16"/>
                  </a:cxn>
                  <a:cxn ang="0">
                    <a:pos x="42" y="16"/>
                  </a:cxn>
                  <a:cxn ang="0">
                    <a:pos x="44" y="20"/>
                  </a:cxn>
                  <a:cxn ang="0">
                    <a:pos x="40" y="24"/>
                  </a:cxn>
                  <a:cxn ang="0">
                    <a:pos x="36" y="22"/>
                  </a:cxn>
                  <a:cxn ang="0">
                    <a:pos x="34" y="20"/>
                  </a:cxn>
                  <a:cxn ang="0">
                    <a:pos x="30" y="24"/>
                  </a:cxn>
                  <a:cxn ang="0">
                    <a:pos x="30" y="24"/>
                  </a:cxn>
                  <a:cxn ang="0">
                    <a:pos x="26" y="18"/>
                  </a:cxn>
                  <a:cxn ang="0">
                    <a:pos x="24" y="14"/>
                  </a:cxn>
                  <a:cxn ang="0">
                    <a:pos x="0" y="14"/>
                  </a:cxn>
                </a:cxnLst>
                <a:rect l="0" t="0" r="r" b="b"/>
                <a:pathLst>
                  <a:path w="44" h="24">
                    <a:moveTo>
                      <a:pt x="0" y="14"/>
                    </a:moveTo>
                    <a:lnTo>
                      <a:pt x="2" y="2"/>
                    </a:lnTo>
                    <a:lnTo>
                      <a:pt x="2" y="2"/>
                    </a:lnTo>
                    <a:lnTo>
                      <a:pt x="18" y="2"/>
                    </a:lnTo>
                    <a:lnTo>
                      <a:pt x="26" y="2"/>
                    </a:lnTo>
                    <a:lnTo>
                      <a:pt x="32" y="0"/>
                    </a:lnTo>
                    <a:lnTo>
                      <a:pt x="34" y="4"/>
                    </a:lnTo>
                    <a:lnTo>
                      <a:pt x="30" y="10"/>
                    </a:lnTo>
                    <a:lnTo>
                      <a:pt x="34" y="12"/>
                    </a:lnTo>
                    <a:lnTo>
                      <a:pt x="36" y="18"/>
                    </a:lnTo>
                    <a:lnTo>
                      <a:pt x="42" y="20"/>
                    </a:lnTo>
                    <a:lnTo>
                      <a:pt x="42" y="16"/>
                    </a:lnTo>
                    <a:lnTo>
                      <a:pt x="42" y="16"/>
                    </a:lnTo>
                    <a:lnTo>
                      <a:pt x="44" y="20"/>
                    </a:lnTo>
                    <a:lnTo>
                      <a:pt x="40" y="24"/>
                    </a:lnTo>
                    <a:lnTo>
                      <a:pt x="36" y="22"/>
                    </a:lnTo>
                    <a:lnTo>
                      <a:pt x="34" y="20"/>
                    </a:lnTo>
                    <a:lnTo>
                      <a:pt x="30" y="24"/>
                    </a:lnTo>
                    <a:lnTo>
                      <a:pt x="30" y="24"/>
                    </a:lnTo>
                    <a:lnTo>
                      <a:pt x="26" y="18"/>
                    </a:lnTo>
                    <a:lnTo>
                      <a:pt x="24" y="14"/>
                    </a:lnTo>
                    <a:lnTo>
                      <a:pt x="0"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0" name="Freeform 1498">
                <a:extLst>
                  <a:ext uri="{FF2B5EF4-FFF2-40B4-BE49-F238E27FC236}">
                    <a16:creationId xmlns:a16="http://schemas.microsoft.com/office/drawing/2014/main" id="{C9745B1A-AB77-4D38-A148-34ADE3C4FA7B}"/>
                  </a:ext>
                </a:extLst>
              </p:cNvPr>
              <p:cNvSpPr>
                <a:spLocks/>
              </p:cNvSpPr>
              <p:nvPr/>
            </p:nvSpPr>
            <p:spPr bwMode="auto">
              <a:xfrm>
                <a:off x="2118" y="2334"/>
                <a:ext cx="8" cy="12"/>
              </a:xfrm>
              <a:custGeom>
                <a:avLst/>
                <a:gdLst/>
                <a:ahLst/>
                <a:cxnLst>
                  <a:cxn ang="0">
                    <a:pos x="0" y="12"/>
                  </a:cxn>
                  <a:cxn ang="0">
                    <a:pos x="6" y="10"/>
                  </a:cxn>
                  <a:cxn ang="0">
                    <a:pos x="8" y="6"/>
                  </a:cxn>
                  <a:cxn ang="0">
                    <a:pos x="6" y="4"/>
                  </a:cxn>
                  <a:cxn ang="0">
                    <a:pos x="4" y="0"/>
                  </a:cxn>
                  <a:cxn ang="0">
                    <a:pos x="0" y="0"/>
                  </a:cxn>
                  <a:cxn ang="0">
                    <a:pos x="0" y="12"/>
                  </a:cxn>
                </a:cxnLst>
                <a:rect l="0" t="0" r="r" b="b"/>
                <a:pathLst>
                  <a:path w="8" h="12">
                    <a:moveTo>
                      <a:pt x="0" y="12"/>
                    </a:moveTo>
                    <a:lnTo>
                      <a:pt x="6" y="10"/>
                    </a:lnTo>
                    <a:lnTo>
                      <a:pt x="8" y="6"/>
                    </a:lnTo>
                    <a:lnTo>
                      <a:pt x="6" y="4"/>
                    </a:lnTo>
                    <a:lnTo>
                      <a:pt x="4" y="0"/>
                    </a:lnTo>
                    <a:lnTo>
                      <a:pt x="0" y="0"/>
                    </a:lnTo>
                    <a:lnTo>
                      <a:pt x="0"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1" name="Freeform 1499">
                <a:extLst>
                  <a:ext uri="{FF2B5EF4-FFF2-40B4-BE49-F238E27FC236}">
                    <a16:creationId xmlns:a16="http://schemas.microsoft.com/office/drawing/2014/main" id="{32997C0C-85AD-437E-9CE2-68FA8C55AD1E}"/>
                  </a:ext>
                </a:extLst>
              </p:cNvPr>
              <p:cNvSpPr>
                <a:spLocks/>
              </p:cNvSpPr>
              <p:nvPr/>
            </p:nvSpPr>
            <p:spPr bwMode="auto">
              <a:xfrm>
                <a:off x="2094" y="2334"/>
                <a:ext cx="24" cy="18"/>
              </a:xfrm>
              <a:custGeom>
                <a:avLst/>
                <a:gdLst/>
                <a:ahLst/>
                <a:cxnLst>
                  <a:cxn ang="0">
                    <a:pos x="2" y="18"/>
                  </a:cxn>
                  <a:cxn ang="0">
                    <a:pos x="2" y="18"/>
                  </a:cxn>
                  <a:cxn ang="0">
                    <a:pos x="8" y="16"/>
                  </a:cxn>
                  <a:cxn ang="0">
                    <a:pos x="12" y="14"/>
                  </a:cxn>
                  <a:cxn ang="0">
                    <a:pos x="12" y="14"/>
                  </a:cxn>
                  <a:cxn ang="0">
                    <a:pos x="24" y="12"/>
                  </a:cxn>
                  <a:cxn ang="0">
                    <a:pos x="24" y="0"/>
                  </a:cxn>
                  <a:cxn ang="0">
                    <a:pos x="4" y="0"/>
                  </a:cxn>
                  <a:cxn ang="0">
                    <a:pos x="2" y="14"/>
                  </a:cxn>
                  <a:cxn ang="0">
                    <a:pos x="4" y="14"/>
                  </a:cxn>
                  <a:cxn ang="0">
                    <a:pos x="0" y="16"/>
                  </a:cxn>
                  <a:cxn ang="0">
                    <a:pos x="2" y="18"/>
                  </a:cxn>
                </a:cxnLst>
                <a:rect l="0" t="0" r="r" b="b"/>
                <a:pathLst>
                  <a:path w="24" h="18">
                    <a:moveTo>
                      <a:pt x="2" y="18"/>
                    </a:moveTo>
                    <a:lnTo>
                      <a:pt x="2" y="18"/>
                    </a:lnTo>
                    <a:lnTo>
                      <a:pt x="8" y="16"/>
                    </a:lnTo>
                    <a:lnTo>
                      <a:pt x="12" y="14"/>
                    </a:lnTo>
                    <a:lnTo>
                      <a:pt x="12" y="14"/>
                    </a:lnTo>
                    <a:lnTo>
                      <a:pt x="24" y="12"/>
                    </a:lnTo>
                    <a:lnTo>
                      <a:pt x="24" y="0"/>
                    </a:lnTo>
                    <a:lnTo>
                      <a:pt x="4" y="0"/>
                    </a:lnTo>
                    <a:lnTo>
                      <a:pt x="2" y="14"/>
                    </a:lnTo>
                    <a:lnTo>
                      <a:pt x="4" y="14"/>
                    </a:lnTo>
                    <a:lnTo>
                      <a:pt x="0" y="16"/>
                    </a:lnTo>
                    <a:lnTo>
                      <a:pt x="2"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2" name="Freeform 1500">
                <a:extLst>
                  <a:ext uri="{FF2B5EF4-FFF2-40B4-BE49-F238E27FC236}">
                    <a16:creationId xmlns:a16="http://schemas.microsoft.com/office/drawing/2014/main" id="{D38FADC4-A6A6-44D5-82EC-647E0B5624EE}"/>
                  </a:ext>
                </a:extLst>
              </p:cNvPr>
              <p:cNvSpPr>
                <a:spLocks/>
              </p:cNvSpPr>
              <p:nvPr/>
            </p:nvSpPr>
            <p:spPr bwMode="auto">
              <a:xfrm>
                <a:off x="2054" y="2386"/>
                <a:ext cx="2" cy="4"/>
              </a:xfrm>
              <a:custGeom>
                <a:avLst/>
                <a:gdLst/>
                <a:ahLst/>
                <a:cxnLst>
                  <a:cxn ang="0">
                    <a:pos x="2" y="4"/>
                  </a:cxn>
                  <a:cxn ang="0">
                    <a:pos x="0" y="0"/>
                  </a:cxn>
                  <a:cxn ang="0">
                    <a:pos x="2" y="0"/>
                  </a:cxn>
                  <a:cxn ang="0">
                    <a:pos x="2" y="2"/>
                  </a:cxn>
                  <a:cxn ang="0">
                    <a:pos x="2" y="4"/>
                  </a:cxn>
                </a:cxnLst>
                <a:rect l="0" t="0" r="r" b="b"/>
                <a:pathLst>
                  <a:path w="2" h="4">
                    <a:moveTo>
                      <a:pt x="2" y="4"/>
                    </a:moveTo>
                    <a:lnTo>
                      <a:pt x="0" y="0"/>
                    </a:lnTo>
                    <a:lnTo>
                      <a:pt x="2" y="0"/>
                    </a:lnTo>
                    <a:lnTo>
                      <a:pt x="2" y="2"/>
                    </a:lnTo>
                    <a:lnTo>
                      <a:pt x="2"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3" name="Freeform 1501">
                <a:extLst>
                  <a:ext uri="{FF2B5EF4-FFF2-40B4-BE49-F238E27FC236}">
                    <a16:creationId xmlns:a16="http://schemas.microsoft.com/office/drawing/2014/main" id="{90E19094-6751-49F4-B3EF-D30F38FC947F}"/>
                  </a:ext>
                </a:extLst>
              </p:cNvPr>
              <p:cNvSpPr>
                <a:spLocks/>
              </p:cNvSpPr>
              <p:nvPr/>
            </p:nvSpPr>
            <p:spPr bwMode="auto">
              <a:xfrm>
                <a:off x="1988" y="2358"/>
                <a:ext cx="58" cy="56"/>
              </a:xfrm>
              <a:custGeom>
                <a:avLst/>
                <a:gdLst/>
                <a:ahLst/>
                <a:cxnLst>
                  <a:cxn ang="0">
                    <a:pos x="0" y="38"/>
                  </a:cxn>
                  <a:cxn ang="0">
                    <a:pos x="4" y="36"/>
                  </a:cxn>
                  <a:cxn ang="0">
                    <a:pos x="8" y="28"/>
                  </a:cxn>
                  <a:cxn ang="0">
                    <a:pos x="8" y="28"/>
                  </a:cxn>
                  <a:cxn ang="0">
                    <a:pos x="8" y="30"/>
                  </a:cxn>
                  <a:cxn ang="0">
                    <a:pos x="10" y="28"/>
                  </a:cxn>
                  <a:cxn ang="0">
                    <a:pos x="10" y="26"/>
                  </a:cxn>
                  <a:cxn ang="0">
                    <a:pos x="14" y="20"/>
                  </a:cxn>
                  <a:cxn ang="0">
                    <a:pos x="16" y="22"/>
                  </a:cxn>
                  <a:cxn ang="0">
                    <a:pos x="20" y="18"/>
                  </a:cxn>
                  <a:cxn ang="0">
                    <a:pos x="20" y="18"/>
                  </a:cxn>
                  <a:cxn ang="0">
                    <a:pos x="24" y="10"/>
                  </a:cxn>
                  <a:cxn ang="0">
                    <a:pos x="24" y="4"/>
                  </a:cxn>
                  <a:cxn ang="0">
                    <a:pos x="24" y="2"/>
                  </a:cxn>
                  <a:cxn ang="0">
                    <a:pos x="26" y="0"/>
                  </a:cxn>
                  <a:cxn ang="0">
                    <a:pos x="26" y="16"/>
                  </a:cxn>
                  <a:cxn ang="0">
                    <a:pos x="38" y="16"/>
                  </a:cxn>
                  <a:cxn ang="0">
                    <a:pos x="38" y="24"/>
                  </a:cxn>
                  <a:cxn ang="0">
                    <a:pos x="38" y="24"/>
                  </a:cxn>
                  <a:cxn ang="0">
                    <a:pos x="42" y="22"/>
                  </a:cxn>
                  <a:cxn ang="0">
                    <a:pos x="46" y="18"/>
                  </a:cxn>
                  <a:cxn ang="0">
                    <a:pos x="48" y="20"/>
                  </a:cxn>
                  <a:cxn ang="0">
                    <a:pos x="54" y="16"/>
                  </a:cxn>
                  <a:cxn ang="0">
                    <a:pos x="58" y="18"/>
                  </a:cxn>
                  <a:cxn ang="0">
                    <a:pos x="58" y="22"/>
                  </a:cxn>
                  <a:cxn ang="0">
                    <a:pos x="58" y="26"/>
                  </a:cxn>
                  <a:cxn ang="0">
                    <a:pos x="52" y="20"/>
                  </a:cxn>
                  <a:cxn ang="0">
                    <a:pos x="52" y="20"/>
                  </a:cxn>
                  <a:cxn ang="0">
                    <a:pos x="50" y="24"/>
                  </a:cxn>
                  <a:cxn ang="0">
                    <a:pos x="48" y="30"/>
                  </a:cxn>
                  <a:cxn ang="0">
                    <a:pos x="40" y="38"/>
                  </a:cxn>
                  <a:cxn ang="0">
                    <a:pos x="36" y="34"/>
                  </a:cxn>
                  <a:cxn ang="0">
                    <a:pos x="36" y="34"/>
                  </a:cxn>
                  <a:cxn ang="0">
                    <a:pos x="32" y="42"/>
                  </a:cxn>
                  <a:cxn ang="0">
                    <a:pos x="28" y="50"/>
                  </a:cxn>
                  <a:cxn ang="0">
                    <a:pos x="28" y="52"/>
                  </a:cxn>
                  <a:cxn ang="0">
                    <a:pos x="16" y="56"/>
                  </a:cxn>
                  <a:cxn ang="0">
                    <a:pos x="16" y="54"/>
                  </a:cxn>
                  <a:cxn ang="0">
                    <a:pos x="12" y="56"/>
                  </a:cxn>
                  <a:cxn ang="0">
                    <a:pos x="8" y="54"/>
                  </a:cxn>
                  <a:cxn ang="0">
                    <a:pos x="8" y="52"/>
                  </a:cxn>
                  <a:cxn ang="0">
                    <a:pos x="4" y="50"/>
                  </a:cxn>
                  <a:cxn ang="0">
                    <a:pos x="0" y="42"/>
                  </a:cxn>
                  <a:cxn ang="0">
                    <a:pos x="0" y="38"/>
                  </a:cxn>
                </a:cxnLst>
                <a:rect l="0" t="0" r="r" b="b"/>
                <a:pathLst>
                  <a:path w="58" h="56">
                    <a:moveTo>
                      <a:pt x="0" y="38"/>
                    </a:moveTo>
                    <a:lnTo>
                      <a:pt x="4" y="36"/>
                    </a:lnTo>
                    <a:lnTo>
                      <a:pt x="8" y="28"/>
                    </a:lnTo>
                    <a:lnTo>
                      <a:pt x="8" y="28"/>
                    </a:lnTo>
                    <a:lnTo>
                      <a:pt x="8" y="30"/>
                    </a:lnTo>
                    <a:lnTo>
                      <a:pt x="10" y="28"/>
                    </a:lnTo>
                    <a:lnTo>
                      <a:pt x="10" y="26"/>
                    </a:lnTo>
                    <a:lnTo>
                      <a:pt x="14" y="20"/>
                    </a:lnTo>
                    <a:lnTo>
                      <a:pt x="16" y="22"/>
                    </a:lnTo>
                    <a:lnTo>
                      <a:pt x="20" y="18"/>
                    </a:lnTo>
                    <a:lnTo>
                      <a:pt x="20" y="18"/>
                    </a:lnTo>
                    <a:lnTo>
                      <a:pt x="24" y="10"/>
                    </a:lnTo>
                    <a:lnTo>
                      <a:pt x="24" y="4"/>
                    </a:lnTo>
                    <a:lnTo>
                      <a:pt x="24" y="2"/>
                    </a:lnTo>
                    <a:lnTo>
                      <a:pt x="26" y="0"/>
                    </a:lnTo>
                    <a:lnTo>
                      <a:pt x="26" y="16"/>
                    </a:lnTo>
                    <a:lnTo>
                      <a:pt x="38" y="16"/>
                    </a:lnTo>
                    <a:lnTo>
                      <a:pt x="38" y="24"/>
                    </a:lnTo>
                    <a:lnTo>
                      <a:pt x="38" y="24"/>
                    </a:lnTo>
                    <a:lnTo>
                      <a:pt x="42" y="22"/>
                    </a:lnTo>
                    <a:lnTo>
                      <a:pt x="46" y="18"/>
                    </a:lnTo>
                    <a:lnTo>
                      <a:pt x="48" y="20"/>
                    </a:lnTo>
                    <a:lnTo>
                      <a:pt x="54" y="16"/>
                    </a:lnTo>
                    <a:lnTo>
                      <a:pt x="58" y="18"/>
                    </a:lnTo>
                    <a:lnTo>
                      <a:pt x="58" y="22"/>
                    </a:lnTo>
                    <a:lnTo>
                      <a:pt x="58" y="26"/>
                    </a:lnTo>
                    <a:lnTo>
                      <a:pt x="52" y="20"/>
                    </a:lnTo>
                    <a:lnTo>
                      <a:pt x="52" y="20"/>
                    </a:lnTo>
                    <a:lnTo>
                      <a:pt x="50" y="24"/>
                    </a:lnTo>
                    <a:lnTo>
                      <a:pt x="48" y="30"/>
                    </a:lnTo>
                    <a:lnTo>
                      <a:pt x="40" y="38"/>
                    </a:lnTo>
                    <a:lnTo>
                      <a:pt x="36" y="34"/>
                    </a:lnTo>
                    <a:lnTo>
                      <a:pt x="36" y="34"/>
                    </a:lnTo>
                    <a:lnTo>
                      <a:pt x="32" y="42"/>
                    </a:lnTo>
                    <a:lnTo>
                      <a:pt x="28" y="50"/>
                    </a:lnTo>
                    <a:lnTo>
                      <a:pt x="28" y="52"/>
                    </a:lnTo>
                    <a:lnTo>
                      <a:pt x="16" y="56"/>
                    </a:lnTo>
                    <a:lnTo>
                      <a:pt x="16" y="54"/>
                    </a:lnTo>
                    <a:lnTo>
                      <a:pt x="12" y="56"/>
                    </a:lnTo>
                    <a:lnTo>
                      <a:pt x="8" y="54"/>
                    </a:lnTo>
                    <a:lnTo>
                      <a:pt x="8" y="52"/>
                    </a:lnTo>
                    <a:lnTo>
                      <a:pt x="4" y="50"/>
                    </a:lnTo>
                    <a:lnTo>
                      <a:pt x="0" y="42"/>
                    </a:lnTo>
                    <a:lnTo>
                      <a:pt x="0" y="3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4" name="Freeform 1502">
                <a:extLst>
                  <a:ext uri="{FF2B5EF4-FFF2-40B4-BE49-F238E27FC236}">
                    <a16:creationId xmlns:a16="http://schemas.microsoft.com/office/drawing/2014/main" id="{8CACB020-F624-4ADD-9603-02233E9C9142}"/>
                  </a:ext>
                </a:extLst>
              </p:cNvPr>
              <p:cNvSpPr>
                <a:spLocks/>
              </p:cNvSpPr>
              <p:nvPr/>
            </p:nvSpPr>
            <p:spPr bwMode="auto">
              <a:xfrm>
                <a:off x="1962" y="2336"/>
                <a:ext cx="52" cy="60"/>
              </a:xfrm>
              <a:custGeom>
                <a:avLst/>
                <a:gdLst/>
                <a:ahLst/>
                <a:cxnLst>
                  <a:cxn ang="0">
                    <a:pos x="0" y="48"/>
                  </a:cxn>
                  <a:cxn ang="0">
                    <a:pos x="0" y="48"/>
                  </a:cxn>
                  <a:cxn ang="0">
                    <a:pos x="0" y="4"/>
                  </a:cxn>
                  <a:cxn ang="0">
                    <a:pos x="0" y="4"/>
                  </a:cxn>
                  <a:cxn ang="0">
                    <a:pos x="8" y="4"/>
                  </a:cxn>
                  <a:cxn ang="0">
                    <a:pos x="14" y="6"/>
                  </a:cxn>
                  <a:cxn ang="0">
                    <a:pos x="28" y="8"/>
                  </a:cxn>
                  <a:cxn ang="0">
                    <a:pos x="28" y="8"/>
                  </a:cxn>
                  <a:cxn ang="0">
                    <a:pos x="34" y="8"/>
                  </a:cxn>
                  <a:cxn ang="0">
                    <a:pos x="40" y="6"/>
                  </a:cxn>
                  <a:cxn ang="0">
                    <a:pos x="46" y="2"/>
                  </a:cxn>
                  <a:cxn ang="0">
                    <a:pos x="52" y="0"/>
                  </a:cxn>
                  <a:cxn ang="0">
                    <a:pos x="52" y="22"/>
                  </a:cxn>
                  <a:cxn ang="0">
                    <a:pos x="50" y="24"/>
                  </a:cxn>
                  <a:cxn ang="0">
                    <a:pos x="50" y="24"/>
                  </a:cxn>
                  <a:cxn ang="0">
                    <a:pos x="50" y="26"/>
                  </a:cxn>
                  <a:cxn ang="0">
                    <a:pos x="50" y="32"/>
                  </a:cxn>
                  <a:cxn ang="0">
                    <a:pos x="46" y="40"/>
                  </a:cxn>
                  <a:cxn ang="0">
                    <a:pos x="42" y="44"/>
                  </a:cxn>
                  <a:cxn ang="0">
                    <a:pos x="40" y="42"/>
                  </a:cxn>
                  <a:cxn ang="0">
                    <a:pos x="36" y="48"/>
                  </a:cxn>
                  <a:cxn ang="0">
                    <a:pos x="36" y="50"/>
                  </a:cxn>
                  <a:cxn ang="0">
                    <a:pos x="34" y="52"/>
                  </a:cxn>
                  <a:cxn ang="0">
                    <a:pos x="34" y="50"/>
                  </a:cxn>
                  <a:cxn ang="0">
                    <a:pos x="34" y="50"/>
                  </a:cxn>
                  <a:cxn ang="0">
                    <a:pos x="30" y="58"/>
                  </a:cxn>
                  <a:cxn ang="0">
                    <a:pos x="26" y="60"/>
                  </a:cxn>
                  <a:cxn ang="0">
                    <a:pos x="24" y="56"/>
                  </a:cxn>
                  <a:cxn ang="0">
                    <a:pos x="22" y="54"/>
                  </a:cxn>
                  <a:cxn ang="0">
                    <a:pos x="22" y="54"/>
                  </a:cxn>
                  <a:cxn ang="0">
                    <a:pos x="20" y="56"/>
                  </a:cxn>
                  <a:cxn ang="0">
                    <a:pos x="18" y="56"/>
                  </a:cxn>
                  <a:cxn ang="0">
                    <a:pos x="18" y="56"/>
                  </a:cxn>
                  <a:cxn ang="0">
                    <a:pos x="12" y="54"/>
                  </a:cxn>
                  <a:cxn ang="0">
                    <a:pos x="8" y="52"/>
                  </a:cxn>
                  <a:cxn ang="0">
                    <a:pos x="4" y="48"/>
                  </a:cxn>
                  <a:cxn ang="0">
                    <a:pos x="0" y="48"/>
                  </a:cxn>
                </a:cxnLst>
                <a:rect l="0" t="0" r="r" b="b"/>
                <a:pathLst>
                  <a:path w="52" h="60">
                    <a:moveTo>
                      <a:pt x="0" y="48"/>
                    </a:moveTo>
                    <a:lnTo>
                      <a:pt x="0" y="48"/>
                    </a:lnTo>
                    <a:lnTo>
                      <a:pt x="0" y="4"/>
                    </a:lnTo>
                    <a:lnTo>
                      <a:pt x="0" y="4"/>
                    </a:lnTo>
                    <a:lnTo>
                      <a:pt x="8" y="4"/>
                    </a:lnTo>
                    <a:lnTo>
                      <a:pt x="14" y="6"/>
                    </a:lnTo>
                    <a:lnTo>
                      <a:pt x="28" y="8"/>
                    </a:lnTo>
                    <a:lnTo>
                      <a:pt x="28" y="8"/>
                    </a:lnTo>
                    <a:lnTo>
                      <a:pt x="34" y="8"/>
                    </a:lnTo>
                    <a:lnTo>
                      <a:pt x="40" y="6"/>
                    </a:lnTo>
                    <a:lnTo>
                      <a:pt x="46" y="2"/>
                    </a:lnTo>
                    <a:lnTo>
                      <a:pt x="52" y="0"/>
                    </a:lnTo>
                    <a:lnTo>
                      <a:pt x="52" y="22"/>
                    </a:lnTo>
                    <a:lnTo>
                      <a:pt x="50" y="24"/>
                    </a:lnTo>
                    <a:lnTo>
                      <a:pt x="50" y="24"/>
                    </a:lnTo>
                    <a:lnTo>
                      <a:pt x="50" y="26"/>
                    </a:lnTo>
                    <a:lnTo>
                      <a:pt x="50" y="32"/>
                    </a:lnTo>
                    <a:lnTo>
                      <a:pt x="46" y="40"/>
                    </a:lnTo>
                    <a:lnTo>
                      <a:pt x="42" y="44"/>
                    </a:lnTo>
                    <a:lnTo>
                      <a:pt x="40" y="42"/>
                    </a:lnTo>
                    <a:lnTo>
                      <a:pt x="36" y="48"/>
                    </a:lnTo>
                    <a:lnTo>
                      <a:pt x="36" y="50"/>
                    </a:lnTo>
                    <a:lnTo>
                      <a:pt x="34" y="52"/>
                    </a:lnTo>
                    <a:lnTo>
                      <a:pt x="34" y="50"/>
                    </a:lnTo>
                    <a:lnTo>
                      <a:pt x="34" y="50"/>
                    </a:lnTo>
                    <a:lnTo>
                      <a:pt x="30" y="58"/>
                    </a:lnTo>
                    <a:lnTo>
                      <a:pt x="26" y="60"/>
                    </a:lnTo>
                    <a:lnTo>
                      <a:pt x="24" y="56"/>
                    </a:lnTo>
                    <a:lnTo>
                      <a:pt x="22" y="54"/>
                    </a:lnTo>
                    <a:lnTo>
                      <a:pt x="22" y="54"/>
                    </a:lnTo>
                    <a:lnTo>
                      <a:pt x="20" y="56"/>
                    </a:lnTo>
                    <a:lnTo>
                      <a:pt x="18" y="56"/>
                    </a:lnTo>
                    <a:lnTo>
                      <a:pt x="18" y="56"/>
                    </a:lnTo>
                    <a:lnTo>
                      <a:pt x="12" y="54"/>
                    </a:lnTo>
                    <a:lnTo>
                      <a:pt x="8" y="52"/>
                    </a:lnTo>
                    <a:lnTo>
                      <a:pt x="4" y="48"/>
                    </a:lnTo>
                    <a:lnTo>
                      <a:pt x="0" y="4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5" name="Freeform 1503">
                <a:extLst>
                  <a:ext uri="{FF2B5EF4-FFF2-40B4-BE49-F238E27FC236}">
                    <a16:creationId xmlns:a16="http://schemas.microsoft.com/office/drawing/2014/main" id="{CCFEA63F-D552-43AB-8BE2-DC58CF608D08}"/>
                  </a:ext>
                </a:extLst>
              </p:cNvPr>
              <p:cNvSpPr>
                <a:spLocks/>
              </p:cNvSpPr>
              <p:nvPr/>
            </p:nvSpPr>
            <p:spPr bwMode="auto">
              <a:xfrm>
                <a:off x="1894" y="2236"/>
                <a:ext cx="78" cy="44"/>
              </a:xfrm>
              <a:custGeom>
                <a:avLst/>
                <a:gdLst/>
                <a:ahLst/>
                <a:cxnLst>
                  <a:cxn ang="0">
                    <a:pos x="0" y="18"/>
                  </a:cxn>
                  <a:cxn ang="0">
                    <a:pos x="0" y="18"/>
                  </a:cxn>
                  <a:cxn ang="0">
                    <a:pos x="10" y="14"/>
                  </a:cxn>
                  <a:cxn ang="0">
                    <a:pos x="18" y="8"/>
                  </a:cxn>
                  <a:cxn ang="0">
                    <a:pos x="24" y="4"/>
                  </a:cxn>
                  <a:cxn ang="0">
                    <a:pos x="32" y="0"/>
                  </a:cxn>
                  <a:cxn ang="0">
                    <a:pos x="32" y="2"/>
                  </a:cxn>
                  <a:cxn ang="0">
                    <a:pos x="24" y="10"/>
                  </a:cxn>
                  <a:cxn ang="0">
                    <a:pos x="24" y="14"/>
                  </a:cxn>
                  <a:cxn ang="0">
                    <a:pos x="26" y="12"/>
                  </a:cxn>
                  <a:cxn ang="0">
                    <a:pos x="30" y="12"/>
                  </a:cxn>
                  <a:cxn ang="0">
                    <a:pos x="30" y="12"/>
                  </a:cxn>
                  <a:cxn ang="0">
                    <a:pos x="34" y="16"/>
                  </a:cxn>
                  <a:cxn ang="0">
                    <a:pos x="38" y="20"/>
                  </a:cxn>
                  <a:cxn ang="0">
                    <a:pos x="46" y="20"/>
                  </a:cxn>
                  <a:cxn ang="0">
                    <a:pos x="46" y="20"/>
                  </a:cxn>
                  <a:cxn ang="0">
                    <a:pos x="50" y="18"/>
                  </a:cxn>
                  <a:cxn ang="0">
                    <a:pos x="54" y="16"/>
                  </a:cxn>
                  <a:cxn ang="0">
                    <a:pos x="64" y="14"/>
                  </a:cxn>
                  <a:cxn ang="0">
                    <a:pos x="64" y="18"/>
                  </a:cxn>
                  <a:cxn ang="0">
                    <a:pos x="64" y="18"/>
                  </a:cxn>
                  <a:cxn ang="0">
                    <a:pos x="68" y="20"/>
                  </a:cxn>
                  <a:cxn ang="0">
                    <a:pos x="74" y="20"/>
                  </a:cxn>
                  <a:cxn ang="0">
                    <a:pos x="74" y="26"/>
                  </a:cxn>
                  <a:cxn ang="0">
                    <a:pos x="78" y="28"/>
                  </a:cxn>
                  <a:cxn ang="0">
                    <a:pos x="72" y="30"/>
                  </a:cxn>
                  <a:cxn ang="0">
                    <a:pos x="70" y="28"/>
                  </a:cxn>
                  <a:cxn ang="0">
                    <a:pos x="70" y="30"/>
                  </a:cxn>
                  <a:cxn ang="0">
                    <a:pos x="70" y="30"/>
                  </a:cxn>
                  <a:cxn ang="0">
                    <a:pos x="66" y="30"/>
                  </a:cxn>
                  <a:cxn ang="0">
                    <a:pos x="62" y="26"/>
                  </a:cxn>
                  <a:cxn ang="0">
                    <a:pos x="62" y="26"/>
                  </a:cxn>
                  <a:cxn ang="0">
                    <a:pos x="54" y="30"/>
                  </a:cxn>
                  <a:cxn ang="0">
                    <a:pos x="46" y="36"/>
                  </a:cxn>
                  <a:cxn ang="0">
                    <a:pos x="46" y="30"/>
                  </a:cxn>
                  <a:cxn ang="0">
                    <a:pos x="46" y="30"/>
                  </a:cxn>
                  <a:cxn ang="0">
                    <a:pos x="42" y="32"/>
                  </a:cxn>
                  <a:cxn ang="0">
                    <a:pos x="40" y="36"/>
                  </a:cxn>
                  <a:cxn ang="0">
                    <a:pos x="34" y="44"/>
                  </a:cxn>
                  <a:cxn ang="0">
                    <a:pos x="32" y="44"/>
                  </a:cxn>
                  <a:cxn ang="0">
                    <a:pos x="34" y="40"/>
                  </a:cxn>
                  <a:cxn ang="0">
                    <a:pos x="32" y="40"/>
                  </a:cxn>
                  <a:cxn ang="0">
                    <a:pos x="32" y="34"/>
                  </a:cxn>
                  <a:cxn ang="0">
                    <a:pos x="28" y="32"/>
                  </a:cxn>
                  <a:cxn ang="0">
                    <a:pos x="28" y="30"/>
                  </a:cxn>
                  <a:cxn ang="0">
                    <a:pos x="4" y="22"/>
                  </a:cxn>
                  <a:cxn ang="0">
                    <a:pos x="4" y="18"/>
                  </a:cxn>
                  <a:cxn ang="0">
                    <a:pos x="0" y="18"/>
                  </a:cxn>
                </a:cxnLst>
                <a:rect l="0" t="0" r="r" b="b"/>
                <a:pathLst>
                  <a:path w="78" h="44">
                    <a:moveTo>
                      <a:pt x="0" y="18"/>
                    </a:moveTo>
                    <a:lnTo>
                      <a:pt x="0" y="18"/>
                    </a:lnTo>
                    <a:lnTo>
                      <a:pt x="10" y="14"/>
                    </a:lnTo>
                    <a:lnTo>
                      <a:pt x="18" y="8"/>
                    </a:lnTo>
                    <a:lnTo>
                      <a:pt x="24" y="4"/>
                    </a:lnTo>
                    <a:lnTo>
                      <a:pt x="32" y="0"/>
                    </a:lnTo>
                    <a:lnTo>
                      <a:pt x="32" y="2"/>
                    </a:lnTo>
                    <a:lnTo>
                      <a:pt x="24" y="10"/>
                    </a:lnTo>
                    <a:lnTo>
                      <a:pt x="24" y="14"/>
                    </a:lnTo>
                    <a:lnTo>
                      <a:pt x="26" y="12"/>
                    </a:lnTo>
                    <a:lnTo>
                      <a:pt x="30" y="12"/>
                    </a:lnTo>
                    <a:lnTo>
                      <a:pt x="30" y="12"/>
                    </a:lnTo>
                    <a:lnTo>
                      <a:pt x="34" y="16"/>
                    </a:lnTo>
                    <a:lnTo>
                      <a:pt x="38" y="20"/>
                    </a:lnTo>
                    <a:lnTo>
                      <a:pt x="46" y="20"/>
                    </a:lnTo>
                    <a:lnTo>
                      <a:pt x="46" y="20"/>
                    </a:lnTo>
                    <a:lnTo>
                      <a:pt x="50" y="18"/>
                    </a:lnTo>
                    <a:lnTo>
                      <a:pt x="54" y="16"/>
                    </a:lnTo>
                    <a:lnTo>
                      <a:pt x="64" y="14"/>
                    </a:lnTo>
                    <a:lnTo>
                      <a:pt x="64" y="18"/>
                    </a:lnTo>
                    <a:lnTo>
                      <a:pt x="64" y="18"/>
                    </a:lnTo>
                    <a:lnTo>
                      <a:pt x="68" y="20"/>
                    </a:lnTo>
                    <a:lnTo>
                      <a:pt x="74" y="20"/>
                    </a:lnTo>
                    <a:lnTo>
                      <a:pt x="74" y="26"/>
                    </a:lnTo>
                    <a:lnTo>
                      <a:pt x="78" y="28"/>
                    </a:lnTo>
                    <a:lnTo>
                      <a:pt x="72" y="30"/>
                    </a:lnTo>
                    <a:lnTo>
                      <a:pt x="70" y="28"/>
                    </a:lnTo>
                    <a:lnTo>
                      <a:pt x="70" y="30"/>
                    </a:lnTo>
                    <a:lnTo>
                      <a:pt x="70" y="30"/>
                    </a:lnTo>
                    <a:lnTo>
                      <a:pt x="66" y="30"/>
                    </a:lnTo>
                    <a:lnTo>
                      <a:pt x="62" y="26"/>
                    </a:lnTo>
                    <a:lnTo>
                      <a:pt x="62" y="26"/>
                    </a:lnTo>
                    <a:lnTo>
                      <a:pt x="54" y="30"/>
                    </a:lnTo>
                    <a:lnTo>
                      <a:pt x="46" y="36"/>
                    </a:lnTo>
                    <a:lnTo>
                      <a:pt x="46" y="30"/>
                    </a:lnTo>
                    <a:lnTo>
                      <a:pt x="46" y="30"/>
                    </a:lnTo>
                    <a:lnTo>
                      <a:pt x="42" y="32"/>
                    </a:lnTo>
                    <a:lnTo>
                      <a:pt x="40" y="36"/>
                    </a:lnTo>
                    <a:lnTo>
                      <a:pt x="34" y="44"/>
                    </a:lnTo>
                    <a:lnTo>
                      <a:pt x="32" y="44"/>
                    </a:lnTo>
                    <a:lnTo>
                      <a:pt x="34" y="40"/>
                    </a:lnTo>
                    <a:lnTo>
                      <a:pt x="32" y="40"/>
                    </a:lnTo>
                    <a:lnTo>
                      <a:pt x="32" y="34"/>
                    </a:lnTo>
                    <a:lnTo>
                      <a:pt x="28" y="32"/>
                    </a:lnTo>
                    <a:lnTo>
                      <a:pt x="28" y="30"/>
                    </a:lnTo>
                    <a:lnTo>
                      <a:pt x="4" y="22"/>
                    </a:lnTo>
                    <a:lnTo>
                      <a:pt x="4" y="18"/>
                    </a:lnTo>
                    <a:lnTo>
                      <a:pt x="0"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6" name="Freeform 1504">
                <a:extLst>
                  <a:ext uri="{FF2B5EF4-FFF2-40B4-BE49-F238E27FC236}">
                    <a16:creationId xmlns:a16="http://schemas.microsoft.com/office/drawing/2014/main" id="{42C09A6B-B178-413C-8C1B-08564A33CE2A}"/>
                  </a:ext>
                </a:extLst>
              </p:cNvPr>
              <p:cNvSpPr>
                <a:spLocks/>
              </p:cNvSpPr>
              <p:nvPr/>
            </p:nvSpPr>
            <p:spPr bwMode="auto">
              <a:xfrm>
                <a:off x="1936" y="2270"/>
                <a:ext cx="54" cy="70"/>
              </a:xfrm>
              <a:custGeom>
                <a:avLst/>
                <a:gdLst/>
                <a:ahLst/>
                <a:cxnLst>
                  <a:cxn ang="0">
                    <a:pos x="54" y="46"/>
                  </a:cxn>
                  <a:cxn ang="0">
                    <a:pos x="54" y="46"/>
                  </a:cxn>
                  <a:cxn ang="0">
                    <a:pos x="52" y="44"/>
                  </a:cxn>
                  <a:cxn ang="0">
                    <a:pos x="52" y="38"/>
                  </a:cxn>
                  <a:cxn ang="0">
                    <a:pos x="52" y="34"/>
                  </a:cxn>
                  <a:cxn ang="0">
                    <a:pos x="48" y="30"/>
                  </a:cxn>
                  <a:cxn ang="0">
                    <a:pos x="44" y="30"/>
                  </a:cxn>
                  <a:cxn ang="0">
                    <a:pos x="40" y="36"/>
                  </a:cxn>
                  <a:cxn ang="0">
                    <a:pos x="38" y="36"/>
                  </a:cxn>
                  <a:cxn ang="0">
                    <a:pos x="36" y="36"/>
                  </a:cxn>
                  <a:cxn ang="0">
                    <a:pos x="36" y="36"/>
                  </a:cxn>
                  <a:cxn ang="0">
                    <a:pos x="38" y="32"/>
                  </a:cxn>
                  <a:cxn ang="0">
                    <a:pos x="40" y="28"/>
                  </a:cxn>
                  <a:cxn ang="0">
                    <a:pos x="44" y="22"/>
                  </a:cxn>
                  <a:cxn ang="0">
                    <a:pos x="42" y="12"/>
                  </a:cxn>
                  <a:cxn ang="0">
                    <a:pos x="44" y="10"/>
                  </a:cxn>
                  <a:cxn ang="0">
                    <a:pos x="42" y="8"/>
                  </a:cxn>
                  <a:cxn ang="0">
                    <a:pos x="42" y="8"/>
                  </a:cxn>
                  <a:cxn ang="0">
                    <a:pos x="34" y="2"/>
                  </a:cxn>
                  <a:cxn ang="0">
                    <a:pos x="28" y="0"/>
                  </a:cxn>
                  <a:cxn ang="0">
                    <a:pos x="24" y="0"/>
                  </a:cxn>
                  <a:cxn ang="0">
                    <a:pos x="22" y="2"/>
                  </a:cxn>
                  <a:cxn ang="0">
                    <a:pos x="24" y="6"/>
                  </a:cxn>
                  <a:cxn ang="0">
                    <a:pos x="18" y="8"/>
                  </a:cxn>
                  <a:cxn ang="0">
                    <a:pos x="18" y="14"/>
                  </a:cxn>
                  <a:cxn ang="0">
                    <a:pos x="16" y="16"/>
                  </a:cxn>
                  <a:cxn ang="0">
                    <a:pos x="16" y="10"/>
                  </a:cxn>
                  <a:cxn ang="0">
                    <a:pos x="16" y="10"/>
                  </a:cxn>
                  <a:cxn ang="0">
                    <a:pos x="12" y="14"/>
                  </a:cxn>
                  <a:cxn ang="0">
                    <a:pos x="10" y="16"/>
                  </a:cxn>
                  <a:cxn ang="0">
                    <a:pos x="8" y="26"/>
                  </a:cxn>
                  <a:cxn ang="0">
                    <a:pos x="6" y="26"/>
                  </a:cxn>
                  <a:cxn ang="0">
                    <a:pos x="6" y="36"/>
                  </a:cxn>
                  <a:cxn ang="0">
                    <a:pos x="6" y="36"/>
                  </a:cxn>
                  <a:cxn ang="0">
                    <a:pos x="8" y="44"/>
                  </a:cxn>
                  <a:cxn ang="0">
                    <a:pos x="8" y="52"/>
                  </a:cxn>
                  <a:cxn ang="0">
                    <a:pos x="8" y="60"/>
                  </a:cxn>
                  <a:cxn ang="0">
                    <a:pos x="4" y="68"/>
                  </a:cxn>
                  <a:cxn ang="0">
                    <a:pos x="0" y="70"/>
                  </a:cxn>
                  <a:cxn ang="0">
                    <a:pos x="26" y="70"/>
                  </a:cxn>
                  <a:cxn ang="0">
                    <a:pos x="26" y="70"/>
                  </a:cxn>
                  <a:cxn ang="0">
                    <a:pos x="42" y="70"/>
                  </a:cxn>
                  <a:cxn ang="0">
                    <a:pos x="46" y="66"/>
                  </a:cxn>
                  <a:cxn ang="0">
                    <a:pos x="46" y="66"/>
                  </a:cxn>
                  <a:cxn ang="0">
                    <a:pos x="46" y="64"/>
                  </a:cxn>
                  <a:cxn ang="0">
                    <a:pos x="48" y="60"/>
                  </a:cxn>
                  <a:cxn ang="0">
                    <a:pos x="50" y="56"/>
                  </a:cxn>
                  <a:cxn ang="0">
                    <a:pos x="54" y="54"/>
                  </a:cxn>
                  <a:cxn ang="0">
                    <a:pos x="54" y="46"/>
                  </a:cxn>
                </a:cxnLst>
                <a:rect l="0" t="0" r="r" b="b"/>
                <a:pathLst>
                  <a:path w="54" h="70">
                    <a:moveTo>
                      <a:pt x="54" y="46"/>
                    </a:moveTo>
                    <a:lnTo>
                      <a:pt x="54" y="46"/>
                    </a:lnTo>
                    <a:lnTo>
                      <a:pt x="52" y="44"/>
                    </a:lnTo>
                    <a:lnTo>
                      <a:pt x="52" y="38"/>
                    </a:lnTo>
                    <a:lnTo>
                      <a:pt x="52" y="34"/>
                    </a:lnTo>
                    <a:lnTo>
                      <a:pt x="48" y="30"/>
                    </a:lnTo>
                    <a:lnTo>
                      <a:pt x="44" y="30"/>
                    </a:lnTo>
                    <a:lnTo>
                      <a:pt x="40" y="36"/>
                    </a:lnTo>
                    <a:lnTo>
                      <a:pt x="38" y="36"/>
                    </a:lnTo>
                    <a:lnTo>
                      <a:pt x="36" y="36"/>
                    </a:lnTo>
                    <a:lnTo>
                      <a:pt x="36" y="36"/>
                    </a:lnTo>
                    <a:lnTo>
                      <a:pt x="38" y="32"/>
                    </a:lnTo>
                    <a:lnTo>
                      <a:pt x="40" y="28"/>
                    </a:lnTo>
                    <a:lnTo>
                      <a:pt x="44" y="22"/>
                    </a:lnTo>
                    <a:lnTo>
                      <a:pt x="42" y="12"/>
                    </a:lnTo>
                    <a:lnTo>
                      <a:pt x="44" y="10"/>
                    </a:lnTo>
                    <a:lnTo>
                      <a:pt x="42" y="8"/>
                    </a:lnTo>
                    <a:lnTo>
                      <a:pt x="42" y="8"/>
                    </a:lnTo>
                    <a:lnTo>
                      <a:pt x="34" y="2"/>
                    </a:lnTo>
                    <a:lnTo>
                      <a:pt x="28" y="0"/>
                    </a:lnTo>
                    <a:lnTo>
                      <a:pt x="24" y="0"/>
                    </a:lnTo>
                    <a:lnTo>
                      <a:pt x="22" y="2"/>
                    </a:lnTo>
                    <a:lnTo>
                      <a:pt x="24" y="6"/>
                    </a:lnTo>
                    <a:lnTo>
                      <a:pt x="18" y="8"/>
                    </a:lnTo>
                    <a:lnTo>
                      <a:pt x="18" y="14"/>
                    </a:lnTo>
                    <a:lnTo>
                      <a:pt x="16" y="16"/>
                    </a:lnTo>
                    <a:lnTo>
                      <a:pt x="16" y="10"/>
                    </a:lnTo>
                    <a:lnTo>
                      <a:pt x="16" y="10"/>
                    </a:lnTo>
                    <a:lnTo>
                      <a:pt x="12" y="14"/>
                    </a:lnTo>
                    <a:lnTo>
                      <a:pt x="10" y="16"/>
                    </a:lnTo>
                    <a:lnTo>
                      <a:pt x="8" y="26"/>
                    </a:lnTo>
                    <a:lnTo>
                      <a:pt x="6" y="26"/>
                    </a:lnTo>
                    <a:lnTo>
                      <a:pt x="6" y="36"/>
                    </a:lnTo>
                    <a:lnTo>
                      <a:pt x="6" y="36"/>
                    </a:lnTo>
                    <a:lnTo>
                      <a:pt x="8" y="44"/>
                    </a:lnTo>
                    <a:lnTo>
                      <a:pt x="8" y="52"/>
                    </a:lnTo>
                    <a:lnTo>
                      <a:pt x="8" y="60"/>
                    </a:lnTo>
                    <a:lnTo>
                      <a:pt x="4" y="68"/>
                    </a:lnTo>
                    <a:lnTo>
                      <a:pt x="0" y="70"/>
                    </a:lnTo>
                    <a:lnTo>
                      <a:pt x="26" y="70"/>
                    </a:lnTo>
                    <a:lnTo>
                      <a:pt x="26" y="70"/>
                    </a:lnTo>
                    <a:lnTo>
                      <a:pt x="42" y="70"/>
                    </a:lnTo>
                    <a:lnTo>
                      <a:pt x="46" y="66"/>
                    </a:lnTo>
                    <a:lnTo>
                      <a:pt x="46" y="66"/>
                    </a:lnTo>
                    <a:lnTo>
                      <a:pt x="46" y="64"/>
                    </a:lnTo>
                    <a:lnTo>
                      <a:pt x="48" y="60"/>
                    </a:lnTo>
                    <a:lnTo>
                      <a:pt x="50" y="56"/>
                    </a:lnTo>
                    <a:lnTo>
                      <a:pt x="54" y="54"/>
                    </a:lnTo>
                    <a:lnTo>
                      <a:pt x="54" y="4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7" name="Freeform 1505">
                <a:extLst>
                  <a:ext uri="{FF2B5EF4-FFF2-40B4-BE49-F238E27FC236}">
                    <a16:creationId xmlns:a16="http://schemas.microsoft.com/office/drawing/2014/main" id="{A206F624-CC59-4ED0-9BFA-482E27B33BFB}"/>
                  </a:ext>
                </a:extLst>
              </p:cNvPr>
              <p:cNvSpPr>
                <a:spLocks/>
              </p:cNvSpPr>
              <p:nvPr/>
            </p:nvSpPr>
            <p:spPr bwMode="auto">
              <a:xfrm>
                <a:off x="1980" y="2446"/>
                <a:ext cx="56" cy="50"/>
              </a:xfrm>
              <a:custGeom>
                <a:avLst/>
                <a:gdLst/>
                <a:ahLst/>
                <a:cxnLst>
                  <a:cxn ang="0">
                    <a:pos x="28" y="50"/>
                  </a:cxn>
                  <a:cxn ang="0">
                    <a:pos x="28" y="48"/>
                  </a:cxn>
                  <a:cxn ang="0">
                    <a:pos x="32" y="46"/>
                  </a:cxn>
                  <a:cxn ang="0">
                    <a:pos x="32" y="42"/>
                  </a:cxn>
                  <a:cxn ang="0">
                    <a:pos x="40" y="42"/>
                  </a:cxn>
                  <a:cxn ang="0">
                    <a:pos x="50" y="32"/>
                  </a:cxn>
                  <a:cxn ang="0">
                    <a:pos x="50" y="30"/>
                  </a:cxn>
                  <a:cxn ang="0">
                    <a:pos x="56" y="22"/>
                  </a:cxn>
                  <a:cxn ang="0">
                    <a:pos x="44" y="6"/>
                  </a:cxn>
                  <a:cxn ang="0">
                    <a:pos x="30" y="6"/>
                  </a:cxn>
                  <a:cxn ang="0">
                    <a:pos x="28" y="2"/>
                  </a:cxn>
                  <a:cxn ang="0">
                    <a:pos x="28" y="2"/>
                  </a:cxn>
                  <a:cxn ang="0">
                    <a:pos x="16" y="0"/>
                  </a:cxn>
                  <a:cxn ang="0">
                    <a:pos x="8" y="2"/>
                  </a:cxn>
                  <a:cxn ang="0">
                    <a:pos x="2" y="4"/>
                  </a:cxn>
                  <a:cxn ang="0">
                    <a:pos x="0" y="8"/>
                  </a:cxn>
                  <a:cxn ang="0">
                    <a:pos x="0" y="8"/>
                  </a:cxn>
                  <a:cxn ang="0">
                    <a:pos x="2" y="10"/>
                  </a:cxn>
                  <a:cxn ang="0">
                    <a:pos x="6" y="14"/>
                  </a:cxn>
                  <a:cxn ang="0">
                    <a:pos x="12" y="22"/>
                  </a:cxn>
                  <a:cxn ang="0">
                    <a:pos x="16" y="30"/>
                  </a:cxn>
                  <a:cxn ang="0">
                    <a:pos x="20" y="32"/>
                  </a:cxn>
                  <a:cxn ang="0">
                    <a:pos x="22" y="34"/>
                  </a:cxn>
                  <a:cxn ang="0">
                    <a:pos x="22" y="40"/>
                  </a:cxn>
                  <a:cxn ang="0">
                    <a:pos x="24" y="42"/>
                  </a:cxn>
                  <a:cxn ang="0">
                    <a:pos x="26" y="48"/>
                  </a:cxn>
                  <a:cxn ang="0">
                    <a:pos x="28" y="50"/>
                  </a:cxn>
                </a:cxnLst>
                <a:rect l="0" t="0" r="r" b="b"/>
                <a:pathLst>
                  <a:path w="56" h="50">
                    <a:moveTo>
                      <a:pt x="28" y="50"/>
                    </a:moveTo>
                    <a:lnTo>
                      <a:pt x="28" y="48"/>
                    </a:lnTo>
                    <a:lnTo>
                      <a:pt x="32" y="46"/>
                    </a:lnTo>
                    <a:lnTo>
                      <a:pt x="32" y="42"/>
                    </a:lnTo>
                    <a:lnTo>
                      <a:pt x="40" y="42"/>
                    </a:lnTo>
                    <a:lnTo>
                      <a:pt x="50" y="32"/>
                    </a:lnTo>
                    <a:lnTo>
                      <a:pt x="50" y="30"/>
                    </a:lnTo>
                    <a:lnTo>
                      <a:pt x="56" y="22"/>
                    </a:lnTo>
                    <a:lnTo>
                      <a:pt x="44" y="6"/>
                    </a:lnTo>
                    <a:lnTo>
                      <a:pt x="30" y="6"/>
                    </a:lnTo>
                    <a:lnTo>
                      <a:pt x="28" y="2"/>
                    </a:lnTo>
                    <a:lnTo>
                      <a:pt x="28" y="2"/>
                    </a:lnTo>
                    <a:lnTo>
                      <a:pt x="16" y="0"/>
                    </a:lnTo>
                    <a:lnTo>
                      <a:pt x="8" y="2"/>
                    </a:lnTo>
                    <a:lnTo>
                      <a:pt x="2" y="4"/>
                    </a:lnTo>
                    <a:lnTo>
                      <a:pt x="0" y="8"/>
                    </a:lnTo>
                    <a:lnTo>
                      <a:pt x="0" y="8"/>
                    </a:lnTo>
                    <a:lnTo>
                      <a:pt x="2" y="10"/>
                    </a:lnTo>
                    <a:lnTo>
                      <a:pt x="6" y="14"/>
                    </a:lnTo>
                    <a:lnTo>
                      <a:pt x="12" y="22"/>
                    </a:lnTo>
                    <a:lnTo>
                      <a:pt x="16" y="30"/>
                    </a:lnTo>
                    <a:lnTo>
                      <a:pt x="20" y="32"/>
                    </a:lnTo>
                    <a:lnTo>
                      <a:pt x="22" y="34"/>
                    </a:lnTo>
                    <a:lnTo>
                      <a:pt x="22" y="40"/>
                    </a:lnTo>
                    <a:lnTo>
                      <a:pt x="24" y="42"/>
                    </a:lnTo>
                    <a:lnTo>
                      <a:pt x="26" y="48"/>
                    </a:lnTo>
                    <a:lnTo>
                      <a:pt x="28"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8" name="Freeform 1506">
                <a:extLst>
                  <a:ext uri="{FF2B5EF4-FFF2-40B4-BE49-F238E27FC236}">
                    <a16:creationId xmlns:a16="http://schemas.microsoft.com/office/drawing/2014/main" id="{C623EA58-F7F7-40A0-A2AD-947A86FCA052}"/>
                  </a:ext>
                </a:extLst>
              </p:cNvPr>
              <p:cNvSpPr>
                <a:spLocks/>
              </p:cNvSpPr>
              <p:nvPr/>
            </p:nvSpPr>
            <p:spPr bwMode="auto">
              <a:xfrm>
                <a:off x="2070" y="2372"/>
                <a:ext cx="10" cy="22"/>
              </a:xfrm>
              <a:custGeom>
                <a:avLst/>
                <a:gdLst/>
                <a:ahLst/>
                <a:cxnLst>
                  <a:cxn ang="0">
                    <a:pos x="0" y="2"/>
                  </a:cxn>
                  <a:cxn ang="0">
                    <a:pos x="2" y="0"/>
                  </a:cxn>
                  <a:cxn ang="0">
                    <a:pos x="4" y="0"/>
                  </a:cxn>
                  <a:cxn ang="0">
                    <a:pos x="2" y="4"/>
                  </a:cxn>
                  <a:cxn ang="0">
                    <a:pos x="2" y="4"/>
                  </a:cxn>
                  <a:cxn ang="0">
                    <a:pos x="6" y="12"/>
                  </a:cxn>
                  <a:cxn ang="0">
                    <a:pos x="10" y="22"/>
                  </a:cxn>
                  <a:cxn ang="0">
                    <a:pos x="8" y="22"/>
                  </a:cxn>
                  <a:cxn ang="0">
                    <a:pos x="0" y="22"/>
                  </a:cxn>
                  <a:cxn ang="0">
                    <a:pos x="0" y="2"/>
                  </a:cxn>
                </a:cxnLst>
                <a:rect l="0" t="0" r="r" b="b"/>
                <a:pathLst>
                  <a:path w="10" h="22">
                    <a:moveTo>
                      <a:pt x="0" y="2"/>
                    </a:moveTo>
                    <a:lnTo>
                      <a:pt x="2" y="0"/>
                    </a:lnTo>
                    <a:lnTo>
                      <a:pt x="4" y="0"/>
                    </a:lnTo>
                    <a:lnTo>
                      <a:pt x="2" y="4"/>
                    </a:lnTo>
                    <a:lnTo>
                      <a:pt x="2" y="4"/>
                    </a:lnTo>
                    <a:lnTo>
                      <a:pt x="6" y="12"/>
                    </a:lnTo>
                    <a:lnTo>
                      <a:pt x="10" y="22"/>
                    </a:lnTo>
                    <a:lnTo>
                      <a:pt x="8" y="22"/>
                    </a:lnTo>
                    <a:lnTo>
                      <a:pt x="0" y="22"/>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699" name="Freeform 1507">
                <a:extLst>
                  <a:ext uri="{FF2B5EF4-FFF2-40B4-BE49-F238E27FC236}">
                    <a16:creationId xmlns:a16="http://schemas.microsoft.com/office/drawing/2014/main" id="{F5D04D51-F42E-4CC7-8D41-4E1D082D1D35}"/>
                  </a:ext>
                </a:extLst>
              </p:cNvPr>
              <p:cNvSpPr>
                <a:spLocks/>
              </p:cNvSpPr>
              <p:nvPr/>
            </p:nvSpPr>
            <p:spPr bwMode="auto">
              <a:xfrm>
                <a:off x="2068" y="2402"/>
                <a:ext cx="8" cy="14"/>
              </a:xfrm>
              <a:custGeom>
                <a:avLst/>
                <a:gdLst/>
                <a:ahLst/>
                <a:cxnLst>
                  <a:cxn ang="0">
                    <a:pos x="4" y="0"/>
                  </a:cxn>
                  <a:cxn ang="0">
                    <a:pos x="4" y="0"/>
                  </a:cxn>
                  <a:cxn ang="0">
                    <a:pos x="4" y="0"/>
                  </a:cxn>
                  <a:cxn ang="0">
                    <a:pos x="4" y="2"/>
                  </a:cxn>
                  <a:cxn ang="0">
                    <a:pos x="0" y="8"/>
                  </a:cxn>
                  <a:cxn ang="0">
                    <a:pos x="2" y="14"/>
                  </a:cxn>
                  <a:cxn ang="0">
                    <a:pos x="4" y="12"/>
                  </a:cxn>
                  <a:cxn ang="0">
                    <a:pos x="4" y="12"/>
                  </a:cxn>
                  <a:cxn ang="0">
                    <a:pos x="6" y="6"/>
                  </a:cxn>
                  <a:cxn ang="0">
                    <a:pos x="8" y="0"/>
                  </a:cxn>
                  <a:cxn ang="0">
                    <a:pos x="4" y="0"/>
                  </a:cxn>
                </a:cxnLst>
                <a:rect l="0" t="0" r="r" b="b"/>
                <a:pathLst>
                  <a:path w="8" h="14">
                    <a:moveTo>
                      <a:pt x="4" y="0"/>
                    </a:moveTo>
                    <a:lnTo>
                      <a:pt x="4" y="0"/>
                    </a:lnTo>
                    <a:lnTo>
                      <a:pt x="4" y="0"/>
                    </a:lnTo>
                    <a:lnTo>
                      <a:pt x="4" y="2"/>
                    </a:lnTo>
                    <a:lnTo>
                      <a:pt x="0" y="8"/>
                    </a:lnTo>
                    <a:lnTo>
                      <a:pt x="2" y="14"/>
                    </a:lnTo>
                    <a:lnTo>
                      <a:pt x="4" y="12"/>
                    </a:lnTo>
                    <a:lnTo>
                      <a:pt x="4" y="12"/>
                    </a:lnTo>
                    <a:lnTo>
                      <a:pt x="6" y="6"/>
                    </a:lnTo>
                    <a:lnTo>
                      <a:pt x="8" y="0"/>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0" name="Freeform 1508">
                <a:extLst>
                  <a:ext uri="{FF2B5EF4-FFF2-40B4-BE49-F238E27FC236}">
                    <a16:creationId xmlns:a16="http://schemas.microsoft.com/office/drawing/2014/main" id="{AA86E264-FA55-4330-B9ED-73D067B2E041}"/>
                  </a:ext>
                </a:extLst>
              </p:cNvPr>
              <p:cNvSpPr>
                <a:spLocks/>
              </p:cNvSpPr>
              <p:nvPr/>
            </p:nvSpPr>
            <p:spPr bwMode="auto">
              <a:xfrm>
                <a:off x="2032" y="2572"/>
                <a:ext cx="12" cy="4"/>
              </a:xfrm>
              <a:custGeom>
                <a:avLst/>
                <a:gdLst/>
                <a:ahLst/>
                <a:cxnLst>
                  <a:cxn ang="0">
                    <a:pos x="10" y="0"/>
                  </a:cxn>
                  <a:cxn ang="0">
                    <a:pos x="12" y="4"/>
                  </a:cxn>
                  <a:cxn ang="0">
                    <a:pos x="10" y="2"/>
                  </a:cxn>
                  <a:cxn ang="0">
                    <a:pos x="10" y="2"/>
                  </a:cxn>
                  <a:cxn ang="0">
                    <a:pos x="6" y="2"/>
                  </a:cxn>
                  <a:cxn ang="0">
                    <a:pos x="0" y="4"/>
                  </a:cxn>
                  <a:cxn ang="0">
                    <a:pos x="0" y="2"/>
                  </a:cxn>
                  <a:cxn ang="0">
                    <a:pos x="10" y="0"/>
                  </a:cxn>
                </a:cxnLst>
                <a:rect l="0" t="0" r="r" b="b"/>
                <a:pathLst>
                  <a:path w="12" h="4">
                    <a:moveTo>
                      <a:pt x="10" y="0"/>
                    </a:moveTo>
                    <a:lnTo>
                      <a:pt x="12" y="4"/>
                    </a:lnTo>
                    <a:lnTo>
                      <a:pt x="10" y="2"/>
                    </a:lnTo>
                    <a:lnTo>
                      <a:pt x="10" y="2"/>
                    </a:lnTo>
                    <a:lnTo>
                      <a:pt x="6" y="2"/>
                    </a:lnTo>
                    <a:lnTo>
                      <a:pt x="0" y="4"/>
                    </a:lnTo>
                    <a:lnTo>
                      <a:pt x="0" y="2"/>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1" name="Freeform 1509">
                <a:extLst>
                  <a:ext uri="{FF2B5EF4-FFF2-40B4-BE49-F238E27FC236}">
                    <a16:creationId xmlns:a16="http://schemas.microsoft.com/office/drawing/2014/main" id="{B4E0EB48-D804-4CE6-84A9-C4FEC8D77B45}"/>
                  </a:ext>
                </a:extLst>
              </p:cNvPr>
              <p:cNvSpPr>
                <a:spLocks/>
              </p:cNvSpPr>
              <p:nvPr/>
            </p:nvSpPr>
            <p:spPr bwMode="auto">
              <a:xfrm>
                <a:off x="2052" y="2576"/>
                <a:ext cx="2" cy="8"/>
              </a:xfrm>
              <a:custGeom>
                <a:avLst/>
                <a:gdLst/>
                <a:ahLst/>
                <a:cxnLst>
                  <a:cxn ang="0">
                    <a:pos x="2" y="2"/>
                  </a:cxn>
                  <a:cxn ang="0">
                    <a:pos x="0" y="8"/>
                  </a:cxn>
                  <a:cxn ang="0">
                    <a:pos x="0" y="6"/>
                  </a:cxn>
                  <a:cxn ang="0">
                    <a:pos x="0" y="6"/>
                  </a:cxn>
                  <a:cxn ang="0">
                    <a:pos x="2" y="0"/>
                  </a:cxn>
                  <a:cxn ang="0">
                    <a:pos x="2" y="2"/>
                  </a:cxn>
                </a:cxnLst>
                <a:rect l="0" t="0" r="r" b="b"/>
                <a:pathLst>
                  <a:path w="2" h="8">
                    <a:moveTo>
                      <a:pt x="2" y="2"/>
                    </a:moveTo>
                    <a:lnTo>
                      <a:pt x="0" y="8"/>
                    </a:lnTo>
                    <a:lnTo>
                      <a:pt x="0" y="6"/>
                    </a:lnTo>
                    <a:lnTo>
                      <a:pt x="0" y="6"/>
                    </a:lnTo>
                    <a:lnTo>
                      <a:pt x="2" y="0"/>
                    </a:lnTo>
                    <a:lnTo>
                      <a:pt x="2"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2" name="Freeform 1510">
                <a:extLst>
                  <a:ext uri="{FF2B5EF4-FFF2-40B4-BE49-F238E27FC236}">
                    <a16:creationId xmlns:a16="http://schemas.microsoft.com/office/drawing/2014/main" id="{488A39F5-DBC9-45F3-AE1D-9C474C1C23D2}"/>
                  </a:ext>
                </a:extLst>
              </p:cNvPr>
              <p:cNvSpPr>
                <a:spLocks/>
              </p:cNvSpPr>
              <p:nvPr/>
            </p:nvSpPr>
            <p:spPr bwMode="auto">
              <a:xfrm>
                <a:off x="2040" y="2594"/>
                <a:ext cx="6" cy="12"/>
              </a:xfrm>
              <a:custGeom>
                <a:avLst/>
                <a:gdLst/>
                <a:ahLst/>
                <a:cxnLst>
                  <a:cxn ang="0">
                    <a:pos x="6" y="8"/>
                  </a:cxn>
                  <a:cxn ang="0">
                    <a:pos x="4" y="12"/>
                  </a:cxn>
                  <a:cxn ang="0">
                    <a:pos x="2" y="12"/>
                  </a:cxn>
                  <a:cxn ang="0">
                    <a:pos x="0" y="8"/>
                  </a:cxn>
                  <a:cxn ang="0">
                    <a:pos x="0" y="0"/>
                  </a:cxn>
                  <a:cxn ang="0">
                    <a:pos x="2" y="0"/>
                  </a:cxn>
                  <a:cxn ang="0">
                    <a:pos x="2" y="0"/>
                  </a:cxn>
                  <a:cxn ang="0">
                    <a:pos x="4" y="4"/>
                  </a:cxn>
                  <a:cxn ang="0">
                    <a:pos x="6" y="8"/>
                  </a:cxn>
                  <a:cxn ang="0">
                    <a:pos x="6" y="8"/>
                  </a:cxn>
                </a:cxnLst>
                <a:rect l="0" t="0" r="r" b="b"/>
                <a:pathLst>
                  <a:path w="6" h="12">
                    <a:moveTo>
                      <a:pt x="6" y="8"/>
                    </a:moveTo>
                    <a:lnTo>
                      <a:pt x="4" y="12"/>
                    </a:lnTo>
                    <a:lnTo>
                      <a:pt x="2" y="12"/>
                    </a:lnTo>
                    <a:lnTo>
                      <a:pt x="0" y="8"/>
                    </a:lnTo>
                    <a:lnTo>
                      <a:pt x="0" y="0"/>
                    </a:lnTo>
                    <a:lnTo>
                      <a:pt x="2" y="0"/>
                    </a:lnTo>
                    <a:lnTo>
                      <a:pt x="2" y="0"/>
                    </a:lnTo>
                    <a:lnTo>
                      <a:pt x="4" y="4"/>
                    </a:lnTo>
                    <a:lnTo>
                      <a:pt x="6" y="8"/>
                    </a:lnTo>
                    <a:lnTo>
                      <a:pt x="6"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3" name="Freeform 1511">
                <a:extLst>
                  <a:ext uri="{FF2B5EF4-FFF2-40B4-BE49-F238E27FC236}">
                    <a16:creationId xmlns:a16="http://schemas.microsoft.com/office/drawing/2014/main" id="{58EA60FF-3E62-42FF-97D6-409E77B131A9}"/>
                  </a:ext>
                </a:extLst>
              </p:cNvPr>
              <p:cNvSpPr>
                <a:spLocks/>
              </p:cNvSpPr>
              <p:nvPr/>
            </p:nvSpPr>
            <p:spPr bwMode="auto">
              <a:xfrm>
                <a:off x="2046" y="2608"/>
                <a:ext cx="4" cy="8"/>
              </a:xfrm>
              <a:custGeom>
                <a:avLst/>
                <a:gdLst/>
                <a:ahLst/>
                <a:cxnLst>
                  <a:cxn ang="0">
                    <a:pos x="0" y="4"/>
                  </a:cxn>
                  <a:cxn ang="0">
                    <a:pos x="2" y="0"/>
                  </a:cxn>
                  <a:cxn ang="0">
                    <a:pos x="4" y="8"/>
                  </a:cxn>
                  <a:cxn ang="0">
                    <a:pos x="0" y="6"/>
                  </a:cxn>
                  <a:cxn ang="0">
                    <a:pos x="0" y="4"/>
                  </a:cxn>
                </a:cxnLst>
                <a:rect l="0" t="0" r="r" b="b"/>
                <a:pathLst>
                  <a:path w="4" h="8">
                    <a:moveTo>
                      <a:pt x="0" y="4"/>
                    </a:moveTo>
                    <a:lnTo>
                      <a:pt x="2" y="0"/>
                    </a:lnTo>
                    <a:lnTo>
                      <a:pt x="4" y="8"/>
                    </a:lnTo>
                    <a:lnTo>
                      <a:pt x="0" y="6"/>
                    </a:lnTo>
                    <a:lnTo>
                      <a:pt x="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4" name="Freeform 1512">
                <a:extLst>
                  <a:ext uri="{FF2B5EF4-FFF2-40B4-BE49-F238E27FC236}">
                    <a16:creationId xmlns:a16="http://schemas.microsoft.com/office/drawing/2014/main" id="{FF40D41D-EC94-4EA5-8E70-FFD77420018B}"/>
                  </a:ext>
                </a:extLst>
              </p:cNvPr>
              <p:cNvSpPr>
                <a:spLocks/>
              </p:cNvSpPr>
              <p:nvPr/>
            </p:nvSpPr>
            <p:spPr bwMode="auto">
              <a:xfrm>
                <a:off x="2060" y="2594"/>
                <a:ext cx="6" cy="8"/>
              </a:xfrm>
              <a:custGeom>
                <a:avLst/>
                <a:gdLst/>
                <a:ahLst/>
                <a:cxnLst>
                  <a:cxn ang="0">
                    <a:pos x="4" y="0"/>
                  </a:cxn>
                  <a:cxn ang="0">
                    <a:pos x="6" y="8"/>
                  </a:cxn>
                  <a:cxn ang="0">
                    <a:pos x="0" y="4"/>
                  </a:cxn>
                  <a:cxn ang="0">
                    <a:pos x="4" y="0"/>
                  </a:cxn>
                </a:cxnLst>
                <a:rect l="0" t="0" r="r" b="b"/>
                <a:pathLst>
                  <a:path w="6" h="8">
                    <a:moveTo>
                      <a:pt x="4" y="0"/>
                    </a:moveTo>
                    <a:lnTo>
                      <a:pt x="6" y="8"/>
                    </a:lnTo>
                    <a:lnTo>
                      <a:pt x="0" y="4"/>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5" name="Freeform 1513">
                <a:extLst>
                  <a:ext uri="{FF2B5EF4-FFF2-40B4-BE49-F238E27FC236}">
                    <a16:creationId xmlns:a16="http://schemas.microsoft.com/office/drawing/2014/main" id="{B190ED26-FB2B-494C-A3A7-7A325728A9F1}"/>
                  </a:ext>
                </a:extLst>
              </p:cNvPr>
              <p:cNvSpPr>
                <a:spLocks/>
              </p:cNvSpPr>
              <p:nvPr/>
            </p:nvSpPr>
            <p:spPr bwMode="auto">
              <a:xfrm>
                <a:off x="2070" y="2600"/>
                <a:ext cx="6" cy="10"/>
              </a:xfrm>
              <a:custGeom>
                <a:avLst/>
                <a:gdLst/>
                <a:ahLst/>
                <a:cxnLst>
                  <a:cxn ang="0">
                    <a:pos x="6" y="10"/>
                  </a:cxn>
                  <a:cxn ang="0">
                    <a:pos x="4" y="10"/>
                  </a:cxn>
                  <a:cxn ang="0">
                    <a:pos x="4" y="10"/>
                  </a:cxn>
                  <a:cxn ang="0">
                    <a:pos x="2" y="6"/>
                  </a:cxn>
                  <a:cxn ang="0">
                    <a:pos x="0" y="0"/>
                  </a:cxn>
                  <a:cxn ang="0">
                    <a:pos x="0" y="0"/>
                  </a:cxn>
                  <a:cxn ang="0">
                    <a:pos x="4" y="4"/>
                  </a:cxn>
                  <a:cxn ang="0">
                    <a:pos x="6" y="10"/>
                  </a:cxn>
                  <a:cxn ang="0">
                    <a:pos x="6" y="10"/>
                  </a:cxn>
                </a:cxnLst>
                <a:rect l="0" t="0" r="r" b="b"/>
                <a:pathLst>
                  <a:path w="6" h="10">
                    <a:moveTo>
                      <a:pt x="6" y="10"/>
                    </a:moveTo>
                    <a:lnTo>
                      <a:pt x="4" y="10"/>
                    </a:lnTo>
                    <a:lnTo>
                      <a:pt x="4" y="10"/>
                    </a:lnTo>
                    <a:lnTo>
                      <a:pt x="2" y="6"/>
                    </a:lnTo>
                    <a:lnTo>
                      <a:pt x="0" y="0"/>
                    </a:lnTo>
                    <a:lnTo>
                      <a:pt x="0" y="0"/>
                    </a:lnTo>
                    <a:lnTo>
                      <a:pt x="4" y="4"/>
                    </a:lnTo>
                    <a:lnTo>
                      <a:pt x="6" y="10"/>
                    </a:lnTo>
                    <a:lnTo>
                      <a:pt x="6"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6" name="Freeform 1514">
                <a:extLst>
                  <a:ext uri="{FF2B5EF4-FFF2-40B4-BE49-F238E27FC236}">
                    <a16:creationId xmlns:a16="http://schemas.microsoft.com/office/drawing/2014/main" id="{F864F003-79F2-4BD2-B31E-13BB248B0699}"/>
                  </a:ext>
                </a:extLst>
              </p:cNvPr>
              <p:cNvSpPr>
                <a:spLocks/>
              </p:cNvSpPr>
              <p:nvPr/>
            </p:nvSpPr>
            <p:spPr bwMode="auto">
              <a:xfrm>
                <a:off x="2076" y="2618"/>
                <a:ext cx="4" cy="8"/>
              </a:xfrm>
              <a:custGeom>
                <a:avLst/>
                <a:gdLst/>
                <a:ahLst/>
                <a:cxnLst>
                  <a:cxn ang="0">
                    <a:pos x="0" y="0"/>
                  </a:cxn>
                  <a:cxn ang="0">
                    <a:pos x="4" y="8"/>
                  </a:cxn>
                  <a:cxn ang="0">
                    <a:pos x="0" y="6"/>
                  </a:cxn>
                  <a:cxn ang="0">
                    <a:pos x="0" y="0"/>
                  </a:cxn>
                </a:cxnLst>
                <a:rect l="0" t="0" r="r" b="b"/>
                <a:pathLst>
                  <a:path w="4" h="8">
                    <a:moveTo>
                      <a:pt x="0" y="0"/>
                    </a:moveTo>
                    <a:lnTo>
                      <a:pt x="4" y="8"/>
                    </a:lnTo>
                    <a:lnTo>
                      <a:pt x="0" y="6"/>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7" name="Freeform 1515">
                <a:extLst>
                  <a:ext uri="{FF2B5EF4-FFF2-40B4-BE49-F238E27FC236}">
                    <a16:creationId xmlns:a16="http://schemas.microsoft.com/office/drawing/2014/main" id="{5D1D8AE0-1B31-447B-B31C-2738D674EFC3}"/>
                  </a:ext>
                </a:extLst>
              </p:cNvPr>
              <p:cNvSpPr>
                <a:spLocks/>
              </p:cNvSpPr>
              <p:nvPr/>
            </p:nvSpPr>
            <p:spPr bwMode="auto">
              <a:xfrm>
                <a:off x="2088" y="2628"/>
                <a:ext cx="6" cy="8"/>
              </a:xfrm>
              <a:custGeom>
                <a:avLst/>
                <a:gdLst/>
                <a:ahLst/>
                <a:cxnLst>
                  <a:cxn ang="0">
                    <a:pos x="0" y="0"/>
                  </a:cxn>
                  <a:cxn ang="0">
                    <a:pos x="4" y="2"/>
                  </a:cxn>
                  <a:cxn ang="0">
                    <a:pos x="6" y="4"/>
                  </a:cxn>
                  <a:cxn ang="0">
                    <a:pos x="2" y="8"/>
                  </a:cxn>
                  <a:cxn ang="0">
                    <a:pos x="2" y="4"/>
                  </a:cxn>
                  <a:cxn ang="0">
                    <a:pos x="0" y="0"/>
                  </a:cxn>
                </a:cxnLst>
                <a:rect l="0" t="0" r="r" b="b"/>
                <a:pathLst>
                  <a:path w="6" h="8">
                    <a:moveTo>
                      <a:pt x="0" y="0"/>
                    </a:moveTo>
                    <a:lnTo>
                      <a:pt x="4" y="2"/>
                    </a:lnTo>
                    <a:lnTo>
                      <a:pt x="6" y="4"/>
                    </a:lnTo>
                    <a:lnTo>
                      <a:pt x="2" y="8"/>
                    </a:lnTo>
                    <a:lnTo>
                      <a:pt x="2" y="4"/>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8" name="Freeform 1516">
                <a:extLst>
                  <a:ext uri="{FF2B5EF4-FFF2-40B4-BE49-F238E27FC236}">
                    <a16:creationId xmlns:a16="http://schemas.microsoft.com/office/drawing/2014/main" id="{BAA6A2A0-94FB-4A35-B011-320439C35098}"/>
                  </a:ext>
                </a:extLst>
              </p:cNvPr>
              <p:cNvSpPr>
                <a:spLocks/>
              </p:cNvSpPr>
              <p:nvPr/>
            </p:nvSpPr>
            <p:spPr bwMode="auto">
              <a:xfrm>
                <a:off x="2100" y="2632"/>
                <a:ext cx="6" cy="4"/>
              </a:xfrm>
              <a:custGeom>
                <a:avLst/>
                <a:gdLst/>
                <a:ahLst/>
                <a:cxnLst>
                  <a:cxn ang="0">
                    <a:pos x="6" y="4"/>
                  </a:cxn>
                  <a:cxn ang="0">
                    <a:pos x="6" y="0"/>
                  </a:cxn>
                  <a:cxn ang="0">
                    <a:pos x="0" y="4"/>
                  </a:cxn>
                  <a:cxn ang="0">
                    <a:pos x="6" y="4"/>
                  </a:cxn>
                </a:cxnLst>
                <a:rect l="0" t="0" r="r" b="b"/>
                <a:pathLst>
                  <a:path w="6" h="4">
                    <a:moveTo>
                      <a:pt x="6" y="4"/>
                    </a:moveTo>
                    <a:lnTo>
                      <a:pt x="6" y="0"/>
                    </a:lnTo>
                    <a:lnTo>
                      <a:pt x="0" y="4"/>
                    </a:lnTo>
                    <a:lnTo>
                      <a:pt x="6"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09" name="Freeform 1517">
                <a:extLst>
                  <a:ext uri="{FF2B5EF4-FFF2-40B4-BE49-F238E27FC236}">
                    <a16:creationId xmlns:a16="http://schemas.microsoft.com/office/drawing/2014/main" id="{CF955369-41EA-4B76-9994-0969FE849340}"/>
                  </a:ext>
                </a:extLst>
              </p:cNvPr>
              <p:cNvSpPr>
                <a:spLocks/>
              </p:cNvSpPr>
              <p:nvPr/>
            </p:nvSpPr>
            <p:spPr bwMode="auto">
              <a:xfrm>
                <a:off x="2112" y="2638"/>
                <a:ext cx="8" cy="6"/>
              </a:xfrm>
              <a:custGeom>
                <a:avLst/>
                <a:gdLst/>
                <a:ahLst/>
                <a:cxnLst>
                  <a:cxn ang="0">
                    <a:pos x="2" y="0"/>
                  </a:cxn>
                  <a:cxn ang="0">
                    <a:pos x="8" y="6"/>
                  </a:cxn>
                  <a:cxn ang="0">
                    <a:pos x="8" y="6"/>
                  </a:cxn>
                  <a:cxn ang="0">
                    <a:pos x="4" y="6"/>
                  </a:cxn>
                  <a:cxn ang="0">
                    <a:pos x="0" y="4"/>
                  </a:cxn>
                  <a:cxn ang="0">
                    <a:pos x="2" y="0"/>
                  </a:cxn>
                </a:cxnLst>
                <a:rect l="0" t="0" r="r" b="b"/>
                <a:pathLst>
                  <a:path w="8" h="6">
                    <a:moveTo>
                      <a:pt x="2" y="0"/>
                    </a:moveTo>
                    <a:lnTo>
                      <a:pt x="8" y="6"/>
                    </a:lnTo>
                    <a:lnTo>
                      <a:pt x="8" y="6"/>
                    </a:lnTo>
                    <a:lnTo>
                      <a:pt x="4" y="6"/>
                    </a:lnTo>
                    <a:lnTo>
                      <a:pt x="0" y="4"/>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0" name="Freeform 1518">
                <a:extLst>
                  <a:ext uri="{FF2B5EF4-FFF2-40B4-BE49-F238E27FC236}">
                    <a16:creationId xmlns:a16="http://schemas.microsoft.com/office/drawing/2014/main" id="{E3CF6F88-DC35-4B51-8B95-F49F23F18E88}"/>
                  </a:ext>
                </a:extLst>
              </p:cNvPr>
              <p:cNvSpPr>
                <a:spLocks/>
              </p:cNvSpPr>
              <p:nvPr/>
            </p:nvSpPr>
            <p:spPr bwMode="auto">
              <a:xfrm>
                <a:off x="2096" y="2648"/>
                <a:ext cx="8" cy="6"/>
              </a:xfrm>
              <a:custGeom>
                <a:avLst/>
                <a:gdLst/>
                <a:ahLst/>
                <a:cxnLst>
                  <a:cxn ang="0">
                    <a:pos x="8" y="0"/>
                  </a:cxn>
                  <a:cxn ang="0">
                    <a:pos x="6" y="4"/>
                  </a:cxn>
                  <a:cxn ang="0">
                    <a:pos x="0" y="6"/>
                  </a:cxn>
                  <a:cxn ang="0">
                    <a:pos x="0" y="2"/>
                  </a:cxn>
                  <a:cxn ang="0">
                    <a:pos x="4" y="2"/>
                  </a:cxn>
                  <a:cxn ang="0">
                    <a:pos x="8" y="0"/>
                  </a:cxn>
                </a:cxnLst>
                <a:rect l="0" t="0" r="r" b="b"/>
                <a:pathLst>
                  <a:path w="8" h="6">
                    <a:moveTo>
                      <a:pt x="8" y="0"/>
                    </a:moveTo>
                    <a:lnTo>
                      <a:pt x="6" y="4"/>
                    </a:lnTo>
                    <a:lnTo>
                      <a:pt x="0" y="6"/>
                    </a:lnTo>
                    <a:lnTo>
                      <a:pt x="0" y="2"/>
                    </a:lnTo>
                    <a:lnTo>
                      <a:pt x="4" y="2"/>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1" name="Freeform 1519">
                <a:extLst>
                  <a:ext uri="{FF2B5EF4-FFF2-40B4-BE49-F238E27FC236}">
                    <a16:creationId xmlns:a16="http://schemas.microsoft.com/office/drawing/2014/main" id="{CC91151F-7FD9-4DC0-8BE6-0F791C782383}"/>
                  </a:ext>
                </a:extLst>
              </p:cNvPr>
              <p:cNvSpPr>
                <a:spLocks/>
              </p:cNvSpPr>
              <p:nvPr/>
            </p:nvSpPr>
            <p:spPr bwMode="auto">
              <a:xfrm>
                <a:off x="2172" y="2686"/>
                <a:ext cx="18" cy="8"/>
              </a:xfrm>
              <a:custGeom>
                <a:avLst/>
                <a:gdLst/>
                <a:ahLst/>
                <a:cxnLst>
                  <a:cxn ang="0">
                    <a:pos x="18" y="2"/>
                  </a:cxn>
                  <a:cxn ang="0">
                    <a:pos x="18" y="4"/>
                  </a:cxn>
                  <a:cxn ang="0">
                    <a:pos x="18" y="4"/>
                  </a:cxn>
                  <a:cxn ang="0">
                    <a:pos x="16" y="8"/>
                  </a:cxn>
                  <a:cxn ang="0">
                    <a:pos x="12" y="8"/>
                  </a:cxn>
                  <a:cxn ang="0">
                    <a:pos x="2" y="8"/>
                  </a:cxn>
                  <a:cxn ang="0">
                    <a:pos x="0" y="4"/>
                  </a:cxn>
                  <a:cxn ang="0">
                    <a:pos x="2" y="0"/>
                  </a:cxn>
                  <a:cxn ang="0">
                    <a:pos x="18" y="2"/>
                  </a:cxn>
                </a:cxnLst>
                <a:rect l="0" t="0" r="r" b="b"/>
                <a:pathLst>
                  <a:path w="18" h="8">
                    <a:moveTo>
                      <a:pt x="18" y="2"/>
                    </a:moveTo>
                    <a:lnTo>
                      <a:pt x="18" y="4"/>
                    </a:lnTo>
                    <a:lnTo>
                      <a:pt x="18" y="4"/>
                    </a:lnTo>
                    <a:lnTo>
                      <a:pt x="16" y="8"/>
                    </a:lnTo>
                    <a:lnTo>
                      <a:pt x="12" y="8"/>
                    </a:lnTo>
                    <a:lnTo>
                      <a:pt x="2" y="8"/>
                    </a:lnTo>
                    <a:lnTo>
                      <a:pt x="0" y="4"/>
                    </a:lnTo>
                    <a:lnTo>
                      <a:pt x="2" y="0"/>
                    </a:lnTo>
                    <a:lnTo>
                      <a:pt x="18"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2" name="Freeform 1520">
                <a:extLst>
                  <a:ext uri="{FF2B5EF4-FFF2-40B4-BE49-F238E27FC236}">
                    <a16:creationId xmlns:a16="http://schemas.microsoft.com/office/drawing/2014/main" id="{B756D4B8-7929-4666-BA6D-A372C12347C9}"/>
                  </a:ext>
                </a:extLst>
              </p:cNvPr>
              <p:cNvSpPr>
                <a:spLocks/>
              </p:cNvSpPr>
              <p:nvPr/>
            </p:nvSpPr>
            <p:spPr bwMode="auto">
              <a:xfrm>
                <a:off x="2092" y="2350"/>
                <a:ext cx="24" cy="8"/>
              </a:xfrm>
              <a:custGeom>
                <a:avLst/>
                <a:gdLst/>
                <a:ahLst/>
                <a:cxnLst>
                  <a:cxn ang="0">
                    <a:pos x="22" y="0"/>
                  </a:cxn>
                  <a:cxn ang="0">
                    <a:pos x="22" y="0"/>
                  </a:cxn>
                  <a:cxn ang="0">
                    <a:pos x="16" y="2"/>
                  </a:cxn>
                  <a:cxn ang="0">
                    <a:pos x="10" y="4"/>
                  </a:cxn>
                  <a:cxn ang="0">
                    <a:pos x="6" y="4"/>
                  </a:cxn>
                  <a:cxn ang="0">
                    <a:pos x="0" y="8"/>
                  </a:cxn>
                  <a:cxn ang="0">
                    <a:pos x="0" y="8"/>
                  </a:cxn>
                  <a:cxn ang="0">
                    <a:pos x="0" y="8"/>
                  </a:cxn>
                  <a:cxn ang="0">
                    <a:pos x="12" y="6"/>
                  </a:cxn>
                  <a:cxn ang="0">
                    <a:pos x="24" y="2"/>
                  </a:cxn>
                  <a:cxn ang="0">
                    <a:pos x="24" y="0"/>
                  </a:cxn>
                  <a:cxn ang="0">
                    <a:pos x="22" y="2"/>
                  </a:cxn>
                  <a:cxn ang="0">
                    <a:pos x="22" y="2"/>
                  </a:cxn>
                  <a:cxn ang="0">
                    <a:pos x="22" y="0"/>
                  </a:cxn>
                  <a:cxn ang="0">
                    <a:pos x="22" y="0"/>
                  </a:cxn>
                </a:cxnLst>
                <a:rect l="0" t="0" r="r" b="b"/>
                <a:pathLst>
                  <a:path w="24" h="8">
                    <a:moveTo>
                      <a:pt x="22" y="0"/>
                    </a:moveTo>
                    <a:lnTo>
                      <a:pt x="22" y="0"/>
                    </a:lnTo>
                    <a:lnTo>
                      <a:pt x="16" y="2"/>
                    </a:lnTo>
                    <a:lnTo>
                      <a:pt x="10" y="4"/>
                    </a:lnTo>
                    <a:lnTo>
                      <a:pt x="6" y="4"/>
                    </a:lnTo>
                    <a:lnTo>
                      <a:pt x="0" y="8"/>
                    </a:lnTo>
                    <a:lnTo>
                      <a:pt x="0" y="8"/>
                    </a:lnTo>
                    <a:lnTo>
                      <a:pt x="0" y="8"/>
                    </a:lnTo>
                    <a:lnTo>
                      <a:pt x="12" y="6"/>
                    </a:lnTo>
                    <a:lnTo>
                      <a:pt x="24" y="2"/>
                    </a:lnTo>
                    <a:lnTo>
                      <a:pt x="24" y="0"/>
                    </a:lnTo>
                    <a:lnTo>
                      <a:pt x="22" y="2"/>
                    </a:lnTo>
                    <a:lnTo>
                      <a:pt x="22" y="2"/>
                    </a:lnTo>
                    <a:lnTo>
                      <a:pt x="22" y="0"/>
                    </a:lnTo>
                    <a:lnTo>
                      <a:pt x="2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3" name="Freeform 1521">
                <a:extLst>
                  <a:ext uri="{FF2B5EF4-FFF2-40B4-BE49-F238E27FC236}">
                    <a16:creationId xmlns:a16="http://schemas.microsoft.com/office/drawing/2014/main" id="{8452DE5B-91C8-4530-9B44-57CA6AA797A9}"/>
                  </a:ext>
                </a:extLst>
              </p:cNvPr>
              <p:cNvSpPr>
                <a:spLocks/>
              </p:cNvSpPr>
              <p:nvPr/>
            </p:nvSpPr>
            <p:spPr bwMode="auto">
              <a:xfrm>
                <a:off x="2070" y="2434"/>
                <a:ext cx="6" cy="12"/>
              </a:xfrm>
              <a:custGeom>
                <a:avLst/>
                <a:gdLst/>
                <a:ahLst/>
                <a:cxnLst>
                  <a:cxn ang="0">
                    <a:pos x="0" y="12"/>
                  </a:cxn>
                  <a:cxn ang="0">
                    <a:pos x="4" y="12"/>
                  </a:cxn>
                  <a:cxn ang="0">
                    <a:pos x="6" y="6"/>
                  </a:cxn>
                  <a:cxn ang="0">
                    <a:pos x="2" y="0"/>
                  </a:cxn>
                  <a:cxn ang="0">
                    <a:pos x="2" y="0"/>
                  </a:cxn>
                  <a:cxn ang="0">
                    <a:pos x="4" y="6"/>
                  </a:cxn>
                  <a:cxn ang="0">
                    <a:pos x="2" y="12"/>
                  </a:cxn>
                  <a:cxn ang="0">
                    <a:pos x="0" y="12"/>
                  </a:cxn>
                </a:cxnLst>
                <a:rect l="0" t="0" r="r" b="b"/>
                <a:pathLst>
                  <a:path w="6" h="12">
                    <a:moveTo>
                      <a:pt x="0" y="12"/>
                    </a:moveTo>
                    <a:lnTo>
                      <a:pt x="4" y="12"/>
                    </a:lnTo>
                    <a:lnTo>
                      <a:pt x="6" y="6"/>
                    </a:lnTo>
                    <a:lnTo>
                      <a:pt x="2" y="0"/>
                    </a:lnTo>
                    <a:lnTo>
                      <a:pt x="2" y="0"/>
                    </a:lnTo>
                    <a:lnTo>
                      <a:pt x="4" y="6"/>
                    </a:lnTo>
                    <a:lnTo>
                      <a:pt x="2" y="12"/>
                    </a:lnTo>
                    <a:lnTo>
                      <a:pt x="0"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4" name="Freeform 1522">
                <a:extLst>
                  <a:ext uri="{FF2B5EF4-FFF2-40B4-BE49-F238E27FC236}">
                    <a16:creationId xmlns:a16="http://schemas.microsoft.com/office/drawing/2014/main" id="{E1938007-B7FF-4388-BC0D-76CBCA855980}"/>
                  </a:ext>
                </a:extLst>
              </p:cNvPr>
              <p:cNvSpPr>
                <a:spLocks/>
              </p:cNvSpPr>
              <p:nvPr/>
            </p:nvSpPr>
            <p:spPr bwMode="auto">
              <a:xfrm>
                <a:off x="2130" y="2344"/>
                <a:ext cx="4" cy="2"/>
              </a:xfrm>
              <a:custGeom>
                <a:avLst/>
                <a:gdLst/>
                <a:ahLst/>
                <a:cxnLst>
                  <a:cxn ang="0">
                    <a:pos x="0" y="2"/>
                  </a:cxn>
                  <a:cxn ang="0">
                    <a:pos x="4" y="2"/>
                  </a:cxn>
                  <a:cxn ang="0">
                    <a:pos x="4" y="2"/>
                  </a:cxn>
                  <a:cxn ang="0">
                    <a:pos x="2" y="0"/>
                  </a:cxn>
                  <a:cxn ang="0">
                    <a:pos x="0" y="2"/>
                  </a:cxn>
                </a:cxnLst>
                <a:rect l="0" t="0" r="r" b="b"/>
                <a:pathLst>
                  <a:path w="4" h="2">
                    <a:moveTo>
                      <a:pt x="0" y="2"/>
                    </a:moveTo>
                    <a:lnTo>
                      <a:pt x="4" y="2"/>
                    </a:lnTo>
                    <a:lnTo>
                      <a:pt x="4" y="2"/>
                    </a:lnTo>
                    <a:lnTo>
                      <a:pt x="2" y="0"/>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5" name="Freeform 1523">
                <a:extLst>
                  <a:ext uri="{FF2B5EF4-FFF2-40B4-BE49-F238E27FC236}">
                    <a16:creationId xmlns:a16="http://schemas.microsoft.com/office/drawing/2014/main" id="{0C65AD9F-9C9F-48BA-BF27-8DCAD45796C7}"/>
                  </a:ext>
                </a:extLst>
              </p:cNvPr>
              <p:cNvSpPr>
                <a:spLocks/>
              </p:cNvSpPr>
              <p:nvPr/>
            </p:nvSpPr>
            <p:spPr bwMode="auto">
              <a:xfrm>
                <a:off x="2152" y="2300"/>
                <a:ext cx="2" cy="2"/>
              </a:xfrm>
              <a:custGeom>
                <a:avLst/>
                <a:gdLst/>
                <a:ahLst/>
                <a:cxnLst>
                  <a:cxn ang="0">
                    <a:pos x="0" y="2"/>
                  </a:cxn>
                  <a:cxn ang="0">
                    <a:pos x="2" y="2"/>
                  </a:cxn>
                  <a:cxn ang="0">
                    <a:pos x="2" y="2"/>
                  </a:cxn>
                  <a:cxn ang="0">
                    <a:pos x="2" y="0"/>
                  </a:cxn>
                  <a:cxn ang="0">
                    <a:pos x="0" y="2"/>
                  </a:cxn>
                </a:cxnLst>
                <a:rect l="0" t="0" r="r" b="b"/>
                <a:pathLst>
                  <a:path w="2" h="2">
                    <a:moveTo>
                      <a:pt x="0" y="2"/>
                    </a:moveTo>
                    <a:lnTo>
                      <a:pt x="2" y="2"/>
                    </a:lnTo>
                    <a:lnTo>
                      <a:pt x="2" y="2"/>
                    </a:lnTo>
                    <a:lnTo>
                      <a:pt x="2" y="0"/>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6" name="Freeform 1524">
                <a:extLst>
                  <a:ext uri="{FF2B5EF4-FFF2-40B4-BE49-F238E27FC236}">
                    <a16:creationId xmlns:a16="http://schemas.microsoft.com/office/drawing/2014/main" id="{F9472B17-D749-4604-ACE2-0139EBE1E85E}"/>
                  </a:ext>
                </a:extLst>
              </p:cNvPr>
              <p:cNvSpPr>
                <a:spLocks/>
              </p:cNvSpPr>
              <p:nvPr/>
            </p:nvSpPr>
            <p:spPr bwMode="auto">
              <a:xfrm>
                <a:off x="2156" y="2296"/>
                <a:ext cx="2" cy="4"/>
              </a:xfrm>
              <a:custGeom>
                <a:avLst/>
                <a:gdLst/>
                <a:ahLst/>
                <a:cxnLst>
                  <a:cxn ang="0">
                    <a:pos x="0" y="4"/>
                  </a:cxn>
                  <a:cxn ang="0">
                    <a:pos x="2" y="4"/>
                  </a:cxn>
                  <a:cxn ang="0">
                    <a:pos x="0" y="0"/>
                  </a:cxn>
                  <a:cxn ang="0">
                    <a:pos x="0" y="4"/>
                  </a:cxn>
                </a:cxnLst>
                <a:rect l="0" t="0" r="r" b="b"/>
                <a:pathLst>
                  <a:path w="2" h="4">
                    <a:moveTo>
                      <a:pt x="0" y="4"/>
                    </a:moveTo>
                    <a:lnTo>
                      <a:pt x="2" y="4"/>
                    </a:lnTo>
                    <a:lnTo>
                      <a:pt x="0" y="0"/>
                    </a:lnTo>
                    <a:lnTo>
                      <a:pt x="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7" name="Freeform 1525">
                <a:extLst>
                  <a:ext uri="{FF2B5EF4-FFF2-40B4-BE49-F238E27FC236}">
                    <a16:creationId xmlns:a16="http://schemas.microsoft.com/office/drawing/2014/main" id="{712B23BD-6D38-4046-8719-F9ECE13EC0CF}"/>
                  </a:ext>
                </a:extLst>
              </p:cNvPr>
              <p:cNvSpPr>
                <a:spLocks/>
              </p:cNvSpPr>
              <p:nvPr/>
            </p:nvSpPr>
            <p:spPr bwMode="auto">
              <a:xfrm>
                <a:off x="2156" y="2300"/>
                <a:ext cx="2" cy="6"/>
              </a:xfrm>
              <a:custGeom>
                <a:avLst/>
                <a:gdLst/>
                <a:ahLst/>
                <a:cxnLst>
                  <a:cxn ang="0">
                    <a:pos x="0" y="2"/>
                  </a:cxn>
                  <a:cxn ang="0">
                    <a:pos x="2" y="6"/>
                  </a:cxn>
                  <a:cxn ang="0">
                    <a:pos x="2" y="0"/>
                  </a:cxn>
                  <a:cxn ang="0">
                    <a:pos x="0" y="2"/>
                  </a:cxn>
                </a:cxnLst>
                <a:rect l="0" t="0" r="r" b="b"/>
                <a:pathLst>
                  <a:path w="2" h="6">
                    <a:moveTo>
                      <a:pt x="0" y="2"/>
                    </a:moveTo>
                    <a:lnTo>
                      <a:pt x="2" y="6"/>
                    </a:lnTo>
                    <a:lnTo>
                      <a:pt x="2" y="0"/>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8" name="Freeform 1526">
                <a:extLst>
                  <a:ext uri="{FF2B5EF4-FFF2-40B4-BE49-F238E27FC236}">
                    <a16:creationId xmlns:a16="http://schemas.microsoft.com/office/drawing/2014/main" id="{8F0C0B19-A02B-48CC-A1FA-5D3A8A842538}"/>
                  </a:ext>
                </a:extLst>
              </p:cNvPr>
              <p:cNvSpPr>
                <a:spLocks/>
              </p:cNvSpPr>
              <p:nvPr/>
            </p:nvSpPr>
            <p:spPr bwMode="auto">
              <a:xfrm>
                <a:off x="2176" y="2286"/>
                <a:ext cx="2" cy="4"/>
              </a:xfrm>
              <a:custGeom>
                <a:avLst/>
                <a:gdLst/>
                <a:ahLst/>
                <a:cxnLst>
                  <a:cxn ang="0">
                    <a:pos x="2" y="0"/>
                  </a:cxn>
                  <a:cxn ang="0">
                    <a:pos x="0" y="4"/>
                  </a:cxn>
                  <a:cxn ang="0">
                    <a:pos x="2" y="2"/>
                  </a:cxn>
                  <a:cxn ang="0">
                    <a:pos x="2" y="0"/>
                  </a:cxn>
                  <a:cxn ang="0">
                    <a:pos x="2" y="0"/>
                  </a:cxn>
                </a:cxnLst>
                <a:rect l="0" t="0" r="r" b="b"/>
                <a:pathLst>
                  <a:path w="2" h="4">
                    <a:moveTo>
                      <a:pt x="2" y="0"/>
                    </a:moveTo>
                    <a:lnTo>
                      <a:pt x="0" y="4"/>
                    </a:lnTo>
                    <a:lnTo>
                      <a:pt x="2" y="2"/>
                    </a:lnTo>
                    <a:lnTo>
                      <a:pt x="2" y="0"/>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19" name="Freeform 1527">
                <a:extLst>
                  <a:ext uri="{FF2B5EF4-FFF2-40B4-BE49-F238E27FC236}">
                    <a16:creationId xmlns:a16="http://schemas.microsoft.com/office/drawing/2014/main" id="{63C016C3-F1B6-4731-B31E-2BD556AEB0BA}"/>
                  </a:ext>
                </a:extLst>
              </p:cNvPr>
              <p:cNvSpPr>
                <a:spLocks/>
              </p:cNvSpPr>
              <p:nvPr/>
            </p:nvSpPr>
            <p:spPr bwMode="auto">
              <a:xfrm>
                <a:off x="1816" y="2554"/>
                <a:ext cx="8" cy="8"/>
              </a:xfrm>
              <a:custGeom>
                <a:avLst/>
                <a:gdLst/>
                <a:ahLst/>
                <a:cxnLst>
                  <a:cxn ang="0">
                    <a:pos x="8" y="0"/>
                  </a:cxn>
                  <a:cxn ang="0">
                    <a:pos x="6" y="6"/>
                  </a:cxn>
                  <a:cxn ang="0">
                    <a:pos x="0" y="8"/>
                  </a:cxn>
                  <a:cxn ang="0">
                    <a:pos x="0" y="8"/>
                  </a:cxn>
                  <a:cxn ang="0">
                    <a:pos x="2" y="4"/>
                  </a:cxn>
                  <a:cxn ang="0">
                    <a:pos x="8" y="0"/>
                  </a:cxn>
                  <a:cxn ang="0">
                    <a:pos x="8" y="0"/>
                  </a:cxn>
                </a:cxnLst>
                <a:rect l="0" t="0" r="r" b="b"/>
                <a:pathLst>
                  <a:path w="8" h="8">
                    <a:moveTo>
                      <a:pt x="8" y="0"/>
                    </a:moveTo>
                    <a:lnTo>
                      <a:pt x="6" y="6"/>
                    </a:lnTo>
                    <a:lnTo>
                      <a:pt x="0" y="8"/>
                    </a:lnTo>
                    <a:lnTo>
                      <a:pt x="0" y="8"/>
                    </a:lnTo>
                    <a:lnTo>
                      <a:pt x="2" y="4"/>
                    </a:lnTo>
                    <a:lnTo>
                      <a:pt x="8" y="0"/>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20" name="Freeform 1528">
                <a:extLst>
                  <a:ext uri="{FF2B5EF4-FFF2-40B4-BE49-F238E27FC236}">
                    <a16:creationId xmlns:a16="http://schemas.microsoft.com/office/drawing/2014/main" id="{0F965229-B9A6-4B80-99BB-7F82014D39A9}"/>
                  </a:ext>
                </a:extLst>
              </p:cNvPr>
              <p:cNvSpPr>
                <a:spLocks/>
              </p:cNvSpPr>
              <p:nvPr/>
            </p:nvSpPr>
            <p:spPr bwMode="auto">
              <a:xfrm>
                <a:off x="1576" y="2486"/>
                <a:ext cx="360" cy="252"/>
              </a:xfrm>
              <a:custGeom>
                <a:avLst/>
                <a:gdLst/>
                <a:ahLst/>
                <a:cxnLst>
                  <a:cxn ang="0">
                    <a:pos x="42" y="20"/>
                  </a:cxn>
                  <a:cxn ang="0">
                    <a:pos x="56" y="50"/>
                  </a:cxn>
                  <a:cxn ang="0">
                    <a:pos x="72" y="68"/>
                  </a:cxn>
                  <a:cxn ang="0">
                    <a:pos x="88" y="88"/>
                  </a:cxn>
                  <a:cxn ang="0">
                    <a:pos x="94" y="104"/>
                  </a:cxn>
                  <a:cxn ang="0">
                    <a:pos x="106" y="108"/>
                  </a:cxn>
                  <a:cxn ang="0">
                    <a:pos x="122" y="128"/>
                  </a:cxn>
                  <a:cxn ang="0">
                    <a:pos x="144" y="166"/>
                  </a:cxn>
                  <a:cxn ang="0">
                    <a:pos x="150" y="192"/>
                  </a:cxn>
                  <a:cxn ang="0">
                    <a:pos x="164" y="204"/>
                  </a:cxn>
                  <a:cxn ang="0">
                    <a:pos x="182" y="208"/>
                  </a:cxn>
                  <a:cxn ang="0">
                    <a:pos x="222" y="232"/>
                  </a:cxn>
                  <a:cxn ang="0">
                    <a:pos x="264" y="232"/>
                  </a:cxn>
                  <a:cxn ang="0">
                    <a:pos x="298" y="252"/>
                  </a:cxn>
                  <a:cxn ang="0">
                    <a:pos x="312" y="216"/>
                  </a:cxn>
                  <a:cxn ang="0">
                    <a:pos x="338" y="208"/>
                  </a:cxn>
                  <a:cxn ang="0">
                    <a:pos x="348" y="196"/>
                  </a:cxn>
                  <a:cxn ang="0">
                    <a:pos x="352" y="194"/>
                  </a:cxn>
                  <a:cxn ang="0">
                    <a:pos x="356" y="176"/>
                  </a:cxn>
                  <a:cxn ang="0">
                    <a:pos x="354" y="158"/>
                  </a:cxn>
                  <a:cxn ang="0">
                    <a:pos x="344" y="158"/>
                  </a:cxn>
                  <a:cxn ang="0">
                    <a:pos x="320" y="166"/>
                  </a:cxn>
                  <a:cxn ang="0">
                    <a:pos x="308" y="198"/>
                  </a:cxn>
                  <a:cxn ang="0">
                    <a:pos x="286" y="200"/>
                  </a:cxn>
                  <a:cxn ang="0">
                    <a:pos x="266" y="200"/>
                  </a:cxn>
                  <a:cxn ang="0">
                    <a:pos x="240" y="160"/>
                  </a:cxn>
                  <a:cxn ang="0">
                    <a:pos x="230" y="116"/>
                  </a:cxn>
                  <a:cxn ang="0">
                    <a:pos x="238" y="106"/>
                  </a:cxn>
                  <a:cxn ang="0">
                    <a:pos x="238" y="102"/>
                  </a:cxn>
                  <a:cxn ang="0">
                    <a:pos x="236" y="100"/>
                  </a:cxn>
                  <a:cxn ang="0">
                    <a:pos x="208" y="74"/>
                  </a:cxn>
                  <a:cxn ang="0">
                    <a:pos x="196" y="56"/>
                  </a:cxn>
                  <a:cxn ang="0">
                    <a:pos x="172" y="42"/>
                  </a:cxn>
                  <a:cxn ang="0">
                    <a:pos x="158" y="52"/>
                  </a:cxn>
                  <a:cxn ang="0">
                    <a:pos x="144" y="30"/>
                  </a:cxn>
                  <a:cxn ang="0">
                    <a:pos x="128" y="14"/>
                  </a:cxn>
                  <a:cxn ang="0">
                    <a:pos x="106" y="12"/>
                  </a:cxn>
                  <a:cxn ang="0">
                    <a:pos x="86" y="20"/>
                  </a:cxn>
                  <a:cxn ang="0">
                    <a:pos x="26" y="0"/>
                  </a:cxn>
                  <a:cxn ang="0">
                    <a:pos x="14" y="34"/>
                  </a:cxn>
                  <a:cxn ang="0">
                    <a:pos x="28" y="52"/>
                  </a:cxn>
                  <a:cxn ang="0">
                    <a:pos x="26" y="72"/>
                  </a:cxn>
                  <a:cxn ang="0">
                    <a:pos x="44" y="86"/>
                  </a:cxn>
                  <a:cxn ang="0">
                    <a:pos x="58" y="96"/>
                  </a:cxn>
                  <a:cxn ang="0">
                    <a:pos x="64" y="116"/>
                  </a:cxn>
                  <a:cxn ang="0">
                    <a:pos x="86" y="142"/>
                  </a:cxn>
                  <a:cxn ang="0">
                    <a:pos x="88" y="128"/>
                  </a:cxn>
                  <a:cxn ang="0">
                    <a:pos x="78" y="118"/>
                  </a:cxn>
                  <a:cxn ang="0">
                    <a:pos x="66" y="90"/>
                  </a:cxn>
                  <a:cxn ang="0">
                    <a:pos x="54" y="72"/>
                  </a:cxn>
                  <a:cxn ang="0">
                    <a:pos x="44" y="56"/>
                  </a:cxn>
                  <a:cxn ang="0">
                    <a:pos x="30" y="34"/>
                  </a:cxn>
                </a:cxnLst>
                <a:rect l="0" t="0" r="r" b="b"/>
                <a:pathLst>
                  <a:path w="360" h="252">
                    <a:moveTo>
                      <a:pt x="28" y="12"/>
                    </a:moveTo>
                    <a:lnTo>
                      <a:pt x="36" y="18"/>
                    </a:lnTo>
                    <a:lnTo>
                      <a:pt x="40" y="18"/>
                    </a:lnTo>
                    <a:lnTo>
                      <a:pt x="42" y="20"/>
                    </a:lnTo>
                    <a:lnTo>
                      <a:pt x="48" y="22"/>
                    </a:lnTo>
                    <a:lnTo>
                      <a:pt x="48" y="22"/>
                    </a:lnTo>
                    <a:lnTo>
                      <a:pt x="52" y="36"/>
                    </a:lnTo>
                    <a:lnTo>
                      <a:pt x="56" y="50"/>
                    </a:lnTo>
                    <a:lnTo>
                      <a:pt x="56" y="50"/>
                    </a:lnTo>
                    <a:lnTo>
                      <a:pt x="60" y="54"/>
                    </a:lnTo>
                    <a:lnTo>
                      <a:pt x="64" y="62"/>
                    </a:lnTo>
                    <a:lnTo>
                      <a:pt x="72" y="68"/>
                    </a:lnTo>
                    <a:lnTo>
                      <a:pt x="74" y="70"/>
                    </a:lnTo>
                    <a:lnTo>
                      <a:pt x="78" y="72"/>
                    </a:lnTo>
                    <a:lnTo>
                      <a:pt x="78" y="76"/>
                    </a:lnTo>
                    <a:lnTo>
                      <a:pt x="88" y="88"/>
                    </a:lnTo>
                    <a:lnTo>
                      <a:pt x="92" y="88"/>
                    </a:lnTo>
                    <a:lnTo>
                      <a:pt x="96" y="92"/>
                    </a:lnTo>
                    <a:lnTo>
                      <a:pt x="94" y="100"/>
                    </a:lnTo>
                    <a:lnTo>
                      <a:pt x="94" y="104"/>
                    </a:lnTo>
                    <a:lnTo>
                      <a:pt x="98" y="102"/>
                    </a:lnTo>
                    <a:lnTo>
                      <a:pt x="98" y="106"/>
                    </a:lnTo>
                    <a:lnTo>
                      <a:pt x="104" y="110"/>
                    </a:lnTo>
                    <a:lnTo>
                      <a:pt x="106" y="108"/>
                    </a:lnTo>
                    <a:lnTo>
                      <a:pt x="110" y="112"/>
                    </a:lnTo>
                    <a:lnTo>
                      <a:pt x="112" y="118"/>
                    </a:lnTo>
                    <a:lnTo>
                      <a:pt x="112" y="118"/>
                    </a:lnTo>
                    <a:lnTo>
                      <a:pt x="122" y="128"/>
                    </a:lnTo>
                    <a:lnTo>
                      <a:pt x="134" y="142"/>
                    </a:lnTo>
                    <a:lnTo>
                      <a:pt x="138" y="152"/>
                    </a:lnTo>
                    <a:lnTo>
                      <a:pt x="142" y="160"/>
                    </a:lnTo>
                    <a:lnTo>
                      <a:pt x="144" y="166"/>
                    </a:lnTo>
                    <a:lnTo>
                      <a:pt x="142" y="174"/>
                    </a:lnTo>
                    <a:lnTo>
                      <a:pt x="138" y="176"/>
                    </a:lnTo>
                    <a:lnTo>
                      <a:pt x="150" y="192"/>
                    </a:lnTo>
                    <a:lnTo>
                      <a:pt x="150" y="192"/>
                    </a:lnTo>
                    <a:lnTo>
                      <a:pt x="154" y="194"/>
                    </a:lnTo>
                    <a:lnTo>
                      <a:pt x="158" y="196"/>
                    </a:lnTo>
                    <a:lnTo>
                      <a:pt x="162" y="200"/>
                    </a:lnTo>
                    <a:lnTo>
                      <a:pt x="164" y="204"/>
                    </a:lnTo>
                    <a:lnTo>
                      <a:pt x="164" y="204"/>
                    </a:lnTo>
                    <a:lnTo>
                      <a:pt x="174" y="206"/>
                    </a:lnTo>
                    <a:lnTo>
                      <a:pt x="182" y="208"/>
                    </a:lnTo>
                    <a:lnTo>
                      <a:pt x="182" y="208"/>
                    </a:lnTo>
                    <a:lnTo>
                      <a:pt x="188" y="214"/>
                    </a:lnTo>
                    <a:lnTo>
                      <a:pt x="194" y="218"/>
                    </a:lnTo>
                    <a:lnTo>
                      <a:pt x="194" y="218"/>
                    </a:lnTo>
                    <a:lnTo>
                      <a:pt x="222" y="232"/>
                    </a:lnTo>
                    <a:lnTo>
                      <a:pt x="236" y="236"/>
                    </a:lnTo>
                    <a:lnTo>
                      <a:pt x="252" y="240"/>
                    </a:lnTo>
                    <a:lnTo>
                      <a:pt x="264" y="232"/>
                    </a:lnTo>
                    <a:lnTo>
                      <a:pt x="264" y="232"/>
                    </a:lnTo>
                    <a:lnTo>
                      <a:pt x="274" y="234"/>
                    </a:lnTo>
                    <a:lnTo>
                      <a:pt x="282" y="238"/>
                    </a:lnTo>
                    <a:lnTo>
                      <a:pt x="292" y="246"/>
                    </a:lnTo>
                    <a:lnTo>
                      <a:pt x="298" y="252"/>
                    </a:lnTo>
                    <a:lnTo>
                      <a:pt x="306" y="232"/>
                    </a:lnTo>
                    <a:lnTo>
                      <a:pt x="318" y="232"/>
                    </a:lnTo>
                    <a:lnTo>
                      <a:pt x="306" y="216"/>
                    </a:lnTo>
                    <a:lnTo>
                      <a:pt x="312" y="216"/>
                    </a:lnTo>
                    <a:lnTo>
                      <a:pt x="314" y="210"/>
                    </a:lnTo>
                    <a:lnTo>
                      <a:pt x="314" y="210"/>
                    </a:lnTo>
                    <a:lnTo>
                      <a:pt x="326" y="210"/>
                    </a:lnTo>
                    <a:lnTo>
                      <a:pt x="338" y="208"/>
                    </a:lnTo>
                    <a:lnTo>
                      <a:pt x="340" y="202"/>
                    </a:lnTo>
                    <a:lnTo>
                      <a:pt x="344" y="202"/>
                    </a:lnTo>
                    <a:lnTo>
                      <a:pt x="346" y="196"/>
                    </a:lnTo>
                    <a:lnTo>
                      <a:pt x="348" y="196"/>
                    </a:lnTo>
                    <a:lnTo>
                      <a:pt x="346" y="200"/>
                    </a:lnTo>
                    <a:lnTo>
                      <a:pt x="348" y="202"/>
                    </a:lnTo>
                    <a:lnTo>
                      <a:pt x="348" y="202"/>
                    </a:lnTo>
                    <a:lnTo>
                      <a:pt x="352" y="194"/>
                    </a:lnTo>
                    <a:lnTo>
                      <a:pt x="354" y="186"/>
                    </a:lnTo>
                    <a:lnTo>
                      <a:pt x="352" y="184"/>
                    </a:lnTo>
                    <a:lnTo>
                      <a:pt x="352" y="184"/>
                    </a:lnTo>
                    <a:lnTo>
                      <a:pt x="356" y="176"/>
                    </a:lnTo>
                    <a:lnTo>
                      <a:pt x="358" y="172"/>
                    </a:lnTo>
                    <a:lnTo>
                      <a:pt x="360" y="170"/>
                    </a:lnTo>
                    <a:lnTo>
                      <a:pt x="360" y="160"/>
                    </a:lnTo>
                    <a:lnTo>
                      <a:pt x="354" y="158"/>
                    </a:lnTo>
                    <a:lnTo>
                      <a:pt x="350" y="162"/>
                    </a:lnTo>
                    <a:lnTo>
                      <a:pt x="350" y="158"/>
                    </a:lnTo>
                    <a:lnTo>
                      <a:pt x="350" y="158"/>
                    </a:lnTo>
                    <a:lnTo>
                      <a:pt x="344" y="158"/>
                    </a:lnTo>
                    <a:lnTo>
                      <a:pt x="336" y="160"/>
                    </a:lnTo>
                    <a:lnTo>
                      <a:pt x="326" y="162"/>
                    </a:lnTo>
                    <a:lnTo>
                      <a:pt x="320" y="166"/>
                    </a:lnTo>
                    <a:lnTo>
                      <a:pt x="320" y="166"/>
                    </a:lnTo>
                    <a:lnTo>
                      <a:pt x="318" y="178"/>
                    </a:lnTo>
                    <a:lnTo>
                      <a:pt x="314" y="190"/>
                    </a:lnTo>
                    <a:lnTo>
                      <a:pt x="308" y="194"/>
                    </a:lnTo>
                    <a:lnTo>
                      <a:pt x="308" y="198"/>
                    </a:lnTo>
                    <a:lnTo>
                      <a:pt x="302" y="200"/>
                    </a:lnTo>
                    <a:lnTo>
                      <a:pt x="300" y="198"/>
                    </a:lnTo>
                    <a:lnTo>
                      <a:pt x="300" y="198"/>
                    </a:lnTo>
                    <a:lnTo>
                      <a:pt x="286" y="200"/>
                    </a:lnTo>
                    <a:lnTo>
                      <a:pt x="276" y="202"/>
                    </a:lnTo>
                    <a:lnTo>
                      <a:pt x="270" y="204"/>
                    </a:lnTo>
                    <a:lnTo>
                      <a:pt x="270" y="204"/>
                    </a:lnTo>
                    <a:lnTo>
                      <a:pt x="266" y="200"/>
                    </a:lnTo>
                    <a:lnTo>
                      <a:pt x="262" y="196"/>
                    </a:lnTo>
                    <a:lnTo>
                      <a:pt x="250" y="192"/>
                    </a:lnTo>
                    <a:lnTo>
                      <a:pt x="240" y="168"/>
                    </a:lnTo>
                    <a:lnTo>
                      <a:pt x="240" y="160"/>
                    </a:lnTo>
                    <a:lnTo>
                      <a:pt x="232" y="150"/>
                    </a:lnTo>
                    <a:lnTo>
                      <a:pt x="232" y="150"/>
                    </a:lnTo>
                    <a:lnTo>
                      <a:pt x="232" y="134"/>
                    </a:lnTo>
                    <a:lnTo>
                      <a:pt x="230" y="116"/>
                    </a:lnTo>
                    <a:lnTo>
                      <a:pt x="230" y="116"/>
                    </a:lnTo>
                    <a:lnTo>
                      <a:pt x="234" y="112"/>
                    </a:lnTo>
                    <a:lnTo>
                      <a:pt x="234" y="108"/>
                    </a:lnTo>
                    <a:lnTo>
                      <a:pt x="238" y="106"/>
                    </a:lnTo>
                    <a:lnTo>
                      <a:pt x="238" y="106"/>
                    </a:lnTo>
                    <a:lnTo>
                      <a:pt x="240" y="104"/>
                    </a:lnTo>
                    <a:lnTo>
                      <a:pt x="240" y="102"/>
                    </a:lnTo>
                    <a:lnTo>
                      <a:pt x="238" y="102"/>
                    </a:lnTo>
                    <a:lnTo>
                      <a:pt x="240" y="98"/>
                    </a:lnTo>
                    <a:lnTo>
                      <a:pt x="240" y="98"/>
                    </a:lnTo>
                    <a:lnTo>
                      <a:pt x="236" y="100"/>
                    </a:lnTo>
                    <a:lnTo>
                      <a:pt x="236" y="100"/>
                    </a:lnTo>
                    <a:lnTo>
                      <a:pt x="224" y="96"/>
                    </a:lnTo>
                    <a:lnTo>
                      <a:pt x="218" y="92"/>
                    </a:lnTo>
                    <a:lnTo>
                      <a:pt x="212" y="86"/>
                    </a:lnTo>
                    <a:lnTo>
                      <a:pt x="208" y="74"/>
                    </a:lnTo>
                    <a:lnTo>
                      <a:pt x="204" y="72"/>
                    </a:lnTo>
                    <a:lnTo>
                      <a:pt x="204" y="72"/>
                    </a:lnTo>
                    <a:lnTo>
                      <a:pt x="202" y="64"/>
                    </a:lnTo>
                    <a:lnTo>
                      <a:pt x="196" y="56"/>
                    </a:lnTo>
                    <a:lnTo>
                      <a:pt x="186" y="42"/>
                    </a:lnTo>
                    <a:lnTo>
                      <a:pt x="186" y="42"/>
                    </a:lnTo>
                    <a:lnTo>
                      <a:pt x="178" y="42"/>
                    </a:lnTo>
                    <a:lnTo>
                      <a:pt x="172" y="42"/>
                    </a:lnTo>
                    <a:lnTo>
                      <a:pt x="166" y="54"/>
                    </a:lnTo>
                    <a:lnTo>
                      <a:pt x="166" y="54"/>
                    </a:lnTo>
                    <a:lnTo>
                      <a:pt x="162" y="54"/>
                    </a:lnTo>
                    <a:lnTo>
                      <a:pt x="158" y="52"/>
                    </a:lnTo>
                    <a:lnTo>
                      <a:pt x="152" y="46"/>
                    </a:lnTo>
                    <a:lnTo>
                      <a:pt x="148" y="38"/>
                    </a:lnTo>
                    <a:lnTo>
                      <a:pt x="144" y="30"/>
                    </a:lnTo>
                    <a:lnTo>
                      <a:pt x="144" y="30"/>
                    </a:lnTo>
                    <a:lnTo>
                      <a:pt x="136" y="22"/>
                    </a:lnTo>
                    <a:lnTo>
                      <a:pt x="132" y="18"/>
                    </a:lnTo>
                    <a:lnTo>
                      <a:pt x="130" y="18"/>
                    </a:lnTo>
                    <a:lnTo>
                      <a:pt x="128" y="14"/>
                    </a:lnTo>
                    <a:lnTo>
                      <a:pt x="128" y="14"/>
                    </a:lnTo>
                    <a:lnTo>
                      <a:pt x="124" y="12"/>
                    </a:lnTo>
                    <a:lnTo>
                      <a:pt x="118" y="12"/>
                    </a:lnTo>
                    <a:lnTo>
                      <a:pt x="106" y="12"/>
                    </a:lnTo>
                    <a:lnTo>
                      <a:pt x="106" y="20"/>
                    </a:lnTo>
                    <a:lnTo>
                      <a:pt x="106" y="20"/>
                    </a:lnTo>
                    <a:lnTo>
                      <a:pt x="96" y="20"/>
                    </a:lnTo>
                    <a:lnTo>
                      <a:pt x="86" y="20"/>
                    </a:lnTo>
                    <a:lnTo>
                      <a:pt x="64" y="16"/>
                    </a:lnTo>
                    <a:lnTo>
                      <a:pt x="44" y="10"/>
                    </a:lnTo>
                    <a:lnTo>
                      <a:pt x="28" y="2"/>
                    </a:lnTo>
                    <a:lnTo>
                      <a:pt x="26" y="0"/>
                    </a:lnTo>
                    <a:lnTo>
                      <a:pt x="0" y="2"/>
                    </a:lnTo>
                    <a:lnTo>
                      <a:pt x="0" y="2"/>
                    </a:lnTo>
                    <a:lnTo>
                      <a:pt x="8" y="18"/>
                    </a:lnTo>
                    <a:lnTo>
                      <a:pt x="14" y="34"/>
                    </a:lnTo>
                    <a:lnTo>
                      <a:pt x="16" y="34"/>
                    </a:lnTo>
                    <a:lnTo>
                      <a:pt x="18" y="44"/>
                    </a:lnTo>
                    <a:lnTo>
                      <a:pt x="18" y="44"/>
                    </a:lnTo>
                    <a:lnTo>
                      <a:pt x="28" y="52"/>
                    </a:lnTo>
                    <a:lnTo>
                      <a:pt x="38" y="62"/>
                    </a:lnTo>
                    <a:lnTo>
                      <a:pt x="38" y="68"/>
                    </a:lnTo>
                    <a:lnTo>
                      <a:pt x="34" y="72"/>
                    </a:lnTo>
                    <a:lnTo>
                      <a:pt x="26" y="72"/>
                    </a:lnTo>
                    <a:lnTo>
                      <a:pt x="26" y="74"/>
                    </a:lnTo>
                    <a:lnTo>
                      <a:pt x="32" y="76"/>
                    </a:lnTo>
                    <a:lnTo>
                      <a:pt x="34" y="80"/>
                    </a:lnTo>
                    <a:lnTo>
                      <a:pt x="44" y="86"/>
                    </a:lnTo>
                    <a:lnTo>
                      <a:pt x="48" y="84"/>
                    </a:lnTo>
                    <a:lnTo>
                      <a:pt x="50" y="88"/>
                    </a:lnTo>
                    <a:lnTo>
                      <a:pt x="58" y="96"/>
                    </a:lnTo>
                    <a:lnTo>
                      <a:pt x="58" y="96"/>
                    </a:lnTo>
                    <a:lnTo>
                      <a:pt x="60" y="106"/>
                    </a:lnTo>
                    <a:lnTo>
                      <a:pt x="60" y="112"/>
                    </a:lnTo>
                    <a:lnTo>
                      <a:pt x="60" y="116"/>
                    </a:lnTo>
                    <a:lnTo>
                      <a:pt x="64" y="116"/>
                    </a:lnTo>
                    <a:lnTo>
                      <a:pt x="64" y="116"/>
                    </a:lnTo>
                    <a:lnTo>
                      <a:pt x="76" y="128"/>
                    </a:lnTo>
                    <a:lnTo>
                      <a:pt x="82" y="136"/>
                    </a:lnTo>
                    <a:lnTo>
                      <a:pt x="86" y="142"/>
                    </a:lnTo>
                    <a:lnTo>
                      <a:pt x="92" y="138"/>
                    </a:lnTo>
                    <a:lnTo>
                      <a:pt x="92" y="134"/>
                    </a:lnTo>
                    <a:lnTo>
                      <a:pt x="92" y="134"/>
                    </a:lnTo>
                    <a:lnTo>
                      <a:pt x="88" y="128"/>
                    </a:lnTo>
                    <a:lnTo>
                      <a:pt x="84" y="122"/>
                    </a:lnTo>
                    <a:lnTo>
                      <a:pt x="82" y="124"/>
                    </a:lnTo>
                    <a:lnTo>
                      <a:pt x="82" y="124"/>
                    </a:lnTo>
                    <a:lnTo>
                      <a:pt x="78" y="118"/>
                    </a:lnTo>
                    <a:lnTo>
                      <a:pt x="74" y="108"/>
                    </a:lnTo>
                    <a:lnTo>
                      <a:pt x="68" y="88"/>
                    </a:lnTo>
                    <a:lnTo>
                      <a:pt x="66" y="90"/>
                    </a:lnTo>
                    <a:lnTo>
                      <a:pt x="66" y="90"/>
                    </a:lnTo>
                    <a:lnTo>
                      <a:pt x="64" y="88"/>
                    </a:lnTo>
                    <a:lnTo>
                      <a:pt x="60" y="82"/>
                    </a:lnTo>
                    <a:lnTo>
                      <a:pt x="58" y="76"/>
                    </a:lnTo>
                    <a:lnTo>
                      <a:pt x="54" y="72"/>
                    </a:lnTo>
                    <a:lnTo>
                      <a:pt x="52" y="64"/>
                    </a:lnTo>
                    <a:lnTo>
                      <a:pt x="50" y="62"/>
                    </a:lnTo>
                    <a:lnTo>
                      <a:pt x="48" y="58"/>
                    </a:lnTo>
                    <a:lnTo>
                      <a:pt x="44" y="56"/>
                    </a:lnTo>
                    <a:lnTo>
                      <a:pt x="42" y="50"/>
                    </a:lnTo>
                    <a:lnTo>
                      <a:pt x="42" y="50"/>
                    </a:lnTo>
                    <a:lnTo>
                      <a:pt x="34" y="44"/>
                    </a:lnTo>
                    <a:lnTo>
                      <a:pt x="30" y="34"/>
                    </a:lnTo>
                    <a:lnTo>
                      <a:pt x="28" y="24"/>
                    </a:lnTo>
                    <a:lnTo>
                      <a:pt x="28" y="12"/>
                    </a:lnTo>
                    <a:lnTo>
                      <a:pt x="28"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721" name="Freeform 1529">
                <a:extLst>
                  <a:ext uri="{FF2B5EF4-FFF2-40B4-BE49-F238E27FC236}">
                    <a16:creationId xmlns:a16="http://schemas.microsoft.com/office/drawing/2014/main" id="{91415825-29F1-45B5-9E0F-C4E245B86108}"/>
                  </a:ext>
                </a:extLst>
              </p:cNvPr>
              <p:cNvSpPr>
                <a:spLocks/>
              </p:cNvSpPr>
              <p:nvPr/>
            </p:nvSpPr>
            <p:spPr bwMode="auto">
              <a:xfrm>
                <a:off x="1874" y="2696"/>
                <a:ext cx="46" cy="54"/>
              </a:xfrm>
              <a:custGeom>
                <a:avLst/>
                <a:gdLst/>
                <a:ahLst/>
                <a:cxnLst>
                  <a:cxn ang="0">
                    <a:pos x="36" y="0"/>
                  </a:cxn>
                  <a:cxn ang="0">
                    <a:pos x="16" y="0"/>
                  </a:cxn>
                  <a:cxn ang="0">
                    <a:pos x="14" y="6"/>
                  </a:cxn>
                  <a:cxn ang="0">
                    <a:pos x="8" y="6"/>
                  </a:cxn>
                  <a:cxn ang="0">
                    <a:pos x="20" y="22"/>
                  </a:cxn>
                  <a:cxn ang="0">
                    <a:pos x="8" y="22"/>
                  </a:cxn>
                  <a:cxn ang="0">
                    <a:pos x="0" y="42"/>
                  </a:cxn>
                  <a:cxn ang="0">
                    <a:pos x="0" y="42"/>
                  </a:cxn>
                  <a:cxn ang="0">
                    <a:pos x="4" y="48"/>
                  </a:cxn>
                  <a:cxn ang="0">
                    <a:pos x="12" y="52"/>
                  </a:cxn>
                  <a:cxn ang="0">
                    <a:pos x="18" y="54"/>
                  </a:cxn>
                  <a:cxn ang="0">
                    <a:pos x="26" y="54"/>
                  </a:cxn>
                  <a:cxn ang="0">
                    <a:pos x="26" y="54"/>
                  </a:cxn>
                  <a:cxn ang="0">
                    <a:pos x="30" y="48"/>
                  </a:cxn>
                  <a:cxn ang="0">
                    <a:pos x="36" y="42"/>
                  </a:cxn>
                  <a:cxn ang="0">
                    <a:pos x="36" y="38"/>
                  </a:cxn>
                  <a:cxn ang="0">
                    <a:pos x="44" y="30"/>
                  </a:cxn>
                  <a:cxn ang="0">
                    <a:pos x="46" y="28"/>
                  </a:cxn>
                  <a:cxn ang="0">
                    <a:pos x="42" y="28"/>
                  </a:cxn>
                  <a:cxn ang="0">
                    <a:pos x="40" y="26"/>
                  </a:cxn>
                  <a:cxn ang="0">
                    <a:pos x="36" y="24"/>
                  </a:cxn>
                  <a:cxn ang="0">
                    <a:pos x="36" y="0"/>
                  </a:cxn>
                </a:cxnLst>
                <a:rect l="0" t="0" r="r" b="b"/>
                <a:pathLst>
                  <a:path w="46" h="54">
                    <a:moveTo>
                      <a:pt x="36" y="0"/>
                    </a:moveTo>
                    <a:lnTo>
                      <a:pt x="16" y="0"/>
                    </a:lnTo>
                    <a:lnTo>
                      <a:pt x="14" y="6"/>
                    </a:lnTo>
                    <a:lnTo>
                      <a:pt x="8" y="6"/>
                    </a:lnTo>
                    <a:lnTo>
                      <a:pt x="20" y="22"/>
                    </a:lnTo>
                    <a:lnTo>
                      <a:pt x="8" y="22"/>
                    </a:lnTo>
                    <a:lnTo>
                      <a:pt x="0" y="42"/>
                    </a:lnTo>
                    <a:lnTo>
                      <a:pt x="0" y="42"/>
                    </a:lnTo>
                    <a:lnTo>
                      <a:pt x="4" y="48"/>
                    </a:lnTo>
                    <a:lnTo>
                      <a:pt x="12" y="52"/>
                    </a:lnTo>
                    <a:lnTo>
                      <a:pt x="18" y="54"/>
                    </a:lnTo>
                    <a:lnTo>
                      <a:pt x="26" y="54"/>
                    </a:lnTo>
                    <a:lnTo>
                      <a:pt x="26" y="54"/>
                    </a:lnTo>
                    <a:lnTo>
                      <a:pt x="30" y="48"/>
                    </a:lnTo>
                    <a:lnTo>
                      <a:pt x="36" y="42"/>
                    </a:lnTo>
                    <a:lnTo>
                      <a:pt x="36" y="38"/>
                    </a:lnTo>
                    <a:lnTo>
                      <a:pt x="44" y="30"/>
                    </a:lnTo>
                    <a:lnTo>
                      <a:pt x="46" y="28"/>
                    </a:lnTo>
                    <a:lnTo>
                      <a:pt x="42" y="28"/>
                    </a:lnTo>
                    <a:lnTo>
                      <a:pt x="40" y="26"/>
                    </a:lnTo>
                    <a:lnTo>
                      <a:pt x="36" y="24"/>
                    </a:lnTo>
                    <a:lnTo>
                      <a:pt x="3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grpSp>
        <p:grpSp>
          <p:nvGrpSpPr>
            <p:cNvPr id="257" name="Group 1530">
              <a:extLst>
                <a:ext uri="{FF2B5EF4-FFF2-40B4-BE49-F238E27FC236}">
                  <a16:creationId xmlns:a16="http://schemas.microsoft.com/office/drawing/2014/main" id="{CCF29B17-583E-4149-AEAE-CFB7AFAEE5A0}"/>
                </a:ext>
              </a:extLst>
            </p:cNvPr>
            <p:cNvGrpSpPr>
              <a:grpSpLocks/>
            </p:cNvGrpSpPr>
            <p:nvPr/>
          </p:nvGrpSpPr>
          <p:grpSpPr bwMode="auto">
            <a:xfrm>
              <a:off x="1679251" y="2007214"/>
              <a:ext cx="6799207" cy="4628001"/>
              <a:chOff x="1620" y="1300"/>
              <a:chExt cx="3653" cy="2488"/>
            </a:xfrm>
            <a:grpFill/>
          </p:grpSpPr>
          <p:sp>
            <p:nvSpPr>
              <p:cNvPr id="322" name="Freeform 1531">
                <a:extLst>
                  <a:ext uri="{FF2B5EF4-FFF2-40B4-BE49-F238E27FC236}">
                    <a16:creationId xmlns:a16="http://schemas.microsoft.com/office/drawing/2014/main" id="{BE38DAD9-91C0-45C7-948E-9A8CA5D02FFF}"/>
                  </a:ext>
                </a:extLst>
              </p:cNvPr>
              <p:cNvSpPr>
                <a:spLocks/>
              </p:cNvSpPr>
              <p:nvPr/>
            </p:nvSpPr>
            <p:spPr bwMode="auto">
              <a:xfrm>
                <a:off x="2088" y="2668"/>
                <a:ext cx="32" cy="26"/>
              </a:xfrm>
              <a:custGeom>
                <a:avLst/>
                <a:gdLst/>
                <a:ahLst/>
                <a:cxnLst>
                  <a:cxn ang="0">
                    <a:pos x="30" y="26"/>
                  </a:cxn>
                  <a:cxn ang="0">
                    <a:pos x="32" y="22"/>
                  </a:cxn>
                  <a:cxn ang="0">
                    <a:pos x="30" y="18"/>
                  </a:cxn>
                  <a:cxn ang="0">
                    <a:pos x="32" y="16"/>
                  </a:cxn>
                  <a:cxn ang="0">
                    <a:pos x="32" y="16"/>
                  </a:cxn>
                  <a:cxn ang="0">
                    <a:pos x="32" y="8"/>
                  </a:cxn>
                  <a:cxn ang="0">
                    <a:pos x="30" y="0"/>
                  </a:cxn>
                  <a:cxn ang="0">
                    <a:pos x="30" y="0"/>
                  </a:cxn>
                  <a:cxn ang="0">
                    <a:pos x="22" y="2"/>
                  </a:cxn>
                  <a:cxn ang="0">
                    <a:pos x="16" y="0"/>
                  </a:cxn>
                  <a:cxn ang="0">
                    <a:pos x="10" y="2"/>
                  </a:cxn>
                  <a:cxn ang="0">
                    <a:pos x="12" y="4"/>
                  </a:cxn>
                  <a:cxn ang="0">
                    <a:pos x="18" y="4"/>
                  </a:cxn>
                  <a:cxn ang="0">
                    <a:pos x="18" y="12"/>
                  </a:cxn>
                  <a:cxn ang="0">
                    <a:pos x="24" y="16"/>
                  </a:cxn>
                  <a:cxn ang="0">
                    <a:pos x="22" y="18"/>
                  </a:cxn>
                  <a:cxn ang="0">
                    <a:pos x="22" y="18"/>
                  </a:cxn>
                  <a:cxn ang="0">
                    <a:pos x="10" y="18"/>
                  </a:cxn>
                  <a:cxn ang="0">
                    <a:pos x="0" y="18"/>
                  </a:cxn>
                  <a:cxn ang="0">
                    <a:pos x="0" y="20"/>
                  </a:cxn>
                  <a:cxn ang="0">
                    <a:pos x="6" y="24"/>
                  </a:cxn>
                  <a:cxn ang="0">
                    <a:pos x="8" y="22"/>
                  </a:cxn>
                  <a:cxn ang="0">
                    <a:pos x="8" y="22"/>
                  </a:cxn>
                  <a:cxn ang="0">
                    <a:pos x="16" y="24"/>
                  </a:cxn>
                  <a:cxn ang="0">
                    <a:pos x="26" y="22"/>
                  </a:cxn>
                  <a:cxn ang="0">
                    <a:pos x="30" y="26"/>
                  </a:cxn>
                </a:cxnLst>
                <a:rect l="0" t="0" r="r" b="b"/>
                <a:pathLst>
                  <a:path w="32" h="26">
                    <a:moveTo>
                      <a:pt x="30" y="26"/>
                    </a:moveTo>
                    <a:lnTo>
                      <a:pt x="32" y="22"/>
                    </a:lnTo>
                    <a:lnTo>
                      <a:pt x="30" y="18"/>
                    </a:lnTo>
                    <a:lnTo>
                      <a:pt x="32" y="16"/>
                    </a:lnTo>
                    <a:lnTo>
                      <a:pt x="32" y="16"/>
                    </a:lnTo>
                    <a:lnTo>
                      <a:pt x="32" y="8"/>
                    </a:lnTo>
                    <a:lnTo>
                      <a:pt x="30" y="0"/>
                    </a:lnTo>
                    <a:lnTo>
                      <a:pt x="30" y="0"/>
                    </a:lnTo>
                    <a:lnTo>
                      <a:pt x="22" y="2"/>
                    </a:lnTo>
                    <a:lnTo>
                      <a:pt x="16" y="0"/>
                    </a:lnTo>
                    <a:lnTo>
                      <a:pt x="10" y="2"/>
                    </a:lnTo>
                    <a:lnTo>
                      <a:pt x="12" y="4"/>
                    </a:lnTo>
                    <a:lnTo>
                      <a:pt x="18" y="4"/>
                    </a:lnTo>
                    <a:lnTo>
                      <a:pt x="18" y="12"/>
                    </a:lnTo>
                    <a:lnTo>
                      <a:pt x="24" y="16"/>
                    </a:lnTo>
                    <a:lnTo>
                      <a:pt x="22" y="18"/>
                    </a:lnTo>
                    <a:lnTo>
                      <a:pt x="22" y="18"/>
                    </a:lnTo>
                    <a:lnTo>
                      <a:pt x="10" y="18"/>
                    </a:lnTo>
                    <a:lnTo>
                      <a:pt x="0" y="18"/>
                    </a:lnTo>
                    <a:lnTo>
                      <a:pt x="0" y="20"/>
                    </a:lnTo>
                    <a:lnTo>
                      <a:pt x="6" y="24"/>
                    </a:lnTo>
                    <a:lnTo>
                      <a:pt x="8" y="22"/>
                    </a:lnTo>
                    <a:lnTo>
                      <a:pt x="8" y="22"/>
                    </a:lnTo>
                    <a:lnTo>
                      <a:pt x="16" y="24"/>
                    </a:lnTo>
                    <a:lnTo>
                      <a:pt x="26" y="22"/>
                    </a:lnTo>
                    <a:lnTo>
                      <a:pt x="30"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3" name="Freeform 1532">
                <a:extLst>
                  <a:ext uri="{FF2B5EF4-FFF2-40B4-BE49-F238E27FC236}">
                    <a16:creationId xmlns:a16="http://schemas.microsoft.com/office/drawing/2014/main" id="{E3F57C38-CCBC-4860-BCFC-7EC4DD9FD425}"/>
                  </a:ext>
                </a:extLst>
              </p:cNvPr>
              <p:cNvSpPr>
                <a:spLocks/>
              </p:cNvSpPr>
              <p:nvPr/>
            </p:nvSpPr>
            <p:spPr bwMode="auto">
              <a:xfrm>
                <a:off x="2118" y="2668"/>
                <a:ext cx="40" cy="30"/>
              </a:xfrm>
              <a:custGeom>
                <a:avLst/>
                <a:gdLst/>
                <a:ahLst/>
                <a:cxnLst>
                  <a:cxn ang="0">
                    <a:pos x="2" y="28"/>
                  </a:cxn>
                  <a:cxn ang="0">
                    <a:pos x="4" y="30"/>
                  </a:cxn>
                  <a:cxn ang="0">
                    <a:pos x="12" y="20"/>
                  </a:cxn>
                  <a:cxn ang="0">
                    <a:pos x="14" y="20"/>
                  </a:cxn>
                  <a:cxn ang="0">
                    <a:pos x="16" y="24"/>
                  </a:cxn>
                  <a:cxn ang="0">
                    <a:pos x="16" y="24"/>
                  </a:cxn>
                  <a:cxn ang="0">
                    <a:pos x="20" y="20"/>
                  </a:cxn>
                  <a:cxn ang="0">
                    <a:pos x="26" y="20"/>
                  </a:cxn>
                  <a:cxn ang="0">
                    <a:pos x="32" y="20"/>
                  </a:cxn>
                  <a:cxn ang="0">
                    <a:pos x="38" y="22"/>
                  </a:cxn>
                  <a:cxn ang="0">
                    <a:pos x="40" y="16"/>
                  </a:cxn>
                  <a:cxn ang="0">
                    <a:pos x="36" y="12"/>
                  </a:cxn>
                  <a:cxn ang="0">
                    <a:pos x="28" y="10"/>
                  </a:cxn>
                  <a:cxn ang="0">
                    <a:pos x="32" y="10"/>
                  </a:cxn>
                  <a:cxn ang="0">
                    <a:pos x="30" y="8"/>
                  </a:cxn>
                  <a:cxn ang="0">
                    <a:pos x="24" y="8"/>
                  </a:cxn>
                  <a:cxn ang="0">
                    <a:pos x="22" y="4"/>
                  </a:cxn>
                  <a:cxn ang="0">
                    <a:pos x="22" y="4"/>
                  </a:cxn>
                  <a:cxn ang="0">
                    <a:pos x="12" y="0"/>
                  </a:cxn>
                  <a:cxn ang="0">
                    <a:pos x="2" y="0"/>
                  </a:cxn>
                  <a:cxn ang="0">
                    <a:pos x="0" y="0"/>
                  </a:cxn>
                  <a:cxn ang="0">
                    <a:pos x="0" y="0"/>
                  </a:cxn>
                  <a:cxn ang="0">
                    <a:pos x="2" y="8"/>
                  </a:cxn>
                  <a:cxn ang="0">
                    <a:pos x="2" y="16"/>
                  </a:cxn>
                  <a:cxn ang="0">
                    <a:pos x="0" y="18"/>
                  </a:cxn>
                  <a:cxn ang="0">
                    <a:pos x="2" y="22"/>
                  </a:cxn>
                  <a:cxn ang="0">
                    <a:pos x="2" y="22"/>
                  </a:cxn>
                  <a:cxn ang="0">
                    <a:pos x="0" y="24"/>
                  </a:cxn>
                  <a:cxn ang="0">
                    <a:pos x="2" y="28"/>
                  </a:cxn>
                  <a:cxn ang="0">
                    <a:pos x="2" y="28"/>
                  </a:cxn>
                </a:cxnLst>
                <a:rect l="0" t="0" r="r" b="b"/>
                <a:pathLst>
                  <a:path w="40" h="30">
                    <a:moveTo>
                      <a:pt x="2" y="28"/>
                    </a:moveTo>
                    <a:lnTo>
                      <a:pt x="4" y="30"/>
                    </a:lnTo>
                    <a:lnTo>
                      <a:pt x="12" y="20"/>
                    </a:lnTo>
                    <a:lnTo>
                      <a:pt x="14" y="20"/>
                    </a:lnTo>
                    <a:lnTo>
                      <a:pt x="16" y="24"/>
                    </a:lnTo>
                    <a:lnTo>
                      <a:pt x="16" y="24"/>
                    </a:lnTo>
                    <a:lnTo>
                      <a:pt x="20" y="20"/>
                    </a:lnTo>
                    <a:lnTo>
                      <a:pt x="26" y="20"/>
                    </a:lnTo>
                    <a:lnTo>
                      <a:pt x="32" y="20"/>
                    </a:lnTo>
                    <a:lnTo>
                      <a:pt x="38" y="22"/>
                    </a:lnTo>
                    <a:lnTo>
                      <a:pt x="40" y="16"/>
                    </a:lnTo>
                    <a:lnTo>
                      <a:pt x="36" y="12"/>
                    </a:lnTo>
                    <a:lnTo>
                      <a:pt x="28" y="10"/>
                    </a:lnTo>
                    <a:lnTo>
                      <a:pt x="32" y="10"/>
                    </a:lnTo>
                    <a:lnTo>
                      <a:pt x="30" y="8"/>
                    </a:lnTo>
                    <a:lnTo>
                      <a:pt x="24" y="8"/>
                    </a:lnTo>
                    <a:lnTo>
                      <a:pt x="22" y="4"/>
                    </a:lnTo>
                    <a:lnTo>
                      <a:pt x="22" y="4"/>
                    </a:lnTo>
                    <a:lnTo>
                      <a:pt x="12" y="0"/>
                    </a:lnTo>
                    <a:lnTo>
                      <a:pt x="2" y="0"/>
                    </a:lnTo>
                    <a:lnTo>
                      <a:pt x="0" y="0"/>
                    </a:lnTo>
                    <a:lnTo>
                      <a:pt x="0" y="0"/>
                    </a:lnTo>
                    <a:lnTo>
                      <a:pt x="2" y="8"/>
                    </a:lnTo>
                    <a:lnTo>
                      <a:pt x="2" y="16"/>
                    </a:lnTo>
                    <a:lnTo>
                      <a:pt x="0" y="18"/>
                    </a:lnTo>
                    <a:lnTo>
                      <a:pt x="2" y="22"/>
                    </a:lnTo>
                    <a:lnTo>
                      <a:pt x="2" y="22"/>
                    </a:lnTo>
                    <a:lnTo>
                      <a:pt x="0" y="24"/>
                    </a:lnTo>
                    <a:lnTo>
                      <a:pt x="2" y="28"/>
                    </a:lnTo>
                    <a:lnTo>
                      <a:pt x="2" y="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4" name="Freeform 1533">
                <a:extLst>
                  <a:ext uri="{FF2B5EF4-FFF2-40B4-BE49-F238E27FC236}">
                    <a16:creationId xmlns:a16="http://schemas.microsoft.com/office/drawing/2014/main" id="{C6436954-B489-447D-9EA6-8F3426C35F87}"/>
                  </a:ext>
                </a:extLst>
              </p:cNvPr>
              <p:cNvSpPr>
                <a:spLocks/>
              </p:cNvSpPr>
              <p:nvPr/>
            </p:nvSpPr>
            <p:spPr bwMode="auto">
              <a:xfrm>
                <a:off x="1984" y="2804"/>
                <a:ext cx="70" cy="32"/>
              </a:xfrm>
              <a:custGeom>
                <a:avLst/>
                <a:gdLst/>
                <a:ahLst/>
                <a:cxnLst>
                  <a:cxn ang="0">
                    <a:pos x="60" y="30"/>
                  </a:cxn>
                  <a:cxn ang="0">
                    <a:pos x="64" y="26"/>
                  </a:cxn>
                  <a:cxn ang="0">
                    <a:pos x="66" y="26"/>
                  </a:cxn>
                  <a:cxn ang="0">
                    <a:pos x="70" y="20"/>
                  </a:cxn>
                  <a:cxn ang="0">
                    <a:pos x="66" y="16"/>
                  </a:cxn>
                  <a:cxn ang="0">
                    <a:pos x="66" y="12"/>
                  </a:cxn>
                  <a:cxn ang="0">
                    <a:pos x="66" y="12"/>
                  </a:cxn>
                  <a:cxn ang="0">
                    <a:pos x="62" y="8"/>
                  </a:cxn>
                  <a:cxn ang="0">
                    <a:pos x="54" y="2"/>
                  </a:cxn>
                  <a:cxn ang="0">
                    <a:pos x="46" y="0"/>
                  </a:cxn>
                  <a:cxn ang="0">
                    <a:pos x="40" y="0"/>
                  </a:cxn>
                  <a:cxn ang="0">
                    <a:pos x="38" y="6"/>
                  </a:cxn>
                  <a:cxn ang="0">
                    <a:pos x="36" y="8"/>
                  </a:cxn>
                  <a:cxn ang="0">
                    <a:pos x="34" y="4"/>
                  </a:cxn>
                  <a:cxn ang="0">
                    <a:pos x="22" y="10"/>
                  </a:cxn>
                  <a:cxn ang="0">
                    <a:pos x="10" y="8"/>
                  </a:cxn>
                  <a:cxn ang="0">
                    <a:pos x="8" y="2"/>
                  </a:cxn>
                  <a:cxn ang="0">
                    <a:pos x="4" y="0"/>
                  </a:cxn>
                  <a:cxn ang="0">
                    <a:pos x="0" y="6"/>
                  </a:cxn>
                  <a:cxn ang="0">
                    <a:pos x="4" y="8"/>
                  </a:cxn>
                  <a:cxn ang="0">
                    <a:pos x="4" y="8"/>
                  </a:cxn>
                  <a:cxn ang="0">
                    <a:pos x="2" y="12"/>
                  </a:cxn>
                  <a:cxn ang="0">
                    <a:pos x="0" y="16"/>
                  </a:cxn>
                  <a:cxn ang="0">
                    <a:pos x="2" y="20"/>
                  </a:cxn>
                  <a:cxn ang="0">
                    <a:pos x="2" y="16"/>
                  </a:cxn>
                  <a:cxn ang="0">
                    <a:pos x="14" y="18"/>
                  </a:cxn>
                  <a:cxn ang="0">
                    <a:pos x="20" y="26"/>
                  </a:cxn>
                  <a:cxn ang="0">
                    <a:pos x="24" y="24"/>
                  </a:cxn>
                  <a:cxn ang="0">
                    <a:pos x="26" y="32"/>
                  </a:cxn>
                  <a:cxn ang="0">
                    <a:pos x="30" y="32"/>
                  </a:cxn>
                  <a:cxn ang="0">
                    <a:pos x="34" y="28"/>
                  </a:cxn>
                  <a:cxn ang="0">
                    <a:pos x="30" y="22"/>
                  </a:cxn>
                  <a:cxn ang="0">
                    <a:pos x="30" y="18"/>
                  </a:cxn>
                  <a:cxn ang="0">
                    <a:pos x="30" y="18"/>
                  </a:cxn>
                  <a:cxn ang="0">
                    <a:pos x="34" y="16"/>
                  </a:cxn>
                  <a:cxn ang="0">
                    <a:pos x="38" y="12"/>
                  </a:cxn>
                  <a:cxn ang="0">
                    <a:pos x="42" y="10"/>
                  </a:cxn>
                  <a:cxn ang="0">
                    <a:pos x="44" y="8"/>
                  </a:cxn>
                  <a:cxn ang="0">
                    <a:pos x="44" y="8"/>
                  </a:cxn>
                  <a:cxn ang="0">
                    <a:pos x="50" y="10"/>
                  </a:cxn>
                  <a:cxn ang="0">
                    <a:pos x="54" y="16"/>
                  </a:cxn>
                  <a:cxn ang="0">
                    <a:pos x="58" y="14"/>
                  </a:cxn>
                  <a:cxn ang="0">
                    <a:pos x="60" y="16"/>
                  </a:cxn>
                  <a:cxn ang="0">
                    <a:pos x="56" y="18"/>
                  </a:cxn>
                  <a:cxn ang="0">
                    <a:pos x="56" y="18"/>
                  </a:cxn>
                  <a:cxn ang="0">
                    <a:pos x="56" y="22"/>
                  </a:cxn>
                  <a:cxn ang="0">
                    <a:pos x="56" y="24"/>
                  </a:cxn>
                  <a:cxn ang="0">
                    <a:pos x="60" y="30"/>
                  </a:cxn>
                  <a:cxn ang="0">
                    <a:pos x="60" y="30"/>
                  </a:cxn>
                </a:cxnLst>
                <a:rect l="0" t="0" r="r" b="b"/>
                <a:pathLst>
                  <a:path w="70" h="32">
                    <a:moveTo>
                      <a:pt x="60" y="30"/>
                    </a:moveTo>
                    <a:lnTo>
                      <a:pt x="64" y="26"/>
                    </a:lnTo>
                    <a:lnTo>
                      <a:pt x="66" y="26"/>
                    </a:lnTo>
                    <a:lnTo>
                      <a:pt x="70" y="20"/>
                    </a:lnTo>
                    <a:lnTo>
                      <a:pt x="66" y="16"/>
                    </a:lnTo>
                    <a:lnTo>
                      <a:pt x="66" y="12"/>
                    </a:lnTo>
                    <a:lnTo>
                      <a:pt x="66" y="12"/>
                    </a:lnTo>
                    <a:lnTo>
                      <a:pt x="62" y="8"/>
                    </a:lnTo>
                    <a:lnTo>
                      <a:pt x="54" y="2"/>
                    </a:lnTo>
                    <a:lnTo>
                      <a:pt x="46" y="0"/>
                    </a:lnTo>
                    <a:lnTo>
                      <a:pt x="40" y="0"/>
                    </a:lnTo>
                    <a:lnTo>
                      <a:pt x="38" y="6"/>
                    </a:lnTo>
                    <a:lnTo>
                      <a:pt x="36" y="8"/>
                    </a:lnTo>
                    <a:lnTo>
                      <a:pt x="34" y="4"/>
                    </a:lnTo>
                    <a:lnTo>
                      <a:pt x="22" y="10"/>
                    </a:lnTo>
                    <a:lnTo>
                      <a:pt x="10" y="8"/>
                    </a:lnTo>
                    <a:lnTo>
                      <a:pt x="8" y="2"/>
                    </a:lnTo>
                    <a:lnTo>
                      <a:pt x="4" y="0"/>
                    </a:lnTo>
                    <a:lnTo>
                      <a:pt x="0" y="6"/>
                    </a:lnTo>
                    <a:lnTo>
                      <a:pt x="4" y="8"/>
                    </a:lnTo>
                    <a:lnTo>
                      <a:pt x="4" y="8"/>
                    </a:lnTo>
                    <a:lnTo>
                      <a:pt x="2" y="12"/>
                    </a:lnTo>
                    <a:lnTo>
                      <a:pt x="0" y="16"/>
                    </a:lnTo>
                    <a:lnTo>
                      <a:pt x="2" y="20"/>
                    </a:lnTo>
                    <a:lnTo>
                      <a:pt x="2" y="16"/>
                    </a:lnTo>
                    <a:lnTo>
                      <a:pt x="14" y="18"/>
                    </a:lnTo>
                    <a:lnTo>
                      <a:pt x="20" y="26"/>
                    </a:lnTo>
                    <a:lnTo>
                      <a:pt x="24" y="24"/>
                    </a:lnTo>
                    <a:lnTo>
                      <a:pt x="26" y="32"/>
                    </a:lnTo>
                    <a:lnTo>
                      <a:pt x="30" y="32"/>
                    </a:lnTo>
                    <a:lnTo>
                      <a:pt x="34" y="28"/>
                    </a:lnTo>
                    <a:lnTo>
                      <a:pt x="30" y="22"/>
                    </a:lnTo>
                    <a:lnTo>
                      <a:pt x="30" y="18"/>
                    </a:lnTo>
                    <a:lnTo>
                      <a:pt x="30" y="18"/>
                    </a:lnTo>
                    <a:lnTo>
                      <a:pt x="34" y="16"/>
                    </a:lnTo>
                    <a:lnTo>
                      <a:pt x="38" y="12"/>
                    </a:lnTo>
                    <a:lnTo>
                      <a:pt x="42" y="10"/>
                    </a:lnTo>
                    <a:lnTo>
                      <a:pt x="44" y="8"/>
                    </a:lnTo>
                    <a:lnTo>
                      <a:pt x="44" y="8"/>
                    </a:lnTo>
                    <a:lnTo>
                      <a:pt x="50" y="10"/>
                    </a:lnTo>
                    <a:lnTo>
                      <a:pt x="54" y="16"/>
                    </a:lnTo>
                    <a:lnTo>
                      <a:pt x="58" y="14"/>
                    </a:lnTo>
                    <a:lnTo>
                      <a:pt x="60" y="16"/>
                    </a:lnTo>
                    <a:lnTo>
                      <a:pt x="56" y="18"/>
                    </a:lnTo>
                    <a:lnTo>
                      <a:pt x="56" y="18"/>
                    </a:lnTo>
                    <a:lnTo>
                      <a:pt x="56" y="22"/>
                    </a:lnTo>
                    <a:lnTo>
                      <a:pt x="56" y="24"/>
                    </a:lnTo>
                    <a:lnTo>
                      <a:pt x="60" y="30"/>
                    </a:lnTo>
                    <a:lnTo>
                      <a:pt x="60" y="3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5" name="Freeform 1534">
                <a:extLst>
                  <a:ext uri="{FF2B5EF4-FFF2-40B4-BE49-F238E27FC236}">
                    <a16:creationId xmlns:a16="http://schemas.microsoft.com/office/drawing/2014/main" id="{8EDEACE8-3F8C-4D6D-964E-4325DC549E85}"/>
                  </a:ext>
                </a:extLst>
              </p:cNvPr>
              <p:cNvSpPr>
                <a:spLocks/>
              </p:cNvSpPr>
              <p:nvPr/>
            </p:nvSpPr>
            <p:spPr bwMode="auto">
              <a:xfrm>
                <a:off x="1900" y="2740"/>
                <a:ext cx="26" cy="18"/>
              </a:xfrm>
              <a:custGeom>
                <a:avLst/>
                <a:gdLst/>
                <a:ahLst/>
                <a:cxnLst>
                  <a:cxn ang="0">
                    <a:pos x="0" y="10"/>
                  </a:cxn>
                  <a:cxn ang="0">
                    <a:pos x="6" y="0"/>
                  </a:cxn>
                  <a:cxn ang="0">
                    <a:pos x="18" y="8"/>
                  </a:cxn>
                  <a:cxn ang="0">
                    <a:pos x="26" y="8"/>
                  </a:cxn>
                  <a:cxn ang="0">
                    <a:pos x="26" y="10"/>
                  </a:cxn>
                  <a:cxn ang="0">
                    <a:pos x="26" y="14"/>
                  </a:cxn>
                  <a:cxn ang="0">
                    <a:pos x="22" y="18"/>
                  </a:cxn>
                  <a:cxn ang="0">
                    <a:pos x="22" y="18"/>
                  </a:cxn>
                  <a:cxn ang="0">
                    <a:pos x="10" y="14"/>
                  </a:cxn>
                  <a:cxn ang="0">
                    <a:pos x="4" y="12"/>
                  </a:cxn>
                  <a:cxn ang="0">
                    <a:pos x="0" y="10"/>
                  </a:cxn>
                  <a:cxn ang="0">
                    <a:pos x="0" y="10"/>
                  </a:cxn>
                </a:cxnLst>
                <a:rect l="0" t="0" r="r" b="b"/>
                <a:pathLst>
                  <a:path w="26" h="18">
                    <a:moveTo>
                      <a:pt x="0" y="10"/>
                    </a:moveTo>
                    <a:lnTo>
                      <a:pt x="6" y="0"/>
                    </a:lnTo>
                    <a:lnTo>
                      <a:pt x="18" y="8"/>
                    </a:lnTo>
                    <a:lnTo>
                      <a:pt x="26" y="8"/>
                    </a:lnTo>
                    <a:lnTo>
                      <a:pt x="26" y="10"/>
                    </a:lnTo>
                    <a:lnTo>
                      <a:pt x="26" y="14"/>
                    </a:lnTo>
                    <a:lnTo>
                      <a:pt x="22" y="18"/>
                    </a:lnTo>
                    <a:lnTo>
                      <a:pt x="22" y="18"/>
                    </a:lnTo>
                    <a:lnTo>
                      <a:pt x="10" y="14"/>
                    </a:lnTo>
                    <a:lnTo>
                      <a:pt x="4" y="12"/>
                    </a:lnTo>
                    <a:lnTo>
                      <a:pt x="0" y="10"/>
                    </a:lnTo>
                    <a:lnTo>
                      <a:pt x="0"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6" name="Freeform 1535">
                <a:extLst>
                  <a:ext uri="{FF2B5EF4-FFF2-40B4-BE49-F238E27FC236}">
                    <a16:creationId xmlns:a16="http://schemas.microsoft.com/office/drawing/2014/main" id="{FB0B1FEF-86BD-4F93-9088-29E0B88CE5E9}"/>
                  </a:ext>
                </a:extLst>
              </p:cNvPr>
              <p:cNvSpPr>
                <a:spLocks/>
              </p:cNvSpPr>
              <p:nvPr/>
            </p:nvSpPr>
            <p:spPr bwMode="auto">
              <a:xfrm>
                <a:off x="1930" y="2734"/>
                <a:ext cx="50" cy="52"/>
              </a:xfrm>
              <a:custGeom>
                <a:avLst/>
                <a:gdLst/>
                <a:ahLst/>
                <a:cxnLst>
                  <a:cxn ang="0">
                    <a:pos x="20" y="52"/>
                  </a:cxn>
                  <a:cxn ang="0">
                    <a:pos x="24" y="50"/>
                  </a:cxn>
                  <a:cxn ang="0">
                    <a:pos x="46" y="52"/>
                  </a:cxn>
                  <a:cxn ang="0">
                    <a:pos x="46" y="52"/>
                  </a:cxn>
                  <a:cxn ang="0">
                    <a:pos x="44" y="50"/>
                  </a:cxn>
                  <a:cxn ang="0">
                    <a:pos x="44" y="44"/>
                  </a:cxn>
                  <a:cxn ang="0">
                    <a:pos x="46" y="28"/>
                  </a:cxn>
                  <a:cxn ang="0">
                    <a:pos x="50" y="12"/>
                  </a:cxn>
                  <a:cxn ang="0">
                    <a:pos x="50" y="0"/>
                  </a:cxn>
                  <a:cxn ang="0">
                    <a:pos x="48" y="0"/>
                  </a:cxn>
                  <a:cxn ang="0">
                    <a:pos x="38" y="4"/>
                  </a:cxn>
                  <a:cxn ang="0">
                    <a:pos x="32" y="2"/>
                  </a:cxn>
                  <a:cxn ang="0">
                    <a:pos x="20" y="14"/>
                  </a:cxn>
                  <a:cxn ang="0">
                    <a:pos x="16" y="12"/>
                  </a:cxn>
                  <a:cxn ang="0">
                    <a:pos x="6" y="26"/>
                  </a:cxn>
                  <a:cxn ang="0">
                    <a:pos x="0" y="26"/>
                  </a:cxn>
                  <a:cxn ang="0">
                    <a:pos x="0" y="28"/>
                  </a:cxn>
                  <a:cxn ang="0">
                    <a:pos x="20" y="52"/>
                  </a:cxn>
                </a:cxnLst>
                <a:rect l="0" t="0" r="r" b="b"/>
                <a:pathLst>
                  <a:path w="50" h="52">
                    <a:moveTo>
                      <a:pt x="20" y="52"/>
                    </a:moveTo>
                    <a:lnTo>
                      <a:pt x="24" y="50"/>
                    </a:lnTo>
                    <a:lnTo>
                      <a:pt x="46" y="52"/>
                    </a:lnTo>
                    <a:lnTo>
                      <a:pt x="46" y="52"/>
                    </a:lnTo>
                    <a:lnTo>
                      <a:pt x="44" y="50"/>
                    </a:lnTo>
                    <a:lnTo>
                      <a:pt x="44" y="44"/>
                    </a:lnTo>
                    <a:lnTo>
                      <a:pt x="46" y="28"/>
                    </a:lnTo>
                    <a:lnTo>
                      <a:pt x="50" y="12"/>
                    </a:lnTo>
                    <a:lnTo>
                      <a:pt x="50" y="0"/>
                    </a:lnTo>
                    <a:lnTo>
                      <a:pt x="48" y="0"/>
                    </a:lnTo>
                    <a:lnTo>
                      <a:pt x="38" y="4"/>
                    </a:lnTo>
                    <a:lnTo>
                      <a:pt x="32" y="2"/>
                    </a:lnTo>
                    <a:lnTo>
                      <a:pt x="20" y="14"/>
                    </a:lnTo>
                    <a:lnTo>
                      <a:pt x="16" y="12"/>
                    </a:lnTo>
                    <a:lnTo>
                      <a:pt x="6" y="26"/>
                    </a:lnTo>
                    <a:lnTo>
                      <a:pt x="0" y="26"/>
                    </a:lnTo>
                    <a:lnTo>
                      <a:pt x="0" y="28"/>
                    </a:lnTo>
                    <a:lnTo>
                      <a:pt x="20" y="52"/>
                    </a:lnTo>
                    <a:close/>
                  </a:path>
                </a:pathLst>
              </a:custGeom>
              <a:solidFill>
                <a:schemeClr val="accent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7" name="Freeform 1536">
                <a:extLst>
                  <a:ext uri="{FF2B5EF4-FFF2-40B4-BE49-F238E27FC236}">
                    <a16:creationId xmlns:a16="http://schemas.microsoft.com/office/drawing/2014/main" id="{E781AA98-45C3-440B-8307-391540742BE4}"/>
                  </a:ext>
                </a:extLst>
              </p:cNvPr>
              <p:cNvSpPr>
                <a:spLocks/>
              </p:cNvSpPr>
              <p:nvPr/>
            </p:nvSpPr>
            <p:spPr bwMode="auto">
              <a:xfrm>
                <a:off x="1906" y="2722"/>
                <a:ext cx="74" cy="38"/>
              </a:xfrm>
              <a:custGeom>
                <a:avLst/>
                <a:gdLst/>
                <a:ahLst/>
                <a:cxnLst>
                  <a:cxn ang="0">
                    <a:pos x="74" y="12"/>
                  </a:cxn>
                  <a:cxn ang="0">
                    <a:pos x="72" y="12"/>
                  </a:cxn>
                  <a:cxn ang="0">
                    <a:pos x="62" y="16"/>
                  </a:cxn>
                  <a:cxn ang="0">
                    <a:pos x="56" y="14"/>
                  </a:cxn>
                  <a:cxn ang="0">
                    <a:pos x="44" y="26"/>
                  </a:cxn>
                  <a:cxn ang="0">
                    <a:pos x="40" y="24"/>
                  </a:cxn>
                  <a:cxn ang="0">
                    <a:pos x="30" y="38"/>
                  </a:cxn>
                  <a:cxn ang="0">
                    <a:pos x="26" y="38"/>
                  </a:cxn>
                  <a:cxn ang="0">
                    <a:pos x="24" y="34"/>
                  </a:cxn>
                  <a:cxn ang="0">
                    <a:pos x="20" y="32"/>
                  </a:cxn>
                  <a:cxn ang="0">
                    <a:pos x="20" y="28"/>
                  </a:cxn>
                  <a:cxn ang="0">
                    <a:pos x="20" y="26"/>
                  </a:cxn>
                  <a:cxn ang="0">
                    <a:pos x="12" y="26"/>
                  </a:cxn>
                  <a:cxn ang="0">
                    <a:pos x="0" y="18"/>
                  </a:cxn>
                  <a:cxn ang="0">
                    <a:pos x="4" y="16"/>
                  </a:cxn>
                  <a:cxn ang="0">
                    <a:pos x="4" y="12"/>
                  </a:cxn>
                  <a:cxn ang="0">
                    <a:pos x="12" y="4"/>
                  </a:cxn>
                  <a:cxn ang="0">
                    <a:pos x="14" y="2"/>
                  </a:cxn>
                  <a:cxn ang="0">
                    <a:pos x="14" y="2"/>
                  </a:cxn>
                  <a:cxn ang="0">
                    <a:pos x="24" y="0"/>
                  </a:cxn>
                  <a:cxn ang="0">
                    <a:pos x="32" y="2"/>
                  </a:cxn>
                  <a:cxn ang="0">
                    <a:pos x="32" y="2"/>
                  </a:cxn>
                  <a:cxn ang="0">
                    <a:pos x="42" y="0"/>
                  </a:cxn>
                  <a:cxn ang="0">
                    <a:pos x="56" y="0"/>
                  </a:cxn>
                  <a:cxn ang="0">
                    <a:pos x="62" y="2"/>
                  </a:cxn>
                  <a:cxn ang="0">
                    <a:pos x="68" y="4"/>
                  </a:cxn>
                  <a:cxn ang="0">
                    <a:pos x="72" y="6"/>
                  </a:cxn>
                  <a:cxn ang="0">
                    <a:pos x="74" y="12"/>
                  </a:cxn>
                  <a:cxn ang="0">
                    <a:pos x="74" y="12"/>
                  </a:cxn>
                </a:cxnLst>
                <a:rect l="0" t="0" r="r" b="b"/>
                <a:pathLst>
                  <a:path w="74" h="38">
                    <a:moveTo>
                      <a:pt x="74" y="12"/>
                    </a:moveTo>
                    <a:lnTo>
                      <a:pt x="72" y="12"/>
                    </a:lnTo>
                    <a:lnTo>
                      <a:pt x="62" y="16"/>
                    </a:lnTo>
                    <a:lnTo>
                      <a:pt x="56" y="14"/>
                    </a:lnTo>
                    <a:lnTo>
                      <a:pt x="44" y="26"/>
                    </a:lnTo>
                    <a:lnTo>
                      <a:pt x="40" y="24"/>
                    </a:lnTo>
                    <a:lnTo>
                      <a:pt x="30" y="38"/>
                    </a:lnTo>
                    <a:lnTo>
                      <a:pt x="26" y="38"/>
                    </a:lnTo>
                    <a:lnTo>
                      <a:pt x="24" y="34"/>
                    </a:lnTo>
                    <a:lnTo>
                      <a:pt x="20" y="32"/>
                    </a:lnTo>
                    <a:lnTo>
                      <a:pt x="20" y="28"/>
                    </a:lnTo>
                    <a:lnTo>
                      <a:pt x="20" y="26"/>
                    </a:lnTo>
                    <a:lnTo>
                      <a:pt x="12" y="26"/>
                    </a:lnTo>
                    <a:lnTo>
                      <a:pt x="0" y="18"/>
                    </a:lnTo>
                    <a:lnTo>
                      <a:pt x="4" y="16"/>
                    </a:lnTo>
                    <a:lnTo>
                      <a:pt x="4" y="12"/>
                    </a:lnTo>
                    <a:lnTo>
                      <a:pt x="12" y="4"/>
                    </a:lnTo>
                    <a:lnTo>
                      <a:pt x="14" y="2"/>
                    </a:lnTo>
                    <a:lnTo>
                      <a:pt x="14" y="2"/>
                    </a:lnTo>
                    <a:lnTo>
                      <a:pt x="24" y="0"/>
                    </a:lnTo>
                    <a:lnTo>
                      <a:pt x="32" y="2"/>
                    </a:lnTo>
                    <a:lnTo>
                      <a:pt x="32" y="2"/>
                    </a:lnTo>
                    <a:lnTo>
                      <a:pt x="42" y="0"/>
                    </a:lnTo>
                    <a:lnTo>
                      <a:pt x="56" y="0"/>
                    </a:lnTo>
                    <a:lnTo>
                      <a:pt x="62" y="2"/>
                    </a:lnTo>
                    <a:lnTo>
                      <a:pt x="68" y="4"/>
                    </a:lnTo>
                    <a:lnTo>
                      <a:pt x="72" y="6"/>
                    </a:lnTo>
                    <a:lnTo>
                      <a:pt x="74" y="12"/>
                    </a:lnTo>
                    <a:lnTo>
                      <a:pt x="74"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8" name="Freeform 1537">
                <a:extLst>
                  <a:ext uri="{FF2B5EF4-FFF2-40B4-BE49-F238E27FC236}">
                    <a16:creationId xmlns:a16="http://schemas.microsoft.com/office/drawing/2014/main" id="{C1B5F3E5-3A7B-4A12-8C31-0E6A1DA5C5CA}"/>
                  </a:ext>
                </a:extLst>
              </p:cNvPr>
              <p:cNvSpPr>
                <a:spLocks/>
              </p:cNvSpPr>
              <p:nvPr/>
            </p:nvSpPr>
            <p:spPr bwMode="auto">
              <a:xfrm>
                <a:off x="1950" y="2784"/>
                <a:ext cx="38" cy="36"/>
              </a:xfrm>
              <a:custGeom>
                <a:avLst/>
                <a:gdLst/>
                <a:ahLst/>
                <a:cxnLst>
                  <a:cxn ang="0">
                    <a:pos x="34" y="36"/>
                  </a:cxn>
                  <a:cxn ang="0">
                    <a:pos x="34" y="36"/>
                  </a:cxn>
                  <a:cxn ang="0">
                    <a:pos x="36" y="32"/>
                  </a:cxn>
                  <a:cxn ang="0">
                    <a:pos x="38" y="28"/>
                  </a:cxn>
                  <a:cxn ang="0">
                    <a:pos x="34" y="26"/>
                  </a:cxn>
                  <a:cxn ang="0">
                    <a:pos x="38" y="20"/>
                  </a:cxn>
                  <a:cxn ang="0">
                    <a:pos x="38" y="20"/>
                  </a:cxn>
                  <a:cxn ang="0">
                    <a:pos x="30" y="12"/>
                  </a:cxn>
                  <a:cxn ang="0">
                    <a:pos x="26" y="2"/>
                  </a:cxn>
                  <a:cxn ang="0">
                    <a:pos x="4" y="0"/>
                  </a:cxn>
                  <a:cxn ang="0">
                    <a:pos x="0" y="2"/>
                  </a:cxn>
                  <a:cxn ang="0">
                    <a:pos x="0" y="10"/>
                  </a:cxn>
                  <a:cxn ang="0">
                    <a:pos x="2" y="16"/>
                  </a:cxn>
                  <a:cxn ang="0">
                    <a:pos x="10" y="20"/>
                  </a:cxn>
                  <a:cxn ang="0">
                    <a:pos x="10" y="16"/>
                  </a:cxn>
                  <a:cxn ang="0">
                    <a:pos x="8" y="14"/>
                  </a:cxn>
                  <a:cxn ang="0">
                    <a:pos x="10" y="14"/>
                  </a:cxn>
                  <a:cxn ang="0">
                    <a:pos x="10" y="14"/>
                  </a:cxn>
                  <a:cxn ang="0">
                    <a:pos x="16" y="22"/>
                  </a:cxn>
                  <a:cxn ang="0">
                    <a:pos x="26" y="26"/>
                  </a:cxn>
                  <a:cxn ang="0">
                    <a:pos x="26" y="34"/>
                  </a:cxn>
                  <a:cxn ang="0">
                    <a:pos x="30" y="34"/>
                  </a:cxn>
                  <a:cxn ang="0">
                    <a:pos x="30" y="32"/>
                  </a:cxn>
                  <a:cxn ang="0">
                    <a:pos x="30" y="32"/>
                  </a:cxn>
                  <a:cxn ang="0">
                    <a:pos x="34" y="36"/>
                  </a:cxn>
                </a:cxnLst>
                <a:rect l="0" t="0" r="r" b="b"/>
                <a:pathLst>
                  <a:path w="38" h="36">
                    <a:moveTo>
                      <a:pt x="34" y="36"/>
                    </a:moveTo>
                    <a:lnTo>
                      <a:pt x="34" y="36"/>
                    </a:lnTo>
                    <a:lnTo>
                      <a:pt x="36" y="32"/>
                    </a:lnTo>
                    <a:lnTo>
                      <a:pt x="38" y="28"/>
                    </a:lnTo>
                    <a:lnTo>
                      <a:pt x="34" y="26"/>
                    </a:lnTo>
                    <a:lnTo>
                      <a:pt x="38" y="20"/>
                    </a:lnTo>
                    <a:lnTo>
                      <a:pt x="38" y="20"/>
                    </a:lnTo>
                    <a:lnTo>
                      <a:pt x="30" y="12"/>
                    </a:lnTo>
                    <a:lnTo>
                      <a:pt x="26" y="2"/>
                    </a:lnTo>
                    <a:lnTo>
                      <a:pt x="4" y="0"/>
                    </a:lnTo>
                    <a:lnTo>
                      <a:pt x="0" y="2"/>
                    </a:lnTo>
                    <a:lnTo>
                      <a:pt x="0" y="10"/>
                    </a:lnTo>
                    <a:lnTo>
                      <a:pt x="2" y="16"/>
                    </a:lnTo>
                    <a:lnTo>
                      <a:pt x="10" y="20"/>
                    </a:lnTo>
                    <a:lnTo>
                      <a:pt x="10" y="16"/>
                    </a:lnTo>
                    <a:lnTo>
                      <a:pt x="8" y="14"/>
                    </a:lnTo>
                    <a:lnTo>
                      <a:pt x="10" y="14"/>
                    </a:lnTo>
                    <a:lnTo>
                      <a:pt x="10" y="14"/>
                    </a:lnTo>
                    <a:lnTo>
                      <a:pt x="16" y="22"/>
                    </a:lnTo>
                    <a:lnTo>
                      <a:pt x="26" y="26"/>
                    </a:lnTo>
                    <a:lnTo>
                      <a:pt x="26" y="34"/>
                    </a:lnTo>
                    <a:lnTo>
                      <a:pt x="30" y="34"/>
                    </a:lnTo>
                    <a:lnTo>
                      <a:pt x="30" y="32"/>
                    </a:lnTo>
                    <a:lnTo>
                      <a:pt x="30" y="32"/>
                    </a:lnTo>
                    <a:lnTo>
                      <a:pt x="34" y="3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9" name="Freeform 1538">
                <a:extLst>
                  <a:ext uri="{FF2B5EF4-FFF2-40B4-BE49-F238E27FC236}">
                    <a16:creationId xmlns:a16="http://schemas.microsoft.com/office/drawing/2014/main" id="{55187757-4D48-4A2E-BDC0-D6EC9AA4A8F0}"/>
                  </a:ext>
                </a:extLst>
              </p:cNvPr>
              <p:cNvSpPr>
                <a:spLocks/>
              </p:cNvSpPr>
              <p:nvPr/>
            </p:nvSpPr>
            <p:spPr bwMode="auto">
              <a:xfrm>
                <a:off x="1962" y="2624"/>
                <a:ext cx="126" cy="44"/>
              </a:xfrm>
              <a:custGeom>
                <a:avLst/>
                <a:gdLst/>
                <a:ahLst/>
                <a:cxnLst>
                  <a:cxn ang="0">
                    <a:pos x="108" y="28"/>
                  </a:cxn>
                  <a:cxn ang="0">
                    <a:pos x="108" y="32"/>
                  </a:cxn>
                  <a:cxn ang="0">
                    <a:pos x="122" y="34"/>
                  </a:cxn>
                  <a:cxn ang="0">
                    <a:pos x="126" y="38"/>
                  </a:cxn>
                  <a:cxn ang="0">
                    <a:pos x="126" y="42"/>
                  </a:cxn>
                  <a:cxn ang="0">
                    <a:pos x="126" y="42"/>
                  </a:cxn>
                  <a:cxn ang="0">
                    <a:pos x="116" y="44"/>
                  </a:cxn>
                  <a:cxn ang="0">
                    <a:pos x="106" y="44"/>
                  </a:cxn>
                  <a:cxn ang="0">
                    <a:pos x="96" y="44"/>
                  </a:cxn>
                  <a:cxn ang="0">
                    <a:pos x="86" y="44"/>
                  </a:cxn>
                  <a:cxn ang="0">
                    <a:pos x="84" y="44"/>
                  </a:cxn>
                  <a:cxn ang="0">
                    <a:pos x="92" y="38"/>
                  </a:cxn>
                  <a:cxn ang="0">
                    <a:pos x="92" y="36"/>
                  </a:cxn>
                  <a:cxn ang="0">
                    <a:pos x="76" y="28"/>
                  </a:cxn>
                  <a:cxn ang="0">
                    <a:pos x="72" y="22"/>
                  </a:cxn>
                  <a:cxn ang="0">
                    <a:pos x="72" y="22"/>
                  </a:cxn>
                  <a:cxn ang="0">
                    <a:pos x="62" y="20"/>
                  </a:cxn>
                  <a:cxn ang="0">
                    <a:pos x="54" y="18"/>
                  </a:cxn>
                  <a:cxn ang="0">
                    <a:pos x="44" y="14"/>
                  </a:cxn>
                  <a:cxn ang="0">
                    <a:pos x="34" y="12"/>
                  </a:cxn>
                  <a:cxn ang="0">
                    <a:pos x="32" y="10"/>
                  </a:cxn>
                  <a:cxn ang="0">
                    <a:pos x="36" y="8"/>
                  </a:cxn>
                  <a:cxn ang="0">
                    <a:pos x="34" y="6"/>
                  </a:cxn>
                  <a:cxn ang="0">
                    <a:pos x="24" y="6"/>
                  </a:cxn>
                  <a:cxn ang="0">
                    <a:pos x="24" y="6"/>
                  </a:cxn>
                  <a:cxn ang="0">
                    <a:pos x="20" y="10"/>
                  </a:cxn>
                  <a:cxn ang="0">
                    <a:pos x="14" y="14"/>
                  </a:cxn>
                  <a:cxn ang="0">
                    <a:pos x="4" y="18"/>
                  </a:cxn>
                  <a:cxn ang="0">
                    <a:pos x="0" y="18"/>
                  </a:cxn>
                  <a:cxn ang="0">
                    <a:pos x="4" y="16"/>
                  </a:cxn>
                  <a:cxn ang="0">
                    <a:pos x="6" y="8"/>
                  </a:cxn>
                  <a:cxn ang="0">
                    <a:pos x="6" y="8"/>
                  </a:cxn>
                  <a:cxn ang="0">
                    <a:pos x="16" y="2"/>
                  </a:cxn>
                  <a:cxn ang="0">
                    <a:pos x="30" y="0"/>
                  </a:cxn>
                  <a:cxn ang="0">
                    <a:pos x="44" y="0"/>
                  </a:cxn>
                  <a:cxn ang="0">
                    <a:pos x="56" y="2"/>
                  </a:cxn>
                  <a:cxn ang="0">
                    <a:pos x="64" y="8"/>
                  </a:cxn>
                  <a:cxn ang="0">
                    <a:pos x="74" y="10"/>
                  </a:cxn>
                  <a:cxn ang="0">
                    <a:pos x="74" y="12"/>
                  </a:cxn>
                  <a:cxn ang="0">
                    <a:pos x="74" y="12"/>
                  </a:cxn>
                  <a:cxn ang="0">
                    <a:pos x="82" y="16"/>
                  </a:cxn>
                  <a:cxn ang="0">
                    <a:pos x="92" y="22"/>
                  </a:cxn>
                  <a:cxn ang="0">
                    <a:pos x="102" y="26"/>
                  </a:cxn>
                  <a:cxn ang="0">
                    <a:pos x="106" y="28"/>
                  </a:cxn>
                  <a:cxn ang="0">
                    <a:pos x="108" y="28"/>
                  </a:cxn>
                  <a:cxn ang="0">
                    <a:pos x="108" y="28"/>
                  </a:cxn>
                </a:cxnLst>
                <a:rect l="0" t="0" r="r" b="b"/>
                <a:pathLst>
                  <a:path w="126" h="44">
                    <a:moveTo>
                      <a:pt x="108" y="28"/>
                    </a:moveTo>
                    <a:lnTo>
                      <a:pt x="108" y="32"/>
                    </a:lnTo>
                    <a:lnTo>
                      <a:pt x="122" y="34"/>
                    </a:lnTo>
                    <a:lnTo>
                      <a:pt x="126" y="38"/>
                    </a:lnTo>
                    <a:lnTo>
                      <a:pt x="126" y="42"/>
                    </a:lnTo>
                    <a:lnTo>
                      <a:pt x="126" y="42"/>
                    </a:lnTo>
                    <a:lnTo>
                      <a:pt x="116" y="44"/>
                    </a:lnTo>
                    <a:lnTo>
                      <a:pt x="106" y="44"/>
                    </a:lnTo>
                    <a:lnTo>
                      <a:pt x="96" y="44"/>
                    </a:lnTo>
                    <a:lnTo>
                      <a:pt x="86" y="44"/>
                    </a:lnTo>
                    <a:lnTo>
                      <a:pt x="84" y="44"/>
                    </a:lnTo>
                    <a:lnTo>
                      <a:pt x="92" y="38"/>
                    </a:lnTo>
                    <a:lnTo>
                      <a:pt x="92" y="36"/>
                    </a:lnTo>
                    <a:lnTo>
                      <a:pt x="76" y="28"/>
                    </a:lnTo>
                    <a:lnTo>
                      <a:pt x="72" y="22"/>
                    </a:lnTo>
                    <a:lnTo>
                      <a:pt x="72" y="22"/>
                    </a:lnTo>
                    <a:lnTo>
                      <a:pt x="62" y="20"/>
                    </a:lnTo>
                    <a:lnTo>
                      <a:pt x="54" y="18"/>
                    </a:lnTo>
                    <a:lnTo>
                      <a:pt x="44" y="14"/>
                    </a:lnTo>
                    <a:lnTo>
                      <a:pt x="34" y="12"/>
                    </a:lnTo>
                    <a:lnTo>
                      <a:pt x="32" y="10"/>
                    </a:lnTo>
                    <a:lnTo>
                      <a:pt x="36" y="8"/>
                    </a:lnTo>
                    <a:lnTo>
                      <a:pt x="34" y="6"/>
                    </a:lnTo>
                    <a:lnTo>
                      <a:pt x="24" y="6"/>
                    </a:lnTo>
                    <a:lnTo>
                      <a:pt x="24" y="6"/>
                    </a:lnTo>
                    <a:lnTo>
                      <a:pt x="20" y="10"/>
                    </a:lnTo>
                    <a:lnTo>
                      <a:pt x="14" y="14"/>
                    </a:lnTo>
                    <a:lnTo>
                      <a:pt x="4" y="18"/>
                    </a:lnTo>
                    <a:lnTo>
                      <a:pt x="0" y="18"/>
                    </a:lnTo>
                    <a:lnTo>
                      <a:pt x="4" y="16"/>
                    </a:lnTo>
                    <a:lnTo>
                      <a:pt x="6" y="8"/>
                    </a:lnTo>
                    <a:lnTo>
                      <a:pt x="6" y="8"/>
                    </a:lnTo>
                    <a:lnTo>
                      <a:pt x="16" y="2"/>
                    </a:lnTo>
                    <a:lnTo>
                      <a:pt x="30" y="0"/>
                    </a:lnTo>
                    <a:lnTo>
                      <a:pt x="44" y="0"/>
                    </a:lnTo>
                    <a:lnTo>
                      <a:pt x="56" y="2"/>
                    </a:lnTo>
                    <a:lnTo>
                      <a:pt x="64" y="8"/>
                    </a:lnTo>
                    <a:lnTo>
                      <a:pt x="74" y="10"/>
                    </a:lnTo>
                    <a:lnTo>
                      <a:pt x="74" y="12"/>
                    </a:lnTo>
                    <a:lnTo>
                      <a:pt x="74" y="12"/>
                    </a:lnTo>
                    <a:lnTo>
                      <a:pt x="82" y="16"/>
                    </a:lnTo>
                    <a:lnTo>
                      <a:pt x="92" y="22"/>
                    </a:lnTo>
                    <a:lnTo>
                      <a:pt x="102" y="26"/>
                    </a:lnTo>
                    <a:lnTo>
                      <a:pt x="106" y="28"/>
                    </a:lnTo>
                    <a:lnTo>
                      <a:pt x="108" y="28"/>
                    </a:lnTo>
                    <a:lnTo>
                      <a:pt x="108" y="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0" name="Freeform 1539">
                <a:extLst>
                  <a:ext uri="{FF2B5EF4-FFF2-40B4-BE49-F238E27FC236}">
                    <a16:creationId xmlns:a16="http://schemas.microsoft.com/office/drawing/2014/main" id="{D9F42C78-D1AA-4EA2-B9F7-3C9584F87E8B}"/>
                  </a:ext>
                </a:extLst>
              </p:cNvPr>
              <p:cNvSpPr>
                <a:spLocks/>
              </p:cNvSpPr>
              <p:nvPr/>
            </p:nvSpPr>
            <p:spPr bwMode="auto">
              <a:xfrm>
                <a:off x="1982" y="2640"/>
                <a:ext cx="6" cy="6"/>
              </a:xfrm>
              <a:custGeom>
                <a:avLst/>
                <a:gdLst/>
                <a:ahLst/>
                <a:cxnLst>
                  <a:cxn ang="0">
                    <a:pos x="4" y="0"/>
                  </a:cxn>
                  <a:cxn ang="0">
                    <a:pos x="6" y="6"/>
                  </a:cxn>
                  <a:cxn ang="0">
                    <a:pos x="0" y="6"/>
                  </a:cxn>
                  <a:cxn ang="0">
                    <a:pos x="0" y="4"/>
                  </a:cxn>
                  <a:cxn ang="0">
                    <a:pos x="2" y="2"/>
                  </a:cxn>
                  <a:cxn ang="0">
                    <a:pos x="4" y="0"/>
                  </a:cxn>
                </a:cxnLst>
                <a:rect l="0" t="0" r="r" b="b"/>
                <a:pathLst>
                  <a:path w="6" h="6">
                    <a:moveTo>
                      <a:pt x="4" y="0"/>
                    </a:moveTo>
                    <a:lnTo>
                      <a:pt x="6" y="6"/>
                    </a:lnTo>
                    <a:lnTo>
                      <a:pt x="0" y="6"/>
                    </a:lnTo>
                    <a:lnTo>
                      <a:pt x="0" y="4"/>
                    </a:lnTo>
                    <a:lnTo>
                      <a:pt x="2"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1" name="Freeform 1540">
                <a:extLst>
                  <a:ext uri="{FF2B5EF4-FFF2-40B4-BE49-F238E27FC236}">
                    <a16:creationId xmlns:a16="http://schemas.microsoft.com/office/drawing/2014/main" id="{0ECB1401-0884-4EB7-9B35-26D7DF7F7B66}"/>
                  </a:ext>
                </a:extLst>
              </p:cNvPr>
              <p:cNvSpPr>
                <a:spLocks/>
              </p:cNvSpPr>
              <p:nvPr/>
            </p:nvSpPr>
            <p:spPr bwMode="auto">
              <a:xfrm>
                <a:off x="2036" y="2630"/>
                <a:ext cx="12" cy="8"/>
              </a:xfrm>
              <a:custGeom>
                <a:avLst/>
                <a:gdLst/>
                <a:ahLst/>
                <a:cxnLst>
                  <a:cxn ang="0">
                    <a:pos x="12" y="6"/>
                  </a:cxn>
                  <a:cxn ang="0">
                    <a:pos x="12" y="8"/>
                  </a:cxn>
                  <a:cxn ang="0">
                    <a:pos x="12" y="8"/>
                  </a:cxn>
                  <a:cxn ang="0">
                    <a:pos x="4" y="6"/>
                  </a:cxn>
                  <a:cxn ang="0">
                    <a:pos x="0" y="0"/>
                  </a:cxn>
                  <a:cxn ang="0">
                    <a:pos x="2" y="0"/>
                  </a:cxn>
                  <a:cxn ang="0">
                    <a:pos x="12" y="6"/>
                  </a:cxn>
                </a:cxnLst>
                <a:rect l="0" t="0" r="r" b="b"/>
                <a:pathLst>
                  <a:path w="12" h="8">
                    <a:moveTo>
                      <a:pt x="12" y="6"/>
                    </a:moveTo>
                    <a:lnTo>
                      <a:pt x="12" y="8"/>
                    </a:lnTo>
                    <a:lnTo>
                      <a:pt x="12" y="8"/>
                    </a:lnTo>
                    <a:lnTo>
                      <a:pt x="4" y="6"/>
                    </a:lnTo>
                    <a:lnTo>
                      <a:pt x="0" y="0"/>
                    </a:lnTo>
                    <a:lnTo>
                      <a:pt x="2" y="0"/>
                    </a:lnTo>
                    <a:lnTo>
                      <a:pt x="12"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2" name="Freeform 1541">
                <a:extLst>
                  <a:ext uri="{FF2B5EF4-FFF2-40B4-BE49-F238E27FC236}">
                    <a16:creationId xmlns:a16="http://schemas.microsoft.com/office/drawing/2014/main" id="{77A8C0FE-17B8-4413-84F2-1FBC87123E58}"/>
                  </a:ext>
                </a:extLst>
              </p:cNvPr>
              <p:cNvSpPr>
                <a:spLocks/>
              </p:cNvSpPr>
              <p:nvPr/>
            </p:nvSpPr>
            <p:spPr bwMode="auto">
              <a:xfrm>
                <a:off x="2040" y="2686"/>
                <a:ext cx="24" cy="10"/>
              </a:xfrm>
              <a:custGeom>
                <a:avLst/>
                <a:gdLst/>
                <a:ahLst/>
                <a:cxnLst>
                  <a:cxn ang="0">
                    <a:pos x="22" y="4"/>
                  </a:cxn>
                  <a:cxn ang="0">
                    <a:pos x="24" y="8"/>
                  </a:cxn>
                  <a:cxn ang="0">
                    <a:pos x="24" y="8"/>
                  </a:cxn>
                  <a:cxn ang="0">
                    <a:pos x="20" y="8"/>
                  </a:cxn>
                  <a:cxn ang="0">
                    <a:pos x="14" y="10"/>
                  </a:cxn>
                  <a:cxn ang="0">
                    <a:pos x="14" y="10"/>
                  </a:cxn>
                  <a:cxn ang="0">
                    <a:pos x="14" y="10"/>
                  </a:cxn>
                  <a:cxn ang="0">
                    <a:pos x="6" y="8"/>
                  </a:cxn>
                  <a:cxn ang="0">
                    <a:pos x="0" y="4"/>
                  </a:cxn>
                  <a:cxn ang="0">
                    <a:pos x="6" y="0"/>
                  </a:cxn>
                  <a:cxn ang="0">
                    <a:pos x="6" y="0"/>
                  </a:cxn>
                  <a:cxn ang="0">
                    <a:pos x="14" y="2"/>
                  </a:cxn>
                  <a:cxn ang="0">
                    <a:pos x="20" y="4"/>
                  </a:cxn>
                  <a:cxn ang="0">
                    <a:pos x="22" y="4"/>
                  </a:cxn>
                  <a:cxn ang="0">
                    <a:pos x="22" y="4"/>
                  </a:cxn>
                </a:cxnLst>
                <a:rect l="0" t="0" r="r" b="b"/>
                <a:pathLst>
                  <a:path w="24" h="10">
                    <a:moveTo>
                      <a:pt x="22" y="4"/>
                    </a:moveTo>
                    <a:lnTo>
                      <a:pt x="24" y="8"/>
                    </a:lnTo>
                    <a:lnTo>
                      <a:pt x="24" y="8"/>
                    </a:lnTo>
                    <a:lnTo>
                      <a:pt x="20" y="8"/>
                    </a:lnTo>
                    <a:lnTo>
                      <a:pt x="14" y="10"/>
                    </a:lnTo>
                    <a:lnTo>
                      <a:pt x="14" y="10"/>
                    </a:lnTo>
                    <a:lnTo>
                      <a:pt x="14" y="10"/>
                    </a:lnTo>
                    <a:lnTo>
                      <a:pt x="6" y="8"/>
                    </a:lnTo>
                    <a:lnTo>
                      <a:pt x="0" y="4"/>
                    </a:lnTo>
                    <a:lnTo>
                      <a:pt x="6" y="0"/>
                    </a:lnTo>
                    <a:lnTo>
                      <a:pt x="6" y="0"/>
                    </a:lnTo>
                    <a:lnTo>
                      <a:pt x="14" y="2"/>
                    </a:lnTo>
                    <a:lnTo>
                      <a:pt x="20" y="4"/>
                    </a:lnTo>
                    <a:lnTo>
                      <a:pt x="22" y="4"/>
                    </a:lnTo>
                    <a:lnTo>
                      <a:pt x="22"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3" name="Freeform 1542">
                <a:extLst>
                  <a:ext uri="{FF2B5EF4-FFF2-40B4-BE49-F238E27FC236}">
                    <a16:creationId xmlns:a16="http://schemas.microsoft.com/office/drawing/2014/main" id="{E4ADE365-D33D-415D-B493-A615704B0389}"/>
                  </a:ext>
                </a:extLst>
              </p:cNvPr>
              <p:cNvSpPr>
                <a:spLocks/>
              </p:cNvSpPr>
              <p:nvPr/>
            </p:nvSpPr>
            <p:spPr bwMode="auto">
              <a:xfrm>
                <a:off x="2100" y="2680"/>
                <a:ext cx="6" cy="4"/>
              </a:xfrm>
              <a:custGeom>
                <a:avLst/>
                <a:gdLst/>
                <a:ahLst/>
                <a:cxnLst>
                  <a:cxn ang="0">
                    <a:pos x="4" y="0"/>
                  </a:cxn>
                  <a:cxn ang="0">
                    <a:pos x="6" y="2"/>
                  </a:cxn>
                  <a:cxn ang="0">
                    <a:pos x="6" y="4"/>
                  </a:cxn>
                  <a:cxn ang="0">
                    <a:pos x="0" y="2"/>
                  </a:cxn>
                  <a:cxn ang="0">
                    <a:pos x="0" y="2"/>
                  </a:cxn>
                  <a:cxn ang="0">
                    <a:pos x="4" y="0"/>
                  </a:cxn>
                </a:cxnLst>
                <a:rect l="0" t="0" r="r" b="b"/>
                <a:pathLst>
                  <a:path w="6" h="4">
                    <a:moveTo>
                      <a:pt x="4" y="0"/>
                    </a:moveTo>
                    <a:lnTo>
                      <a:pt x="6" y="2"/>
                    </a:lnTo>
                    <a:lnTo>
                      <a:pt x="6" y="4"/>
                    </a:lnTo>
                    <a:lnTo>
                      <a:pt x="0" y="2"/>
                    </a:lnTo>
                    <a:lnTo>
                      <a:pt x="0"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4" name="Freeform 1543">
                <a:extLst>
                  <a:ext uri="{FF2B5EF4-FFF2-40B4-BE49-F238E27FC236}">
                    <a16:creationId xmlns:a16="http://schemas.microsoft.com/office/drawing/2014/main" id="{7332701F-E631-4BD5-AE0A-02FBD797CFAE}"/>
                  </a:ext>
                </a:extLst>
              </p:cNvPr>
              <p:cNvSpPr>
                <a:spLocks/>
              </p:cNvSpPr>
              <p:nvPr/>
            </p:nvSpPr>
            <p:spPr bwMode="auto">
              <a:xfrm>
                <a:off x="2248" y="2744"/>
                <a:ext cx="2" cy="8"/>
              </a:xfrm>
              <a:custGeom>
                <a:avLst/>
                <a:gdLst/>
                <a:ahLst/>
                <a:cxnLst>
                  <a:cxn ang="0">
                    <a:pos x="2" y="0"/>
                  </a:cxn>
                  <a:cxn ang="0">
                    <a:pos x="0" y="6"/>
                  </a:cxn>
                  <a:cxn ang="0">
                    <a:pos x="2" y="8"/>
                  </a:cxn>
                  <a:cxn ang="0">
                    <a:pos x="2" y="0"/>
                  </a:cxn>
                </a:cxnLst>
                <a:rect l="0" t="0" r="r" b="b"/>
                <a:pathLst>
                  <a:path w="2" h="8">
                    <a:moveTo>
                      <a:pt x="2" y="0"/>
                    </a:moveTo>
                    <a:lnTo>
                      <a:pt x="0" y="6"/>
                    </a:lnTo>
                    <a:lnTo>
                      <a:pt x="2" y="8"/>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5" name="Freeform 1544">
                <a:extLst>
                  <a:ext uri="{FF2B5EF4-FFF2-40B4-BE49-F238E27FC236}">
                    <a16:creationId xmlns:a16="http://schemas.microsoft.com/office/drawing/2014/main" id="{7631142F-446E-4DC1-AAA8-158E929453E3}"/>
                  </a:ext>
                </a:extLst>
              </p:cNvPr>
              <p:cNvSpPr>
                <a:spLocks/>
              </p:cNvSpPr>
              <p:nvPr/>
            </p:nvSpPr>
            <p:spPr bwMode="auto">
              <a:xfrm>
                <a:off x="2246" y="2734"/>
                <a:ext cx="4" cy="6"/>
              </a:xfrm>
              <a:custGeom>
                <a:avLst/>
                <a:gdLst/>
                <a:ahLst/>
                <a:cxnLst>
                  <a:cxn ang="0">
                    <a:pos x="0" y="0"/>
                  </a:cxn>
                  <a:cxn ang="0">
                    <a:pos x="2" y="2"/>
                  </a:cxn>
                  <a:cxn ang="0">
                    <a:pos x="4" y="6"/>
                  </a:cxn>
                  <a:cxn ang="0">
                    <a:pos x="0" y="6"/>
                  </a:cxn>
                  <a:cxn ang="0">
                    <a:pos x="0" y="0"/>
                  </a:cxn>
                </a:cxnLst>
                <a:rect l="0" t="0" r="r" b="b"/>
                <a:pathLst>
                  <a:path w="4" h="6">
                    <a:moveTo>
                      <a:pt x="0" y="0"/>
                    </a:moveTo>
                    <a:lnTo>
                      <a:pt x="2" y="2"/>
                    </a:lnTo>
                    <a:lnTo>
                      <a:pt x="4" y="6"/>
                    </a:lnTo>
                    <a:lnTo>
                      <a:pt x="0" y="6"/>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6" name="Freeform 1545">
                <a:extLst>
                  <a:ext uri="{FF2B5EF4-FFF2-40B4-BE49-F238E27FC236}">
                    <a16:creationId xmlns:a16="http://schemas.microsoft.com/office/drawing/2014/main" id="{E8BD6BF4-E420-4644-BE22-B5FB9292AA27}"/>
                  </a:ext>
                </a:extLst>
              </p:cNvPr>
              <p:cNvSpPr>
                <a:spLocks/>
              </p:cNvSpPr>
              <p:nvPr/>
            </p:nvSpPr>
            <p:spPr bwMode="auto">
              <a:xfrm>
                <a:off x="2244" y="2724"/>
                <a:ext cx="2" cy="6"/>
              </a:xfrm>
              <a:custGeom>
                <a:avLst/>
                <a:gdLst/>
                <a:ahLst/>
                <a:cxnLst>
                  <a:cxn ang="0">
                    <a:pos x="0" y="2"/>
                  </a:cxn>
                  <a:cxn ang="0">
                    <a:pos x="0" y="4"/>
                  </a:cxn>
                  <a:cxn ang="0">
                    <a:pos x="2" y="6"/>
                  </a:cxn>
                  <a:cxn ang="0">
                    <a:pos x="2" y="0"/>
                  </a:cxn>
                  <a:cxn ang="0">
                    <a:pos x="0" y="2"/>
                  </a:cxn>
                </a:cxnLst>
                <a:rect l="0" t="0" r="r" b="b"/>
                <a:pathLst>
                  <a:path w="2" h="6">
                    <a:moveTo>
                      <a:pt x="0" y="2"/>
                    </a:moveTo>
                    <a:lnTo>
                      <a:pt x="0" y="4"/>
                    </a:lnTo>
                    <a:lnTo>
                      <a:pt x="2" y="6"/>
                    </a:lnTo>
                    <a:lnTo>
                      <a:pt x="2" y="0"/>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7" name="Freeform 1546">
                <a:extLst>
                  <a:ext uri="{FF2B5EF4-FFF2-40B4-BE49-F238E27FC236}">
                    <a16:creationId xmlns:a16="http://schemas.microsoft.com/office/drawing/2014/main" id="{26226797-C0B6-442A-8E53-C2CA4AFFCB81}"/>
                  </a:ext>
                </a:extLst>
              </p:cNvPr>
              <p:cNvSpPr>
                <a:spLocks/>
              </p:cNvSpPr>
              <p:nvPr/>
            </p:nvSpPr>
            <p:spPr bwMode="auto">
              <a:xfrm>
                <a:off x="2238" y="2714"/>
                <a:ext cx="6" cy="6"/>
              </a:xfrm>
              <a:custGeom>
                <a:avLst/>
                <a:gdLst/>
                <a:ahLst/>
                <a:cxnLst>
                  <a:cxn ang="0">
                    <a:pos x="4" y="0"/>
                  </a:cxn>
                  <a:cxn ang="0">
                    <a:pos x="0" y="2"/>
                  </a:cxn>
                  <a:cxn ang="0">
                    <a:pos x="2" y="6"/>
                  </a:cxn>
                  <a:cxn ang="0">
                    <a:pos x="6" y="2"/>
                  </a:cxn>
                  <a:cxn ang="0">
                    <a:pos x="4" y="0"/>
                  </a:cxn>
                </a:cxnLst>
                <a:rect l="0" t="0" r="r" b="b"/>
                <a:pathLst>
                  <a:path w="6" h="6">
                    <a:moveTo>
                      <a:pt x="4" y="0"/>
                    </a:moveTo>
                    <a:lnTo>
                      <a:pt x="0" y="2"/>
                    </a:lnTo>
                    <a:lnTo>
                      <a:pt x="2" y="6"/>
                    </a:lnTo>
                    <a:lnTo>
                      <a:pt x="6"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8" name="Freeform 1547">
                <a:extLst>
                  <a:ext uri="{FF2B5EF4-FFF2-40B4-BE49-F238E27FC236}">
                    <a16:creationId xmlns:a16="http://schemas.microsoft.com/office/drawing/2014/main" id="{45AC312F-47A1-4343-93F5-6B03EB5DF16F}"/>
                  </a:ext>
                </a:extLst>
              </p:cNvPr>
              <p:cNvSpPr>
                <a:spLocks/>
              </p:cNvSpPr>
              <p:nvPr/>
            </p:nvSpPr>
            <p:spPr bwMode="auto">
              <a:xfrm>
                <a:off x="2234" y="2702"/>
                <a:ext cx="6" cy="8"/>
              </a:xfrm>
              <a:custGeom>
                <a:avLst/>
                <a:gdLst/>
                <a:ahLst/>
                <a:cxnLst>
                  <a:cxn ang="0">
                    <a:pos x="0" y="0"/>
                  </a:cxn>
                  <a:cxn ang="0">
                    <a:pos x="4" y="8"/>
                  </a:cxn>
                  <a:cxn ang="0">
                    <a:pos x="6" y="6"/>
                  </a:cxn>
                  <a:cxn ang="0">
                    <a:pos x="0" y="0"/>
                  </a:cxn>
                </a:cxnLst>
                <a:rect l="0" t="0" r="r" b="b"/>
                <a:pathLst>
                  <a:path w="6" h="8">
                    <a:moveTo>
                      <a:pt x="0" y="0"/>
                    </a:moveTo>
                    <a:lnTo>
                      <a:pt x="4" y="8"/>
                    </a:lnTo>
                    <a:lnTo>
                      <a:pt x="6" y="6"/>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39" name="Freeform 1548">
                <a:extLst>
                  <a:ext uri="{FF2B5EF4-FFF2-40B4-BE49-F238E27FC236}">
                    <a16:creationId xmlns:a16="http://schemas.microsoft.com/office/drawing/2014/main" id="{DEF11148-3AFE-4522-9116-A25BCA1CE46D}"/>
                  </a:ext>
                </a:extLst>
              </p:cNvPr>
              <p:cNvSpPr>
                <a:spLocks/>
              </p:cNvSpPr>
              <p:nvPr/>
            </p:nvSpPr>
            <p:spPr bwMode="auto">
              <a:xfrm>
                <a:off x="2220" y="2700"/>
                <a:ext cx="8" cy="4"/>
              </a:xfrm>
              <a:custGeom>
                <a:avLst/>
                <a:gdLst/>
                <a:ahLst/>
                <a:cxnLst>
                  <a:cxn ang="0">
                    <a:pos x="8" y="0"/>
                  </a:cxn>
                  <a:cxn ang="0">
                    <a:pos x="0" y="0"/>
                  </a:cxn>
                  <a:cxn ang="0">
                    <a:pos x="6" y="4"/>
                  </a:cxn>
                  <a:cxn ang="0">
                    <a:pos x="8" y="0"/>
                  </a:cxn>
                </a:cxnLst>
                <a:rect l="0" t="0" r="r" b="b"/>
                <a:pathLst>
                  <a:path w="8" h="4">
                    <a:moveTo>
                      <a:pt x="8" y="0"/>
                    </a:moveTo>
                    <a:lnTo>
                      <a:pt x="0" y="0"/>
                    </a:lnTo>
                    <a:lnTo>
                      <a:pt x="6" y="4"/>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0" name="Line 1549">
                <a:extLst>
                  <a:ext uri="{FF2B5EF4-FFF2-40B4-BE49-F238E27FC236}">
                    <a16:creationId xmlns:a16="http://schemas.microsoft.com/office/drawing/2014/main" id="{DC18F251-6879-47E9-A606-BB08A40239AB}"/>
                  </a:ext>
                </a:extLst>
              </p:cNvPr>
              <p:cNvSpPr>
                <a:spLocks noChangeShapeType="1"/>
              </p:cNvSpPr>
              <p:nvPr/>
            </p:nvSpPr>
            <p:spPr bwMode="auto">
              <a:xfrm>
                <a:off x="2016" y="2596"/>
                <a:ext cx="1" cy="1"/>
              </a:xfrm>
              <a:prstGeom prst="line">
                <a:avLst/>
              </a:prstGeom>
              <a:grpFill/>
              <a:ln w="3175">
                <a:solidFill>
                  <a:schemeClr val="bg1"/>
                </a:solidFill>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1" name="Freeform 1550">
                <a:extLst>
                  <a:ext uri="{FF2B5EF4-FFF2-40B4-BE49-F238E27FC236}">
                    <a16:creationId xmlns:a16="http://schemas.microsoft.com/office/drawing/2014/main" id="{A74BFEE1-C8A2-4AAF-8D7D-499FE932A002}"/>
                  </a:ext>
                </a:extLst>
              </p:cNvPr>
              <p:cNvSpPr>
                <a:spLocks/>
              </p:cNvSpPr>
              <p:nvPr/>
            </p:nvSpPr>
            <p:spPr bwMode="auto">
              <a:xfrm>
                <a:off x="2244" y="2756"/>
                <a:ext cx="6" cy="6"/>
              </a:xfrm>
              <a:custGeom>
                <a:avLst/>
                <a:gdLst/>
                <a:ahLst/>
                <a:cxnLst>
                  <a:cxn ang="0">
                    <a:pos x="4" y="0"/>
                  </a:cxn>
                  <a:cxn ang="0">
                    <a:pos x="6" y="0"/>
                  </a:cxn>
                  <a:cxn ang="0">
                    <a:pos x="2" y="6"/>
                  </a:cxn>
                  <a:cxn ang="0">
                    <a:pos x="0" y="4"/>
                  </a:cxn>
                  <a:cxn ang="0">
                    <a:pos x="4" y="0"/>
                  </a:cxn>
                </a:cxnLst>
                <a:rect l="0" t="0" r="r" b="b"/>
                <a:pathLst>
                  <a:path w="6" h="6">
                    <a:moveTo>
                      <a:pt x="4" y="0"/>
                    </a:moveTo>
                    <a:lnTo>
                      <a:pt x="6" y="0"/>
                    </a:lnTo>
                    <a:lnTo>
                      <a:pt x="2" y="6"/>
                    </a:lnTo>
                    <a:lnTo>
                      <a:pt x="0" y="4"/>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2" name="Freeform 1551">
                <a:extLst>
                  <a:ext uri="{FF2B5EF4-FFF2-40B4-BE49-F238E27FC236}">
                    <a16:creationId xmlns:a16="http://schemas.microsoft.com/office/drawing/2014/main" id="{84046AFF-14E5-480A-AD24-7D2F56F591A7}"/>
                  </a:ext>
                </a:extLst>
              </p:cNvPr>
              <p:cNvSpPr>
                <a:spLocks/>
              </p:cNvSpPr>
              <p:nvPr/>
            </p:nvSpPr>
            <p:spPr bwMode="auto">
              <a:xfrm>
                <a:off x="2236" y="2766"/>
                <a:ext cx="6" cy="6"/>
              </a:xfrm>
              <a:custGeom>
                <a:avLst/>
                <a:gdLst/>
                <a:ahLst/>
                <a:cxnLst>
                  <a:cxn ang="0">
                    <a:pos x="4" y="0"/>
                  </a:cxn>
                  <a:cxn ang="0">
                    <a:pos x="6" y="2"/>
                  </a:cxn>
                  <a:cxn ang="0">
                    <a:pos x="4" y="6"/>
                  </a:cxn>
                  <a:cxn ang="0">
                    <a:pos x="0" y="6"/>
                  </a:cxn>
                  <a:cxn ang="0">
                    <a:pos x="4" y="0"/>
                  </a:cxn>
                </a:cxnLst>
                <a:rect l="0" t="0" r="r" b="b"/>
                <a:pathLst>
                  <a:path w="6" h="6">
                    <a:moveTo>
                      <a:pt x="4" y="0"/>
                    </a:moveTo>
                    <a:lnTo>
                      <a:pt x="6" y="2"/>
                    </a:lnTo>
                    <a:lnTo>
                      <a:pt x="4" y="6"/>
                    </a:lnTo>
                    <a:lnTo>
                      <a:pt x="0" y="6"/>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3" name="Freeform 1552">
                <a:extLst>
                  <a:ext uri="{FF2B5EF4-FFF2-40B4-BE49-F238E27FC236}">
                    <a16:creationId xmlns:a16="http://schemas.microsoft.com/office/drawing/2014/main" id="{0DA89C0D-EB4F-4039-BA6E-D7FDFE3EFD62}"/>
                  </a:ext>
                </a:extLst>
              </p:cNvPr>
              <p:cNvSpPr>
                <a:spLocks/>
              </p:cNvSpPr>
              <p:nvPr/>
            </p:nvSpPr>
            <p:spPr bwMode="auto">
              <a:xfrm>
                <a:off x="1910" y="2688"/>
                <a:ext cx="12" cy="34"/>
              </a:xfrm>
              <a:custGeom>
                <a:avLst/>
                <a:gdLst/>
                <a:ahLst/>
                <a:cxnLst>
                  <a:cxn ang="0">
                    <a:pos x="4" y="34"/>
                  </a:cxn>
                  <a:cxn ang="0">
                    <a:pos x="0" y="32"/>
                  </a:cxn>
                  <a:cxn ang="0">
                    <a:pos x="0" y="8"/>
                  </a:cxn>
                  <a:cxn ang="0">
                    <a:pos x="4" y="6"/>
                  </a:cxn>
                  <a:cxn ang="0">
                    <a:pos x="6" y="0"/>
                  </a:cxn>
                  <a:cxn ang="0">
                    <a:pos x="10" y="0"/>
                  </a:cxn>
                  <a:cxn ang="0">
                    <a:pos x="12" y="2"/>
                  </a:cxn>
                  <a:cxn ang="0">
                    <a:pos x="12" y="2"/>
                  </a:cxn>
                  <a:cxn ang="0">
                    <a:pos x="10" y="14"/>
                  </a:cxn>
                  <a:cxn ang="0">
                    <a:pos x="8" y="24"/>
                  </a:cxn>
                  <a:cxn ang="0">
                    <a:pos x="4" y="30"/>
                  </a:cxn>
                  <a:cxn ang="0">
                    <a:pos x="4" y="34"/>
                  </a:cxn>
                </a:cxnLst>
                <a:rect l="0" t="0" r="r" b="b"/>
                <a:pathLst>
                  <a:path w="12" h="34">
                    <a:moveTo>
                      <a:pt x="4" y="34"/>
                    </a:moveTo>
                    <a:lnTo>
                      <a:pt x="0" y="32"/>
                    </a:lnTo>
                    <a:lnTo>
                      <a:pt x="0" y="8"/>
                    </a:lnTo>
                    <a:lnTo>
                      <a:pt x="4" y="6"/>
                    </a:lnTo>
                    <a:lnTo>
                      <a:pt x="6" y="0"/>
                    </a:lnTo>
                    <a:lnTo>
                      <a:pt x="10" y="0"/>
                    </a:lnTo>
                    <a:lnTo>
                      <a:pt x="12" y="2"/>
                    </a:lnTo>
                    <a:lnTo>
                      <a:pt x="12" y="2"/>
                    </a:lnTo>
                    <a:lnTo>
                      <a:pt x="10" y="14"/>
                    </a:lnTo>
                    <a:lnTo>
                      <a:pt x="8" y="24"/>
                    </a:lnTo>
                    <a:lnTo>
                      <a:pt x="4" y="30"/>
                    </a:lnTo>
                    <a:lnTo>
                      <a:pt x="4" y="3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4" name="Freeform 1553">
                <a:extLst>
                  <a:ext uri="{FF2B5EF4-FFF2-40B4-BE49-F238E27FC236}">
                    <a16:creationId xmlns:a16="http://schemas.microsoft.com/office/drawing/2014/main" id="{5A000AFB-049A-4993-8840-D91E297AEF02}"/>
                  </a:ext>
                </a:extLst>
              </p:cNvPr>
              <p:cNvSpPr>
                <a:spLocks/>
              </p:cNvSpPr>
              <p:nvPr/>
            </p:nvSpPr>
            <p:spPr bwMode="auto">
              <a:xfrm>
                <a:off x="1620" y="2534"/>
                <a:ext cx="6" cy="8"/>
              </a:xfrm>
              <a:custGeom>
                <a:avLst/>
                <a:gdLst/>
                <a:ahLst/>
                <a:cxnLst>
                  <a:cxn ang="0">
                    <a:pos x="6" y="4"/>
                  </a:cxn>
                  <a:cxn ang="0">
                    <a:pos x="4" y="8"/>
                  </a:cxn>
                  <a:cxn ang="0">
                    <a:pos x="0" y="0"/>
                  </a:cxn>
                  <a:cxn ang="0">
                    <a:pos x="6" y="4"/>
                  </a:cxn>
                </a:cxnLst>
                <a:rect l="0" t="0" r="r" b="b"/>
                <a:pathLst>
                  <a:path w="6" h="8">
                    <a:moveTo>
                      <a:pt x="6" y="4"/>
                    </a:moveTo>
                    <a:lnTo>
                      <a:pt x="4" y="8"/>
                    </a:lnTo>
                    <a:lnTo>
                      <a:pt x="0" y="0"/>
                    </a:lnTo>
                    <a:lnTo>
                      <a:pt x="6"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5" name="Rectangle 1554">
                <a:extLst>
                  <a:ext uri="{FF2B5EF4-FFF2-40B4-BE49-F238E27FC236}">
                    <a16:creationId xmlns:a16="http://schemas.microsoft.com/office/drawing/2014/main" id="{30CA6B82-4F1E-43DA-9CC7-B53511D1416F}"/>
                  </a:ext>
                </a:extLst>
              </p:cNvPr>
              <p:cNvSpPr>
                <a:spLocks noChangeArrowheads="1"/>
              </p:cNvSpPr>
              <p:nvPr/>
            </p:nvSpPr>
            <p:spPr bwMode="auto">
              <a:xfrm>
                <a:off x="1632" y="2538"/>
                <a:ext cx="2" cy="6"/>
              </a:xfrm>
              <a:prstGeom prst="rect">
                <a:avLst/>
              </a:prstGeom>
              <a:grpFill/>
              <a:ln w="3175">
                <a:solidFill>
                  <a:schemeClr val="bg1"/>
                </a:solidFill>
                <a:miter lim="800000"/>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6" name="Freeform 1555">
                <a:extLst>
                  <a:ext uri="{FF2B5EF4-FFF2-40B4-BE49-F238E27FC236}">
                    <a16:creationId xmlns:a16="http://schemas.microsoft.com/office/drawing/2014/main" id="{B62B1B3F-328A-4308-8703-B0E8B4458A0E}"/>
                  </a:ext>
                </a:extLst>
              </p:cNvPr>
              <p:cNvSpPr>
                <a:spLocks/>
              </p:cNvSpPr>
              <p:nvPr/>
            </p:nvSpPr>
            <p:spPr bwMode="auto">
              <a:xfrm>
                <a:off x="1998" y="2828"/>
                <a:ext cx="2" cy="6"/>
              </a:xfrm>
              <a:custGeom>
                <a:avLst/>
                <a:gdLst/>
                <a:ahLst/>
                <a:cxnLst>
                  <a:cxn ang="0">
                    <a:pos x="0" y="0"/>
                  </a:cxn>
                  <a:cxn ang="0">
                    <a:pos x="0" y="4"/>
                  </a:cxn>
                  <a:cxn ang="0">
                    <a:pos x="2" y="6"/>
                  </a:cxn>
                  <a:cxn ang="0">
                    <a:pos x="2" y="0"/>
                  </a:cxn>
                  <a:cxn ang="0">
                    <a:pos x="0" y="0"/>
                  </a:cxn>
                </a:cxnLst>
                <a:rect l="0" t="0" r="r" b="b"/>
                <a:pathLst>
                  <a:path w="2" h="6">
                    <a:moveTo>
                      <a:pt x="0" y="0"/>
                    </a:moveTo>
                    <a:lnTo>
                      <a:pt x="0" y="4"/>
                    </a:lnTo>
                    <a:lnTo>
                      <a:pt x="2" y="6"/>
                    </a:lnTo>
                    <a:lnTo>
                      <a:pt x="2"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7" name="Freeform 1556">
                <a:extLst>
                  <a:ext uri="{FF2B5EF4-FFF2-40B4-BE49-F238E27FC236}">
                    <a16:creationId xmlns:a16="http://schemas.microsoft.com/office/drawing/2014/main" id="{4D34316D-3B31-435B-BA5E-0B089D40EA81}"/>
                  </a:ext>
                </a:extLst>
              </p:cNvPr>
              <p:cNvSpPr>
                <a:spLocks/>
              </p:cNvSpPr>
              <p:nvPr/>
            </p:nvSpPr>
            <p:spPr bwMode="auto">
              <a:xfrm>
                <a:off x="2100" y="3212"/>
                <a:ext cx="234" cy="502"/>
              </a:xfrm>
              <a:custGeom>
                <a:avLst/>
                <a:gdLst/>
                <a:ahLst/>
                <a:cxnLst>
                  <a:cxn ang="0">
                    <a:pos x="38" y="496"/>
                  </a:cxn>
                  <a:cxn ang="0">
                    <a:pos x="12" y="482"/>
                  </a:cxn>
                  <a:cxn ang="0">
                    <a:pos x="0" y="472"/>
                  </a:cxn>
                  <a:cxn ang="0">
                    <a:pos x="16" y="382"/>
                  </a:cxn>
                  <a:cxn ang="0">
                    <a:pos x="24" y="356"/>
                  </a:cxn>
                  <a:cxn ang="0">
                    <a:pos x="18" y="348"/>
                  </a:cxn>
                  <a:cxn ang="0">
                    <a:pos x="14" y="324"/>
                  </a:cxn>
                  <a:cxn ang="0">
                    <a:pos x="18" y="304"/>
                  </a:cxn>
                  <a:cxn ang="0">
                    <a:pos x="20" y="272"/>
                  </a:cxn>
                  <a:cxn ang="0">
                    <a:pos x="26" y="232"/>
                  </a:cxn>
                  <a:cxn ang="0">
                    <a:pos x="34" y="210"/>
                  </a:cxn>
                  <a:cxn ang="0">
                    <a:pos x="42" y="180"/>
                  </a:cxn>
                  <a:cxn ang="0">
                    <a:pos x="34" y="136"/>
                  </a:cxn>
                  <a:cxn ang="0">
                    <a:pos x="42" y="104"/>
                  </a:cxn>
                  <a:cxn ang="0">
                    <a:pos x="50" y="84"/>
                  </a:cxn>
                  <a:cxn ang="0">
                    <a:pos x="56" y="48"/>
                  </a:cxn>
                  <a:cxn ang="0">
                    <a:pos x="72" y="30"/>
                  </a:cxn>
                  <a:cxn ang="0">
                    <a:pos x="86" y="0"/>
                  </a:cxn>
                  <a:cxn ang="0">
                    <a:pos x="110" y="2"/>
                  </a:cxn>
                  <a:cxn ang="0">
                    <a:pos x="130" y="8"/>
                  </a:cxn>
                  <a:cxn ang="0">
                    <a:pos x="146" y="26"/>
                  </a:cxn>
                  <a:cxn ang="0">
                    <a:pos x="168" y="36"/>
                  </a:cxn>
                  <a:cxn ang="0">
                    <a:pos x="186" y="54"/>
                  </a:cxn>
                  <a:cxn ang="0">
                    <a:pos x="188" y="76"/>
                  </a:cxn>
                  <a:cxn ang="0">
                    <a:pos x="222" y="66"/>
                  </a:cxn>
                  <a:cxn ang="0">
                    <a:pos x="234" y="56"/>
                  </a:cxn>
                  <a:cxn ang="0">
                    <a:pos x="230" y="76"/>
                  </a:cxn>
                  <a:cxn ang="0">
                    <a:pos x="186" y="124"/>
                  </a:cxn>
                  <a:cxn ang="0">
                    <a:pos x="176" y="182"/>
                  </a:cxn>
                  <a:cxn ang="0">
                    <a:pos x="192" y="198"/>
                  </a:cxn>
                  <a:cxn ang="0">
                    <a:pos x="198" y="212"/>
                  </a:cxn>
                  <a:cxn ang="0">
                    <a:pos x="190" y="236"/>
                  </a:cxn>
                  <a:cxn ang="0">
                    <a:pos x="184" y="246"/>
                  </a:cxn>
                  <a:cxn ang="0">
                    <a:pos x="134" y="254"/>
                  </a:cxn>
                  <a:cxn ang="0">
                    <a:pos x="134" y="264"/>
                  </a:cxn>
                  <a:cxn ang="0">
                    <a:pos x="130" y="288"/>
                  </a:cxn>
                  <a:cxn ang="0">
                    <a:pos x="118" y="292"/>
                  </a:cxn>
                  <a:cxn ang="0">
                    <a:pos x="98" y="288"/>
                  </a:cxn>
                  <a:cxn ang="0">
                    <a:pos x="106" y="314"/>
                  </a:cxn>
                  <a:cxn ang="0">
                    <a:pos x="114" y="308"/>
                  </a:cxn>
                  <a:cxn ang="0">
                    <a:pos x="108" y="320"/>
                  </a:cxn>
                  <a:cxn ang="0">
                    <a:pos x="100" y="320"/>
                  </a:cxn>
                  <a:cxn ang="0">
                    <a:pos x="100" y="332"/>
                  </a:cxn>
                  <a:cxn ang="0">
                    <a:pos x="92" y="360"/>
                  </a:cxn>
                  <a:cxn ang="0">
                    <a:pos x="78" y="364"/>
                  </a:cxn>
                  <a:cxn ang="0">
                    <a:pos x="68" y="382"/>
                  </a:cxn>
                  <a:cxn ang="0">
                    <a:pos x="90" y="398"/>
                  </a:cxn>
                  <a:cxn ang="0">
                    <a:pos x="90" y="416"/>
                  </a:cxn>
                  <a:cxn ang="0">
                    <a:pos x="84" y="422"/>
                  </a:cxn>
                  <a:cxn ang="0">
                    <a:pos x="68" y="442"/>
                  </a:cxn>
                  <a:cxn ang="0">
                    <a:pos x="56" y="454"/>
                  </a:cxn>
                  <a:cxn ang="0">
                    <a:pos x="50" y="476"/>
                  </a:cxn>
                  <a:cxn ang="0">
                    <a:pos x="60" y="502"/>
                  </a:cxn>
                </a:cxnLst>
                <a:rect l="0" t="0" r="r" b="b"/>
                <a:pathLst>
                  <a:path w="234" h="502">
                    <a:moveTo>
                      <a:pt x="60" y="502"/>
                    </a:moveTo>
                    <a:lnTo>
                      <a:pt x="60" y="502"/>
                    </a:lnTo>
                    <a:lnTo>
                      <a:pt x="48" y="498"/>
                    </a:lnTo>
                    <a:lnTo>
                      <a:pt x="38" y="496"/>
                    </a:lnTo>
                    <a:lnTo>
                      <a:pt x="14" y="494"/>
                    </a:lnTo>
                    <a:lnTo>
                      <a:pt x="14" y="494"/>
                    </a:lnTo>
                    <a:lnTo>
                      <a:pt x="12" y="490"/>
                    </a:lnTo>
                    <a:lnTo>
                      <a:pt x="12" y="482"/>
                    </a:lnTo>
                    <a:lnTo>
                      <a:pt x="12" y="468"/>
                    </a:lnTo>
                    <a:lnTo>
                      <a:pt x="4" y="468"/>
                    </a:lnTo>
                    <a:lnTo>
                      <a:pt x="0" y="472"/>
                    </a:lnTo>
                    <a:lnTo>
                      <a:pt x="0" y="472"/>
                    </a:lnTo>
                    <a:lnTo>
                      <a:pt x="0" y="462"/>
                    </a:lnTo>
                    <a:lnTo>
                      <a:pt x="2" y="450"/>
                    </a:lnTo>
                    <a:lnTo>
                      <a:pt x="8" y="416"/>
                    </a:lnTo>
                    <a:lnTo>
                      <a:pt x="16" y="382"/>
                    </a:lnTo>
                    <a:lnTo>
                      <a:pt x="22" y="362"/>
                    </a:lnTo>
                    <a:lnTo>
                      <a:pt x="16" y="358"/>
                    </a:lnTo>
                    <a:lnTo>
                      <a:pt x="16" y="356"/>
                    </a:lnTo>
                    <a:lnTo>
                      <a:pt x="24" y="356"/>
                    </a:lnTo>
                    <a:lnTo>
                      <a:pt x="24" y="354"/>
                    </a:lnTo>
                    <a:lnTo>
                      <a:pt x="22" y="350"/>
                    </a:lnTo>
                    <a:lnTo>
                      <a:pt x="18" y="348"/>
                    </a:lnTo>
                    <a:lnTo>
                      <a:pt x="18" y="348"/>
                    </a:lnTo>
                    <a:lnTo>
                      <a:pt x="18" y="342"/>
                    </a:lnTo>
                    <a:lnTo>
                      <a:pt x="18" y="338"/>
                    </a:lnTo>
                    <a:lnTo>
                      <a:pt x="16" y="326"/>
                    </a:lnTo>
                    <a:lnTo>
                      <a:pt x="14" y="324"/>
                    </a:lnTo>
                    <a:lnTo>
                      <a:pt x="14" y="324"/>
                    </a:lnTo>
                    <a:lnTo>
                      <a:pt x="14" y="316"/>
                    </a:lnTo>
                    <a:lnTo>
                      <a:pt x="18" y="310"/>
                    </a:lnTo>
                    <a:lnTo>
                      <a:pt x="18" y="304"/>
                    </a:lnTo>
                    <a:lnTo>
                      <a:pt x="18" y="300"/>
                    </a:lnTo>
                    <a:lnTo>
                      <a:pt x="16" y="296"/>
                    </a:lnTo>
                    <a:lnTo>
                      <a:pt x="16" y="296"/>
                    </a:lnTo>
                    <a:lnTo>
                      <a:pt x="20" y="272"/>
                    </a:lnTo>
                    <a:lnTo>
                      <a:pt x="22" y="258"/>
                    </a:lnTo>
                    <a:lnTo>
                      <a:pt x="26" y="250"/>
                    </a:lnTo>
                    <a:lnTo>
                      <a:pt x="26" y="250"/>
                    </a:lnTo>
                    <a:lnTo>
                      <a:pt x="26" y="232"/>
                    </a:lnTo>
                    <a:lnTo>
                      <a:pt x="26" y="222"/>
                    </a:lnTo>
                    <a:lnTo>
                      <a:pt x="26" y="216"/>
                    </a:lnTo>
                    <a:lnTo>
                      <a:pt x="34" y="210"/>
                    </a:lnTo>
                    <a:lnTo>
                      <a:pt x="34" y="210"/>
                    </a:lnTo>
                    <a:lnTo>
                      <a:pt x="34" y="202"/>
                    </a:lnTo>
                    <a:lnTo>
                      <a:pt x="34" y="194"/>
                    </a:lnTo>
                    <a:lnTo>
                      <a:pt x="38" y="186"/>
                    </a:lnTo>
                    <a:lnTo>
                      <a:pt x="42" y="180"/>
                    </a:lnTo>
                    <a:lnTo>
                      <a:pt x="36" y="144"/>
                    </a:lnTo>
                    <a:lnTo>
                      <a:pt x="34" y="142"/>
                    </a:lnTo>
                    <a:lnTo>
                      <a:pt x="34" y="142"/>
                    </a:lnTo>
                    <a:lnTo>
                      <a:pt x="34" y="136"/>
                    </a:lnTo>
                    <a:lnTo>
                      <a:pt x="36" y="130"/>
                    </a:lnTo>
                    <a:lnTo>
                      <a:pt x="40" y="120"/>
                    </a:lnTo>
                    <a:lnTo>
                      <a:pt x="40" y="120"/>
                    </a:lnTo>
                    <a:lnTo>
                      <a:pt x="42" y="104"/>
                    </a:lnTo>
                    <a:lnTo>
                      <a:pt x="42" y="96"/>
                    </a:lnTo>
                    <a:lnTo>
                      <a:pt x="46" y="90"/>
                    </a:lnTo>
                    <a:lnTo>
                      <a:pt x="46" y="90"/>
                    </a:lnTo>
                    <a:lnTo>
                      <a:pt x="50" y="84"/>
                    </a:lnTo>
                    <a:lnTo>
                      <a:pt x="52" y="80"/>
                    </a:lnTo>
                    <a:lnTo>
                      <a:pt x="52" y="76"/>
                    </a:lnTo>
                    <a:lnTo>
                      <a:pt x="60" y="72"/>
                    </a:lnTo>
                    <a:lnTo>
                      <a:pt x="56" y="48"/>
                    </a:lnTo>
                    <a:lnTo>
                      <a:pt x="58" y="46"/>
                    </a:lnTo>
                    <a:lnTo>
                      <a:pt x="58" y="38"/>
                    </a:lnTo>
                    <a:lnTo>
                      <a:pt x="72" y="30"/>
                    </a:lnTo>
                    <a:lnTo>
                      <a:pt x="72" y="30"/>
                    </a:lnTo>
                    <a:lnTo>
                      <a:pt x="74" y="22"/>
                    </a:lnTo>
                    <a:lnTo>
                      <a:pt x="74" y="18"/>
                    </a:lnTo>
                    <a:lnTo>
                      <a:pt x="74" y="14"/>
                    </a:lnTo>
                    <a:lnTo>
                      <a:pt x="86" y="0"/>
                    </a:lnTo>
                    <a:lnTo>
                      <a:pt x="90" y="4"/>
                    </a:lnTo>
                    <a:lnTo>
                      <a:pt x="102" y="6"/>
                    </a:lnTo>
                    <a:lnTo>
                      <a:pt x="108" y="12"/>
                    </a:lnTo>
                    <a:lnTo>
                      <a:pt x="110" y="2"/>
                    </a:lnTo>
                    <a:lnTo>
                      <a:pt x="110" y="2"/>
                    </a:lnTo>
                    <a:lnTo>
                      <a:pt x="116" y="4"/>
                    </a:lnTo>
                    <a:lnTo>
                      <a:pt x="122" y="4"/>
                    </a:lnTo>
                    <a:lnTo>
                      <a:pt x="130" y="8"/>
                    </a:lnTo>
                    <a:lnTo>
                      <a:pt x="130" y="8"/>
                    </a:lnTo>
                    <a:lnTo>
                      <a:pt x="136" y="14"/>
                    </a:lnTo>
                    <a:lnTo>
                      <a:pt x="140" y="20"/>
                    </a:lnTo>
                    <a:lnTo>
                      <a:pt x="146" y="26"/>
                    </a:lnTo>
                    <a:lnTo>
                      <a:pt x="150" y="30"/>
                    </a:lnTo>
                    <a:lnTo>
                      <a:pt x="150" y="30"/>
                    </a:lnTo>
                    <a:lnTo>
                      <a:pt x="160" y="32"/>
                    </a:lnTo>
                    <a:lnTo>
                      <a:pt x="168" y="36"/>
                    </a:lnTo>
                    <a:lnTo>
                      <a:pt x="178" y="42"/>
                    </a:lnTo>
                    <a:lnTo>
                      <a:pt x="186" y="48"/>
                    </a:lnTo>
                    <a:lnTo>
                      <a:pt x="186" y="54"/>
                    </a:lnTo>
                    <a:lnTo>
                      <a:pt x="186" y="54"/>
                    </a:lnTo>
                    <a:lnTo>
                      <a:pt x="182" y="64"/>
                    </a:lnTo>
                    <a:lnTo>
                      <a:pt x="178" y="74"/>
                    </a:lnTo>
                    <a:lnTo>
                      <a:pt x="178" y="74"/>
                    </a:lnTo>
                    <a:lnTo>
                      <a:pt x="188" y="76"/>
                    </a:lnTo>
                    <a:lnTo>
                      <a:pt x="194" y="78"/>
                    </a:lnTo>
                    <a:lnTo>
                      <a:pt x="198" y="80"/>
                    </a:lnTo>
                    <a:lnTo>
                      <a:pt x="212" y="78"/>
                    </a:lnTo>
                    <a:lnTo>
                      <a:pt x="222" y="66"/>
                    </a:lnTo>
                    <a:lnTo>
                      <a:pt x="226" y="52"/>
                    </a:lnTo>
                    <a:lnTo>
                      <a:pt x="232" y="52"/>
                    </a:lnTo>
                    <a:lnTo>
                      <a:pt x="232" y="52"/>
                    </a:lnTo>
                    <a:lnTo>
                      <a:pt x="234" y="56"/>
                    </a:lnTo>
                    <a:lnTo>
                      <a:pt x="234" y="62"/>
                    </a:lnTo>
                    <a:lnTo>
                      <a:pt x="234" y="74"/>
                    </a:lnTo>
                    <a:lnTo>
                      <a:pt x="234" y="74"/>
                    </a:lnTo>
                    <a:lnTo>
                      <a:pt x="230" y="76"/>
                    </a:lnTo>
                    <a:lnTo>
                      <a:pt x="228" y="78"/>
                    </a:lnTo>
                    <a:lnTo>
                      <a:pt x="222" y="80"/>
                    </a:lnTo>
                    <a:lnTo>
                      <a:pt x="222" y="80"/>
                    </a:lnTo>
                    <a:lnTo>
                      <a:pt x="186" y="124"/>
                    </a:lnTo>
                    <a:lnTo>
                      <a:pt x="186" y="124"/>
                    </a:lnTo>
                    <a:lnTo>
                      <a:pt x="184" y="136"/>
                    </a:lnTo>
                    <a:lnTo>
                      <a:pt x="182" y="152"/>
                    </a:lnTo>
                    <a:lnTo>
                      <a:pt x="176" y="182"/>
                    </a:lnTo>
                    <a:lnTo>
                      <a:pt x="178" y="186"/>
                    </a:lnTo>
                    <a:lnTo>
                      <a:pt x="178" y="186"/>
                    </a:lnTo>
                    <a:lnTo>
                      <a:pt x="186" y="190"/>
                    </a:lnTo>
                    <a:lnTo>
                      <a:pt x="192" y="198"/>
                    </a:lnTo>
                    <a:lnTo>
                      <a:pt x="190" y="206"/>
                    </a:lnTo>
                    <a:lnTo>
                      <a:pt x="194" y="212"/>
                    </a:lnTo>
                    <a:lnTo>
                      <a:pt x="198" y="212"/>
                    </a:lnTo>
                    <a:lnTo>
                      <a:pt x="198" y="212"/>
                    </a:lnTo>
                    <a:lnTo>
                      <a:pt x="198" y="218"/>
                    </a:lnTo>
                    <a:lnTo>
                      <a:pt x="198" y="224"/>
                    </a:lnTo>
                    <a:lnTo>
                      <a:pt x="194" y="230"/>
                    </a:lnTo>
                    <a:lnTo>
                      <a:pt x="190" y="236"/>
                    </a:lnTo>
                    <a:lnTo>
                      <a:pt x="188" y="240"/>
                    </a:lnTo>
                    <a:lnTo>
                      <a:pt x="188" y="242"/>
                    </a:lnTo>
                    <a:lnTo>
                      <a:pt x="188" y="242"/>
                    </a:lnTo>
                    <a:lnTo>
                      <a:pt x="184" y="246"/>
                    </a:lnTo>
                    <a:lnTo>
                      <a:pt x="178" y="248"/>
                    </a:lnTo>
                    <a:lnTo>
                      <a:pt x="162" y="254"/>
                    </a:lnTo>
                    <a:lnTo>
                      <a:pt x="146" y="256"/>
                    </a:lnTo>
                    <a:lnTo>
                      <a:pt x="134" y="254"/>
                    </a:lnTo>
                    <a:lnTo>
                      <a:pt x="132" y="252"/>
                    </a:lnTo>
                    <a:lnTo>
                      <a:pt x="132" y="260"/>
                    </a:lnTo>
                    <a:lnTo>
                      <a:pt x="134" y="264"/>
                    </a:lnTo>
                    <a:lnTo>
                      <a:pt x="134" y="264"/>
                    </a:lnTo>
                    <a:lnTo>
                      <a:pt x="134" y="270"/>
                    </a:lnTo>
                    <a:lnTo>
                      <a:pt x="132" y="274"/>
                    </a:lnTo>
                    <a:lnTo>
                      <a:pt x="132" y="286"/>
                    </a:lnTo>
                    <a:lnTo>
                      <a:pt x="130" y="288"/>
                    </a:lnTo>
                    <a:lnTo>
                      <a:pt x="130" y="288"/>
                    </a:lnTo>
                    <a:lnTo>
                      <a:pt x="122" y="292"/>
                    </a:lnTo>
                    <a:lnTo>
                      <a:pt x="122" y="292"/>
                    </a:lnTo>
                    <a:lnTo>
                      <a:pt x="118" y="292"/>
                    </a:lnTo>
                    <a:lnTo>
                      <a:pt x="110" y="290"/>
                    </a:lnTo>
                    <a:lnTo>
                      <a:pt x="104" y="288"/>
                    </a:lnTo>
                    <a:lnTo>
                      <a:pt x="100" y="284"/>
                    </a:lnTo>
                    <a:lnTo>
                      <a:pt x="98" y="288"/>
                    </a:lnTo>
                    <a:lnTo>
                      <a:pt x="100" y="308"/>
                    </a:lnTo>
                    <a:lnTo>
                      <a:pt x="106" y="312"/>
                    </a:lnTo>
                    <a:lnTo>
                      <a:pt x="104" y="314"/>
                    </a:lnTo>
                    <a:lnTo>
                      <a:pt x="106" y="314"/>
                    </a:lnTo>
                    <a:lnTo>
                      <a:pt x="110" y="314"/>
                    </a:lnTo>
                    <a:lnTo>
                      <a:pt x="108" y="310"/>
                    </a:lnTo>
                    <a:lnTo>
                      <a:pt x="114" y="308"/>
                    </a:lnTo>
                    <a:lnTo>
                      <a:pt x="114" y="308"/>
                    </a:lnTo>
                    <a:lnTo>
                      <a:pt x="116" y="312"/>
                    </a:lnTo>
                    <a:lnTo>
                      <a:pt x="116" y="316"/>
                    </a:lnTo>
                    <a:lnTo>
                      <a:pt x="114" y="320"/>
                    </a:lnTo>
                    <a:lnTo>
                      <a:pt x="108" y="320"/>
                    </a:lnTo>
                    <a:lnTo>
                      <a:pt x="108" y="318"/>
                    </a:lnTo>
                    <a:lnTo>
                      <a:pt x="104" y="316"/>
                    </a:lnTo>
                    <a:lnTo>
                      <a:pt x="100" y="320"/>
                    </a:lnTo>
                    <a:lnTo>
                      <a:pt x="100" y="320"/>
                    </a:lnTo>
                    <a:lnTo>
                      <a:pt x="108" y="324"/>
                    </a:lnTo>
                    <a:lnTo>
                      <a:pt x="100" y="328"/>
                    </a:lnTo>
                    <a:lnTo>
                      <a:pt x="100" y="328"/>
                    </a:lnTo>
                    <a:lnTo>
                      <a:pt x="100" y="332"/>
                    </a:lnTo>
                    <a:lnTo>
                      <a:pt x="98" y="334"/>
                    </a:lnTo>
                    <a:lnTo>
                      <a:pt x="98" y="348"/>
                    </a:lnTo>
                    <a:lnTo>
                      <a:pt x="92" y="356"/>
                    </a:lnTo>
                    <a:lnTo>
                      <a:pt x="92" y="360"/>
                    </a:lnTo>
                    <a:lnTo>
                      <a:pt x="86" y="360"/>
                    </a:lnTo>
                    <a:lnTo>
                      <a:pt x="86" y="360"/>
                    </a:lnTo>
                    <a:lnTo>
                      <a:pt x="82" y="364"/>
                    </a:lnTo>
                    <a:lnTo>
                      <a:pt x="78" y="364"/>
                    </a:lnTo>
                    <a:lnTo>
                      <a:pt x="78" y="364"/>
                    </a:lnTo>
                    <a:lnTo>
                      <a:pt x="72" y="372"/>
                    </a:lnTo>
                    <a:lnTo>
                      <a:pt x="70" y="378"/>
                    </a:lnTo>
                    <a:lnTo>
                      <a:pt x="68" y="382"/>
                    </a:lnTo>
                    <a:lnTo>
                      <a:pt x="68" y="382"/>
                    </a:lnTo>
                    <a:lnTo>
                      <a:pt x="72" y="390"/>
                    </a:lnTo>
                    <a:lnTo>
                      <a:pt x="78" y="396"/>
                    </a:lnTo>
                    <a:lnTo>
                      <a:pt x="90" y="398"/>
                    </a:lnTo>
                    <a:lnTo>
                      <a:pt x="92" y="400"/>
                    </a:lnTo>
                    <a:lnTo>
                      <a:pt x="92" y="406"/>
                    </a:lnTo>
                    <a:lnTo>
                      <a:pt x="90" y="410"/>
                    </a:lnTo>
                    <a:lnTo>
                      <a:pt x="90" y="416"/>
                    </a:lnTo>
                    <a:lnTo>
                      <a:pt x="88" y="416"/>
                    </a:lnTo>
                    <a:lnTo>
                      <a:pt x="88" y="418"/>
                    </a:lnTo>
                    <a:lnTo>
                      <a:pt x="88" y="418"/>
                    </a:lnTo>
                    <a:lnTo>
                      <a:pt x="84" y="422"/>
                    </a:lnTo>
                    <a:lnTo>
                      <a:pt x="76" y="428"/>
                    </a:lnTo>
                    <a:lnTo>
                      <a:pt x="70" y="436"/>
                    </a:lnTo>
                    <a:lnTo>
                      <a:pt x="66" y="442"/>
                    </a:lnTo>
                    <a:lnTo>
                      <a:pt x="68" y="442"/>
                    </a:lnTo>
                    <a:lnTo>
                      <a:pt x="66" y="454"/>
                    </a:lnTo>
                    <a:lnTo>
                      <a:pt x="60" y="456"/>
                    </a:lnTo>
                    <a:lnTo>
                      <a:pt x="56" y="450"/>
                    </a:lnTo>
                    <a:lnTo>
                      <a:pt x="56" y="454"/>
                    </a:lnTo>
                    <a:lnTo>
                      <a:pt x="58" y="458"/>
                    </a:lnTo>
                    <a:lnTo>
                      <a:pt x="52" y="464"/>
                    </a:lnTo>
                    <a:lnTo>
                      <a:pt x="46" y="476"/>
                    </a:lnTo>
                    <a:lnTo>
                      <a:pt x="50" y="476"/>
                    </a:lnTo>
                    <a:lnTo>
                      <a:pt x="52" y="484"/>
                    </a:lnTo>
                    <a:lnTo>
                      <a:pt x="48" y="486"/>
                    </a:lnTo>
                    <a:lnTo>
                      <a:pt x="52" y="488"/>
                    </a:lnTo>
                    <a:lnTo>
                      <a:pt x="60" y="50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8" name="Freeform 1557">
                <a:extLst>
                  <a:ext uri="{FF2B5EF4-FFF2-40B4-BE49-F238E27FC236}">
                    <a16:creationId xmlns:a16="http://schemas.microsoft.com/office/drawing/2014/main" id="{3092C977-C1AD-421F-88CC-D946FBAA0B30}"/>
                  </a:ext>
                </a:extLst>
              </p:cNvPr>
              <p:cNvSpPr>
                <a:spLocks/>
              </p:cNvSpPr>
              <p:nvPr/>
            </p:nvSpPr>
            <p:spPr bwMode="auto">
              <a:xfrm>
                <a:off x="2010" y="2910"/>
                <a:ext cx="68" cy="80"/>
              </a:xfrm>
              <a:custGeom>
                <a:avLst/>
                <a:gdLst/>
                <a:ahLst/>
                <a:cxnLst>
                  <a:cxn ang="0">
                    <a:pos x="66" y="18"/>
                  </a:cxn>
                  <a:cxn ang="0">
                    <a:pos x="58" y="12"/>
                  </a:cxn>
                  <a:cxn ang="0">
                    <a:pos x="54" y="14"/>
                  </a:cxn>
                  <a:cxn ang="0">
                    <a:pos x="42" y="14"/>
                  </a:cxn>
                  <a:cxn ang="0">
                    <a:pos x="42" y="14"/>
                  </a:cxn>
                  <a:cxn ang="0">
                    <a:pos x="34" y="6"/>
                  </a:cxn>
                  <a:cxn ang="0">
                    <a:pos x="24" y="0"/>
                  </a:cxn>
                  <a:cxn ang="0">
                    <a:pos x="14" y="6"/>
                  </a:cxn>
                  <a:cxn ang="0">
                    <a:pos x="10" y="6"/>
                  </a:cxn>
                  <a:cxn ang="0">
                    <a:pos x="8" y="8"/>
                  </a:cxn>
                  <a:cxn ang="0">
                    <a:pos x="10" y="16"/>
                  </a:cxn>
                  <a:cxn ang="0">
                    <a:pos x="0" y="30"/>
                  </a:cxn>
                  <a:cxn ang="0">
                    <a:pos x="0" y="46"/>
                  </a:cxn>
                  <a:cxn ang="0">
                    <a:pos x="6" y="52"/>
                  </a:cxn>
                  <a:cxn ang="0">
                    <a:pos x="10" y="46"/>
                  </a:cxn>
                  <a:cxn ang="0">
                    <a:pos x="12" y="50"/>
                  </a:cxn>
                  <a:cxn ang="0">
                    <a:pos x="12" y="58"/>
                  </a:cxn>
                  <a:cxn ang="0">
                    <a:pos x="6" y="62"/>
                  </a:cxn>
                  <a:cxn ang="0">
                    <a:pos x="6" y="66"/>
                  </a:cxn>
                  <a:cxn ang="0">
                    <a:pos x="2" y="70"/>
                  </a:cxn>
                  <a:cxn ang="0">
                    <a:pos x="4" y="76"/>
                  </a:cxn>
                  <a:cxn ang="0">
                    <a:pos x="16" y="80"/>
                  </a:cxn>
                  <a:cxn ang="0">
                    <a:pos x="16" y="80"/>
                  </a:cxn>
                  <a:cxn ang="0">
                    <a:pos x="20" y="80"/>
                  </a:cxn>
                  <a:cxn ang="0">
                    <a:pos x="24" y="78"/>
                  </a:cxn>
                  <a:cxn ang="0">
                    <a:pos x="28" y="62"/>
                  </a:cxn>
                  <a:cxn ang="0">
                    <a:pos x="32" y="62"/>
                  </a:cxn>
                  <a:cxn ang="0">
                    <a:pos x="34" y="58"/>
                  </a:cxn>
                  <a:cxn ang="0">
                    <a:pos x="34" y="58"/>
                  </a:cxn>
                  <a:cxn ang="0">
                    <a:pos x="44" y="54"/>
                  </a:cxn>
                  <a:cxn ang="0">
                    <a:pos x="52" y="48"/>
                  </a:cxn>
                  <a:cxn ang="0">
                    <a:pos x="60" y="40"/>
                  </a:cxn>
                  <a:cxn ang="0">
                    <a:pos x="66" y="30"/>
                  </a:cxn>
                  <a:cxn ang="0">
                    <a:pos x="68" y="30"/>
                  </a:cxn>
                  <a:cxn ang="0">
                    <a:pos x="64" y="18"/>
                  </a:cxn>
                  <a:cxn ang="0">
                    <a:pos x="66" y="18"/>
                  </a:cxn>
                </a:cxnLst>
                <a:rect l="0" t="0" r="r" b="b"/>
                <a:pathLst>
                  <a:path w="68" h="80">
                    <a:moveTo>
                      <a:pt x="66" y="18"/>
                    </a:moveTo>
                    <a:lnTo>
                      <a:pt x="58" y="12"/>
                    </a:lnTo>
                    <a:lnTo>
                      <a:pt x="54" y="14"/>
                    </a:lnTo>
                    <a:lnTo>
                      <a:pt x="42" y="14"/>
                    </a:lnTo>
                    <a:lnTo>
                      <a:pt x="42" y="14"/>
                    </a:lnTo>
                    <a:lnTo>
                      <a:pt x="34" y="6"/>
                    </a:lnTo>
                    <a:lnTo>
                      <a:pt x="24" y="0"/>
                    </a:lnTo>
                    <a:lnTo>
                      <a:pt x="14" y="6"/>
                    </a:lnTo>
                    <a:lnTo>
                      <a:pt x="10" y="6"/>
                    </a:lnTo>
                    <a:lnTo>
                      <a:pt x="8" y="8"/>
                    </a:lnTo>
                    <a:lnTo>
                      <a:pt x="10" y="16"/>
                    </a:lnTo>
                    <a:lnTo>
                      <a:pt x="0" y="30"/>
                    </a:lnTo>
                    <a:lnTo>
                      <a:pt x="0" y="46"/>
                    </a:lnTo>
                    <a:lnTo>
                      <a:pt x="6" y="52"/>
                    </a:lnTo>
                    <a:lnTo>
                      <a:pt x="10" y="46"/>
                    </a:lnTo>
                    <a:lnTo>
                      <a:pt x="12" y="50"/>
                    </a:lnTo>
                    <a:lnTo>
                      <a:pt x="12" y="58"/>
                    </a:lnTo>
                    <a:lnTo>
                      <a:pt x="6" y="62"/>
                    </a:lnTo>
                    <a:lnTo>
                      <a:pt x="6" y="66"/>
                    </a:lnTo>
                    <a:lnTo>
                      <a:pt x="2" y="70"/>
                    </a:lnTo>
                    <a:lnTo>
                      <a:pt x="4" y="76"/>
                    </a:lnTo>
                    <a:lnTo>
                      <a:pt x="16" y="80"/>
                    </a:lnTo>
                    <a:lnTo>
                      <a:pt x="16" y="80"/>
                    </a:lnTo>
                    <a:lnTo>
                      <a:pt x="20" y="80"/>
                    </a:lnTo>
                    <a:lnTo>
                      <a:pt x="24" y="78"/>
                    </a:lnTo>
                    <a:lnTo>
                      <a:pt x="28" y="62"/>
                    </a:lnTo>
                    <a:lnTo>
                      <a:pt x="32" y="62"/>
                    </a:lnTo>
                    <a:lnTo>
                      <a:pt x="34" y="58"/>
                    </a:lnTo>
                    <a:lnTo>
                      <a:pt x="34" y="58"/>
                    </a:lnTo>
                    <a:lnTo>
                      <a:pt x="44" y="54"/>
                    </a:lnTo>
                    <a:lnTo>
                      <a:pt x="52" y="48"/>
                    </a:lnTo>
                    <a:lnTo>
                      <a:pt x="60" y="40"/>
                    </a:lnTo>
                    <a:lnTo>
                      <a:pt x="66" y="30"/>
                    </a:lnTo>
                    <a:lnTo>
                      <a:pt x="68" y="30"/>
                    </a:lnTo>
                    <a:lnTo>
                      <a:pt x="64" y="18"/>
                    </a:lnTo>
                    <a:lnTo>
                      <a:pt x="66"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49" name="Freeform 1558">
                <a:extLst>
                  <a:ext uri="{FF2B5EF4-FFF2-40B4-BE49-F238E27FC236}">
                    <a16:creationId xmlns:a16="http://schemas.microsoft.com/office/drawing/2014/main" id="{E0302ACA-FAEC-423D-8EE8-7C3A6E3236CB}"/>
                  </a:ext>
                </a:extLst>
              </p:cNvPr>
              <p:cNvSpPr>
                <a:spLocks/>
              </p:cNvSpPr>
              <p:nvPr/>
            </p:nvSpPr>
            <p:spPr bwMode="auto">
              <a:xfrm>
                <a:off x="2032" y="2768"/>
                <a:ext cx="146" cy="212"/>
              </a:xfrm>
              <a:custGeom>
                <a:avLst/>
                <a:gdLst/>
                <a:ahLst/>
                <a:cxnLst>
                  <a:cxn ang="0">
                    <a:pos x="108" y="212"/>
                  </a:cxn>
                  <a:cxn ang="0">
                    <a:pos x="100" y="208"/>
                  </a:cxn>
                  <a:cxn ang="0">
                    <a:pos x="106" y="196"/>
                  </a:cxn>
                  <a:cxn ang="0">
                    <a:pos x="96" y="188"/>
                  </a:cxn>
                  <a:cxn ang="0">
                    <a:pos x="92" y="190"/>
                  </a:cxn>
                  <a:cxn ang="0">
                    <a:pos x="82" y="188"/>
                  </a:cxn>
                  <a:cxn ang="0">
                    <a:pos x="70" y="188"/>
                  </a:cxn>
                  <a:cxn ang="0">
                    <a:pos x="66" y="182"/>
                  </a:cxn>
                  <a:cxn ang="0">
                    <a:pos x="64" y="178"/>
                  </a:cxn>
                  <a:cxn ang="0">
                    <a:pos x="54" y="166"/>
                  </a:cxn>
                  <a:cxn ang="0">
                    <a:pos x="32" y="156"/>
                  </a:cxn>
                  <a:cxn ang="0">
                    <a:pos x="20" y="156"/>
                  </a:cxn>
                  <a:cxn ang="0">
                    <a:pos x="2" y="142"/>
                  </a:cxn>
                  <a:cxn ang="0">
                    <a:pos x="2" y="136"/>
                  </a:cxn>
                  <a:cxn ang="0">
                    <a:pos x="6" y="128"/>
                  </a:cxn>
                  <a:cxn ang="0">
                    <a:pos x="16" y="124"/>
                  </a:cxn>
                  <a:cxn ang="0">
                    <a:pos x="24" y="110"/>
                  </a:cxn>
                  <a:cxn ang="0">
                    <a:pos x="22" y="110"/>
                  </a:cxn>
                  <a:cxn ang="0">
                    <a:pos x="18" y="110"/>
                  </a:cxn>
                  <a:cxn ang="0">
                    <a:pos x="18" y="90"/>
                  </a:cxn>
                  <a:cxn ang="0">
                    <a:pos x="18" y="76"/>
                  </a:cxn>
                  <a:cxn ang="0">
                    <a:pos x="16" y="72"/>
                  </a:cxn>
                  <a:cxn ang="0">
                    <a:pos x="16" y="62"/>
                  </a:cxn>
                  <a:cxn ang="0">
                    <a:pos x="22" y="56"/>
                  </a:cxn>
                  <a:cxn ang="0">
                    <a:pos x="18" y="48"/>
                  </a:cxn>
                  <a:cxn ang="0">
                    <a:pos x="26" y="48"/>
                  </a:cxn>
                  <a:cxn ang="0">
                    <a:pos x="32" y="42"/>
                  </a:cxn>
                  <a:cxn ang="0">
                    <a:pos x="40" y="36"/>
                  </a:cxn>
                  <a:cxn ang="0">
                    <a:pos x="48" y="18"/>
                  </a:cxn>
                  <a:cxn ang="0">
                    <a:pos x="52" y="18"/>
                  </a:cxn>
                  <a:cxn ang="0">
                    <a:pos x="58" y="14"/>
                  </a:cxn>
                  <a:cxn ang="0">
                    <a:pos x="64" y="14"/>
                  </a:cxn>
                  <a:cxn ang="0">
                    <a:pos x="80" y="8"/>
                  </a:cxn>
                  <a:cxn ang="0">
                    <a:pos x="86" y="2"/>
                  </a:cxn>
                  <a:cxn ang="0">
                    <a:pos x="88" y="0"/>
                  </a:cxn>
                  <a:cxn ang="0">
                    <a:pos x="94" y="4"/>
                  </a:cxn>
                  <a:cxn ang="0">
                    <a:pos x="86" y="10"/>
                  </a:cxn>
                  <a:cxn ang="0">
                    <a:pos x="78" y="18"/>
                  </a:cxn>
                  <a:cxn ang="0">
                    <a:pos x="72" y="34"/>
                  </a:cxn>
                  <a:cxn ang="0">
                    <a:pos x="74" y="42"/>
                  </a:cxn>
                  <a:cxn ang="0">
                    <a:pos x="80" y="64"/>
                  </a:cxn>
                  <a:cxn ang="0">
                    <a:pos x="86" y="68"/>
                  </a:cxn>
                  <a:cxn ang="0">
                    <a:pos x="100" y="68"/>
                  </a:cxn>
                  <a:cxn ang="0">
                    <a:pos x="108" y="70"/>
                  </a:cxn>
                  <a:cxn ang="0">
                    <a:pos x="116" y="82"/>
                  </a:cxn>
                  <a:cxn ang="0">
                    <a:pos x="128" y="82"/>
                  </a:cxn>
                  <a:cxn ang="0">
                    <a:pos x="132" y="80"/>
                  </a:cxn>
                  <a:cxn ang="0">
                    <a:pos x="138" y="84"/>
                  </a:cxn>
                  <a:cxn ang="0">
                    <a:pos x="136" y="88"/>
                  </a:cxn>
                  <a:cxn ang="0">
                    <a:pos x="134" y="102"/>
                  </a:cxn>
                  <a:cxn ang="0">
                    <a:pos x="134" y="108"/>
                  </a:cxn>
                  <a:cxn ang="0">
                    <a:pos x="140" y="116"/>
                  </a:cxn>
                  <a:cxn ang="0">
                    <a:pos x="134" y="124"/>
                  </a:cxn>
                  <a:cxn ang="0">
                    <a:pos x="142" y="132"/>
                  </a:cxn>
                  <a:cxn ang="0">
                    <a:pos x="142" y="144"/>
                  </a:cxn>
                  <a:cxn ang="0">
                    <a:pos x="142" y="138"/>
                  </a:cxn>
                  <a:cxn ang="0">
                    <a:pos x="132" y="136"/>
                  </a:cxn>
                  <a:cxn ang="0">
                    <a:pos x="128" y="138"/>
                  </a:cxn>
                  <a:cxn ang="0">
                    <a:pos x="110" y="146"/>
                  </a:cxn>
                  <a:cxn ang="0">
                    <a:pos x="116" y="146"/>
                  </a:cxn>
                  <a:cxn ang="0">
                    <a:pos x="118" y="152"/>
                  </a:cxn>
                  <a:cxn ang="0">
                    <a:pos x="106" y="152"/>
                  </a:cxn>
                  <a:cxn ang="0">
                    <a:pos x="114" y="176"/>
                  </a:cxn>
                </a:cxnLst>
                <a:rect l="0" t="0" r="r" b="b"/>
                <a:pathLst>
                  <a:path w="146" h="212">
                    <a:moveTo>
                      <a:pt x="108" y="212"/>
                    </a:moveTo>
                    <a:lnTo>
                      <a:pt x="108" y="212"/>
                    </a:lnTo>
                    <a:lnTo>
                      <a:pt x="104" y="210"/>
                    </a:lnTo>
                    <a:lnTo>
                      <a:pt x="100" y="208"/>
                    </a:lnTo>
                    <a:lnTo>
                      <a:pt x="100" y="206"/>
                    </a:lnTo>
                    <a:lnTo>
                      <a:pt x="106" y="196"/>
                    </a:lnTo>
                    <a:lnTo>
                      <a:pt x="104" y="192"/>
                    </a:lnTo>
                    <a:lnTo>
                      <a:pt x="96" y="188"/>
                    </a:lnTo>
                    <a:lnTo>
                      <a:pt x="92" y="190"/>
                    </a:lnTo>
                    <a:lnTo>
                      <a:pt x="92" y="190"/>
                    </a:lnTo>
                    <a:lnTo>
                      <a:pt x="86" y="188"/>
                    </a:lnTo>
                    <a:lnTo>
                      <a:pt x="82" y="188"/>
                    </a:lnTo>
                    <a:lnTo>
                      <a:pt x="72" y="190"/>
                    </a:lnTo>
                    <a:lnTo>
                      <a:pt x="70" y="188"/>
                    </a:lnTo>
                    <a:lnTo>
                      <a:pt x="70" y="182"/>
                    </a:lnTo>
                    <a:lnTo>
                      <a:pt x="66" y="182"/>
                    </a:lnTo>
                    <a:lnTo>
                      <a:pt x="66" y="182"/>
                    </a:lnTo>
                    <a:lnTo>
                      <a:pt x="64" y="178"/>
                    </a:lnTo>
                    <a:lnTo>
                      <a:pt x="62" y="172"/>
                    </a:lnTo>
                    <a:lnTo>
                      <a:pt x="54" y="166"/>
                    </a:lnTo>
                    <a:lnTo>
                      <a:pt x="36" y="154"/>
                    </a:lnTo>
                    <a:lnTo>
                      <a:pt x="32" y="156"/>
                    </a:lnTo>
                    <a:lnTo>
                      <a:pt x="20" y="156"/>
                    </a:lnTo>
                    <a:lnTo>
                      <a:pt x="20" y="156"/>
                    </a:lnTo>
                    <a:lnTo>
                      <a:pt x="12" y="148"/>
                    </a:lnTo>
                    <a:lnTo>
                      <a:pt x="2" y="142"/>
                    </a:lnTo>
                    <a:lnTo>
                      <a:pt x="0" y="138"/>
                    </a:lnTo>
                    <a:lnTo>
                      <a:pt x="2" y="136"/>
                    </a:lnTo>
                    <a:lnTo>
                      <a:pt x="4" y="136"/>
                    </a:lnTo>
                    <a:lnTo>
                      <a:pt x="6" y="128"/>
                    </a:lnTo>
                    <a:lnTo>
                      <a:pt x="16" y="124"/>
                    </a:lnTo>
                    <a:lnTo>
                      <a:pt x="16" y="124"/>
                    </a:lnTo>
                    <a:lnTo>
                      <a:pt x="18" y="116"/>
                    </a:lnTo>
                    <a:lnTo>
                      <a:pt x="24" y="110"/>
                    </a:lnTo>
                    <a:lnTo>
                      <a:pt x="24" y="108"/>
                    </a:lnTo>
                    <a:lnTo>
                      <a:pt x="22" y="110"/>
                    </a:lnTo>
                    <a:lnTo>
                      <a:pt x="18" y="110"/>
                    </a:lnTo>
                    <a:lnTo>
                      <a:pt x="18" y="110"/>
                    </a:lnTo>
                    <a:lnTo>
                      <a:pt x="20" y="100"/>
                    </a:lnTo>
                    <a:lnTo>
                      <a:pt x="18" y="90"/>
                    </a:lnTo>
                    <a:lnTo>
                      <a:pt x="20" y="86"/>
                    </a:lnTo>
                    <a:lnTo>
                      <a:pt x="18" y="76"/>
                    </a:lnTo>
                    <a:lnTo>
                      <a:pt x="18" y="76"/>
                    </a:lnTo>
                    <a:lnTo>
                      <a:pt x="16" y="72"/>
                    </a:lnTo>
                    <a:lnTo>
                      <a:pt x="12" y="66"/>
                    </a:lnTo>
                    <a:lnTo>
                      <a:pt x="16" y="62"/>
                    </a:lnTo>
                    <a:lnTo>
                      <a:pt x="18" y="62"/>
                    </a:lnTo>
                    <a:lnTo>
                      <a:pt x="22" y="56"/>
                    </a:lnTo>
                    <a:lnTo>
                      <a:pt x="18" y="52"/>
                    </a:lnTo>
                    <a:lnTo>
                      <a:pt x="18" y="48"/>
                    </a:lnTo>
                    <a:lnTo>
                      <a:pt x="26" y="56"/>
                    </a:lnTo>
                    <a:lnTo>
                      <a:pt x="26" y="48"/>
                    </a:lnTo>
                    <a:lnTo>
                      <a:pt x="26" y="48"/>
                    </a:lnTo>
                    <a:lnTo>
                      <a:pt x="32" y="42"/>
                    </a:lnTo>
                    <a:lnTo>
                      <a:pt x="36" y="38"/>
                    </a:lnTo>
                    <a:lnTo>
                      <a:pt x="40" y="36"/>
                    </a:lnTo>
                    <a:lnTo>
                      <a:pt x="40" y="24"/>
                    </a:lnTo>
                    <a:lnTo>
                      <a:pt x="48" y="18"/>
                    </a:lnTo>
                    <a:lnTo>
                      <a:pt x="48" y="18"/>
                    </a:lnTo>
                    <a:lnTo>
                      <a:pt x="52" y="18"/>
                    </a:lnTo>
                    <a:lnTo>
                      <a:pt x="54" y="20"/>
                    </a:lnTo>
                    <a:lnTo>
                      <a:pt x="58" y="14"/>
                    </a:lnTo>
                    <a:lnTo>
                      <a:pt x="58" y="14"/>
                    </a:lnTo>
                    <a:lnTo>
                      <a:pt x="64" y="14"/>
                    </a:lnTo>
                    <a:lnTo>
                      <a:pt x="70" y="12"/>
                    </a:lnTo>
                    <a:lnTo>
                      <a:pt x="80" y="8"/>
                    </a:lnTo>
                    <a:lnTo>
                      <a:pt x="84" y="2"/>
                    </a:lnTo>
                    <a:lnTo>
                      <a:pt x="86" y="2"/>
                    </a:lnTo>
                    <a:lnTo>
                      <a:pt x="86" y="0"/>
                    </a:lnTo>
                    <a:lnTo>
                      <a:pt x="88" y="0"/>
                    </a:lnTo>
                    <a:lnTo>
                      <a:pt x="94" y="2"/>
                    </a:lnTo>
                    <a:lnTo>
                      <a:pt x="94" y="4"/>
                    </a:lnTo>
                    <a:lnTo>
                      <a:pt x="92" y="8"/>
                    </a:lnTo>
                    <a:lnTo>
                      <a:pt x="86" y="10"/>
                    </a:lnTo>
                    <a:lnTo>
                      <a:pt x="86" y="10"/>
                    </a:lnTo>
                    <a:lnTo>
                      <a:pt x="78" y="18"/>
                    </a:lnTo>
                    <a:lnTo>
                      <a:pt x="74" y="26"/>
                    </a:lnTo>
                    <a:lnTo>
                      <a:pt x="72" y="34"/>
                    </a:lnTo>
                    <a:lnTo>
                      <a:pt x="68" y="42"/>
                    </a:lnTo>
                    <a:lnTo>
                      <a:pt x="74" y="42"/>
                    </a:lnTo>
                    <a:lnTo>
                      <a:pt x="80" y="64"/>
                    </a:lnTo>
                    <a:lnTo>
                      <a:pt x="80" y="64"/>
                    </a:lnTo>
                    <a:lnTo>
                      <a:pt x="82" y="68"/>
                    </a:lnTo>
                    <a:lnTo>
                      <a:pt x="86" y="68"/>
                    </a:lnTo>
                    <a:lnTo>
                      <a:pt x="94" y="68"/>
                    </a:lnTo>
                    <a:lnTo>
                      <a:pt x="100" y="68"/>
                    </a:lnTo>
                    <a:lnTo>
                      <a:pt x="104" y="68"/>
                    </a:lnTo>
                    <a:lnTo>
                      <a:pt x="108" y="70"/>
                    </a:lnTo>
                    <a:lnTo>
                      <a:pt x="116" y="82"/>
                    </a:lnTo>
                    <a:lnTo>
                      <a:pt x="116" y="82"/>
                    </a:lnTo>
                    <a:lnTo>
                      <a:pt x="122" y="80"/>
                    </a:lnTo>
                    <a:lnTo>
                      <a:pt x="128" y="82"/>
                    </a:lnTo>
                    <a:lnTo>
                      <a:pt x="128" y="82"/>
                    </a:lnTo>
                    <a:lnTo>
                      <a:pt x="132" y="80"/>
                    </a:lnTo>
                    <a:lnTo>
                      <a:pt x="138" y="80"/>
                    </a:lnTo>
                    <a:lnTo>
                      <a:pt x="138" y="84"/>
                    </a:lnTo>
                    <a:lnTo>
                      <a:pt x="138" y="84"/>
                    </a:lnTo>
                    <a:lnTo>
                      <a:pt x="136" y="88"/>
                    </a:lnTo>
                    <a:lnTo>
                      <a:pt x="134" y="96"/>
                    </a:lnTo>
                    <a:lnTo>
                      <a:pt x="134" y="102"/>
                    </a:lnTo>
                    <a:lnTo>
                      <a:pt x="134" y="108"/>
                    </a:lnTo>
                    <a:lnTo>
                      <a:pt x="134" y="108"/>
                    </a:lnTo>
                    <a:lnTo>
                      <a:pt x="138" y="112"/>
                    </a:lnTo>
                    <a:lnTo>
                      <a:pt x="140" y="116"/>
                    </a:lnTo>
                    <a:lnTo>
                      <a:pt x="134" y="124"/>
                    </a:lnTo>
                    <a:lnTo>
                      <a:pt x="134" y="124"/>
                    </a:lnTo>
                    <a:lnTo>
                      <a:pt x="138" y="128"/>
                    </a:lnTo>
                    <a:lnTo>
                      <a:pt x="142" y="132"/>
                    </a:lnTo>
                    <a:lnTo>
                      <a:pt x="146" y="142"/>
                    </a:lnTo>
                    <a:lnTo>
                      <a:pt x="142" y="144"/>
                    </a:lnTo>
                    <a:lnTo>
                      <a:pt x="142" y="144"/>
                    </a:lnTo>
                    <a:lnTo>
                      <a:pt x="142" y="138"/>
                    </a:lnTo>
                    <a:lnTo>
                      <a:pt x="138" y="134"/>
                    </a:lnTo>
                    <a:lnTo>
                      <a:pt x="132" y="136"/>
                    </a:lnTo>
                    <a:lnTo>
                      <a:pt x="130" y="134"/>
                    </a:lnTo>
                    <a:lnTo>
                      <a:pt x="128" y="138"/>
                    </a:lnTo>
                    <a:lnTo>
                      <a:pt x="110" y="138"/>
                    </a:lnTo>
                    <a:lnTo>
                      <a:pt x="110" y="146"/>
                    </a:lnTo>
                    <a:lnTo>
                      <a:pt x="112" y="146"/>
                    </a:lnTo>
                    <a:lnTo>
                      <a:pt x="116" y="146"/>
                    </a:lnTo>
                    <a:lnTo>
                      <a:pt x="118" y="152"/>
                    </a:lnTo>
                    <a:lnTo>
                      <a:pt x="118" y="152"/>
                    </a:lnTo>
                    <a:lnTo>
                      <a:pt x="112" y="152"/>
                    </a:lnTo>
                    <a:lnTo>
                      <a:pt x="106" y="152"/>
                    </a:lnTo>
                    <a:lnTo>
                      <a:pt x="106" y="162"/>
                    </a:lnTo>
                    <a:lnTo>
                      <a:pt x="114" y="176"/>
                    </a:lnTo>
                    <a:lnTo>
                      <a:pt x="108" y="212"/>
                    </a:lnTo>
                    <a:close/>
                  </a:path>
                </a:pathLst>
              </a:custGeom>
              <a:solidFill>
                <a:schemeClr val="accent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dirty="0">
                  <a:latin typeface="Myriad for Rabobank Lt" panose="020B0403030403020204" pitchFamily="34" charset="0"/>
                </a:endParaRPr>
              </a:p>
            </p:txBody>
          </p:sp>
          <p:sp>
            <p:nvSpPr>
              <p:cNvPr id="350" name="Freeform 1559">
                <a:extLst>
                  <a:ext uri="{FF2B5EF4-FFF2-40B4-BE49-F238E27FC236}">
                    <a16:creationId xmlns:a16="http://schemas.microsoft.com/office/drawing/2014/main" id="{0A345997-A378-456C-A437-08A3CEE452E4}"/>
                  </a:ext>
                </a:extLst>
              </p:cNvPr>
              <p:cNvSpPr>
                <a:spLocks/>
              </p:cNvSpPr>
              <p:nvPr/>
            </p:nvSpPr>
            <p:spPr bwMode="auto">
              <a:xfrm>
                <a:off x="2094" y="2860"/>
                <a:ext cx="466" cy="524"/>
              </a:xfrm>
              <a:custGeom>
                <a:avLst/>
                <a:gdLst/>
                <a:ahLst/>
                <a:cxnLst>
                  <a:cxn ang="0">
                    <a:pos x="258" y="504"/>
                  </a:cxn>
                  <a:cxn ang="0">
                    <a:pos x="288" y="460"/>
                  </a:cxn>
                  <a:cxn ang="0">
                    <a:pos x="304" y="428"/>
                  </a:cxn>
                  <a:cxn ang="0">
                    <a:pos x="302" y="408"/>
                  </a:cxn>
                  <a:cxn ang="0">
                    <a:pos x="344" y="372"/>
                  </a:cxn>
                  <a:cxn ang="0">
                    <a:pos x="358" y="368"/>
                  </a:cxn>
                  <a:cxn ang="0">
                    <a:pos x="380" y="362"/>
                  </a:cxn>
                  <a:cxn ang="0">
                    <a:pos x="408" y="320"/>
                  </a:cxn>
                  <a:cxn ang="0">
                    <a:pos x="416" y="272"/>
                  </a:cxn>
                  <a:cxn ang="0">
                    <a:pos x="424" y="234"/>
                  </a:cxn>
                  <a:cxn ang="0">
                    <a:pos x="448" y="202"/>
                  </a:cxn>
                  <a:cxn ang="0">
                    <a:pos x="466" y="150"/>
                  </a:cxn>
                  <a:cxn ang="0">
                    <a:pos x="416" y="110"/>
                  </a:cxn>
                  <a:cxn ang="0">
                    <a:pos x="362" y="98"/>
                  </a:cxn>
                  <a:cxn ang="0">
                    <a:pos x="346" y="86"/>
                  </a:cxn>
                  <a:cxn ang="0">
                    <a:pos x="312" y="76"/>
                  </a:cxn>
                  <a:cxn ang="0">
                    <a:pos x="294" y="90"/>
                  </a:cxn>
                  <a:cxn ang="0">
                    <a:pos x="270" y="90"/>
                  </a:cxn>
                  <a:cxn ang="0">
                    <a:pos x="274" y="78"/>
                  </a:cxn>
                  <a:cxn ang="0">
                    <a:pos x="280" y="44"/>
                  </a:cxn>
                  <a:cxn ang="0">
                    <a:pos x="264" y="20"/>
                  </a:cxn>
                  <a:cxn ang="0">
                    <a:pos x="238" y="42"/>
                  </a:cxn>
                  <a:cxn ang="0">
                    <a:pos x="216" y="36"/>
                  </a:cxn>
                  <a:cxn ang="0">
                    <a:pos x="200" y="42"/>
                  </a:cxn>
                  <a:cxn ang="0">
                    <a:pos x="182" y="50"/>
                  </a:cxn>
                  <a:cxn ang="0">
                    <a:pos x="170" y="20"/>
                  </a:cxn>
                  <a:cxn ang="0">
                    <a:pos x="158" y="2"/>
                  </a:cxn>
                  <a:cxn ang="0">
                    <a:pos x="130" y="18"/>
                  </a:cxn>
                  <a:cxn ang="0">
                    <a:pos x="114" y="20"/>
                  </a:cxn>
                  <a:cxn ang="0">
                    <a:pos x="118" y="42"/>
                  </a:cxn>
                  <a:cxn ang="0">
                    <a:pos x="84" y="50"/>
                  </a:cxn>
                  <a:cxn ang="0">
                    <a:pos x="68" y="42"/>
                  </a:cxn>
                  <a:cxn ang="0">
                    <a:pos x="56" y="60"/>
                  </a:cxn>
                  <a:cxn ang="0">
                    <a:pos x="46" y="120"/>
                  </a:cxn>
                  <a:cxn ang="0">
                    <a:pos x="14" y="134"/>
                  </a:cxn>
                  <a:cxn ang="0">
                    <a:pos x="4" y="174"/>
                  </a:cxn>
                  <a:cxn ang="0">
                    <a:pos x="26" y="194"/>
                  </a:cxn>
                  <a:cxn ang="0">
                    <a:pos x="48" y="206"/>
                  </a:cxn>
                  <a:cxn ang="0">
                    <a:pos x="86" y="192"/>
                  </a:cxn>
                  <a:cxn ang="0">
                    <a:pos x="104" y="220"/>
                  </a:cxn>
                  <a:cxn ang="0">
                    <a:pos x="128" y="232"/>
                  </a:cxn>
                  <a:cxn ang="0">
                    <a:pos x="156" y="242"/>
                  </a:cxn>
                  <a:cxn ang="0">
                    <a:pos x="184" y="290"/>
                  </a:cxn>
                  <a:cxn ang="0">
                    <a:pos x="190" y="328"/>
                  </a:cxn>
                  <a:cxn ang="0">
                    <a:pos x="190" y="350"/>
                  </a:cxn>
                  <a:cxn ang="0">
                    <a:pos x="216" y="360"/>
                  </a:cxn>
                  <a:cxn ang="0">
                    <a:pos x="222" y="382"/>
                  </a:cxn>
                  <a:cxn ang="0">
                    <a:pos x="238" y="404"/>
                  </a:cxn>
                  <a:cxn ang="0">
                    <a:pos x="236" y="428"/>
                  </a:cxn>
                  <a:cxn ang="0">
                    <a:pos x="202" y="462"/>
                  </a:cxn>
                  <a:cxn ang="0">
                    <a:pos x="212" y="484"/>
                  </a:cxn>
                  <a:cxn ang="0">
                    <a:pos x="234" y="494"/>
                  </a:cxn>
                  <a:cxn ang="0">
                    <a:pos x="244" y="516"/>
                  </a:cxn>
                </a:cxnLst>
                <a:rect l="0" t="0" r="r" b="b"/>
                <a:pathLst>
                  <a:path w="466" h="524">
                    <a:moveTo>
                      <a:pt x="244" y="524"/>
                    </a:moveTo>
                    <a:lnTo>
                      <a:pt x="244" y="524"/>
                    </a:lnTo>
                    <a:lnTo>
                      <a:pt x="252" y="516"/>
                    </a:lnTo>
                    <a:lnTo>
                      <a:pt x="256" y="510"/>
                    </a:lnTo>
                    <a:lnTo>
                      <a:pt x="258" y="504"/>
                    </a:lnTo>
                    <a:lnTo>
                      <a:pt x="258" y="504"/>
                    </a:lnTo>
                    <a:lnTo>
                      <a:pt x="264" y="498"/>
                    </a:lnTo>
                    <a:lnTo>
                      <a:pt x="272" y="490"/>
                    </a:lnTo>
                    <a:lnTo>
                      <a:pt x="272" y="490"/>
                    </a:lnTo>
                    <a:lnTo>
                      <a:pt x="276" y="484"/>
                    </a:lnTo>
                    <a:lnTo>
                      <a:pt x="280" y="476"/>
                    </a:lnTo>
                    <a:lnTo>
                      <a:pt x="288" y="460"/>
                    </a:lnTo>
                    <a:lnTo>
                      <a:pt x="288" y="460"/>
                    </a:lnTo>
                    <a:lnTo>
                      <a:pt x="294" y="452"/>
                    </a:lnTo>
                    <a:lnTo>
                      <a:pt x="300" y="444"/>
                    </a:lnTo>
                    <a:lnTo>
                      <a:pt x="300" y="444"/>
                    </a:lnTo>
                    <a:lnTo>
                      <a:pt x="302" y="430"/>
                    </a:lnTo>
                    <a:lnTo>
                      <a:pt x="304" y="428"/>
                    </a:lnTo>
                    <a:lnTo>
                      <a:pt x="304" y="428"/>
                    </a:lnTo>
                    <a:lnTo>
                      <a:pt x="302" y="424"/>
                    </a:lnTo>
                    <a:lnTo>
                      <a:pt x="302" y="420"/>
                    </a:lnTo>
                    <a:lnTo>
                      <a:pt x="300" y="412"/>
                    </a:lnTo>
                    <a:lnTo>
                      <a:pt x="300" y="412"/>
                    </a:lnTo>
                    <a:lnTo>
                      <a:pt x="302" y="408"/>
                    </a:lnTo>
                    <a:lnTo>
                      <a:pt x="306" y="402"/>
                    </a:lnTo>
                    <a:lnTo>
                      <a:pt x="316" y="392"/>
                    </a:lnTo>
                    <a:lnTo>
                      <a:pt x="328" y="382"/>
                    </a:lnTo>
                    <a:lnTo>
                      <a:pt x="334" y="378"/>
                    </a:lnTo>
                    <a:lnTo>
                      <a:pt x="338" y="378"/>
                    </a:lnTo>
                    <a:lnTo>
                      <a:pt x="344" y="372"/>
                    </a:lnTo>
                    <a:lnTo>
                      <a:pt x="350" y="372"/>
                    </a:lnTo>
                    <a:lnTo>
                      <a:pt x="350" y="370"/>
                    </a:lnTo>
                    <a:lnTo>
                      <a:pt x="350" y="368"/>
                    </a:lnTo>
                    <a:lnTo>
                      <a:pt x="354" y="368"/>
                    </a:lnTo>
                    <a:lnTo>
                      <a:pt x="354" y="368"/>
                    </a:lnTo>
                    <a:lnTo>
                      <a:pt x="358" y="368"/>
                    </a:lnTo>
                    <a:lnTo>
                      <a:pt x="362" y="368"/>
                    </a:lnTo>
                    <a:lnTo>
                      <a:pt x="362" y="368"/>
                    </a:lnTo>
                    <a:lnTo>
                      <a:pt x="370" y="366"/>
                    </a:lnTo>
                    <a:lnTo>
                      <a:pt x="378" y="366"/>
                    </a:lnTo>
                    <a:lnTo>
                      <a:pt x="378" y="366"/>
                    </a:lnTo>
                    <a:lnTo>
                      <a:pt x="380" y="362"/>
                    </a:lnTo>
                    <a:lnTo>
                      <a:pt x="384" y="360"/>
                    </a:lnTo>
                    <a:lnTo>
                      <a:pt x="390" y="354"/>
                    </a:lnTo>
                    <a:lnTo>
                      <a:pt x="390" y="354"/>
                    </a:lnTo>
                    <a:lnTo>
                      <a:pt x="392" y="348"/>
                    </a:lnTo>
                    <a:lnTo>
                      <a:pt x="398" y="336"/>
                    </a:lnTo>
                    <a:lnTo>
                      <a:pt x="408" y="320"/>
                    </a:lnTo>
                    <a:lnTo>
                      <a:pt x="408" y="320"/>
                    </a:lnTo>
                    <a:lnTo>
                      <a:pt x="408" y="308"/>
                    </a:lnTo>
                    <a:lnTo>
                      <a:pt x="412" y="298"/>
                    </a:lnTo>
                    <a:lnTo>
                      <a:pt x="416" y="284"/>
                    </a:lnTo>
                    <a:lnTo>
                      <a:pt x="416" y="272"/>
                    </a:lnTo>
                    <a:lnTo>
                      <a:pt x="416" y="272"/>
                    </a:lnTo>
                    <a:lnTo>
                      <a:pt x="416" y="254"/>
                    </a:lnTo>
                    <a:lnTo>
                      <a:pt x="416" y="246"/>
                    </a:lnTo>
                    <a:lnTo>
                      <a:pt x="418" y="236"/>
                    </a:lnTo>
                    <a:lnTo>
                      <a:pt x="420" y="234"/>
                    </a:lnTo>
                    <a:lnTo>
                      <a:pt x="424" y="234"/>
                    </a:lnTo>
                    <a:lnTo>
                      <a:pt x="424" y="234"/>
                    </a:lnTo>
                    <a:lnTo>
                      <a:pt x="426" y="230"/>
                    </a:lnTo>
                    <a:lnTo>
                      <a:pt x="426" y="230"/>
                    </a:lnTo>
                    <a:lnTo>
                      <a:pt x="436" y="214"/>
                    </a:lnTo>
                    <a:lnTo>
                      <a:pt x="440" y="208"/>
                    </a:lnTo>
                    <a:lnTo>
                      <a:pt x="448" y="202"/>
                    </a:lnTo>
                    <a:lnTo>
                      <a:pt x="448" y="202"/>
                    </a:lnTo>
                    <a:lnTo>
                      <a:pt x="454" y="196"/>
                    </a:lnTo>
                    <a:lnTo>
                      <a:pt x="458" y="188"/>
                    </a:lnTo>
                    <a:lnTo>
                      <a:pt x="462" y="180"/>
                    </a:lnTo>
                    <a:lnTo>
                      <a:pt x="466" y="170"/>
                    </a:lnTo>
                    <a:lnTo>
                      <a:pt x="466" y="160"/>
                    </a:lnTo>
                    <a:lnTo>
                      <a:pt x="466" y="150"/>
                    </a:lnTo>
                    <a:lnTo>
                      <a:pt x="464" y="142"/>
                    </a:lnTo>
                    <a:lnTo>
                      <a:pt x="460" y="134"/>
                    </a:lnTo>
                    <a:lnTo>
                      <a:pt x="440" y="132"/>
                    </a:lnTo>
                    <a:lnTo>
                      <a:pt x="440" y="132"/>
                    </a:lnTo>
                    <a:lnTo>
                      <a:pt x="426" y="118"/>
                    </a:lnTo>
                    <a:lnTo>
                      <a:pt x="416" y="110"/>
                    </a:lnTo>
                    <a:lnTo>
                      <a:pt x="408" y="106"/>
                    </a:lnTo>
                    <a:lnTo>
                      <a:pt x="402" y="106"/>
                    </a:lnTo>
                    <a:lnTo>
                      <a:pt x="388" y="106"/>
                    </a:lnTo>
                    <a:lnTo>
                      <a:pt x="378" y="104"/>
                    </a:lnTo>
                    <a:lnTo>
                      <a:pt x="364" y="98"/>
                    </a:lnTo>
                    <a:lnTo>
                      <a:pt x="362" y="98"/>
                    </a:lnTo>
                    <a:lnTo>
                      <a:pt x="352" y="102"/>
                    </a:lnTo>
                    <a:lnTo>
                      <a:pt x="354" y="96"/>
                    </a:lnTo>
                    <a:lnTo>
                      <a:pt x="352" y="94"/>
                    </a:lnTo>
                    <a:lnTo>
                      <a:pt x="350" y="94"/>
                    </a:lnTo>
                    <a:lnTo>
                      <a:pt x="352" y="92"/>
                    </a:lnTo>
                    <a:lnTo>
                      <a:pt x="346" y="86"/>
                    </a:lnTo>
                    <a:lnTo>
                      <a:pt x="342" y="90"/>
                    </a:lnTo>
                    <a:lnTo>
                      <a:pt x="340" y="84"/>
                    </a:lnTo>
                    <a:lnTo>
                      <a:pt x="340" y="84"/>
                    </a:lnTo>
                    <a:lnTo>
                      <a:pt x="324" y="78"/>
                    </a:lnTo>
                    <a:lnTo>
                      <a:pt x="314" y="76"/>
                    </a:lnTo>
                    <a:lnTo>
                      <a:pt x="312" y="76"/>
                    </a:lnTo>
                    <a:lnTo>
                      <a:pt x="310" y="76"/>
                    </a:lnTo>
                    <a:lnTo>
                      <a:pt x="304" y="86"/>
                    </a:lnTo>
                    <a:lnTo>
                      <a:pt x="298" y="88"/>
                    </a:lnTo>
                    <a:lnTo>
                      <a:pt x="294" y="98"/>
                    </a:lnTo>
                    <a:lnTo>
                      <a:pt x="294" y="90"/>
                    </a:lnTo>
                    <a:lnTo>
                      <a:pt x="294" y="90"/>
                    </a:lnTo>
                    <a:lnTo>
                      <a:pt x="284" y="90"/>
                    </a:lnTo>
                    <a:lnTo>
                      <a:pt x="278" y="92"/>
                    </a:lnTo>
                    <a:lnTo>
                      <a:pt x="274" y="92"/>
                    </a:lnTo>
                    <a:lnTo>
                      <a:pt x="270" y="92"/>
                    </a:lnTo>
                    <a:lnTo>
                      <a:pt x="268" y="94"/>
                    </a:lnTo>
                    <a:lnTo>
                      <a:pt x="270" y="90"/>
                    </a:lnTo>
                    <a:lnTo>
                      <a:pt x="276" y="90"/>
                    </a:lnTo>
                    <a:lnTo>
                      <a:pt x="278" y="90"/>
                    </a:lnTo>
                    <a:lnTo>
                      <a:pt x="278" y="84"/>
                    </a:lnTo>
                    <a:lnTo>
                      <a:pt x="274" y="82"/>
                    </a:lnTo>
                    <a:lnTo>
                      <a:pt x="278" y="78"/>
                    </a:lnTo>
                    <a:lnTo>
                      <a:pt x="274" y="78"/>
                    </a:lnTo>
                    <a:lnTo>
                      <a:pt x="272" y="82"/>
                    </a:lnTo>
                    <a:lnTo>
                      <a:pt x="270" y="82"/>
                    </a:lnTo>
                    <a:lnTo>
                      <a:pt x="270" y="72"/>
                    </a:lnTo>
                    <a:lnTo>
                      <a:pt x="284" y="54"/>
                    </a:lnTo>
                    <a:lnTo>
                      <a:pt x="286" y="46"/>
                    </a:lnTo>
                    <a:lnTo>
                      <a:pt x="280" y="44"/>
                    </a:lnTo>
                    <a:lnTo>
                      <a:pt x="280" y="44"/>
                    </a:lnTo>
                    <a:lnTo>
                      <a:pt x="276" y="28"/>
                    </a:lnTo>
                    <a:lnTo>
                      <a:pt x="272" y="18"/>
                    </a:lnTo>
                    <a:lnTo>
                      <a:pt x="270" y="14"/>
                    </a:lnTo>
                    <a:lnTo>
                      <a:pt x="270" y="14"/>
                    </a:lnTo>
                    <a:lnTo>
                      <a:pt x="264" y="20"/>
                    </a:lnTo>
                    <a:lnTo>
                      <a:pt x="260" y="28"/>
                    </a:lnTo>
                    <a:lnTo>
                      <a:pt x="256" y="34"/>
                    </a:lnTo>
                    <a:lnTo>
                      <a:pt x="250" y="40"/>
                    </a:lnTo>
                    <a:lnTo>
                      <a:pt x="250" y="40"/>
                    </a:lnTo>
                    <a:lnTo>
                      <a:pt x="244" y="40"/>
                    </a:lnTo>
                    <a:lnTo>
                      <a:pt x="238" y="42"/>
                    </a:lnTo>
                    <a:lnTo>
                      <a:pt x="238" y="42"/>
                    </a:lnTo>
                    <a:lnTo>
                      <a:pt x="232" y="38"/>
                    </a:lnTo>
                    <a:lnTo>
                      <a:pt x="226" y="36"/>
                    </a:lnTo>
                    <a:lnTo>
                      <a:pt x="226" y="36"/>
                    </a:lnTo>
                    <a:lnTo>
                      <a:pt x="222" y="36"/>
                    </a:lnTo>
                    <a:lnTo>
                      <a:pt x="216" y="36"/>
                    </a:lnTo>
                    <a:lnTo>
                      <a:pt x="216" y="36"/>
                    </a:lnTo>
                    <a:lnTo>
                      <a:pt x="214" y="44"/>
                    </a:lnTo>
                    <a:lnTo>
                      <a:pt x="214" y="44"/>
                    </a:lnTo>
                    <a:lnTo>
                      <a:pt x="206" y="42"/>
                    </a:lnTo>
                    <a:lnTo>
                      <a:pt x="202" y="42"/>
                    </a:lnTo>
                    <a:lnTo>
                      <a:pt x="200" y="42"/>
                    </a:lnTo>
                    <a:lnTo>
                      <a:pt x="200" y="42"/>
                    </a:lnTo>
                    <a:lnTo>
                      <a:pt x="196" y="44"/>
                    </a:lnTo>
                    <a:lnTo>
                      <a:pt x="192" y="46"/>
                    </a:lnTo>
                    <a:lnTo>
                      <a:pt x="186" y="48"/>
                    </a:lnTo>
                    <a:lnTo>
                      <a:pt x="182" y="50"/>
                    </a:lnTo>
                    <a:lnTo>
                      <a:pt x="182" y="50"/>
                    </a:lnTo>
                    <a:lnTo>
                      <a:pt x="178" y="50"/>
                    </a:lnTo>
                    <a:lnTo>
                      <a:pt x="176" y="50"/>
                    </a:lnTo>
                    <a:lnTo>
                      <a:pt x="170" y="44"/>
                    </a:lnTo>
                    <a:lnTo>
                      <a:pt x="170" y="38"/>
                    </a:lnTo>
                    <a:lnTo>
                      <a:pt x="168" y="36"/>
                    </a:lnTo>
                    <a:lnTo>
                      <a:pt x="170" y="20"/>
                    </a:lnTo>
                    <a:lnTo>
                      <a:pt x="172" y="18"/>
                    </a:lnTo>
                    <a:lnTo>
                      <a:pt x="170" y="10"/>
                    </a:lnTo>
                    <a:lnTo>
                      <a:pt x="166" y="8"/>
                    </a:lnTo>
                    <a:lnTo>
                      <a:pt x="166" y="4"/>
                    </a:lnTo>
                    <a:lnTo>
                      <a:pt x="166" y="0"/>
                    </a:lnTo>
                    <a:lnTo>
                      <a:pt x="158" y="2"/>
                    </a:lnTo>
                    <a:lnTo>
                      <a:pt x="158" y="4"/>
                    </a:lnTo>
                    <a:lnTo>
                      <a:pt x="154" y="8"/>
                    </a:lnTo>
                    <a:lnTo>
                      <a:pt x="154" y="8"/>
                    </a:lnTo>
                    <a:lnTo>
                      <a:pt x="142" y="12"/>
                    </a:lnTo>
                    <a:lnTo>
                      <a:pt x="130" y="18"/>
                    </a:lnTo>
                    <a:lnTo>
                      <a:pt x="130" y="18"/>
                    </a:lnTo>
                    <a:lnTo>
                      <a:pt x="124" y="18"/>
                    </a:lnTo>
                    <a:lnTo>
                      <a:pt x="120" y="16"/>
                    </a:lnTo>
                    <a:lnTo>
                      <a:pt x="114" y="14"/>
                    </a:lnTo>
                    <a:lnTo>
                      <a:pt x="108" y="12"/>
                    </a:lnTo>
                    <a:lnTo>
                      <a:pt x="110" y="16"/>
                    </a:lnTo>
                    <a:lnTo>
                      <a:pt x="114" y="20"/>
                    </a:lnTo>
                    <a:lnTo>
                      <a:pt x="114" y="20"/>
                    </a:lnTo>
                    <a:lnTo>
                      <a:pt x="114" y="28"/>
                    </a:lnTo>
                    <a:lnTo>
                      <a:pt x="116" y="36"/>
                    </a:lnTo>
                    <a:lnTo>
                      <a:pt x="126" y="36"/>
                    </a:lnTo>
                    <a:lnTo>
                      <a:pt x="126" y="40"/>
                    </a:lnTo>
                    <a:lnTo>
                      <a:pt x="118" y="42"/>
                    </a:lnTo>
                    <a:lnTo>
                      <a:pt x="114" y="48"/>
                    </a:lnTo>
                    <a:lnTo>
                      <a:pt x="114" y="48"/>
                    </a:lnTo>
                    <a:lnTo>
                      <a:pt x="106" y="52"/>
                    </a:lnTo>
                    <a:lnTo>
                      <a:pt x="98" y="56"/>
                    </a:lnTo>
                    <a:lnTo>
                      <a:pt x="90" y="58"/>
                    </a:lnTo>
                    <a:lnTo>
                      <a:pt x="84" y="50"/>
                    </a:lnTo>
                    <a:lnTo>
                      <a:pt x="80" y="52"/>
                    </a:lnTo>
                    <a:lnTo>
                      <a:pt x="80" y="52"/>
                    </a:lnTo>
                    <a:lnTo>
                      <a:pt x="80" y="46"/>
                    </a:lnTo>
                    <a:lnTo>
                      <a:pt x="76" y="42"/>
                    </a:lnTo>
                    <a:lnTo>
                      <a:pt x="70" y="44"/>
                    </a:lnTo>
                    <a:lnTo>
                      <a:pt x="68" y="42"/>
                    </a:lnTo>
                    <a:lnTo>
                      <a:pt x="66" y="46"/>
                    </a:lnTo>
                    <a:lnTo>
                      <a:pt x="48" y="46"/>
                    </a:lnTo>
                    <a:lnTo>
                      <a:pt x="48" y="54"/>
                    </a:lnTo>
                    <a:lnTo>
                      <a:pt x="50" y="54"/>
                    </a:lnTo>
                    <a:lnTo>
                      <a:pt x="54" y="54"/>
                    </a:lnTo>
                    <a:lnTo>
                      <a:pt x="56" y="60"/>
                    </a:lnTo>
                    <a:lnTo>
                      <a:pt x="56" y="60"/>
                    </a:lnTo>
                    <a:lnTo>
                      <a:pt x="50" y="60"/>
                    </a:lnTo>
                    <a:lnTo>
                      <a:pt x="44" y="60"/>
                    </a:lnTo>
                    <a:lnTo>
                      <a:pt x="44" y="70"/>
                    </a:lnTo>
                    <a:lnTo>
                      <a:pt x="52" y="84"/>
                    </a:lnTo>
                    <a:lnTo>
                      <a:pt x="46" y="120"/>
                    </a:lnTo>
                    <a:lnTo>
                      <a:pt x="44" y="122"/>
                    </a:lnTo>
                    <a:lnTo>
                      <a:pt x="44" y="122"/>
                    </a:lnTo>
                    <a:lnTo>
                      <a:pt x="40" y="120"/>
                    </a:lnTo>
                    <a:lnTo>
                      <a:pt x="36" y="122"/>
                    </a:lnTo>
                    <a:lnTo>
                      <a:pt x="24" y="126"/>
                    </a:lnTo>
                    <a:lnTo>
                      <a:pt x="14" y="134"/>
                    </a:lnTo>
                    <a:lnTo>
                      <a:pt x="10" y="142"/>
                    </a:lnTo>
                    <a:lnTo>
                      <a:pt x="8" y="150"/>
                    </a:lnTo>
                    <a:lnTo>
                      <a:pt x="4" y="152"/>
                    </a:lnTo>
                    <a:lnTo>
                      <a:pt x="0" y="164"/>
                    </a:lnTo>
                    <a:lnTo>
                      <a:pt x="0" y="164"/>
                    </a:lnTo>
                    <a:lnTo>
                      <a:pt x="4" y="174"/>
                    </a:lnTo>
                    <a:lnTo>
                      <a:pt x="10" y="182"/>
                    </a:lnTo>
                    <a:lnTo>
                      <a:pt x="10" y="188"/>
                    </a:lnTo>
                    <a:lnTo>
                      <a:pt x="16" y="188"/>
                    </a:lnTo>
                    <a:lnTo>
                      <a:pt x="20" y="194"/>
                    </a:lnTo>
                    <a:lnTo>
                      <a:pt x="26" y="194"/>
                    </a:lnTo>
                    <a:lnTo>
                      <a:pt x="26" y="194"/>
                    </a:lnTo>
                    <a:lnTo>
                      <a:pt x="34" y="192"/>
                    </a:lnTo>
                    <a:lnTo>
                      <a:pt x="40" y="186"/>
                    </a:lnTo>
                    <a:lnTo>
                      <a:pt x="40" y="206"/>
                    </a:lnTo>
                    <a:lnTo>
                      <a:pt x="42" y="208"/>
                    </a:lnTo>
                    <a:lnTo>
                      <a:pt x="42" y="208"/>
                    </a:lnTo>
                    <a:lnTo>
                      <a:pt x="48" y="206"/>
                    </a:lnTo>
                    <a:lnTo>
                      <a:pt x="52" y="206"/>
                    </a:lnTo>
                    <a:lnTo>
                      <a:pt x="62" y="208"/>
                    </a:lnTo>
                    <a:lnTo>
                      <a:pt x="68" y="206"/>
                    </a:lnTo>
                    <a:lnTo>
                      <a:pt x="74" y="204"/>
                    </a:lnTo>
                    <a:lnTo>
                      <a:pt x="78" y="200"/>
                    </a:lnTo>
                    <a:lnTo>
                      <a:pt x="86" y="192"/>
                    </a:lnTo>
                    <a:lnTo>
                      <a:pt x="100" y="190"/>
                    </a:lnTo>
                    <a:lnTo>
                      <a:pt x="102" y="194"/>
                    </a:lnTo>
                    <a:lnTo>
                      <a:pt x="102" y="194"/>
                    </a:lnTo>
                    <a:lnTo>
                      <a:pt x="102" y="202"/>
                    </a:lnTo>
                    <a:lnTo>
                      <a:pt x="100" y="212"/>
                    </a:lnTo>
                    <a:lnTo>
                      <a:pt x="104" y="220"/>
                    </a:lnTo>
                    <a:lnTo>
                      <a:pt x="104" y="220"/>
                    </a:lnTo>
                    <a:lnTo>
                      <a:pt x="108" y="224"/>
                    </a:lnTo>
                    <a:lnTo>
                      <a:pt x="114" y="226"/>
                    </a:lnTo>
                    <a:lnTo>
                      <a:pt x="126" y="228"/>
                    </a:lnTo>
                    <a:lnTo>
                      <a:pt x="128" y="232"/>
                    </a:lnTo>
                    <a:lnTo>
                      <a:pt x="128" y="232"/>
                    </a:lnTo>
                    <a:lnTo>
                      <a:pt x="136" y="234"/>
                    </a:lnTo>
                    <a:lnTo>
                      <a:pt x="140" y="238"/>
                    </a:lnTo>
                    <a:lnTo>
                      <a:pt x="144" y="240"/>
                    </a:lnTo>
                    <a:lnTo>
                      <a:pt x="152" y="240"/>
                    </a:lnTo>
                    <a:lnTo>
                      <a:pt x="152" y="240"/>
                    </a:lnTo>
                    <a:lnTo>
                      <a:pt x="156" y="242"/>
                    </a:lnTo>
                    <a:lnTo>
                      <a:pt x="158" y="246"/>
                    </a:lnTo>
                    <a:lnTo>
                      <a:pt x="162" y="256"/>
                    </a:lnTo>
                    <a:lnTo>
                      <a:pt x="160" y="264"/>
                    </a:lnTo>
                    <a:lnTo>
                      <a:pt x="164" y="276"/>
                    </a:lnTo>
                    <a:lnTo>
                      <a:pt x="184" y="278"/>
                    </a:lnTo>
                    <a:lnTo>
                      <a:pt x="184" y="290"/>
                    </a:lnTo>
                    <a:lnTo>
                      <a:pt x="190" y="292"/>
                    </a:lnTo>
                    <a:lnTo>
                      <a:pt x="194" y="302"/>
                    </a:lnTo>
                    <a:lnTo>
                      <a:pt x="194" y="302"/>
                    </a:lnTo>
                    <a:lnTo>
                      <a:pt x="190" y="314"/>
                    </a:lnTo>
                    <a:lnTo>
                      <a:pt x="190" y="322"/>
                    </a:lnTo>
                    <a:lnTo>
                      <a:pt x="190" y="328"/>
                    </a:lnTo>
                    <a:lnTo>
                      <a:pt x="188" y="328"/>
                    </a:lnTo>
                    <a:lnTo>
                      <a:pt x="188" y="330"/>
                    </a:lnTo>
                    <a:lnTo>
                      <a:pt x="188" y="330"/>
                    </a:lnTo>
                    <a:lnTo>
                      <a:pt x="190" y="336"/>
                    </a:lnTo>
                    <a:lnTo>
                      <a:pt x="190" y="344"/>
                    </a:lnTo>
                    <a:lnTo>
                      <a:pt x="190" y="350"/>
                    </a:lnTo>
                    <a:lnTo>
                      <a:pt x="192" y="356"/>
                    </a:lnTo>
                    <a:lnTo>
                      <a:pt x="192" y="356"/>
                    </a:lnTo>
                    <a:lnTo>
                      <a:pt x="200" y="358"/>
                    </a:lnTo>
                    <a:lnTo>
                      <a:pt x="204" y="358"/>
                    </a:lnTo>
                    <a:lnTo>
                      <a:pt x="210" y="356"/>
                    </a:lnTo>
                    <a:lnTo>
                      <a:pt x="216" y="360"/>
                    </a:lnTo>
                    <a:lnTo>
                      <a:pt x="216" y="360"/>
                    </a:lnTo>
                    <a:lnTo>
                      <a:pt x="218" y="364"/>
                    </a:lnTo>
                    <a:lnTo>
                      <a:pt x="218" y="370"/>
                    </a:lnTo>
                    <a:lnTo>
                      <a:pt x="218" y="376"/>
                    </a:lnTo>
                    <a:lnTo>
                      <a:pt x="220" y="380"/>
                    </a:lnTo>
                    <a:lnTo>
                      <a:pt x="222" y="382"/>
                    </a:lnTo>
                    <a:lnTo>
                      <a:pt x="232" y="380"/>
                    </a:lnTo>
                    <a:lnTo>
                      <a:pt x="232" y="382"/>
                    </a:lnTo>
                    <a:lnTo>
                      <a:pt x="232" y="382"/>
                    </a:lnTo>
                    <a:lnTo>
                      <a:pt x="234" y="392"/>
                    </a:lnTo>
                    <a:lnTo>
                      <a:pt x="232" y="404"/>
                    </a:lnTo>
                    <a:lnTo>
                      <a:pt x="238" y="404"/>
                    </a:lnTo>
                    <a:lnTo>
                      <a:pt x="238" y="404"/>
                    </a:lnTo>
                    <a:lnTo>
                      <a:pt x="240" y="408"/>
                    </a:lnTo>
                    <a:lnTo>
                      <a:pt x="240" y="414"/>
                    </a:lnTo>
                    <a:lnTo>
                      <a:pt x="240" y="426"/>
                    </a:lnTo>
                    <a:lnTo>
                      <a:pt x="240" y="426"/>
                    </a:lnTo>
                    <a:lnTo>
                      <a:pt x="236" y="428"/>
                    </a:lnTo>
                    <a:lnTo>
                      <a:pt x="234" y="430"/>
                    </a:lnTo>
                    <a:lnTo>
                      <a:pt x="228" y="432"/>
                    </a:lnTo>
                    <a:lnTo>
                      <a:pt x="228" y="432"/>
                    </a:lnTo>
                    <a:lnTo>
                      <a:pt x="220" y="442"/>
                    </a:lnTo>
                    <a:lnTo>
                      <a:pt x="212" y="452"/>
                    </a:lnTo>
                    <a:lnTo>
                      <a:pt x="202" y="462"/>
                    </a:lnTo>
                    <a:lnTo>
                      <a:pt x="194" y="472"/>
                    </a:lnTo>
                    <a:lnTo>
                      <a:pt x="198" y="472"/>
                    </a:lnTo>
                    <a:lnTo>
                      <a:pt x="202" y="470"/>
                    </a:lnTo>
                    <a:lnTo>
                      <a:pt x="204" y="470"/>
                    </a:lnTo>
                    <a:lnTo>
                      <a:pt x="212" y="478"/>
                    </a:lnTo>
                    <a:lnTo>
                      <a:pt x="212" y="484"/>
                    </a:lnTo>
                    <a:lnTo>
                      <a:pt x="216" y="484"/>
                    </a:lnTo>
                    <a:lnTo>
                      <a:pt x="218" y="480"/>
                    </a:lnTo>
                    <a:lnTo>
                      <a:pt x="224" y="488"/>
                    </a:lnTo>
                    <a:lnTo>
                      <a:pt x="230" y="490"/>
                    </a:lnTo>
                    <a:lnTo>
                      <a:pt x="230" y="490"/>
                    </a:lnTo>
                    <a:lnTo>
                      <a:pt x="234" y="494"/>
                    </a:lnTo>
                    <a:lnTo>
                      <a:pt x="240" y="498"/>
                    </a:lnTo>
                    <a:lnTo>
                      <a:pt x="240" y="498"/>
                    </a:lnTo>
                    <a:lnTo>
                      <a:pt x="242" y="504"/>
                    </a:lnTo>
                    <a:lnTo>
                      <a:pt x="248" y="510"/>
                    </a:lnTo>
                    <a:lnTo>
                      <a:pt x="248" y="510"/>
                    </a:lnTo>
                    <a:lnTo>
                      <a:pt x="244" y="516"/>
                    </a:lnTo>
                    <a:lnTo>
                      <a:pt x="244" y="524"/>
                    </a:lnTo>
                    <a:lnTo>
                      <a:pt x="244" y="52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dirty="0">
                  <a:latin typeface="Myriad for Rabobank Lt" panose="020B0403030403020204" pitchFamily="34" charset="0"/>
                </a:endParaRPr>
              </a:p>
            </p:txBody>
          </p:sp>
          <p:sp>
            <p:nvSpPr>
              <p:cNvPr id="351" name="Freeform 1560">
                <a:extLst>
                  <a:ext uri="{FF2B5EF4-FFF2-40B4-BE49-F238E27FC236}">
                    <a16:creationId xmlns:a16="http://schemas.microsoft.com/office/drawing/2014/main" id="{7CAFB030-8343-4229-B754-C105A50AB653}"/>
                  </a:ext>
                </a:extLst>
              </p:cNvPr>
              <p:cNvSpPr>
                <a:spLocks/>
              </p:cNvSpPr>
              <p:nvPr/>
            </p:nvSpPr>
            <p:spPr bwMode="auto">
              <a:xfrm>
                <a:off x="2100" y="2772"/>
                <a:ext cx="162" cy="146"/>
              </a:xfrm>
              <a:custGeom>
                <a:avLst/>
                <a:gdLst/>
                <a:ahLst/>
                <a:cxnLst>
                  <a:cxn ang="0">
                    <a:pos x="24" y="4"/>
                  </a:cxn>
                  <a:cxn ang="0">
                    <a:pos x="16" y="26"/>
                  </a:cxn>
                  <a:cxn ang="0">
                    <a:pos x="16" y="32"/>
                  </a:cxn>
                  <a:cxn ang="0">
                    <a:pos x="22" y="40"/>
                  </a:cxn>
                  <a:cxn ang="0">
                    <a:pos x="28" y="36"/>
                  </a:cxn>
                  <a:cxn ang="0">
                    <a:pos x="22" y="22"/>
                  </a:cxn>
                  <a:cxn ang="0">
                    <a:pos x="22" y="16"/>
                  </a:cxn>
                  <a:cxn ang="0">
                    <a:pos x="32" y="10"/>
                  </a:cxn>
                  <a:cxn ang="0">
                    <a:pos x="42" y="6"/>
                  </a:cxn>
                  <a:cxn ang="0">
                    <a:pos x="38" y="0"/>
                  </a:cxn>
                  <a:cxn ang="0">
                    <a:pos x="46" y="8"/>
                  </a:cxn>
                  <a:cxn ang="0">
                    <a:pos x="64" y="20"/>
                  </a:cxn>
                  <a:cxn ang="0">
                    <a:pos x="92" y="24"/>
                  </a:cxn>
                  <a:cxn ang="0">
                    <a:pos x="100" y="24"/>
                  </a:cxn>
                  <a:cxn ang="0">
                    <a:pos x="108" y="22"/>
                  </a:cxn>
                  <a:cxn ang="0">
                    <a:pos x="114" y="22"/>
                  </a:cxn>
                  <a:cxn ang="0">
                    <a:pos x="108" y="18"/>
                  </a:cxn>
                  <a:cxn ang="0">
                    <a:pos x="136" y="18"/>
                  </a:cxn>
                  <a:cxn ang="0">
                    <a:pos x="130" y="20"/>
                  </a:cxn>
                  <a:cxn ang="0">
                    <a:pos x="124" y="22"/>
                  </a:cxn>
                  <a:cxn ang="0">
                    <a:pos x="132" y="30"/>
                  </a:cxn>
                  <a:cxn ang="0">
                    <a:pos x="150" y="44"/>
                  </a:cxn>
                  <a:cxn ang="0">
                    <a:pos x="148" y="48"/>
                  </a:cxn>
                  <a:cxn ang="0">
                    <a:pos x="152" y="48"/>
                  </a:cxn>
                  <a:cxn ang="0">
                    <a:pos x="162" y="48"/>
                  </a:cxn>
                  <a:cxn ang="0">
                    <a:pos x="150" y="58"/>
                  </a:cxn>
                  <a:cxn ang="0">
                    <a:pos x="154" y="64"/>
                  </a:cxn>
                  <a:cxn ang="0">
                    <a:pos x="146" y="74"/>
                  </a:cxn>
                  <a:cxn ang="0">
                    <a:pos x="144" y="78"/>
                  </a:cxn>
                  <a:cxn ang="0">
                    <a:pos x="152" y="92"/>
                  </a:cxn>
                  <a:cxn ang="0">
                    <a:pos x="148" y="96"/>
                  </a:cxn>
                  <a:cxn ang="0">
                    <a:pos x="124" y="106"/>
                  </a:cxn>
                  <a:cxn ang="0">
                    <a:pos x="118" y="106"/>
                  </a:cxn>
                  <a:cxn ang="0">
                    <a:pos x="108" y="102"/>
                  </a:cxn>
                  <a:cxn ang="0">
                    <a:pos x="104" y="104"/>
                  </a:cxn>
                  <a:cxn ang="0">
                    <a:pos x="108" y="108"/>
                  </a:cxn>
                  <a:cxn ang="0">
                    <a:pos x="110" y="124"/>
                  </a:cxn>
                  <a:cxn ang="0">
                    <a:pos x="120" y="128"/>
                  </a:cxn>
                  <a:cxn ang="0">
                    <a:pos x="108" y="136"/>
                  </a:cxn>
                  <a:cxn ang="0">
                    <a:pos x="100" y="140"/>
                  </a:cxn>
                  <a:cxn ang="0">
                    <a:pos x="84" y="146"/>
                  </a:cxn>
                  <a:cxn ang="0">
                    <a:pos x="78" y="140"/>
                  </a:cxn>
                  <a:cxn ang="0">
                    <a:pos x="72" y="126"/>
                  </a:cxn>
                  <a:cxn ang="0">
                    <a:pos x="72" y="112"/>
                  </a:cxn>
                  <a:cxn ang="0">
                    <a:pos x="70" y="108"/>
                  </a:cxn>
                  <a:cxn ang="0">
                    <a:pos x="66" y="104"/>
                  </a:cxn>
                  <a:cxn ang="0">
                    <a:pos x="66" y="92"/>
                  </a:cxn>
                  <a:cxn ang="0">
                    <a:pos x="70" y="80"/>
                  </a:cxn>
                  <a:cxn ang="0">
                    <a:pos x="70" y="76"/>
                  </a:cxn>
                  <a:cxn ang="0">
                    <a:pos x="60" y="78"/>
                  </a:cxn>
                  <a:cxn ang="0">
                    <a:pos x="54" y="76"/>
                  </a:cxn>
                  <a:cxn ang="0">
                    <a:pos x="40" y="66"/>
                  </a:cxn>
                  <a:cxn ang="0">
                    <a:pos x="36" y="64"/>
                  </a:cxn>
                  <a:cxn ang="0">
                    <a:pos x="26" y="64"/>
                  </a:cxn>
                  <a:cxn ang="0">
                    <a:pos x="14" y="64"/>
                  </a:cxn>
                  <a:cxn ang="0">
                    <a:pos x="6" y="38"/>
                  </a:cxn>
                  <a:cxn ang="0">
                    <a:pos x="0" y="38"/>
                  </a:cxn>
                  <a:cxn ang="0">
                    <a:pos x="6" y="22"/>
                  </a:cxn>
                  <a:cxn ang="0">
                    <a:pos x="18" y="6"/>
                  </a:cxn>
                </a:cxnLst>
                <a:rect l="0" t="0" r="r" b="b"/>
                <a:pathLst>
                  <a:path w="162" h="146">
                    <a:moveTo>
                      <a:pt x="24" y="4"/>
                    </a:moveTo>
                    <a:lnTo>
                      <a:pt x="24" y="4"/>
                    </a:lnTo>
                    <a:lnTo>
                      <a:pt x="18" y="18"/>
                    </a:lnTo>
                    <a:lnTo>
                      <a:pt x="16" y="26"/>
                    </a:lnTo>
                    <a:lnTo>
                      <a:pt x="16" y="32"/>
                    </a:lnTo>
                    <a:lnTo>
                      <a:pt x="16" y="32"/>
                    </a:lnTo>
                    <a:lnTo>
                      <a:pt x="20" y="34"/>
                    </a:lnTo>
                    <a:lnTo>
                      <a:pt x="22" y="40"/>
                    </a:lnTo>
                    <a:lnTo>
                      <a:pt x="28" y="36"/>
                    </a:lnTo>
                    <a:lnTo>
                      <a:pt x="28" y="36"/>
                    </a:lnTo>
                    <a:lnTo>
                      <a:pt x="26" y="28"/>
                    </a:lnTo>
                    <a:lnTo>
                      <a:pt x="22" y="22"/>
                    </a:lnTo>
                    <a:lnTo>
                      <a:pt x="22" y="16"/>
                    </a:lnTo>
                    <a:lnTo>
                      <a:pt x="22" y="16"/>
                    </a:lnTo>
                    <a:lnTo>
                      <a:pt x="26" y="14"/>
                    </a:lnTo>
                    <a:lnTo>
                      <a:pt x="32" y="10"/>
                    </a:lnTo>
                    <a:lnTo>
                      <a:pt x="42" y="8"/>
                    </a:lnTo>
                    <a:lnTo>
                      <a:pt x="42" y="6"/>
                    </a:lnTo>
                    <a:lnTo>
                      <a:pt x="36" y="4"/>
                    </a:lnTo>
                    <a:lnTo>
                      <a:pt x="38" y="0"/>
                    </a:lnTo>
                    <a:lnTo>
                      <a:pt x="42" y="0"/>
                    </a:lnTo>
                    <a:lnTo>
                      <a:pt x="46" y="8"/>
                    </a:lnTo>
                    <a:lnTo>
                      <a:pt x="60" y="12"/>
                    </a:lnTo>
                    <a:lnTo>
                      <a:pt x="64" y="20"/>
                    </a:lnTo>
                    <a:lnTo>
                      <a:pt x="86" y="18"/>
                    </a:lnTo>
                    <a:lnTo>
                      <a:pt x="92" y="24"/>
                    </a:lnTo>
                    <a:lnTo>
                      <a:pt x="92" y="24"/>
                    </a:lnTo>
                    <a:lnTo>
                      <a:pt x="100" y="24"/>
                    </a:lnTo>
                    <a:lnTo>
                      <a:pt x="104" y="24"/>
                    </a:lnTo>
                    <a:lnTo>
                      <a:pt x="108" y="22"/>
                    </a:lnTo>
                    <a:lnTo>
                      <a:pt x="114" y="24"/>
                    </a:lnTo>
                    <a:lnTo>
                      <a:pt x="114" y="22"/>
                    </a:lnTo>
                    <a:lnTo>
                      <a:pt x="108" y="18"/>
                    </a:lnTo>
                    <a:lnTo>
                      <a:pt x="108" y="18"/>
                    </a:lnTo>
                    <a:lnTo>
                      <a:pt x="122" y="18"/>
                    </a:lnTo>
                    <a:lnTo>
                      <a:pt x="136" y="18"/>
                    </a:lnTo>
                    <a:lnTo>
                      <a:pt x="136" y="18"/>
                    </a:lnTo>
                    <a:lnTo>
                      <a:pt x="130" y="20"/>
                    </a:lnTo>
                    <a:lnTo>
                      <a:pt x="126" y="20"/>
                    </a:lnTo>
                    <a:lnTo>
                      <a:pt x="124" y="22"/>
                    </a:lnTo>
                    <a:lnTo>
                      <a:pt x="128" y="24"/>
                    </a:lnTo>
                    <a:lnTo>
                      <a:pt x="132" y="30"/>
                    </a:lnTo>
                    <a:lnTo>
                      <a:pt x="148" y="36"/>
                    </a:lnTo>
                    <a:lnTo>
                      <a:pt x="150" y="44"/>
                    </a:lnTo>
                    <a:lnTo>
                      <a:pt x="148" y="46"/>
                    </a:lnTo>
                    <a:lnTo>
                      <a:pt x="148" y="48"/>
                    </a:lnTo>
                    <a:lnTo>
                      <a:pt x="148" y="48"/>
                    </a:lnTo>
                    <a:lnTo>
                      <a:pt x="152" y="48"/>
                    </a:lnTo>
                    <a:lnTo>
                      <a:pt x="158" y="46"/>
                    </a:lnTo>
                    <a:lnTo>
                      <a:pt x="162" y="48"/>
                    </a:lnTo>
                    <a:lnTo>
                      <a:pt x="162" y="52"/>
                    </a:lnTo>
                    <a:lnTo>
                      <a:pt x="150" y="58"/>
                    </a:lnTo>
                    <a:lnTo>
                      <a:pt x="150" y="64"/>
                    </a:lnTo>
                    <a:lnTo>
                      <a:pt x="154" y="64"/>
                    </a:lnTo>
                    <a:lnTo>
                      <a:pt x="148" y="70"/>
                    </a:lnTo>
                    <a:lnTo>
                      <a:pt x="146" y="74"/>
                    </a:lnTo>
                    <a:lnTo>
                      <a:pt x="144" y="76"/>
                    </a:lnTo>
                    <a:lnTo>
                      <a:pt x="144" y="78"/>
                    </a:lnTo>
                    <a:lnTo>
                      <a:pt x="152" y="90"/>
                    </a:lnTo>
                    <a:lnTo>
                      <a:pt x="152" y="92"/>
                    </a:lnTo>
                    <a:lnTo>
                      <a:pt x="148" y="96"/>
                    </a:lnTo>
                    <a:lnTo>
                      <a:pt x="148" y="96"/>
                    </a:lnTo>
                    <a:lnTo>
                      <a:pt x="136" y="100"/>
                    </a:lnTo>
                    <a:lnTo>
                      <a:pt x="124" y="106"/>
                    </a:lnTo>
                    <a:lnTo>
                      <a:pt x="124" y="106"/>
                    </a:lnTo>
                    <a:lnTo>
                      <a:pt x="118" y="106"/>
                    </a:lnTo>
                    <a:lnTo>
                      <a:pt x="114" y="104"/>
                    </a:lnTo>
                    <a:lnTo>
                      <a:pt x="108" y="102"/>
                    </a:lnTo>
                    <a:lnTo>
                      <a:pt x="102" y="100"/>
                    </a:lnTo>
                    <a:lnTo>
                      <a:pt x="104" y="104"/>
                    </a:lnTo>
                    <a:lnTo>
                      <a:pt x="108" y="108"/>
                    </a:lnTo>
                    <a:lnTo>
                      <a:pt x="108" y="108"/>
                    </a:lnTo>
                    <a:lnTo>
                      <a:pt x="108" y="116"/>
                    </a:lnTo>
                    <a:lnTo>
                      <a:pt x="110" y="124"/>
                    </a:lnTo>
                    <a:lnTo>
                      <a:pt x="120" y="124"/>
                    </a:lnTo>
                    <a:lnTo>
                      <a:pt x="120" y="128"/>
                    </a:lnTo>
                    <a:lnTo>
                      <a:pt x="112" y="130"/>
                    </a:lnTo>
                    <a:lnTo>
                      <a:pt x="108" y="136"/>
                    </a:lnTo>
                    <a:lnTo>
                      <a:pt x="108" y="136"/>
                    </a:lnTo>
                    <a:lnTo>
                      <a:pt x="100" y="140"/>
                    </a:lnTo>
                    <a:lnTo>
                      <a:pt x="92" y="144"/>
                    </a:lnTo>
                    <a:lnTo>
                      <a:pt x="84" y="146"/>
                    </a:lnTo>
                    <a:lnTo>
                      <a:pt x="84" y="146"/>
                    </a:lnTo>
                    <a:lnTo>
                      <a:pt x="78" y="140"/>
                    </a:lnTo>
                    <a:lnTo>
                      <a:pt x="74" y="132"/>
                    </a:lnTo>
                    <a:lnTo>
                      <a:pt x="72" y="126"/>
                    </a:lnTo>
                    <a:lnTo>
                      <a:pt x="66" y="120"/>
                    </a:lnTo>
                    <a:lnTo>
                      <a:pt x="72" y="112"/>
                    </a:lnTo>
                    <a:lnTo>
                      <a:pt x="72" y="112"/>
                    </a:lnTo>
                    <a:lnTo>
                      <a:pt x="70" y="108"/>
                    </a:lnTo>
                    <a:lnTo>
                      <a:pt x="66" y="104"/>
                    </a:lnTo>
                    <a:lnTo>
                      <a:pt x="66" y="104"/>
                    </a:lnTo>
                    <a:lnTo>
                      <a:pt x="66" y="98"/>
                    </a:lnTo>
                    <a:lnTo>
                      <a:pt x="66" y="92"/>
                    </a:lnTo>
                    <a:lnTo>
                      <a:pt x="68" y="84"/>
                    </a:lnTo>
                    <a:lnTo>
                      <a:pt x="70" y="80"/>
                    </a:lnTo>
                    <a:lnTo>
                      <a:pt x="70" y="76"/>
                    </a:lnTo>
                    <a:lnTo>
                      <a:pt x="70" y="76"/>
                    </a:lnTo>
                    <a:lnTo>
                      <a:pt x="64" y="76"/>
                    </a:lnTo>
                    <a:lnTo>
                      <a:pt x="60" y="78"/>
                    </a:lnTo>
                    <a:lnTo>
                      <a:pt x="60" y="78"/>
                    </a:lnTo>
                    <a:lnTo>
                      <a:pt x="54" y="76"/>
                    </a:lnTo>
                    <a:lnTo>
                      <a:pt x="48" y="78"/>
                    </a:lnTo>
                    <a:lnTo>
                      <a:pt x="40" y="66"/>
                    </a:lnTo>
                    <a:lnTo>
                      <a:pt x="40" y="66"/>
                    </a:lnTo>
                    <a:lnTo>
                      <a:pt x="36" y="64"/>
                    </a:lnTo>
                    <a:lnTo>
                      <a:pt x="32" y="64"/>
                    </a:lnTo>
                    <a:lnTo>
                      <a:pt x="26" y="64"/>
                    </a:lnTo>
                    <a:lnTo>
                      <a:pt x="18" y="64"/>
                    </a:lnTo>
                    <a:lnTo>
                      <a:pt x="14" y="64"/>
                    </a:lnTo>
                    <a:lnTo>
                      <a:pt x="12" y="60"/>
                    </a:lnTo>
                    <a:lnTo>
                      <a:pt x="6" y="38"/>
                    </a:lnTo>
                    <a:lnTo>
                      <a:pt x="0" y="38"/>
                    </a:lnTo>
                    <a:lnTo>
                      <a:pt x="0" y="38"/>
                    </a:lnTo>
                    <a:lnTo>
                      <a:pt x="4" y="30"/>
                    </a:lnTo>
                    <a:lnTo>
                      <a:pt x="6" y="22"/>
                    </a:lnTo>
                    <a:lnTo>
                      <a:pt x="10" y="14"/>
                    </a:lnTo>
                    <a:lnTo>
                      <a:pt x="18" y="6"/>
                    </a:lnTo>
                    <a:lnTo>
                      <a:pt x="24"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2" name="Freeform 1561">
                <a:extLst>
                  <a:ext uri="{FF2B5EF4-FFF2-40B4-BE49-F238E27FC236}">
                    <a16:creationId xmlns:a16="http://schemas.microsoft.com/office/drawing/2014/main" id="{FA9D97DD-1C17-4925-8C1C-FAF300053220}"/>
                  </a:ext>
                </a:extLst>
              </p:cNvPr>
              <p:cNvSpPr>
                <a:spLocks/>
              </p:cNvSpPr>
              <p:nvPr/>
            </p:nvSpPr>
            <p:spPr bwMode="auto">
              <a:xfrm>
                <a:off x="2282" y="2852"/>
                <a:ext cx="50" cy="52"/>
              </a:xfrm>
              <a:custGeom>
                <a:avLst/>
                <a:gdLst/>
                <a:ahLst/>
                <a:cxnLst>
                  <a:cxn ang="0">
                    <a:pos x="44" y="46"/>
                  </a:cxn>
                  <a:cxn ang="0">
                    <a:pos x="38" y="44"/>
                  </a:cxn>
                  <a:cxn ang="0">
                    <a:pos x="38" y="44"/>
                  </a:cxn>
                  <a:cxn ang="0">
                    <a:pos x="34" y="44"/>
                  </a:cxn>
                  <a:cxn ang="0">
                    <a:pos x="28" y="44"/>
                  </a:cxn>
                  <a:cxn ang="0">
                    <a:pos x="28" y="44"/>
                  </a:cxn>
                  <a:cxn ang="0">
                    <a:pos x="26" y="52"/>
                  </a:cxn>
                  <a:cxn ang="0">
                    <a:pos x="20" y="50"/>
                  </a:cxn>
                  <a:cxn ang="0">
                    <a:pos x="20" y="50"/>
                  </a:cxn>
                  <a:cxn ang="0">
                    <a:pos x="14" y="42"/>
                  </a:cxn>
                  <a:cxn ang="0">
                    <a:pos x="10" y="34"/>
                  </a:cxn>
                  <a:cxn ang="0">
                    <a:pos x="6" y="32"/>
                  </a:cxn>
                  <a:cxn ang="0">
                    <a:pos x="0" y="24"/>
                  </a:cxn>
                  <a:cxn ang="0">
                    <a:pos x="2" y="14"/>
                  </a:cxn>
                  <a:cxn ang="0">
                    <a:pos x="8" y="12"/>
                  </a:cxn>
                  <a:cxn ang="0">
                    <a:pos x="10" y="8"/>
                  </a:cxn>
                  <a:cxn ang="0">
                    <a:pos x="10" y="6"/>
                  </a:cxn>
                  <a:cxn ang="0">
                    <a:pos x="10" y="6"/>
                  </a:cxn>
                  <a:cxn ang="0">
                    <a:pos x="12" y="2"/>
                  </a:cxn>
                  <a:cxn ang="0">
                    <a:pos x="14" y="0"/>
                  </a:cxn>
                  <a:cxn ang="0">
                    <a:pos x="14" y="0"/>
                  </a:cxn>
                  <a:cxn ang="0">
                    <a:pos x="22" y="2"/>
                  </a:cxn>
                  <a:cxn ang="0">
                    <a:pos x="32" y="0"/>
                  </a:cxn>
                  <a:cxn ang="0">
                    <a:pos x="40" y="0"/>
                  </a:cxn>
                  <a:cxn ang="0">
                    <a:pos x="50" y="2"/>
                  </a:cxn>
                  <a:cxn ang="0">
                    <a:pos x="50" y="4"/>
                  </a:cxn>
                  <a:cxn ang="0">
                    <a:pos x="46" y="12"/>
                  </a:cxn>
                  <a:cxn ang="0">
                    <a:pos x="46" y="12"/>
                  </a:cxn>
                  <a:cxn ang="0">
                    <a:pos x="46" y="20"/>
                  </a:cxn>
                  <a:cxn ang="0">
                    <a:pos x="50" y="28"/>
                  </a:cxn>
                  <a:cxn ang="0">
                    <a:pos x="48" y="42"/>
                  </a:cxn>
                  <a:cxn ang="0">
                    <a:pos x="44" y="46"/>
                  </a:cxn>
                </a:cxnLst>
                <a:rect l="0" t="0" r="r" b="b"/>
                <a:pathLst>
                  <a:path w="50" h="52">
                    <a:moveTo>
                      <a:pt x="44" y="46"/>
                    </a:moveTo>
                    <a:lnTo>
                      <a:pt x="38" y="44"/>
                    </a:lnTo>
                    <a:lnTo>
                      <a:pt x="38" y="44"/>
                    </a:lnTo>
                    <a:lnTo>
                      <a:pt x="34" y="44"/>
                    </a:lnTo>
                    <a:lnTo>
                      <a:pt x="28" y="44"/>
                    </a:lnTo>
                    <a:lnTo>
                      <a:pt x="28" y="44"/>
                    </a:lnTo>
                    <a:lnTo>
                      <a:pt x="26" y="52"/>
                    </a:lnTo>
                    <a:lnTo>
                      <a:pt x="20" y="50"/>
                    </a:lnTo>
                    <a:lnTo>
                      <a:pt x="20" y="50"/>
                    </a:lnTo>
                    <a:lnTo>
                      <a:pt x="14" y="42"/>
                    </a:lnTo>
                    <a:lnTo>
                      <a:pt x="10" y="34"/>
                    </a:lnTo>
                    <a:lnTo>
                      <a:pt x="6" y="32"/>
                    </a:lnTo>
                    <a:lnTo>
                      <a:pt x="0" y="24"/>
                    </a:lnTo>
                    <a:lnTo>
                      <a:pt x="2" y="14"/>
                    </a:lnTo>
                    <a:lnTo>
                      <a:pt x="8" y="12"/>
                    </a:lnTo>
                    <a:lnTo>
                      <a:pt x="10" y="8"/>
                    </a:lnTo>
                    <a:lnTo>
                      <a:pt x="10" y="6"/>
                    </a:lnTo>
                    <a:lnTo>
                      <a:pt x="10" y="6"/>
                    </a:lnTo>
                    <a:lnTo>
                      <a:pt x="12" y="2"/>
                    </a:lnTo>
                    <a:lnTo>
                      <a:pt x="14" y="0"/>
                    </a:lnTo>
                    <a:lnTo>
                      <a:pt x="14" y="0"/>
                    </a:lnTo>
                    <a:lnTo>
                      <a:pt x="22" y="2"/>
                    </a:lnTo>
                    <a:lnTo>
                      <a:pt x="32" y="0"/>
                    </a:lnTo>
                    <a:lnTo>
                      <a:pt x="40" y="0"/>
                    </a:lnTo>
                    <a:lnTo>
                      <a:pt x="50" y="2"/>
                    </a:lnTo>
                    <a:lnTo>
                      <a:pt x="50" y="4"/>
                    </a:lnTo>
                    <a:lnTo>
                      <a:pt x="46" y="12"/>
                    </a:lnTo>
                    <a:lnTo>
                      <a:pt x="46" y="12"/>
                    </a:lnTo>
                    <a:lnTo>
                      <a:pt x="46" y="20"/>
                    </a:lnTo>
                    <a:lnTo>
                      <a:pt x="50" y="28"/>
                    </a:lnTo>
                    <a:lnTo>
                      <a:pt x="48" y="42"/>
                    </a:lnTo>
                    <a:lnTo>
                      <a:pt x="44" y="4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3" name="Freeform 1562">
                <a:extLst>
                  <a:ext uri="{FF2B5EF4-FFF2-40B4-BE49-F238E27FC236}">
                    <a16:creationId xmlns:a16="http://schemas.microsoft.com/office/drawing/2014/main" id="{5000E664-26DF-4FCF-8D94-CB1CF18AD63D}"/>
                  </a:ext>
                </a:extLst>
              </p:cNvPr>
              <p:cNvSpPr>
                <a:spLocks/>
              </p:cNvSpPr>
              <p:nvPr/>
            </p:nvSpPr>
            <p:spPr bwMode="auto">
              <a:xfrm>
                <a:off x="2244" y="2820"/>
                <a:ext cx="58" cy="90"/>
              </a:xfrm>
              <a:custGeom>
                <a:avLst/>
                <a:gdLst/>
                <a:ahLst/>
                <a:cxnLst>
                  <a:cxn ang="0">
                    <a:pos x="58" y="82"/>
                  </a:cxn>
                  <a:cxn ang="0">
                    <a:pos x="58" y="82"/>
                  </a:cxn>
                  <a:cxn ang="0">
                    <a:pos x="54" y="82"/>
                  </a:cxn>
                  <a:cxn ang="0">
                    <a:pos x="50" y="82"/>
                  </a:cxn>
                  <a:cxn ang="0">
                    <a:pos x="50" y="82"/>
                  </a:cxn>
                  <a:cxn ang="0">
                    <a:pos x="46" y="84"/>
                  </a:cxn>
                  <a:cxn ang="0">
                    <a:pos x="42" y="86"/>
                  </a:cxn>
                  <a:cxn ang="0">
                    <a:pos x="36" y="88"/>
                  </a:cxn>
                  <a:cxn ang="0">
                    <a:pos x="32" y="90"/>
                  </a:cxn>
                  <a:cxn ang="0">
                    <a:pos x="32" y="90"/>
                  </a:cxn>
                  <a:cxn ang="0">
                    <a:pos x="28" y="90"/>
                  </a:cxn>
                  <a:cxn ang="0">
                    <a:pos x="26" y="90"/>
                  </a:cxn>
                  <a:cxn ang="0">
                    <a:pos x="20" y="84"/>
                  </a:cxn>
                  <a:cxn ang="0">
                    <a:pos x="20" y="78"/>
                  </a:cxn>
                  <a:cxn ang="0">
                    <a:pos x="18" y="76"/>
                  </a:cxn>
                  <a:cxn ang="0">
                    <a:pos x="20" y="60"/>
                  </a:cxn>
                  <a:cxn ang="0">
                    <a:pos x="22" y="58"/>
                  </a:cxn>
                  <a:cxn ang="0">
                    <a:pos x="20" y="50"/>
                  </a:cxn>
                  <a:cxn ang="0">
                    <a:pos x="16" y="48"/>
                  </a:cxn>
                  <a:cxn ang="0">
                    <a:pos x="16" y="44"/>
                  </a:cxn>
                  <a:cxn ang="0">
                    <a:pos x="16" y="40"/>
                  </a:cxn>
                  <a:cxn ang="0">
                    <a:pos x="8" y="42"/>
                  </a:cxn>
                  <a:cxn ang="0">
                    <a:pos x="0" y="30"/>
                  </a:cxn>
                  <a:cxn ang="0">
                    <a:pos x="0" y="28"/>
                  </a:cxn>
                  <a:cxn ang="0">
                    <a:pos x="2" y="26"/>
                  </a:cxn>
                  <a:cxn ang="0">
                    <a:pos x="4" y="22"/>
                  </a:cxn>
                  <a:cxn ang="0">
                    <a:pos x="10" y="16"/>
                  </a:cxn>
                  <a:cxn ang="0">
                    <a:pos x="6" y="16"/>
                  </a:cxn>
                  <a:cxn ang="0">
                    <a:pos x="6" y="10"/>
                  </a:cxn>
                  <a:cxn ang="0">
                    <a:pos x="18" y="4"/>
                  </a:cxn>
                  <a:cxn ang="0">
                    <a:pos x="18" y="0"/>
                  </a:cxn>
                  <a:cxn ang="0">
                    <a:pos x="20" y="0"/>
                  </a:cxn>
                  <a:cxn ang="0">
                    <a:pos x="20" y="0"/>
                  </a:cxn>
                  <a:cxn ang="0">
                    <a:pos x="28" y="6"/>
                  </a:cxn>
                  <a:cxn ang="0">
                    <a:pos x="34" y="14"/>
                  </a:cxn>
                  <a:cxn ang="0">
                    <a:pos x="34" y="20"/>
                  </a:cxn>
                  <a:cxn ang="0">
                    <a:pos x="34" y="20"/>
                  </a:cxn>
                  <a:cxn ang="0">
                    <a:pos x="42" y="22"/>
                  </a:cxn>
                  <a:cxn ang="0">
                    <a:pos x="48" y="26"/>
                  </a:cxn>
                  <a:cxn ang="0">
                    <a:pos x="52" y="34"/>
                  </a:cxn>
                  <a:cxn ang="0">
                    <a:pos x="48" y="38"/>
                  </a:cxn>
                  <a:cxn ang="0">
                    <a:pos x="48" y="40"/>
                  </a:cxn>
                  <a:cxn ang="0">
                    <a:pos x="46" y="44"/>
                  </a:cxn>
                  <a:cxn ang="0">
                    <a:pos x="40" y="46"/>
                  </a:cxn>
                  <a:cxn ang="0">
                    <a:pos x="38" y="56"/>
                  </a:cxn>
                  <a:cxn ang="0">
                    <a:pos x="44" y="64"/>
                  </a:cxn>
                  <a:cxn ang="0">
                    <a:pos x="48" y="66"/>
                  </a:cxn>
                  <a:cxn ang="0">
                    <a:pos x="48" y="66"/>
                  </a:cxn>
                  <a:cxn ang="0">
                    <a:pos x="52" y="74"/>
                  </a:cxn>
                  <a:cxn ang="0">
                    <a:pos x="58" y="82"/>
                  </a:cxn>
                  <a:cxn ang="0">
                    <a:pos x="58" y="82"/>
                  </a:cxn>
                </a:cxnLst>
                <a:rect l="0" t="0" r="r" b="b"/>
                <a:pathLst>
                  <a:path w="58" h="90">
                    <a:moveTo>
                      <a:pt x="58" y="82"/>
                    </a:moveTo>
                    <a:lnTo>
                      <a:pt x="58" y="82"/>
                    </a:lnTo>
                    <a:lnTo>
                      <a:pt x="54" y="82"/>
                    </a:lnTo>
                    <a:lnTo>
                      <a:pt x="50" y="82"/>
                    </a:lnTo>
                    <a:lnTo>
                      <a:pt x="50" y="82"/>
                    </a:lnTo>
                    <a:lnTo>
                      <a:pt x="46" y="84"/>
                    </a:lnTo>
                    <a:lnTo>
                      <a:pt x="42" y="86"/>
                    </a:lnTo>
                    <a:lnTo>
                      <a:pt x="36" y="88"/>
                    </a:lnTo>
                    <a:lnTo>
                      <a:pt x="32" y="90"/>
                    </a:lnTo>
                    <a:lnTo>
                      <a:pt x="32" y="90"/>
                    </a:lnTo>
                    <a:lnTo>
                      <a:pt x="28" y="90"/>
                    </a:lnTo>
                    <a:lnTo>
                      <a:pt x="26" y="90"/>
                    </a:lnTo>
                    <a:lnTo>
                      <a:pt x="20" y="84"/>
                    </a:lnTo>
                    <a:lnTo>
                      <a:pt x="20" y="78"/>
                    </a:lnTo>
                    <a:lnTo>
                      <a:pt x="18" y="76"/>
                    </a:lnTo>
                    <a:lnTo>
                      <a:pt x="20" y="60"/>
                    </a:lnTo>
                    <a:lnTo>
                      <a:pt x="22" y="58"/>
                    </a:lnTo>
                    <a:lnTo>
                      <a:pt x="20" y="50"/>
                    </a:lnTo>
                    <a:lnTo>
                      <a:pt x="16" y="48"/>
                    </a:lnTo>
                    <a:lnTo>
                      <a:pt x="16" y="44"/>
                    </a:lnTo>
                    <a:lnTo>
                      <a:pt x="16" y="40"/>
                    </a:lnTo>
                    <a:lnTo>
                      <a:pt x="8" y="42"/>
                    </a:lnTo>
                    <a:lnTo>
                      <a:pt x="0" y="30"/>
                    </a:lnTo>
                    <a:lnTo>
                      <a:pt x="0" y="28"/>
                    </a:lnTo>
                    <a:lnTo>
                      <a:pt x="2" y="26"/>
                    </a:lnTo>
                    <a:lnTo>
                      <a:pt x="4" y="22"/>
                    </a:lnTo>
                    <a:lnTo>
                      <a:pt x="10" y="16"/>
                    </a:lnTo>
                    <a:lnTo>
                      <a:pt x="6" y="16"/>
                    </a:lnTo>
                    <a:lnTo>
                      <a:pt x="6" y="10"/>
                    </a:lnTo>
                    <a:lnTo>
                      <a:pt x="18" y="4"/>
                    </a:lnTo>
                    <a:lnTo>
                      <a:pt x="18" y="0"/>
                    </a:lnTo>
                    <a:lnTo>
                      <a:pt x="20" y="0"/>
                    </a:lnTo>
                    <a:lnTo>
                      <a:pt x="20" y="0"/>
                    </a:lnTo>
                    <a:lnTo>
                      <a:pt x="28" y="6"/>
                    </a:lnTo>
                    <a:lnTo>
                      <a:pt x="34" y="14"/>
                    </a:lnTo>
                    <a:lnTo>
                      <a:pt x="34" y="20"/>
                    </a:lnTo>
                    <a:lnTo>
                      <a:pt x="34" y="20"/>
                    </a:lnTo>
                    <a:lnTo>
                      <a:pt x="42" y="22"/>
                    </a:lnTo>
                    <a:lnTo>
                      <a:pt x="48" y="26"/>
                    </a:lnTo>
                    <a:lnTo>
                      <a:pt x="52" y="34"/>
                    </a:lnTo>
                    <a:lnTo>
                      <a:pt x="48" y="38"/>
                    </a:lnTo>
                    <a:lnTo>
                      <a:pt x="48" y="40"/>
                    </a:lnTo>
                    <a:lnTo>
                      <a:pt x="46" y="44"/>
                    </a:lnTo>
                    <a:lnTo>
                      <a:pt x="40" y="46"/>
                    </a:lnTo>
                    <a:lnTo>
                      <a:pt x="38" y="56"/>
                    </a:lnTo>
                    <a:lnTo>
                      <a:pt x="44" y="64"/>
                    </a:lnTo>
                    <a:lnTo>
                      <a:pt x="48" y="66"/>
                    </a:lnTo>
                    <a:lnTo>
                      <a:pt x="48" y="66"/>
                    </a:lnTo>
                    <a:lnTo>
                      <a:pt x="52" y="74"/>
                    </a:lnTo>
                    <a:lnTo>
                      <a:pt x="58" y="82"/>
                    </a:lnTo>
                    <a:lnTo>
                      <a:pt x="58" y="8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4" name="Freeform 1563">
                <a:extLst>
                  <a:ext uri="{FF2B5EF4-FFF2-40B4-BE49-F238E27FC236}">
                    <a16:creationId xmlns:a16="http://schemas.microsoft.com/office/drawing/2014/main" id="{26AD95F1-8ED8-45F2-A791-83755E85F399}"/>
                  </a:ext>
                </a:extLst>
              </p:cNvPr>
              <p:cNvSpPr>
                <a:spLocks/>
              </p:cNvSpPr>
              <p:nvPr/>
            </p:nvSpPr>
            <p:spPr bwMode="auto">
              <a:xfrm>
                <a:off x="2004" y="2928"/>
                <a:ext cx="150" cy="236"/>
              </a:xfrm>
              <a:custGeom>
                <a:avLst/>
                <a:gdLst/>
                <a:ahLst/>
                <a:cxnLst>
                  <a:cxn ang="0">
                    <a:pos x="140" y="226"/>
                  </a:cxn>
                  <a:cxn ang="0">
                    <a:pos x="148" y="212"/>
                  </a:cxn>
                  <a:cxn ang="0">
                    <a:pos x="142" y="204"/>
                  </a:cxn>
                  <a:cxn ang="0">
                    <a:pos x="144" y="188"/>
                  </a:cxn>
                  <a:cxn ang="0">
                    <a:pos x="148" y="164"/>
                  </a:cxn>
                  <a:cxn ang="0">
                    <a:pos x="140" y="138"/>
                  </a:cxn>
                  <a:cxn ang="0">
                    <a:pos x="130" y="138"/>
                  </a:cxn>
                  <a:cxn ang="0">
                    <a:pos x="130" y="118"/>
                  </a:cxn>
                  <a:cxn ang="0">
                    <a:pos x="116" y="126"/>
                  </a:cxn>
                  <a:cxn ang="0">
                    <a:pos x="106" y="120"/>
                  </a:cxn>
                  <a:cxn ang="0">
                    <a:pos x="100" y="114"/>
                  </a:cxn>
                  <a:cxn ang="0">
                    <a:pos x="94" y="106"/>
                  </a:cxn>
                  <a:cxn ang="0">
                    <a:pos x="94" y="84"/>
                  </a:cxn>
                  <a:cxn ang="0">
                    <a:pos x="100" y="74"/>
                  </a:cxn>
                  <a:cxn ang="0">
                    <a:pos x="104" y="66"/>
                  </a:cxn>
                  <a:cxn ang="0">
                    <a:pos x="126" y="54"/>
                  </a:cxn>
                  <a:cxn ang="0">
                    <a:pos x="134" y="54"/>
                  </a:cxn>
                  <a:cxn ang="0">
                    <a:pos x="136" y="52"/>
                  </a:cxn>
                  <a:cxn ang="0">
                    <a:pos x="128" y="48"/>
                  </a:cxn>
                  <a:cxn ang="0">
                    <a:pos x="134" y="36"/>
                  </a:cxn>
                  <a:cxn ang="0">
                    <a:pos x="124" y="28"/>
                  </a:cxn>
                  <a:cxn ang="0">
                    <a:pos x="120" y="30"/>
                  </a:cxn>
                  <a:cxn ang="0">
                    <a:pos x="110" y="28"/>
                  </a:cxn>
                  <a:cxn ang="0">
                    <a:pos x="98" y="28"/>
                  </a:cxn>
                  <a:cxn ang="0">
                    <a:pos x="94" y="22"/>
                  </a:cxn>
                  <a:cxn ang="0">
                    <a:pos x="90" y="16"/>
                  </a:cxn>
                  <a:cxn ang="0">
                    <a:pos x="76" y="2"/>
                  </a:cxn>
                  <a:cxn ang="0">
                    <a:pos x="70" y="0"/>
                  </a:cxn>
                  <a:cxn ang="0">
                    <a:pos x="72" y="12"/>
                  </a:cxn>
                  <a:cxn ang="0">
                    <a:pos x="66" y="22"/>
                  </a:cxn>
                  <a:cxn ang="0">
                    <a:pos x="50" y="36"/>
                  </a:cxn>
                  <a:cxn ang="0">
                    <a:pos x="38" y="44"/>
                  </a:cxn>
                  <a:cxn ang="0">
                    <a:pos x="30" y="60"/>
                  </a:cxn>
                  <a:cxn ang="0">
                    <a:pos x="26" y="62"/>
                  </a:cxn>
                  <a:cxn ang="0">
                    <a:pos x="10" y="58"/>
                  </a:cxn>
                  <a:cxn ang="0">
                    <a:pos x="12" y="48"/>
                  </a:cxn>
                  <a:cxn ang="0">
                    <a:pos x="0" y="56"/>
                  </a:cxn>
                  <a:cxn ang="0">
                    <a:pos x="6" y="70"/>
                  </a:cxn>
                  <a:cxn ang="0">
                    <a:pos x="2" y="74"/>
                  </a:cxn>
                  <a:cxn ang="0">
                    <a:pos x="24" y="98"/>
                  </a:cxn>
                  <a:cxn ang="0">
                    <a:pos x="38" y="128"/>
                  </a:cxn>
                  <a:cxn ang="0">
                    <a:pos x="42" y="136"/>
                  </a:cxn>
                  <a:cxn ang="0">
                    <a:pos x="44" y="146"/>
                  </a:cxn>
                  <a:cxn ang="0">
                    <a:pos x="54" y="160"/>
                  </a:cxn>
                  <a:cxn ang="0">
                    <a:pos x="60" y="176"/>
                  </a:cxn>
                  <a:cxn ang="0">
                    <a:pos x="58" y="178"/>
                  </a:cxn>
                  <a:cxn ang="0">
                    <a:pos x="66" y="190"/>
                  </a:cxn>
                  <a:cxn ang="0">
                    <a:pos x="116" y="222"/>
                  </a:cxn>
                  <a:cxn ang="0">
                    <a:pos x="118" y="224"/>
                  </a:cxn>
                  <a:cxn ang="0">
                    <a:pos x="124" y="232"/>
                  </a:cxn>
                  <a:cxn ang="0">
                    <a:pos x="128" y="236"/>
                  </a:cxn>
                </a:cxnLst>
                <a:rect l="0" t="0" r="r" b="b"/>
                <a:pathLst>
                  <a:path w="150" h="236">
                    <a:moveTo>
                      <a:pt x="128" y="236"/>
                    </a:moveTo>
                    <a:lnTo>
                      <a:pt x="140" y="226"/>
                    </a:lnTo>
                    <a:lnTo>
                      <a:pt x="140" y="224"/>
                    </a:lnTo>
                    <a:lnTo>
                      <a:pt x="148" y="212"/>
                    </a:lnTo>
                    <a:lnTo>
                      <a:pt x="146" y="210"/>
                    </a:lnTo>
                    <a:lnTo>
                      <a:pt x="142" y="204"/>
                    </a:lnTo>
                    <a:lnTo>
                      <a:pt x="146" y="194"/>
                    </a:lnTo>
                    <a:lnTo>
                      <a:pt x="144" y="188"/>
                    </a:lnTo>
                    <a:lnTo>
                      <a:pt x="148" y="186"/>
                    </a:lnTo>
                    <a:lnTo>
                      <a:pt x="148" y="164"/>
                    </a:lnTo>
                    <a:lnTo>
                      <a:pt x="150" y="158"/>
                    </a:lnTo>
                    <a:lnTo>
                      <a:pt x="140" y="138"/>
                    </a:lnTo>
                    <a:lnTo>
                      <a:pt x="132" y="140"/>
                    </a:lnTo>
                    <a:lnTo>
                      <a:pt x="130" y="138"/>
                    </a:lnTo>
                    <a:lnTo>
                      <a:pt x="130" y="118"/>
                    </a:lnTo>
                    <a:lnTo>
                      <a:pt x="130" y="118"/>
                    </a:lnTo>
                    <a:lnTo>
                      <a:pt x="124" y="124"/>
                    </a:lnTo>
                    <a:lnTo>
                      <a:pt x="116" y="126"/>
                    </a:lnTo>
                    <a:lnTo>
                      <a:pt x="110" y="126"/>
                    </a:lnTo>
                    <a:lnTo>
                      <a:pt x="106" y="120"/>
                    </a:lnTo>
                    <a:lnTo>
                      <a:pt x="100" y="120"/>
                    </a:lnTo>
                    <a:lnTo>
                      <a:pt x="100" y="114"/>
                    </a:lnTo>
                    <a:lnTo>
                      <a:pt x="100" y="114"/>
                    </a:lnTo>
                    <a:lnTo>
                      <a:pt x="94" y="106"/>
                    </a:lnTo>
                    <a:lnTo>
                      <a:pt x="90" y="96"/>
                    </a:lnTo>
                    <a:lnTo>
                      <a:pt x="94" y="84"/>
                    </a:lnTo>
                    <a:lnTo>
                      <a:pt x="98" y="82"/>
                    </a:lnTo>
                    <a:lnTo>
                      <a:pt x="100" y="74"/>
                    </a:lnTo>
                    <a:lnTo>
                      <a:pt x="100" y="74"/>
                    </a:lnTo>
                    <a:lnTo>
                      <a:pt x="104" y="66"/>
                    </a:lnTo>
                    <a:lnTo>
                      <a:pt x="114" y="58"/>
                    </a:lnTo>
                    <a:lnTo>
                      <a:pt x="126" y="54"/>
                    </a:lnTo>
                    <a:lnTo>
                      <a:pt x="130" y="52"/>
                    </a:lnTo>
                    <a:lnTo>
                      <a:pt x="134" y="54"/>
                    </a:lnTo>
                    <a:lnTo>
                      <a:pt x="136" y="52"/>
                    </a:lnTo>
                    <a:lnTo>
                      <a:pt x="136" y="52"/>
                    </a:lnTo>
                    <a:lnTo>
                      <a:pt x="132" y="50"/>
                    </a:lnTo>
                    <a:lnTo>
                      <a:pt x="128" y="48"/>
                    </a:lnTo>
                    <a:lnTo>
                      <a:pt x="128" y="46"/>
                    </a:lnTo>
                    <a:lnTo>
                      <a:pt x="134" y="36"/>
                    </a:lnTo>
                    <a:lnTo>
                      <a:pt x="132" y="32"/>
                    </a:lnTo>
                    <a:lnTo>
                      <a:pt x="124" y="28"/>
                    </a:lnTo>
                    <a:lnTo>
                      <a:pt x="120" y="30"/>
                    </a:lnTo>
                    <a:lnTo>
                      <a:pt x="120" y="30"/>
                    </a:lnTo>
                    <a:lnTo>
                      <a:pt x="114" y="28"/>
                    </a:lnTo>
                    <a:lnTo>
                      <a:pt x="110" y="28"/>
                    </a:lnTo>
                    <a:lnTo>
                      <a:pt x="100" y="30"/>
                    </a:lnTo>
                    <a:lnTo>
                      <a:pt x="98" y="28"/>
                    </a:lnTo>
                    <a:lnTo>
                      <a:pt x="98" y="22"/>
                    </a:lnTo>
                    <a:lnTo>
                      <a:pt x="94" y="22"/>
                    </a:lnTo>
                    <a:lnTo>
                      <a:pt x="94" y="22"/>
                    </a:lnTo>
                    <a:lnTo>
                      <a:pt x="90" y="16"/>
                    </a:lnTo>
                    <a:lnTo>
                      <a:pt x="84" y="8"/>
                    </a:lnTo>
                    <a:lnTo>
                      <a:pt x="76" y="2"/>
                    </a:lnTo>
                    <a:lnTo>
                      <a:pt x="72" y="0"/>
                    </a:lnTo>
                    <a:lnTo>
                      <a:pt x="70" y="0"/>
                    </a:lnTo>
                    <a:lnTo>
                      <a:pt x="74" y="12"/>
                    </a:lnTo>
                    <a:lnTo>
                      <a:pt x="72" y="12"/>
                    </a:lnTo>
                    <a:lnTo>
                      <a:pt x="72" y="12"/>
                    </a:lnTo>
                    <a:lnTo>
                      <a:pt x="66" y="22"/>
                    </a:lnTo>
                    <a:lnTo>
                      <a:pt x="58" y="30"/>
                    </a:lnTo>
                    <a:lnTo>
                      <a:pt x="50" y="36"/>
                    </a:lnTo>
                    <a:lnTo>
                      <a:pt x="40" y="40"/>
                    </a:lnTo>
                    <a:lnTo>
                      <a:pt x="38" y="44"/>
                    </a:lnTo>
                    <a:lnTo>
                      <a:pt x="34" y="44"/>
                    </a:lnTo>
                    <a:lnTo>
                      <a:pt x="30" y="60"/>
                    </a:lnTo>
                    <a:lnTo>
                      <a:pt x="30" y="60"/>
                    </a:lnTo>
                    <a:lnTo>
                      <a:pt x="26" y="62"/>
                    </a:lnTo>
                    <a:lnTo>
                      <a:pt x="22" y="62"/>
                    </a:lnTo>
                    <a:lnTo>
                      <a:pt x="10" y="58"/>
                    </a:lnTo>
                    <a:lnTo>
                      <a:pt x="8" y="52"/>
                    </a:lnTo>
                    <a:lnTo>
                      <a:pt x="12" y="48"/>
                    </a:lnTo>
                    <a:lnTo>
                      <a:pt x="12" y="44"/>
                    </a:lnTo>
                    <a:lnTo>
                      <a:pt x="0" y="56"/>
                    </a:lnTo>
                    <a:lnTo>
                      <a:pt x="2" y="66"/>
                    </a:lnTo>
                    <a:lnTo>
                      <a:pt x="6" y="70"/>
                    </a:lnTo>
                    <a:lnTo>
                      <a:pt x="2" y="74"/>
                    </a:lnTo>
                    <a:lnTo>
                      <a:pt x="2" y="74"/>
                    </a:lnTo>
                    <a:lnTo>
                      <a:pt x="14" y="86"/>
                    </a:lnTo>
                    <a:lnTo>
                      <a:pt x="24" y="98"/>
                    </a:lnTo>
                    <a:lnTo>
                      <a:pt x="30" y="112"/>
                    </a:lnTo>
                    <a:lnTo>
                      <a:pt x="38" y="128"/>
                    </a:lnTo>
                    <a:lnTo>
                      <a:pt x="38" y="128"/>
                    </a:lnTo>
                    <a:lnTo>
                      <a:pt x="42" y="136"/>
                    </a:lnTo>
                    <a:lnTo>
                      <a:pt x="44" y="146"/>
                    </a:lnTo>
                    <a:lnTo>
                      <a:pt x="44" y="146"/>
                    </a:lnTo>
                    <a:lnTo>
                      <a:pt x="48" y="150"/>
                    </a:lnTo>
                    <a:lnTo>
                      <a:pt x="54" y="160"/>
                    </a:lnTo>
                    <a:lnTo>
                      <a:pt x="58" y="170"/>
                    </a:lnTo>
                    <a:lnTo>
                      <a:pt x="60" y="176"/>
                    </a:lnTo>
                    <a:lnTo>
                      <a:pt x="58" y="178"/>
                    </a:lnTo>
                    <a:lnTo>
                      <a:pt x="58" y="178"/>
                    </a:lnTo>
                    <a:lnTo>
                      <a:pt x="60" y="184"/>
                    </a:lnTo>
                    <a:lnTo>
                      <a:pt x="66" y="190"/>
                    </a:lnTo>
                    <a:lnTo>
                      <a:pt x="84" y="202"/>
                    </a:lnTo>
                    <a:lnTo>
                      <a:pt x="116" y="222"/>
                    </a:lnTo>
                    <a:lnTo>
                      <a:pt x="116" y="222"/>
                    </a:lnTo>
                    <a:lnTo>
                      <a:pt x="118" y="224"/>
                    </a:lnTo>
                    <a:lnTo>
                      <a:pt x="122" y="228"/>
                    </a:lnTo>
                    <a:lnTo>
                      <a:pt x="124" y="232"/>
                    </a:lnTo>
                    <a:lnTo>
                      <a:pt x="128" y="236"/>
                    </a:lnTo>
                    <a:lnTo>
                      <a:pt x="128" y="236"/>
                    </a:lnTo>
                    <a:close/>
                  </a:path>
                </a:pathLst>
              </a:custGeom>
              <a:solidFill>
                <a:schemeClr val="accent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5" name="Freeform 1564">
                <a:extLst>
                  <a:ext uri="{FF2B5EF4-FFF2-40B4-BE49-F238E27FC236}">
                    <a16:creationId xmlns:a16="http://schemas.microsoft.com/office/drawing/2014/main" id="{727E273F-FD40-4CF8-AB80-B47A2C52B016}"/>
                  </a:ext>
                </a:extLst>
              </p:cNvPr>
              <p:cNvSpPr>
                <a:spLocks/>
              </p:cNvSpPr>
              <p:nvPr/>
            </p:nvSpPr>
            <p:spPr bwMode="auto">
              <a:xfrm>
                <a:off x="2226" y="3178"/>
                <a:ext cx="102" cy="114"/>
              </a:xfrm>
              <a:custGeom>
                <a:avLst/>
                <a:gdLst/>
                <a:ahLst/>
                <a:cxnLst>
                  <a:cxn ang="0">
                    <a:pos x="0" y="40"/>
                  </a:cxn>
                  <a:cxn ang="0">
                    <a:pos x="0" y="40"/>
                  </a:cxn>
                  <a:cxn ang="0">
                    <a:pos x="4" y="32"/>
                  </a:cxn>
                  <a:cxn ang="0">
                    <a:pos x="6" y="24"/>
                  </a:cxn>
                  <a:cxn ang="0">
                    <a:pos x="6" y="14"/>
                  </a:cxn>
                  <a:cxn ang="0">
                    <a:pos x="10" y="6"/>
                  </a:cxn>
                  <a:cxn ang="0">
                    <a:pos x="10" y="6"/>
                  </a:cxn>
                  <a:cxn ang="0">
                    <a:pos x="20" y="2"/>
                  </a:cxn>
                  <a:cxn ang="0">
                    <a:pos x="30" y="0"/>
                  </a:cxn>
                  <a:cxn ang="0">
                    <a:pos x="40" y="0"/>
                  </a:cxn>
                  <a:cxn ang="0">
                    <a:pos x="50" y="2"/>
                  </a:cxn>
                  <a:cxn ang="0">
                    <a:pos x="56" y="10"/>
                  </a:cxn>
                  <a:cxn ang="0">
                    <a:pos x="56" y="12"/>
                  </a:cxn>
                  <a:cxn ang="0">
                    <a:pos x="56" y="12"/>
                  </a:cxn>
                  <a:cxn ang="0">
                    <a:pos x="58" y="18"/>
                  </a:cxn>
                  <a:cxn ang="0">
                    <a:pos x="58" y="26"/>
                  </a:cxn>
                  <a:cxn ang="0">
                    <a:pos x="58" y="32"/>
                  </a:cxn>
                  <a:cxn ang="0">
                    <a:pos x="60" y="38"/>
                  </a:cxn>
                  <a:cxn ang="0">
                    <a:pos x="60" y="38"/>
                  </a:cxn>
                  <a:cxn ang="0">
                    <a:pos x="68" y="40"/>
                  </a:cxn>
                  <a:cxn ang="0">
                    <a:pos x="72" y="40"/>
                  </a:cxn>
                  <a:cxn ang="0">
                    <a:pos x="78" y="38"/>
                  </a:cxn>
                  <a:cxn ang="0">
                    <a:pos x="84" y="42"/>
                  </a:cxn>
                  <a:cxn ang="0">
                    <a:pos x="84" y="42"/>
                  </a:cxn>
                  <a:cxn ang="0">
                    <a:pos x="86" y="46"/>
                  </a:cxn>
                  <a:cxn ang="0">
                    <a:pos x="86" y="52"/>
                  </a:cxn>
                  <a:cxn ang="0">
                    <a:pos x="86" y="58"/>
                  </a:cxn>
                  <a:cxn ang="0">
                    <a:pos x="88" y="62"/>
                  </a:cxn>
                  <a:cxn ang="0">
                    <a:pos x="90" y="64"/>
                  </a:cxn>
                  <a:cxn ang="0">
                    <a:pos x="100" y="62"/>
                  </a:cxn>
                  <a:cxn ang="0">
                    <a:pos x="100" y="64"/>
                  </a:cxn>
                  <a:cxn ang="0">
                    <a:pos x="100" y="64"/>
                  </a:cxn>
                  <a:cxn ang="0">
                    <a:pos x="102" y="72"/>
                  </a:cxn>
                  <a:cxn ang="0">
                    <a:pos x="100" y="82"/>
                  </a:cxn>
                  <a:cxn ang="0">
                    <a:pos x="96" y="100"/>
                  </a:cxn>
                  <a:cxn ang="0">
                    <a:pos x="86" y="112"/>
                  </a:cxn>
                  <a:cxn ang="0">
                    <a:pos x="72" y="114"/>
                  </a:cxn>
                  <a:cxn ang="0">
                    <a:pos x="72" y="114"/>
                  </a:cxn>
                  <a:cxn ang="0">
                    <a:pos x="68" y="112"/>
                  </a:cxn>
                  <a:cxn ang="0">
                    <a:pos x="62" y="110"/>
                  </a:cxn>
                  <a:cxn ang="0">
                    <a:pos x="52" y="108"/>
                  </a:cxn>
                  <a:cxn ang="0">
                    <a:pos x="52" y="108"/>
                  </a:cxn>
                  <a:cxn ang="0">
                    <a:pos x="56" y="98"/>
                  </a:cxn>
                  <a:cxn ang="0">
                    <a:pos x="60" y="88"/>
                  </a:cxn>
                  <a:cxn ang="0">
                    <a:pos x="60" y="82"/>
                  </a:cxn>
                  <a:cxn ang="0">
                    <a:pos x="60" y="82"/>
                  </a:cxn>
                  <a:cxn ang="0">
                    <a:pos x="52" y="76"/>
                  </a:cxn>
                  <a:cxn ang="0">
                    <a:pos x="42" y="70"/>
                  </a:cxn>
                  <a:cxn ang="0">
                    <a:pos x="34" y="66"/>
                  </a:cxn>
                  <a:cxn ang="0">
                    <a:pos x="24" y="64"/>
                  </a:cxn>
                  <a:cxn ang="0">
                    <a:pos x="24" y="64"/>
                  </a:cxn>
                  <a:cxn ang="0">
                    <a:pos x="20" y="60"/>
                  </a:cxn>
                  <a:cxn ang="0">
                    <a:pos x="14" y="54"/>
                  </a:cxn>
                  <a:cxn ang="0">
                    <a:pos x="10" y="48"/>
                  </a:cxn>
                  <a:cxn ang="0">
                    <a:pos x="4" y="42"/>
                  </a:cxn>
                  <a:cxn ang="0">
                    <a:pos x="0" y="40"/>
                  </a:cxn>
                </a:cxnLst>
                <a:rect l="0" t="0" r="r" b="b"/>
                <a:pathLst>
                  <a:path w="102" h="114">
                    <a:moveTo>
                      <a:pt x="0" y="40"/>
                    </a:moveTo>
                    <a:lnTo>
                      <a:pt x="0" y="40"/>
                    </a:lnTo>
                    <a:lnTo>
                      <a:pt x="4" y="32"/>
                    </a:lnTo>
                    <a:lnTo>
                      <a:pt x="6" y="24"/>
                    </a:lnTo>
                    <a:lnTo>
                      <a:pt x="6" y="14"/>
                    </a:lnTo>
                    <a:lnTo>
                      <a:pt x="10" y="6"/>
                    </a:lnTo>
                    <a:lnTo>
                      <a:pt x="10" y="6"/>
                    </a:lnTo>
                    <a:lnTo>
                      <a:pt x="20" y="2"/>
                    </a:lnTo>
                    <a:lnTo>
                      <a:pt x="30" y="0"/>
                    </a:lnTo>
                    <a:lnTo>
                      <a:pt x="40" y="0"/>
                    </a:lnTo>
                    <a:lnTo>
                      <a:pt x="50" y="2"/>
                    </a:lnTo>
                    <a:lnTo>
                      <a:pt x="56" y="10"/>
                    </a:lnTo>
                    <a:lnTo>
                      <a:pt x="56" y="12"/>
                    </a:lnTo>
                    <a:lnTo>
                      <a:pt x="56" y="12"/>
                    </a:lnTo>
                    <a:lnTo>
                      <a:pt x="58" y="18"/>
                    </a:lnTo>
                    <a:lnTo>
                      <a:pt x="58" y="26"/>
                    </a:lnTo>
                    <a:lnTo>
                      <a:pt x="58" y="32"/>
                    </a:lnTo>
                    <a:lnTo>
                      <a:pt x="60" y="38"/>
                    </a:lnTo>
                    <a:lnTo>
                      <a:pt x="60" y="38"/>
                    </a:lnTo>
                    <a:lnTo>
                      <a:pt x="68" y="40"/>
                    </a:lnTo>
                    <a:lnTo>
                      <a:pt x="72" y="40"/>
                    </a:lnTo>
                    <a:lnTo>
                      <a:pt x="78" y="38"/>
                    </a:lnTo>
                    <a:lnTo>
                      <a:pt x="84" y="42"/>
                    </a:lnTo>
                    <a:lnTo>
                      <a:pt x="84" y="42"/>
                    </a:lnTo>
                    <a:lnTo>
                      <a:pt x="86" y="46"/>
                    </a:lnTo>
                    <a:lnTo>
                      <a:pt x="86" y="52"/>
                    </a:lnTo>
                    <a:lnTo>
                      <a:pt x="86" y="58"/>
                    </a:lnTo>
                    <a:lnTo>
                      <a:pt x="88" y="62"/>
                    </a:lnTo>
                    <a:lnTo>
                      <a:pt x="90" y="64"/>
                    </a:lnTo>
                    <a:lnTo>
                      <a:pt x="100" y="62"/>
                    </a:lnTo>
                    <a:lnTo>
                      <a:pt x="100" y="64"/>
                    </a:lnTo>
                    <a:lnTo>
                      <a:pt x="100" y="64"/>
                    </a:lnTo>
                    <a:lnTo>
                      <a:pt x="102" y="72"/>
                    </a:lnTo>
                    <a:lnTo>
                      <a:pt x="100" y="82"/>
                    </a:lnTo>
                    <a:lnTo>
                      <a:pt x="96" y="100"/>
                    </a:lnTo>
                    <a:lnTo>
                      <a:pt x="86" y="112"/>
                    </a:lnTo>
                    <a:lnTo>
                      <a:pt x="72" y="114"/>
                    </a:lnTo>
                    <a:lnTo>
                      <a:pt x="72" y="114"/>
                    </a:lnTo>
                    <a:lnTo>
                      <a:pt x="68" y="112"/>
                    </a:lnTo>
                    <a:lnTo>
                      <a:pt x="62" y="110"/>
                    </a:lnTo>
                    <a:lnTo>
                      <a:pt x="52" y="108"/>
                    </a:lnTo>
                    <a:lnTo>
                      <a:pt x="52" y="108"/>
                    </a:lnTo>
                    <a:lnTo>
                      <a:pt x="56" y="98"/>
                    </a:lnTo>
                    <a:lnTo>
                      <a:pt x="60" y="88"/>
                    </a:lnTo>
                    <a:lnTo>
                      <a:pt x="60" y="82"/>
                    </a:lnTo>
                    <a:lnTo>
                      <a:pt x="60" y="82"/>
                    </a:lnTo>
                    <a:lnTo>
                      <a:pt x="52" y="76"/>
                    </a:lnTo>
                    <a:lnTo>
                      <a:pt x="42" y="70"/>
                    </a:lnTo>
                    <a:lnTo>
                      <a:pt x="34" y="66"/>
                    </a:lnTo>
                    <a:lnTo>
                      <a:pt x="24" y="64"/>
                    </a:lnTo>
                    <a:lnTo>
                      <a:pt x="24" y="64"/>
                    </a:lnTo>
                    <a:lnTo>
                      <a:pt x="20" y="60"/>
                    </a:lnTo>
                    <a:lnTo>
                      <a:pt x="14" y="54"/>
                    </a:lnTo>
                    <a:lnTo>
                      <a:pt x="10" y="48"/>
                    </a:lnTo>
                    <a:lnTo>
                      <a:pt x="4" y="42"/>
                    </a:lnTo>
                    <a:lnTo>
                      <a:pt x="0" y="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6" name="Freeform 1565">
                <a:extLst>
                  <a:ext uri="{FF2B5EF4-FFF2-40B4-BE49-F238E27FC236}">
                    <a16:creationId xmlns:a16="http://schemas.microsoft.com/office/drawing/2014/main" id="{C78CA397-3830-4C09-A166-E9B5F9071CBE}"/>
                  </a:ext>
                </a:extLst>
              </p:cNvPr>
              <p:cNvSpPr>
                <a:spLocks/>
              </p:cNvSpPr>
              <p:nvPr/>
            </p:nvSpPr>
            <p:spPr bwMode="auto">
              <a:xfrm>
                <a:off x="2326" y="2856"/>
                <a:ext cx="36" cy="46"/>
              </a:xfrm>
              <a:custGeom>
                <a:avLst/>
                <a:gdLst/>
                <a:ahLst/>
                <a:cxnLst>
                  <a:cxn ang="0">
                    <a:pos x="36" y="20"/>
                  </a:cxn>
                  <a:cxn ang="0">
                    <a:pos x="34" y="16"/>
                  </a:cxn>
                  <a:cxn ang="0">
                    <a:pos x="34" y="16"/>
                  </a:cxn>
                  <a:cxn ang="0">
                    <a:pos x="30" y="12"/>
                  </a:cxn>
                  <a:cxn ang="0">
                    <a:pos x="22" y="6"/>
                  </a:cxn>
                  <a:cxn ang="0">
                    <a:pos x="8" y="0"/>
                  </a:cxn>
                  <a:cxn ang="0">
                    <a:pos x="8" y="0"/>
                  </a:cxn>
                  <a:cxn ang="0">
                    <a:pos x="4" y="2"/>
                  </a:cxn>
                  <a:cxn ang="0">
                    <a:pos x="2" y="8"/>
                  </a:cxn>
                  <a:cxn ang="0">
                    <a:pos x="2" y="8"/>
                  </a:cxn>
                  <a:cxn ang="0">
                    <a:pos x="2" y="16"/>
                  </a:cxn>
                  <a:cxn ang="0">
                    <a:pos x="6" y="24"/>
                  </a:cxn>
                  <a:cxn ang="0">
                    <a:pos x="4" y="38"/>
                  </a:cxn>
                  <a:cxn ang="0">
                    <a:pos x="0" y="42"/>
                  </a:cxn>
                  <a:cxn ang="0">
                    <a:pos x="6" y="46"/>
                  </a:cxn>
                  <a:cxn ang="0">
                    <a:pos x="6" y="46"/>
                  </a:cxn>
                  <a:cxn ang="0">
                    <a:pos x="12" y="44"/>
                  </a:cxn>
                  <a:cxn ang="0">
                    <a:pos x="18" y="44"/>
                  </a:cxn>
                  <a:cxn ang="0">
                    <a:pos x="18" y="44"/>
                  </a:cxn>
                  <a:cxn ang="0">
                    <a:pos x="22" y="40"/>
                  </a:cxn>
                  <a:cxn ang="0">
                    <a:pos x="26" y="32"/>
                  </a:cxn>
                  <a:cxn ang="0">
                    <a:pos x="36" y="20"/>
                  </a:cxn>
                  <a:cxn ang="0">
                    <a:pos x="36" y="20"/>
                  </a:cxn>
                </a:cxnLst>
                <a:rect l="0" t="0" r="r" b="b"/>
                <a:pathLst>
                  <a:path w="36" h="46">
                    <a:moveTo>
                      <a:pt x="36" y="20"/>
                    </a:moveTo>
                    <a:lnTo>
                      <a:pt x="34" y="16"/>
                    </a:lnTo>
                    <a:lnTo>
                      <a:pt x="34" y="16"/>
                    </a:lnTo>
                    <a:lnTo>
                      <a:pt x="30" y="12"/>
                    </a:lnTo>
                    <a:lnTo>
                      <a:pt x="22" y="6"/>
                    </a:lnTo>
                    <a:lnTo>
                      <a:pt x="8" y="0"/>
                    </a:lnTo>
                    <a:lnTo>
                      <a:pt x="8" y="0"/>
                    </a:lnTo>
                    <a:lnTo>
                      <a:pt x="4" y="2"/>
                    </a:lnTo>
                    <a:lnTo>
                      <a:pt x="2" y="8"/>
                    </a:lnTo>
                    <a:lnTo>
                      <a:pt x="2" y="8"/>
                    </a:lnTo>
                    <a:lnTo>
                      <a:pt x="2" y="16"/>
                    </a:lnTo>
                    <a:lnTo>
                      <a:pt x="6" y="24"/>
                    </a:lnTo>
                    <a:lnTo>
                      <a:pt x="4" y="38"/>
                    </a:lnTo>
                    <a:lnTo>
                      <a:pt x="0" y="42"/>
                    </a:lnTo>
                    <a:lnTo>
                      <a:pt x="6" y="46"/>
                    </a:lnTo>
                    <a:lnTo>
                      <a:pt x="6" y="46"/>
                    </a:lnTo>
                    <a:lnTo>
                      <a:pt x="12" y="44"/>
                    </a:lnTo>
                    <a:lnTo>
                      <a:pt x="18" y="44"/>
                    </a:lnTo>
                    <a:lnTo>
                      <a:pt x="18" y="44"/>
                    </a:lnTo>
                    <a:lnTo>
                      <a:pt x="22" y="40"/>
                    </a:lnTo>
                    <a:lnTo>
                      <a:pt x="26" y="32"/>
                    </a:lnTo>
                    <a:lnTo>
                      <a:pt x="36" y="20"/>
                    </a:lnTo>
                    <a:lnTo>
                      <a:pt x="36" y="2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7" name="Freeform 1566">
                <a:extLst>
                  <a:ext uri="{FF2B5EF4-FFF2-40B4-BE49-F238E27FC236}">
                    <a16:creationId xmlns:a16="http://schemas.microsoft.com/office/drawing/2014/main" id="{954CDE54-C5B1-47CC-A162-4DF526280763}"/>
                  </a:ext>
                </a:extLst>
              </p:cNvPr>
              <p:cNvSpPr>
                <a:spLocks/>
              </p:cNvSpPr>
              <p:nvPr/>
            </p:nvSpPr>
            <p:spPr bwMode="auto">
              <a:xfrm>
                <a:off x="2278" y="3330"/>
                <a:ext cx="64" cy="74"/>
              </a:xfrm>
              <a:custGeom>
                <a:avLst/>
                <a:gdLst/>
                <a:ahLst/>
                <a:cxnLst>
                  <a:cxn ang="0">
                    <a:pos x="10" y="2"/>
                  </a:cxn>
                  <a:cxn ang="0">
                    <a:pos x="8" y="6"/>
                  </a:cxn>
                  <a:cxn ang="0">
                    <a:pos x="8" y="6"/>
                  </a:cxn>
                  <a:cxn ang="0">
                    <a:pos x="6" y="24"/>
                  </a:cxn>
                  <a:cxn ang="0">
                    <a:pos x="4" y="42"/>
                  </a:cxn>
                  <a:cxn ang="0">
                    <a:pos x="4" y="42"/>
                  </a:cxn>
                  <a:cxn ang="0">
                    <a:pos x="2" y="50"/>
                  </a:cxn>
                  <a:cxn ang="0">
                    <a:pos x="0" y="58"/>
                  </a:cxn>
                  <a:cxn ang="0">
                    <a:pos x="2" y="58"/>
                  </a:cxn>
                  <a:cxn ang="0">
                    <a:pos x="6" y="66"/>
                  </a:cxn>
                  <a:cxn ang="0">
                    <a:pos x="6" y="66"/>
                  </a:cxn>
                  <a:cxn ang="0">
                    <a:pos x="12" y="66"/>
                  </a:cxn>
                  <a:cxn ang="0">
                    <a:pos x="16" y="68"/>
                  </a:cxn>
                  <a:cxn ang="0">
                    <a:pos x="26" y="72"/>
                  </a:cxn>
                  <a:cxn ang="0">
                    <a:pos x="26" y="72"/>
                  </a:cxn>
                  <a:cxn ang="0">
                    <a:pos x="34" y="72"/>
                  </a:cxn>
                  <a:cxn ang="0">
                    <a:pos x="38" y="72"/>
                  </a:cxn>
                  <a:cxn ang="0">
                    <a:pos x="42" y="74"/>
                  </a:cxn>
                  <a:cxn ang="0">
                    <a:pos x="42" y="74"/>
                  </a:cxn>
                  <a:cxn ang="0">
                    <a:pos x="48" y="70"/>
                  </a:cxn>
                  <a:cxn ang="0">
                    <a:pos x="54" y="66"/>
                  </a:cxn>
                  <a:cxn ang="0">
                    <a:pos x="60" y="54"/>
                  </a:cxn>
                  <a:cxn ang="0">
                    <a:pos x="60" y="54"/>
                  </a:cxn>
                  <a:cxn ang="0">
                    <a:pos x="60" y="54"/>
                  </a:cxn>
                  <a:cxn ang="0">
                    <a:pos x="60" y="46"/>
                  </a:cxn>
                  <a:cxn ang="0">
                    <a:pos x="64" y="40"/>
                  </a:cxn>
                  <a:cxn ang="0">
                    <a:pos x="64" y="40"/>
                  </a:cxn>
                  <a:cxn ang="0">
                    <a:pos x="58" y="34"/>
                  </a:cxn>
                  <a:cxn ang="0">
                    <a:pos x="56" y="28"/>
                  </a:cxn>
                  <a:cxn ang="0">
                    <a:pos x="56" y="28"/>
                  </a:cxn>
                  <a:cxn ang="0">
                    <a:pos x="50" y="24"/>
                  </a:cxn>
                  <a:cxn ang="0">
                    <a:pos x="46" y="20"/>
                  </a:cxn>
                  <a:cxn ang="0">
                    <a:pos x="40" y="18"/>
                  </a:cxn>
                  <a:cxn ang="0">
                    <a:pos x="34" y="10"/>
                  </a:cxn>
                  <a:cxn ang="0">
                    <a:pos x="32" y="14"/>
                  </a:cxn>
                  <a:cxn ang="0">
                    <a:pos x="28" y="14"/>
                  </a:cxn>
                  <a:cxn ang="0">
                    <a:pos x="28" y="8"/>
                  </a:cxn>
                  <a:cxn ang="0">
                    <a:pos x="20" y="0"/>
                  </a:cxn>
                  <a:cxn ang="0">
                    <a:pos x="18" y="0"/>
                  </a:cxn>
                  <a:cxn ang="0">
                    <a:pos x="14" y="2"/>
                  </a:cxn>
                  <a:cxn ang="0">
                    <a:pos x="10" y="2"/>
                  </a:cxn>
                </a:cxnLst>
                <a:rect l="0" t="0" r="r" b="b"/>
                <a:pathLst>
                  <a:path w="64" h="74">
                    <a:moveTo>
                      <a:pt x="10" y="2"/>
                    </a:moveTo>
                    <a:lnTo>
                      <a:pt x="8" y="6"/>
                    </a:lnTo>
                    <a:lnTo>
                      <a:pt x="8" y="6"/>
                    </a:lnTo>
                    <a:lnTo>
                      <a:pt x="6" y="24"/>
                    </a:lnTo>
                    <a:lnTo>
                      <a:pt x="4" y="42"/>
                    </a:lnTo>
                    <a:lnTo>
                      <a:pt x="4" y="42"/>
                    </a:lnTo>
                    <a:lnTo>
                      <a:pt x="2" y="50"/>
                    </a:lnTo>
                    <a:lnTo>
                      <a:pt x="0" y="58"/>
                    </a:lnTo>
                    <a:lnTo>
                      <a:pt x="2" y="58"/>
                    </a:lnTo>
                    <a:lnTo>
                      <a:pt x="6" y="66"/>
                    </a:lnTo>
                    <a:lnTo>
                      <a:pt x="6" y="66"/>
                    </a:lnTo>
                    <a:lnTo>
                      <a:pt x="12" y="66"/>
                    </a:lnTo>
                    <a:lnTo>
                      <a:pt x="16" y="68"/>
                    </a:lnTo>
                    <a:lnTo>
                      <a:pt x="26" y="72"/>
                    </a:lnTo>
                    <a:lnTo>
                      <a:pt x="26" y="72"/>
                    </a:lnTo>
                    <a:lnTo>
                      <a:pt x="34" y="72"/>
                    </a:lnTo>
                    <a:lnTo>
                      <a:pt x="38" y="72"/>
                    </a:lnTo>
                    <a:lnTo>
                      <a:pt x="42" y="74"/>
                    </a:lnTo>
                    <a:lnTo>
                      <a:pt x="42" y="74"/>
                    </a:lnTo>
                    <a:lnTo>
                      <a:pt x="48" y="70"/>
                    </a:lnTo>
                    <a:lnTo>
                      <a:pt x="54" y="66"/>
                    </a:lnTo>
                    <a:lnTo>
                      <a:pt x="60" y="54"/>
                    </a:lnTo>
                    <a:lnTo>
                      <a:pt x="60" y="54"/>
                    </a:lnTo>
                    <a:lnTo>
                      <a:pt x="60" y="54"/>
                    </a:lnTo>
                    <a:lnTo>
                      <a:pt x="60" y="46"/>
                    </a:lnTo>
                    <a:lnTo>
                      <a:pt x="64" y="40"/>
                    </a:lnTo>
                    <a:lnTo>
                      <a:pt x="64" y="40"/>
                    </a:lnTo>
                    <a:lnTo>
                      <a:pt x="58" y="34"/>
                    </a:lnTo>
                    <a:lnTo>
                      <a:pt x="56" y="28"/>
                    </a:lnTo>
                    <a:lnTo>
                      <a:pt x="56" y="28"/>
                    </a:lnTo>
                    <a:lnTo>
                      <a:pt x="50" y="24"/>
                    </a:lnTo>
                    <a:lnTo>
                      <a:pt x="46" y="20"/>
                    </a:lnTo>
                    <a:lnTo>
                      <a:pt x="40" y="18"/>
                    </a:lnTo>
                    <a:lnTo>
                      <a:pt x="34" y="10"/>
                    </a:lnTo>
                    <a:lnTo>
                      <a:pt x="32" y="14"/>
                    </a:lnTo>
                    <a:lnTo>
                      <a:pt x="28" y="14"/>
                    </a:lnTo>
                    <a:lnTo>
                      <a:pt x="28" y="8"/>
                    </a:lnTo>
                    <a:lnTo>
                      <a:pt x="20" y="0"/>
                    </a:lnTo>
                    <a:lnTo>
                      <a:pt x="18" y="0"/>
                    </a:lnTo>
                    <a:lnTo>
                      <a:pt x="14" y="2"/>
                    </a:lnTo>
                    <a:lnTo>
                      <a:pt x="1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8" name="Freeform 1567">
                <a:extLst>
                  <a:ext uri="{FF2B5EF4-FFF2-40B4-BE49-F238E27FC236}">
                    <a16:creationId xmlns:a16="http://schemas.microsoft.com/office/drawing/2014/main" id="{6639F681-F467-45FA-9666-FEED6B31F455}"/>
                  </a:ext>
                </a:extLst>
              </p:cNvPr>
              <p:cNvSpPr>
                <a:spLocks/>
              </p:cNvSpPr>
              <p:nvPr/>
            </p:nvSpPr>
            <p:spPr bwMode="auto">
              <a:xfrm>
                <a:off x="2144" y="3050"/>
                <a:ext cx="144" cy="178"/>
              </a:xfrm>
              <a:custGeom>
                <a:avLst/>
                <a:gdLst/>
                <a:ahLst/>
                <a:cxnLst>
                  <a:cxn ang="0">
                    <a:pos x="0" y="16"/>
                  </a:cxn>
                  <a:cxn ang="0">
                    <a:pos x="18" y="16"/>
                  </a:cxn>
                  <a:cxn ang="0">
                    <a:pos x="36" y="2"/>
                  </a:cxn>
                  <a:cxn ang="0">
                    <a:pos x="52" y="4"/>
                  </a:cxn>
                  <a:cxn ang="0">
                    <a:pos x="52" y="12"/>
                  </a:cxn>
                  <a:cxn ang="0">
                    <a:pos x="54" y="30"/>
                  </a:cxn>
                  <a:cxn ang="0">
                    <a:pos x="58" y="34"/>
                  </a:cxn>
                  <a:cxn ang="0">
                    <a:pos x="76" y="38"/>
                  </a:cxn>
                  <a:cxn ang="0">
                    <a:pos x="78" y="42"/>
                  </a:cxn>
                  <a:cxn ang="0">
                    <a:pos x="90" y="48"/>
                  </a:cxn>
                  <a:cxn ang="0">
                    <a:pos x="102" y="50"/>
                  </a:cxn>
                  <a:cxn ang="0">
                    <a:pos x="106" y="52"/>
                  </a:cxn>
                  <a:cxn ang="0">
                    <a:pos x="112" y="66"/>
                  </a:cxn>
                  <a:cxn ang="0">
                    <a:pos x="114" y="86"/>
                  </a:cxn>
                  <a:cxn ang="0">
                    <a:pos x="134" y="100"/>
                  </a:cxn>
                  <a:cxn ang="0">
                    <a:pos x="144" y="112"/>
                  </a:cxn>
                  <a:cxn ang="0">
                    <a:pos x="140" y="124"/>
                  </a:cxn>
                  <a:cxn ang="0">
                    <a:pos x="140" y="138"/>
                  </a:cxn>
                  <a:cxn ang="0">
                    <a:pos x="132" y="130"/>
                  </a:cxn>
                  <a:cxn ang="0">
                    <a:pos x="122" y="128"/>
                  </a:cxn>
                  <a:cxn ang="0">
                    <a:pos x="102" y="130"/>
                  </a:cxn>
                  <a:cxn ang="0">
                    <a:pos x="92" y="134"/>
                  </a:cxn>
                  <a:cxn ang="0">
                    <a:pos x="88" y="152"/>
                  </a:cxn>
                  <a:cxn ang="0">
                    <a:pos x="82" y="168"/>
                  </a:cxn>
                  <a:cxn ang="0">
                    <a:pos x="80" y="166"/>
                  </a:cxn>
                  <a:cxn ang="0">
                    <a:pos x="66" y="164"/>
                  </a:cxn>
                  <a:cxn ang="0">
                    <a:pos x="58" y="168"/>
                  </a:cxn>
                  <a:cxn ang="0">
                    <a:pos x="42" y="162"/>
                  </a:cxn>
                  <a:cxn ang="0">
                    <a:pos x="30" y="176"/>
                  </a:cxn>
                  <a:cxn ang="0">
                    <a:pos x="20" y="176"/>
                  </a:cxn>
                  <a:cxn ang="0">
                    <a:pos x="16" y="150"/>
                  </a:cxn>
                  <a:cxn ang="0">
                    <a:pos x="10" y="140"/>
                  </a:cxn>
                  <a:cxn ang="0">
                    <a:pos x="12" y="134"/>
                  </a:cxn>
                  <a:cxn ang="0">
                    <a:pos x="8" y="122"/>
                  </a:cxn>
                  <a:cxn ang="0">
                    <a:pos x="6" y="110"/>
                  </a:cxn>
                  <a:cxn ang="0">
                    <a:pos x="0" y="102"/>
                  </a:cxn>
                  <a:cxn ang="0">
                    <a:pos x="6" y="88"/>
                  </a:cxn>
                  <a:cxn ang="0">
                    <a:pos x="6" y="72"/>
                  </a:cxn>
                  <a:cxn ang="0">
                    <a:pos x="8" y="64"/>
                  </a:cxn>
                  <a:cxn ang="0">
                    <a:pos x="10" y="36"/>
                  </a:cxn>
                </a:cxnLst>
                <a:rect l="0" t="0" r="r" b="b"/>
                <a:pathLst>
                  <a:path w="144" h="178">
                    <a:moveTo>
                      <a:pt x="0" y="16"/>
                    </a:moveTo>
                    <a:lnTo>
                      <a:pt x="0" y="16"/>
                    </a:lnTo>
                    <a:lnTo>
                      <a:pt x="10" y="18"/>
                    </a:lnTo>
                    <a:lnTo>
                      <a:pt x="18" y="16"/>
                    </a:lnTo>
                    <a:lnTo>
                      <a:pt x="26" y="12"/>
                    </a:lnTo>
                    <a:lnTo>
                      <a:pt x="36" y="2"/>
                    </a:lnTo>
                    <a:lnTo>
                      <a:pt x="50" y="0"/>
                    </a:lnTo>
                    <a:lnTo>
                      <a:pt x="52" y="4"/>
                    </a:lnTo>
                    <a:lnTo>
                      <a:pt x="52" y="4"/>
                    </a:lnTo>
                    <a:lnTo>
                      <a:pt x="52" y="12"/>
                    </a:lnTo>
                    <a:lnTo>
                      <a:pt x="50" y="22"/>
                    </a:lnTo>
                    <a:lnTo>
                      <a:pt x="54" y="30"/>
                    </a:lnTo>
                    <a:lnTo>
                      <a:pt x="54" y="30"/>
                    </a:lnTo>
                    <a:lnTo>
                      <a:pt x="58" y="34"/>
                    </a:lnTo>
                    <a:lnTo>
                      <a:pt x="64" y="36"/>
                    </a:lnTo>
                    <a:lnTo>
                      <a:pt x="76" y="38"/>
                    </a:lnTo>
                    <a:lnTo>
                      <a:pt x="78" y="42"/>
                    </a:lnTo>
                    <a:lnTo>
                      <a:pt x="78" y="42"/>
                    </a:lnTo>
                    <a:lnTo>
                      <a:pt x="86" y="44"/>
                    </a:lnTo>
                    <a:lnTo>
                      <a:pt x="90" y="48"/>
                    </a:lnTo>
                    <a:lnTo>
                      <a:pt x="94" y="50"/>
                    </a:lnTo>
                    <a:lnTo>
                      <a:pt x="102" y="50"/>
                    </a:lnTo>
                    <a:lnTo>
                      <a:pt x="102" y="50"/>
                    </a:lnTo>
                    <a:lnTo>
                      <a:pt x="106" y="52"/>
                    </a:lnTo>
                    <a:lnTo>
                      <a:pt x="108" y="56"/>
                    </a:lnTo>
                    <a:lnTo>
                      <a:pt x="112" y="66"/>
                    </a:lnTo>
                    <a:lnTo>
                      <a:pt x="110" y="74"/>
                    </a:lnTo>
                    <a:lnTo>
                      <a:pt x="114" y="86"/>
                    </a:lnTo>
                    <a:lnTo>
                      <a:pt x="134" y="88"/>
                    </a:lnTo>
                    <a:lnTo>
                      <a:pt x="134" y="100"/>
                    </a:lnTo>
                    <a:lnTo>
                      <a:pt x="140" y="102"/>
                    </a:lnTo>
                    <a:lnTo>
                      <a:pt x="144" y="112"/>
                    </a:lnTo>
                    <a:lnTo>
                      <a:pt x="144" y="112"/>
                    </a:lnTo>
                    <a:lnTo>
                      <a:pt x="140" y="124"/>
                    </a:lnTo>
                    <a:lnTo>
                      <a:pt x="140" y="132"/>
                    </a:lnTo>
                    <a:lnTo>
                      <a:pt x="140" y="138"/>
                    </a:lnTo>
                    <a:lnTo>
                      <a:pt x="138" y="138"/>
                    </a:lnTo>
                    <a:lnTo>
                      <a:pt x="132" y="130"/>
                    </a:lnTo>
                    <a:lnTo>
                      <a:pt x="132" y="130"/>
                    </a:lnTo>
                    <a:lnTo>
                      <a:pt x="122" y="128"/>
                    </a:lnTo>
                    <a:lnTo>
                      <a:pt x="112" y="128"/>
                    </a:lnTo>
                    <a:lnTo>
                      <a:pt x="102" y="130"/>
                    </a:lnTo>
                    <a:lnTo>
                      <a:pt x="92" y="134"/>
                    </a:lnTo>
                    <a:lnTo>
                      <a:pt x="92" y="134"/>
                    </a:lnTo>
                    <a:lnTo>
                      <a:pt x="88" y="142"/>
                    </a:lnTo>
                    <a:lnTo>
                      <a:pt x="88" y="152"/>
                    </a:lnTo>
                    <a:lnTo>
                      <a:pt x="86" y="160"/>
                    </a:lnTo>
                    <a:lnTo>
                      <a:pt x="82" y="168"/>
                    </a:lnTo>
                    <a:lnTo>
                      <a:pt x="82" y="168"/>
                    </a:lnTo>
                    <a:lnTo>
                      <a:pt x="80" y="166"/>
                    </a:lnTo>
                    <a:lnTo>
                      <a:pt x="74" y="166"/>
                    </a:lnTo>
                    <a:lnTo>
                      <a:pt x="66" y="164"/>
                    </a:lnTo>
                    <a:lnTo>
                      <a:pt x="64" y="174"/>
                    </a:lnTo>
                    <a:lnTo>
                      <a:pt x="58" y="168"/>
                    </a:lnTo>
                    <a:lnTo>
                      <a:pt x="46" y="166"/>
                    </a:lnTo>
                    <a:lnTo>
                      <a:pt x="42" y="162"/>
                    </a:lnTo>
                    <a:lnTo>
                      <a:pt x="30" y="176"/>
                    </a:lnTo>
                    <a:lnTo>
                      <a:pt x="30" y="176"/>
                    </a:lnTo>
                    <a:lnTo>
                      <a:pt x="24" y="178"/>
                    </a:lnTo>
                    <a:lnTo>
                      <a:pt x="20" y="176"/>
                    </a:lnTo>
                    <a:lnTo>
                      <a:pt x="16" y="150"/>
                    </a:lnTo>
                    <a:lnTo>
                      <a:pt x="16" y="150"/>
                    </a:lnTo>
                    <a:lnTo>
                      <a:pt x="12" y="146"/>
                    </a:lnTo>
                    <a:lnTo>
                      <a:pt x="10" y="140"/>
                    </a:lnTo>
                    <a:lnTo>
                      <a:pt x="10" y="140"/>
                    </a:lnTo>
                    <a:lnTo>
                      <a:pt x="12" y="134"/>
                    </a:lnTo>
                    <a:lnTo>
                      <a:pt x="12" y="128"/>
                    </a:lnTo>
                    <a:lnTo>
                      <a:pt x="8" y="122"/>
                    </a:lnTo>
                    <a:lnTo>
                      <a:pt x="6" y="110"/>
                    </a:lnTo>
                    <a:lnTo>
                      <a:pt x="6" y="110"/>
                    </a:lnTo>
                    <a:lnTo>
                      <a:pt x="2" y="106"/>
                    </a:lnTo>
                    <a:lnTo>
                      <a:pt x="0" y="102"/>
                    </a:lnTo>
                    <a:lnTo>
                      <a:pt x="8" y="90"/>
                    </a:lnTo>
                    <a:lnTo>
                      <a:pt x="6" y="88"/>
                    </a:lnTo>
                    <a:lnTo>
                      <a:pt x="2" y="82"/>
                    </a:lnTo>
                    <a:lnTo>
                      <a:pt x="6" y="72"/>
                    </a:lnTo>
                    <a:lnTo>
                      <a:pt x="4" y="66"/>
                    </a:lnTo>
                    <a:lnTo>
                      <a:pt x="8" y="64"/>
                    </a:lnTo>
                    <a:lnTo>
                      <a:pt x="8" y="42"/>
                    </a:lnTo>
                    <a:lnTo>
                      <a:pt x="10" y="36"/>
                    </a:lnTo>
                    <a:lnTo>
                      <a:pt x="0" y="1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59" name="Freeform 1568">
                <a:extLst>
                  <a:ext uri="{FF2B5EF4-FFF2-40B4-BE49-F238E27FC236}">
                    <a16:creationId xmlns:a16="http://schemas.microsoft.com/office/drawing/2014/main" id="{A07508D5-31D4-45F9-97A6-3126EA586BC8}"/>
                  </a:ext>
                </a:extLst>
              </p:cNvPr>
              <p:cNvSpPr>
                <a:spLocks/>
              </p:cNvSpPr>
              <p:nvPr/>
            </p:nvSpPr>
            <p:spPr bwMode="auto">
              <a:xfrm>
                <a:off x="2226" y="3178"/>
                <a:ext cx="102" cy="114"/>
              </a:xfrm>
              <a:custGeom>
                <a:avLst/>
                <a:gdLst/>
                <a:ahLst/>
                <a:cxnLst>
                  <a:cxn ang="0">
                    <a:pos x="56" y="10"/>
                  </a:cxn>
                  <a:cxn ang="0">
                    <a:pos x="56" y="12"/>
                  </a:cxn>
                  <a:cxn ang="0">
                    <a:pos x="56" y="12"/>
                  </a:cxn>
                  <a:cxn ang="0">
                    <a:pos x="58" y="18"/>
                  </a:cxn>
                  <a:cxn ang="0">
                    <a:pos x="58" y="26"/>
                  </a:cxn>
                  <a:cxn ang="0">
                    <a:pos x="58" y="32"/>
                  </a:cxn>
                  <a:cxn ang="0">
                    <a:pos x="60" y="38"/>
                  </a:cxn>
                  <a:cxn ang="0">
                    <a:pos x="60" y="38"/>
                  </a:cxn>
                  <a:cxn ang="0">
                    <a:pos x="68" y="40"/>
                  </a:cxn>
                  <a:cxn ang="0">
                    <a:pos x="72" y="40"/>
                  </a:cxn>
                  <a:cxn ang="0">
                    <a:pos x="78" y="38"/>
                  </a:cxn>
                  <a:cxn ang="0">
                    <a:pos x="84" y="42"/>
                  </a:cxn>
                  <a:cxn ang="0">
                    <a:pos x="84" y="42"/>
                  </a:cxn>
                  <a:cxn ang="0">
                    <a:pos x="86" y="46"/>
                  </a:cxn>
                  <a:cxn ang="0">
                    <a:pos x="86" y="52"/>
                  </a:cxn>
                  <a:cxn ang="0">
                    <a:pos x="86" y="58"/>
                  </a:cxn>
                  <a:cxn ang="0">
                    <a:pos x="88" y="62"/>
                  </a:cxn>
                  <a:cxn ang="0">
                    <a:pos x="90" y="64"/>
                  </a:cxn>
                  <a:cxn ang="0">
                    <a:pos x="100" y="62"/>
                  </a:cxn>
                  <a:cxn ang="0">
                    <a:pos x="100" y="64"/>
                  </a:cxn>
                  <a:cxn ang="0">
                    <a:pos x="100" y="64"/>
                  </a:cxn>
                  <a:cxn ang="0">
                    <a:pos x="102" y="72"/>
                  </a:cxn>
                  <a:cxn ang="0">
                    <a:pos x="100" y="82"/>
                  </a:cxn>
                  <a:cxn ang="0">
                    <a:pos x="96" y="100"/>
                  </a:cxn>
                  <a:cxn ang="0">
                    <a:pos x="86" y="112"/>
                  </a:cxn>
                  <a:cxn ang="0">
                    <a:pos x="72" y="114"/>
                  </a:cxn>
                  <a:cxn ang="0">
                    <a:pos x="72" y="114"/>
                  </a:cxn>
                  <a:cxn ang="0">
                    <a:pos x="68" y="112"/>
                  </a:cxn>
                  <a:cxn ang="0">
                    <a:pos x="62" y="110"/>
                  </a:cxn>
                  <a:cxn ang="0">
                    <a:pos x="52" y="108"/>
                  </a:cxn>
                  <a:cxn ang="0">
                    <a:pos x="52" y="108"/>
                  </a:cxn>
                  <a:cxn ang="0">
                    <a:pos x="56" y="98"/>
                  </a:cxn>
                  <a:cxn ang="0">
                    <a:pos x="60" y="88"/>
                  </a:cxn>
                  <a:cxn ang="0">
                    <a:pos x="60" y="82"/>
                  </a:cxn>
                  <a:cxn ang="0">
                    <a:pos x="60" y="82"/>
                  </a:cxn>
                  <a:cxn ang="0">
                    <a:pos x="52" y="76"/>
                  </a:cxn>
                  <a:cxn ang="0">
                    <a:pos x="42" y="70"/>
                  </a:cxn>
                  <a:cxn ang="0">
                    <a:pos x="34" y="66"/>
                  </a:cxn>
                  <a:cxn ang="0">
                    <a:pos x="24" y="64"/>
                  </a:cxn>
                  <a:cxn ang="0">
                    <a:pos x="24" y="64"/>
                  </a:cxn>
                  <a:cxn ang="0">
                    <a:pos x="20" y="60"/>
                  </a:cxn>
                  <a:cxn ang="0">
                    <a:pos x="14" y="54"/>
                  </a:cxn>
                  <a:cxn ang="0">
                    <a:pos x="10" y="48"/>
                  </a:cxn>
                  <a:cxn ang="0">
                    <a:pos x="4" y="42"/>
                  </a:cxn>
                  <a:cxn ang="0">
                    <a:pos x="0" y="40"/>
                  </a:cxn>
                  <a:cxn ang="0">
                    <a:pos x="0" y="40"/>
                  </a:cxn>
                  <a:cxn ang="0">
                    <a:pos x="4" y="32"/>
                  </a:cxn>
                  <a:cxn ang="0">
                    <a:pos x="6" y="24"/>
                  </a:cxn>
                  <a:cxn ang="0">
                    <a:pos x="6" y="14"/>
                  </a:cxn>
                  <a:cxn ang="0">
                    <a:pos x="10" y="6"/>
                  </a:cxn>
                  <a:cxn ang="0">
                    <a:pos x="10" y="6"/>
                  </a:cxn>
                  <a:cxn ang="0">
                    <a:pos x="20" y="2"/>
                  </a:cxn>
                  <a:cxn ang="0">
                    <a:pos x="30" y="0"/>
                  </a:cxn>
                  <a:cxn ang="0">
                    <a:pos x="40" y="0"/>
                  </a:cxn>
                  <a:cxn ang="0">
                    <a:pos x="50" y="2"/>
                  </a:cxn>
                  <a:cxn ang="0">
                    <a:pos x="56" y="10"/>
                  </a:cxn>
                </a:cxnLst>
                <a:rect l="0" t="0" r="r" b="b"/>
                <a:pathLst>
                  <a:path w="102" h="114">
                    <a:moveTo>
                      <a:pt x="56" y="10"/>
                    </a:moveTo>
                    <a:lnTo>
                      <a:pt x="56" y="12"/>
                    </a:lnTo>
                    <a:lnTo>
                      <a:pt x="56" y="12"/>
                    </a:lnTo>
                    <a:lnTo>
                      <a:pt x="58" y="18"/>
                    </a:lnTo>
                    <a:lnTo>
                      <a:pt x="58" y="26"/>
                    </a:lnTo>
                    <a:lnTo>
                      <a:pt x="58" y="32"/>
                    </a:lnTo>
                    <a:lnTo>
                      <a:pt x="60" y="38"/>
                    </a:lnTo>
                    <a:lnTo>
                      <a:pt x="60" y="38"/>
                    </a:lnTo>
                    <a:lnTo>
                      <a:pt x="68" y="40"/>
                    </a:lnTo>
                    <a:lnTo>
                      <a:pt x="72" y="40"/>
                    </a:lnTo>
                    <a:lnTo>
                      <a:pt x="78" y="38"/>
                    </a:lnTo>
                    <a:lnTo>
                      <a:pt x="84" y="42"/>
                    </a:lnTo>
                    <a:lnTo>
                      <a:pt x="84" y="42"/>
                    </a:lnTo>
                    <a:lnTo>
                      <a:pt x="86" y="46"/>
                    </a:lnTo>
                    <a:lnTo>
                      <a:pt x="86" y="52"/>
                    </a:lnTo>
                    <a:lnTo>
                      <a:pt x="86" y="58"/>
                    </a:lnTo>
                    <a:lnTo>
                      <a:pt x="88" y="62"/>
                    </a:lnTo>
                    <a:lnTo>
                      <a:pt x="90" y="64"/>
                    </a:lnTo>
                    <a:lnTo>
                      <a:pt x="100" y="62"/>
                    </a:lnTo>
                    <a:lnTo>
                      <a:pt x="100" y="64"/>
                    </a:lnTo>
                    <a:lnTo>
                      <a:pt x="100" y="64"/>
                    </a:lnTo>
                    <a:lnTo>
                      <a:pt x="102" y="72"/>
                    </a:lnTo>
                    <a:lnTo>
                      <a:pt x="100" y="82"/>
                    </a:lnTo>
                    <a:lnTo>
                      <a:pt x="96" y="100"/>
                    </a:lnTo>
                    <a:lnTo>
                      <a:pt x="86" y="112"/>
                    </a:lnTo>
                    <a:lnTo>
                      <a:pt x="72" y="114"/>
                    </a:lnTo>
                    <a:lnTo>
                      <a:pt x="72" y="114"/>
                    </a:lnTo>
                    <a:lnTo>
                      <a:pt x="68" y="112"/>
                    </a:lnTo>
                    <a:lnTo>
                      <a:pt x="62" y="110"/>
                    </a:lnTo>
                    <a:lnTo>
                      <a:pt x="52" y="108"/>
                    </a:lnTo>
                    <a:lnTo>
                      <a:pt x="52" y="108"/>
                    </a:lnTo>
                    <a:lnTo>
                      <a:pt x="56" y="98"/>
                    </a:lnTo>
                    <a:lnTo>
                      <a:pt x="60" y="88"/>
                    </a:lnTo>
                    <a:lnTo>
                      <a:pt x="60" y="82"/>
                    </a:lnTo>
                    <a:lnTo>
                      <a:pt x="60" y="82"/>
                    </a:lnTo>
                    <a:lnTo>
                      <a:pt x="52" y="76"/>
                    </a:lnTo>
                    <a:lnTo>
                      <a:pt x="42" y="70"/>
                    </a:lnTo>
                    <a:lnTo>
                      <a:pt x="34" y="66"/>
                    </a:lnTo>
                    <a:lnTo>
                      <a:pt x="24" y="64"/>
                    </a:lnTo>
                    <a:lnTo>
                      <a:pt x="24" y="64"/>
                    </a:lnTo>
                    <a:lnTo>
                      <a:pt x="20" y="60"/>
                    </a:lnTo>
                    <a:lnTo>
                      <a:pt x="14" y="54"/>
                    </a:lnTo>
                    <a:lnTo>
                      <a:pt x="10" y="48"/>
                    </a:lnTo>
                    <a:lnTo>
                      <a:pt x="4" y="42"/>
                    </a:lnTo>
                    <a:lnTo>
                      <a:pt x="0" y="40"/>
                    </a:lnTo>
                    <a:lnTo>
                      <a:pt x="0" y="40"/>
                    </a:lnTo>
                    <a:lnTo>
                      <a:pt x="4" y="32"/>
                    </a:lnTo>
                    <a:lnTo>
                      <a:pt x="6" y="24"/>
                    </a:lnTo>
                    <a:lnTo>
                      <a:pt x="6" y="14"/>
                    </a:lnTo>
                    <a:lnTo>
                      <a:pt x="10" y="6"/>
                    </a:lnTo>
                    <a:lnTo>
                      <a:pt x="10" y="6"/>
                    </a:lnTo>
                    <a:lnTo>
                      <a:pt x="20" y="2"/>
                    </a:lnTo>
                    <a:lnTo>
                      <a:pt x="30" y="0"/>
                    </a:lnTo>
                    <a:lnTo>
                      <a:pt x="40" y="0"/>
                    </a:lnTo>
                    <a:lnTo>
                      <a:pt x="50" y="2"/>
                    </a:lnTo>
                    <a:lnTo>
                      <a:pt x="56"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0" name="Freeform 1569">
                <a:extLst>
                  <a:ext uri="{FF2B5EF4-FFF2-40B4-BE49-F238E27FC236}">
                    <a16:creationId xmlns:a16="http://schemas.microsoft.com/office/drawing/2014/main" id="{F94D70E5-952C-408C-ACE6-70EDA0F99F8C}"/>
                  </a:ext>
                </a:extLst>
              </p:cNvPr>
              <p:cNvSpPr>
                <a:spLocks/>
              </p:cNvSpPr>
              <p:nvPr/>
            </p:nvSpPr>
            <p:spPr bwMode="auto">
              <a:xfrm>
                <a:off x="2156" y="3720"/>
                <a:ext cx="42" cy="52"/>
              </a:xfrm>
              <a:custGeom>
                <a:avLst/>
                <a:gdLst/>
                <a:ahLst/>
                <a:cxnLst>
                  <a:cxn ang="0">
                    <a:pos x="0" y="50"/>
                  </a:cxn>
                  <a:cxn ang="0">
                    <a:pos x="0" y="0"/>
                  </a:cxn>
                  <a:cxn ang="0">
                    <a:pos x="6" y="10"/>
                  </a:cxn>
                  <a:cxn ang="0">
                    <a:pos x="4" y="10"/>
                  </a:cxn>
                  <a:cxn ang="0">
                    <a:pos x="2" y="12"/>
                  </a:cxn>
                  <a:cxn ang="0">
                    <a:pos x="2" y="12"/>
                  </a:cxn>
                  <a:cxn ang="0">
                    <a:pos x="8" y="22"/>
                  </a:cxn>
                  <a:cxn ang="0">
                    <a:pos x="20" y="32"/>
                  </a:cxn>
                  <a:cxn ang="0">
                    <a:pos x="32" y="42"/>
                  </a:cxn>
                  <a:cxn ang="0">
                    <a:pos x="38" y="44"/>
                  </a:cxn>
                  <a:cxn ang="0">
                    <a:pos x="42" y="46"/>
                  </a:cxn>
                  <a:cxn ang="0">
                    <a:pos x="40" y="50"/>
                  </a:cxn>
                  <a:cxn ang="0">
                    <a:pos x="38" y="50"/>
                  </a:cxn>
                  <a:cxn ang="0">
                    <a:pos x="34" y="50"/>
                  </a:cxn>
                  <a:cxn ang="0">
                    <a:pos x="28" y="52"/>
                  </a:cxn>
                  <a:cxn ang="0">
                    <a:pos x="28" y="52"/>
                  </a:cxn>
                  <a:cxn ang="0">
                    <a:pos x="14" y="48"/>
                  </a:cxn>
                  <a:cxn ang="0">
                    <a:pos x="6" y="48"/>
                  </a:cxn>
                  <a:cxn ang="0">
                    <a:pos x="0" y="50"/>
                  </a:cxn>
                  <a:cxn ang="0">
                    <a:pos x="0" y="50"/>
                  </a:cxn>
                </a:cxnLst>
                <a:rect l="0" t="0" r="r" b="b"/>
                <a:pathLst>
                  <a:path w="42" h="52">
                    <a:moveTo>
                      <a:pt x="0" y="50"/>
                    </a:moveTo>
                    <a:lnTo>
                      <a:pt x="0" y="0"/>
                    </a:lnTo>
                    <a:lnTo>
                      <a:pt x="6" y="10"/>
                    </a:lnTo>
                    <a:lnTo>
                      <a:pt x="4" y="10"/>
                    </a:lnTo>
                    <a:lnTo>
                      <a:pt x="2" y="12"/>
                    </a:lnTo>
                    <a:lnTo>
                      <a:pt x="2" y="12"/>
                    </a:lnTo>
                    <a:lnTo>
                      <a:pt x="8" y="22"/>
                    </a:lnTo>
                    <a:lnTo>
                      <a:pt x="20" y="32"/>
                    </a:lnTo>
                    <a:lnTo>
                      <a:pt x="32" y="42"/>
                    </a:lnTo>
                    <a:lnTo>
                      <a:pt x="38" y="44"/>
                    </a:lnTo>
                    <a:lnTo>
                      <a:pt x="42" y="46"/>
                    </a:lnTo>
                    <a:lnTo>
                      <a:pt x="40" y="50"/>
                    </a:lnTo>
                    <a:lnTo>
                      <a:pt x="38" y="50"/>
                    </a:lnTo>
                    <a:lnTo>
                      <a:pt x="34" y="50"/>
                    </a:lnTo>
                    <a:lnTo>
                      <a:pt x="28" y="52"/>
                    </a:lnTo>
                    <a:lnTo>
                      <a:pt x="28" y="52"/>
                    </a:lnTo>
                    <a:lnTo>
                      <a:pt x="14" y="48"/>
                    </a:lnTo>
                    <a:lnTo>
                      <a:pt x="6" y="48"/>
                    </a:lnTo>
                    <a:lnTo>
                      <a:pt x="0" y="50"/>
                    </a:lnTo>
                    <a:lnTo>
                      <a:pt x="0"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1" name="Freeform 1570">
                <a:extLst>
                  <a:ext uri="{FF2B5EF4-FFF2-40B4-BE49-F238E27FC236}">
                    <a16:creationId xmlns:a16="http://schemas.microsoft.com/office/drawing/2014/main" id="{3F1AA8A8-7D2D-401D-BB23-AEADD2A8FC62}"/>
                  </a:ext>
                </a:extLst>
              </p:cNvPr>
              <p:cNvSpPr>
                <a:spLocks/>
              </p:cNvSpPr>
              <p:nvPr/>
            </p:nvSpPr>
            <p:spPr bwMode="auto">
              <a:xfrm>
                <a:off x="2072" y="3154"/>
                <a:ext cx="102" cy="592"/>
              </a:xfrm>
              <a:custGeom>
                <a:avLst/>
                <a:gdLst/>
                <a:ahLst/>
                <a:cxnLst>
                  <a:cxn ang="0">
                    <a:pos x="84" y="24"/>
                  </a:cxn>
                  <a:cxn ang="0">
                    <a:pos x="82" y="36"/>
                  </a:cxn>
                  <a:cxn ang="0">
                    <a:pos x="92" y="72"/>
                  </a:cxn>
                  <a:cxn ang="0">
                    <a:pos x="102" y="76"/>
                  </a:cxn>
                  <a:cxn ang="0">
                    <a:pos x="86" y="104"/>
                  </a:cxn>
                  <a:cxn ang="0">
                    <a:pos x="80" y="134"/>
                  </a:cxn>
                  <a:cxn ang="0">
                    <a:pos x="74" y="148"/>
                  </a:cxn>
                  <a:cxn ang="0">
                    <a:pos x="68" y="178"/>
                  </a:cxn>
                  <a:cxn ang="0">
                    <a:pos x="64" y="202"/>
                  </a:cxn>
                  <a:cxn ang="0">
                    <a:pos x="62" y="252"/>
                  </a:cxn>
                  <a:cxn ang="0">
                    <a:pos x="54" y="274"/>
                  </a:cxn>
                  <a:cxn ang="0">
                    <a:pos x="54" y="308"/>
                  </a:cxn>
                  <a:cxn ang="0">
                    <a:pos x="44" y="354"/>
                  </a:cxn>
                  <a:cxn ang="0">
                    <a:pos x="42" y="374"/>
                  </a:cxn>
                  <a:cxn ang="0">
                    <a:pos x="46" y="396"/>
                  </a:cxn>
                  <a:cxn ang="0">
                    <a:pos x="52" y="412"/>
                  </a:cxn>
                  <a:cxn ang="0">
                    <a:pos x="50" y="420"/>
                  </a:cxn>
                  <a:cxn ang="0">
                    <a:pos x="30" y="508"/>
                  </a:cxn>
                  <a:cxn ang="0">
                    <a:pos x="40" y="526"/>
                  </a:cxn>
                  <a:cxn ang="0">
                    <a:pos x="42" y="552"/>
                  </a:cxn>
                  <a:cxn ang="0">
                    <a:pos x="88" y="560"/>
                  </a:cxn>
                  <a:cxn ang="0">
                    <a:pos x="72" y="562"/>
                  </a:cxn>
                  <a:cxn ang="0">
                    <a:pos x="54" y="592"/>
                  </a:cxn>
                  <a:cxn ang="0">
                    <a:pos x="42" y="580"/>
                  </a:cxn>
                  <a:cxn ang="0">
                    <a:pos x="50" y="566"/>
                  </a:cxn>
                  <a:cxn ang="0">
                    <a:pos x="34" y="564"/>
                  </a:cxn>
                  <a:cxn ang="0">
                    <a:pos x="38" y="548"/>
                  </a:cxn>
                  <a:cxn ang="0">
                    <a:pos x="32" y="550"/>
                  </a:cxn>
                  <a:cxn ang="0">
                    <a:pos x="26" y="552"/>
                  </a:cxn>
                  <a:cxn ang="0">
                    <a:pos x="24" y="530"/>
                  </a:cxn>
                  <a:cxn ang="0">
                    <a:pos x="22" y="522"/>
                  </a:cxn>
                  <a:cxn ang="0">
                    <a:pos x="16" y="512"/>
                  </a:cxn>
                  <a:cxn ang="0">
                    <a:pos x="22" y="496"/>
                  </a:cxn>
                  <a:cxn ang="0">
                    <a:pos x="16" y="488"/>
                  </a:cxn>
                  <a:cxn ang="0">
                    <a:pos x="14" y="472"/>
                  </a:cxn>
                  <a:cxn ang="0">
                    <a:pos x="24" y="476"/>
                  </a:cxn>
                  <a:cxn ang="0">
                    <a:pos x="20" y="458"/>
                  </a:cxn>
                  <a:cxn ang="0">
                    <a:pos x="14" y="450"/>
                  </a:cxn>
                  <a:cxn ang="0">
                    <a:pos x="4" y="452"/>
                  </a:cxn>
                  <a:cxn ang="0">
                    <a:pos x="2" y="448"/>
                  </a:cxn>
                  <a:cxn ang="0">
                    <a:pos x="8" y="438"/>
                  </a:cxn>
                  <a:cxn ang="0">
                    <a:pos x="18" y="442"/>
                  </a:cxn>
                  <a:cxn ang="0">
                    <a:pos x="26" y="440"/>
                  </a:cxn>
                  <a:cxn ang="0">
                    <a:pos x="30" y="428"/>
                  </a:cxn>
                  <a:cxn ang="0">
                    <a:pos x="32" y="426"/>
                  </a:cxn>
                  <a:cxn ang="0">
                    <a:pos x="28" y="422"/>
                  </a:cxn>
                  <a:cxn ang="0">
                    <a:pos x="34" y="408"/>
                  </a:cxn>
                  <a:cxn ang="0">
                    <a:pos x="34" y="382"/>
                  </a:cxn>
                  <a:cxn ang="0">
                    <a:pos x="36" y="372"/>
                  </a:cxn>
                  <a:cxn ang="0">
                    <a:pos x="38" y="366"/>
                  </a:cxn>
                  <a:cxn ang="0">
                    <a:pos x="36" y="360"/>
                  </a:cxn>
                  <a:cxn ang="0">
                    <a:pos x="24" y="360"/>
                  </a:cxn>
                  <a:cxn ang="0">
                    <a:pos x="24" y="330"/>
                  </a:cxn>
                  <a:cxn ang="0">
                    <a:pos x="28" y="320"/>
                  </a:cxn>
                  <a:cxn ang="0">
                    <a:pos x="26" y="284"/>
                  </a:cxn>
                  <a:cxn ang="0">
                    <a:pos x="32" y="276"/>
                  </a:cxn>
                  <a:cxn ang="0">
                    <a:pos x="46" y="234"/>
                  </a:cxn>
                  <a:cxn ang="0">
                    <a:pos x="46" y="184"/>
                  </a:cxn>
                  <a:cxn ang="0">
                    <a:pos x="50" y="174"/>
                  </a:cxn>
                  <a:cxn ang="0">
                    <a:pos x="54" y="146"/>
                  </a:cxn>
                  <a:cxn ang="0">
                    <a:pos x="60" y="78"/>
                  </a:cxn>
                  <a:cxn ang="0">
                    <a:pos x="66" y="46"/>
                  </a:cxn>
                </a:cxnLst>
                <a:rect l="0" t="0" r="r" b="b"/>
                <a:pathLst>
                  <a:path w="102" h="592">
                    <a:moveTo>
                      <a:pt x="72" y="0"/>
                    </a:moveTo>
                    <a:lnTo>
                      <a:pt x="78" y="6"/>
                    </a:lnTo>
                    <a:lnTo>
                      <a:pt x="80" y="18"/>
                    </a:lnTo>
                    <a:lnTo>
                      <a:pt x="84" y="24"/>
                    </a:lnTo>
                    <a:lnTo>
                      <a:pt x="84" y="24"/>
                    </a:lnTo>
                    <a:lnTo>
                      <a:pt x="84" y="30"/>
                    </a:lnTo>
                    <a:lnTo>
                      <a:pt x="82" y="36"/>
                    </a:lnTo>
                    <a:lnTo>
                      <a:pt x="82" y="36"/>
                    </a:lnTo>
                    <a:lnTo>
                      <a:pt x="84" y="42"/>
                    </a:lnTo>
                    <a:lnTo>
                      <a:pt x="88" y="46"/>
                    </a:lnTo>
                    <a:lnTo>
                      <a:pt x="92" y="72"/>
                    </a:lnTo>
                    <a:lnTo>
                      <a:pt x="92" y="72"/>
                    </a:lnTo>
                    <a:lnTo>
                      <a:pt x="96" y="74"/>
                    </a:lnTo>
                    <a:lnTo>
                      <a:pt x="102" y="72"/>
                    </a:lnTo>
                    <a:lnTo>
                      <a:pt x="102" y="72"/>
                    </a:lnTo>
                    <a:lnTo>
                      <a:pt x="102" y="76"/>
                    </a:lnTo>
                    <a:lnTo>
                      <a:pt x="102" y="80"/>
                    </a:lnTo>
                    <a:lnTo>
                      <a:pt x="100" y="88"/>
                    </a:lnTo>
                    <a:lnTo>
                      <a:pt x="86" y="96"/>
                    </a:lnTo>
                    <a:lnTo>
                      <a:pt x="86" y="104"/>
                    </a:lnTo>
                    <a:lnTo>
                      <a:pt x="84" y="106"/>
                    </a:lnTo>
                    <a:lnTo>
                      <a:pt x="88" y="130"/>
                    </a:lnTo>
                    <a:lnTo>
                      <a:pt x="80" y="134"/>
                    </a:lnTo>
                    <a:lnTo>
                      <a:pt x="80" y="134"/>
                    </a:lnTo>
                    <a:lnTo>
                      <a:pt x="80" y="138"/>
                    </a:lnTo>
                    <a:lnTo>
                      <a:pt x="78" y="142"/>
                    </a:lnTo>
                    <a:lnTo>
                      <a:pt x="74" y="148"/>
                    </a:lnTo>
                    <a:lnTo>
                      <a:pt x="74" y="148"/>
                    </a:lnTo>
                    <a:lnTo>
                      <a:pt x="70" y="154"/>
                    </a:lnTo>
                    <a:lnTo>
                      <a:pt x="70" y="162"/>
                    </a:lnTo>
                    <a:lnTo>
                      <a:pt x="68" y="178"/>
                    </a:lnTo>
                    <a:lnTo>
                      <a:pt x="68" y="178"/>
                    </a:lnTo>
                    <a:lnTo>
                      <a:pt x="64" y="188"/>
                    </a:lnTo>
                    <a:lnTo>
                      <a:pt x="62" y="194"/>
                    </a:lnTo>
                    <a:lnTo>
                      <a:pt x="62" y="200"/>
                    </a:lnTo>
                    <a:lnTo>
                      <a:pt x="64" y="202"/>
                    </a:lnTo>
                    <a:lnTo>
                      <a:pt x="70" y="238"/>
                    </a:lnTo>
                    <a:lnTo>
                      <a:pt x="70" y="238"/>
                    </a:lnTo>
                    <a:lnTo>
                      <a:pt x="66" y="244"/>
                    </a:lnTo>
                    <a:lnTo>
                      <a:pt x="62" y="252"/>
                    </a:lnTo>
                    <a:lnTo>
                      <a:pt x="62" y="260"/>
                    </a:lnTo>
                    <a:lnTo>
                      <a:pt x="62" y="268"/>
                    </a:lnTo>
                    <a:lnTo>
                      <a:pt x="54" y="274"/>
                    </a:lnTo>
                    <a:lnTo>
                      <a:pt x="54" y="274"/>
                    </a:lnTo>
                    <a:lnTo>
                      <a:pt x="54" y="280"/>
                    </a:lnTo>
                    <a:lnTo>
                      <a:pt x="54" y="290"/>
                    </a:lnTo>
                    <a:lnTo>
                      <a:pt x="54" y="308"/>
                    </a:lnTo>
                    <a:lnTo>
                      <a:pt x="54" y="308"/>
                    </a:lnTo>
                    <a:lnTo>
                      <a:pt x="50" y="316"/>
                    </a:lnTo>
                    <a:lnTo>
                      <a:pt x="48" y="330"/>
                    </a:lnTo>
                    <a:lnTo>
                      <a:pt x="44" y="354"/>
                    </a:lnTo>
                    <a:lnTo>
                      <a:pt x="44" y="354"/>
                    </a:lnTo>
                    <a:lnTo>
                      <a:pt x="46" y="358"/>
                    </a:lnTo>
                    <a:lnTo>
                      <a:pt x="46" y="362"/>
                    </a:lnTo>
                    <a:lnTo>
                      <a:pt x="46" y="368"/>
                    </a:lnTo>
                    <a:lnTo>
                      <a:pt x="42" y="374"/>
                    </a:lnTo>
                    <a:lnTo>
                      <a:pt x="42" y="382"/>
                    </a:lnTo>
                    <a:lnTo>
                      <a:pt x="44" y="384"/>
                    </a:lnTo>
                    <a:lnTo>
                      <a:pt x="44" y="384"/>
                    </a:lnTo>
                    <a:lnTo>
                      <a:pt x="46" y="396"/>
                    </a:lnTo>
                    <a:lnTo>
                      <a:pt x="46" y="400"/>
                    </a:lnTo>
                    <a:lnTo>
                      <a:pt x="46" y="406"/>
                    </a:lnTo>
                    <a:lnTo>
                      <a:pt x="50" y="408"/>
                    </a:lnTo>
                    <a:lnTo>
                      <a:pt x="52" y="412"/>
                    </a:lnTo>
                    <a:lnTo>
                      <a:pt x="52" y="414"/>
                    </a:lnTo>
                    <a:lnTo>
                      <a:pt x="44" y="414"/>
                    </a:lnTo>
                    <a:lnTo>
                      <a:pt x="44" y="416"/>
                    </a:lnTo>
                    <a:lnTo>
                      <a:pt x="50" y="420"/>
                    </a:lnTo>
                    <a:lnTo>
                      <a:pt x="50" y="420"/>
                    </a:lnTo>
                    <a:lnTo>
                      <a:pt x="44" y="440"/>
                    </a:lnTo>
                    <a:lnTo>
                      <a:pt x="36" y="474"/>
                    </a:lnTo>
                    <a:lnTo>
                      <a:pt x="30" y="508"/>
                    </a:lnTo>
                    <a:lnTo>
                      <a:pt x="28" y="520"/>
                    </a:lnTo>
                    <a:lnTo>
                      <a:pt x="28" y="530"/>
                    </a:lnTo>
                    <a:lnTo>
                      <a:pt x="32" y="526"/>
                    </a:lnTo>
                    <a:lnTo>
                      <a:pt x="40" y="526"/>
                    </a:lnTo>
                    <a:lnTo>
                      <a:pt x="40" y="526"/>
                    </a:lnTo>
                    <a:lnTo>
                      <a:pt x="40" y="540"/>
                    </a:lnTo>
                    <a:lnTo>
                      <a:pt x="40" y="548"/>
                    </a:lnTo>
                    <a:lnTo>
                      <a:pt x="42" y="552"/>
                    </a:lnTo>
                    <a:lnTo>
                      <a:pt x="42" y="552"/>
                    </a:lnTo>
                    <a:lnTo>
                      <a:pt x="66" y="554"/>
                    </a:lnTo>
                    <a:lnTo>
                      <a:pt x="76" y="556"/>
                    </a:lnTo>
                    <a:lnTo>
                      <a:pt x="88" y="560"/>
                    </a:lnTo>
                    <a:lnTo>
                      <a:pt x="86" y="560"/>
                    </a:lnTo>
                    <a:lnTo>
                      <a:pt x="74" y="560"/>
                    </a:lnTo>
                    <a:lnTo>
                      <a:pt x="74" y="560"/>
                    </a:lnTo>
                    <a:lnTo>
                      <a:pt x="72" y="562"/>
                    </a:lnTo>
                    <a:lnTo>
                      <a:pt x="66" y="564"/>
                    </a:lnTo>
                    <a:lnTo>
                      <a:pt x="58" y="568"/>
                    </a:lnTo>
                    <a:lnTo>
                      <a:pt x="54" y="592"/>
                    </a:lnTo>
                    <a:lnTo>
                      <a:pt x="54" y="592"/>
                    </a:lnTo>
                    <a:lnTo>
                      <a:pt x="48" y="590"/>
                    </a:lnTo>
                    <a:lnTo>
                      <a:pt x="42" y="586"/>
                    </a:lnTo>
                    <a:lnTo>
                      <a:pt x="40" y="582"/>
                    </a:lnTo>
                    <a:lnTo>
                      <a:pt x="42" y="580"/>
                    </a:lnTo>
                    <a:lnTo>
                      <a:pt x="42" y="584"/>
                    </a:lnTo>
                    <a:lnTo>
                      <a:pt x="52" y="578"/>
                    </a:lnTo>
                    <a:lnTo>
                      <a:pt x="54" y="572"/>
                    </a:lnTo>
                    <a:lnTo>
                      <a:pt x="50" y="566"/>
                    </a:lnTo>
                    <a:lnTo>
                      <a:pt x="42" y="564"/>
                    </a:lnTo>
                    <a:lnTo>
                      <a:pt x="38" y="568"/>
                    </a:lnTo>
                    <a:lnTo>
                      <a:pt x="38" y="564"/>
                    </a:lnTo>
                    <a:lnTo>
                      <a:pt x="34" y="564"/>
                    </a:lnTo>
                    <a:lnTo>
                      <a:pt x="38" y="558"/>
                    </a:lnTo>
                    <a:lnTo>
                      <a:pt x="36" y="552"/>
                    </a:lnTo>
                    <a:lnTo>
                      <a:pt x="38" y="552"/>
                    </a:lnTo>
                    <a:lnTo>
                      <a:pt x="38" y="548"/>
                    </a:lnTo>
                    <a:lnTo>
                      <a:pt x="36" y="548"/>
                    </a:lnTo>
                    <a:lnTo>
                      <a:pt x="36" y="548"/>
                    </a:lnTo>
                    <a:lnTo>
                      <a:pt x="30" y="546"/>
                    </a:lnTo>
                    <a:lnTo>
                      <a:pt x="32" y="550"/>
                    </a:lnTo>
                    <a:lnTo>
                      <a:pt x="30" y="554"/>
                    </a:lnTo>
                    <a:lnTo>
                      <a:pt x="28" y="550"/>
                    </a:lnTo>
                    <a:lnTo>
                      <a:pt x="28" y="554"/>
                    </a:lnTo>
                    <a:lnTo>
                      <a:pt x="26" y="552"/>
                    </a:lnTo>
                    <a:lnTo>
                      <a:pt x="24" y="540"/>
                    </a:lnTo>
                    <a:lnTo>
                      <a:pt x="18" y="534"/>
                    </a:lnTo>
                    <a:lnTo>
                      <a:pt x="18" y="530"/>
                    </a:lnTo>
                    <a:lnTo>
                      <a:pt x="24" y="530"/>
                    </a:lnTo>
                    <a:lnTo>
                      <a:pt x="24" y="526"/>
                    </a:lnTo>
                    <a:lnTo>
                      <a:pt x="20" y="526"/>
                    </a:lnTo>
                    <a:lnTo>
                      <a:pt x="18" y="524"/>
                    </a:lnTo>
                    <a:lnTo>
                      <a:pt x="22" y="522"/>
                    </a:lnTo>
                    <a:lnTo>
                      <a:pt x="22" y="522"/>
                    </a:lnTo>
                    <a:lnTo>
                      <a:pt x="16" y="520"/>
                    </a:lnTo>
                    <a:lnTo>
                      <a:pt x="14" y="516"/>
                    </a:lnTo>
                    <a:lnTo>
                      <a:pt x="16" y="512"/>
                    </a:lnTo>
                    <a:lnTo>
                      <a:pt x="16" y="506"/>
                    </a:lnTo>
                    <a:lnTo>
                      <a:pt x="22" y="504"/>
                    </a:lnTo>
                    <a:lnTo>
                      <a:pt x="20" y="502"/>
                    </a:lnTo>
                    <a:lnTo>
                      <a:pt x="22" y="496"/>
                    </a:lnTo>
                    <a:lnTo>
                      <a:pt x="20" y="498"/>
                    </a:lnTo>
                    <a:lnTo>
                      <a:pt x="18" y="502"/>
                    </a:lnTo>
                    <a:lnTo>
                      <a:pt x="16" y="500"/>
                    </a:lnTo>
                    <a:lnTo>
                      <a:pt x="16" y="488"/>
                    </a:lnTo>
                    <a:lnTo>
                      <a:pt x="22" y="484"/>
                    </a:lnTo>
                    <a:lnTo>
                      <a:pt x="22" y="480"/>
                    </a:lnTo>
                    <a:lnTo>
                      <a:pt x="16" y="482"/>
                    </a:lnTo>
                    <a:lnTo>
                      <a:pt x="14" y="472"/>
                    </a:lnTo>
                    <a:lnTo>
                      <a:pt x="16" y="474"/>
                    </a:lnTo>
                    <a:lnTo>
                      <a:pt x="18" y="478"/>
                    </a:lnTo>
                    <a:lnTo>
                      <a:pt x="18" y="474"/>
                    </a:lnTo>
                    <a:lnTo>
                      <a:pt x="24" y="476"/>
                    </a:lnTo>
                    <a:lnTo>
                      <a:pt x="22" y="468"/>
                    </a:lnTo>
                    <a:lnTo>
                      <a:pt x="18" y="470"/>
                    </a:lnTo>
                    <a:lnTo>
                      <a:pt x="14" y="462"/>
                    </a:lnTo>
                    <a:lnTo>
                      <a:pt x="20" y="458"/>
                    </a:lnTo>
                    <a:lnTo>
                      <a:pt x="18" y="456"/>
                    </a:lnTo>
                    <a:lnTo>
                      <a:pt x="20" y="454"/>
                    </a:lnTo>
                    <a:lnTo>
                      <a:pt x="18" y="450"/>
                    </a:lnTo>
                    <a:lnTo>
                      <a:pt x="14" y="450"/>
                    </a:lnTo>
                    <a:lnTo>
                      <a:pt x="12" y="452"/>
                    </a:lnTo>
                    <a:lnTo>
                      <a:pt x="6" y="446"/>
                    </a:lnTo>
                    <a:lnTo>
                      <a:pt x="2" y="450"/>
                    </a:lnTo>
                    <a:lnTo>
                      <a:pt x="4" y="452"/>
                    </a:lnTo>
                    <a:lnTo>
                      <a:pt x="2" y="454"/>
                    </a:lnTo>
                    <a:lnTo>
                      <a:pt x="0" y="452"/>
                    </a:lnTo>
                    <a:lnTo>
                      <a:pt x="0" y="452"/>
                    </a:lnTo>
                    <a:lnTo>
                      <a:pt x="2" y="448"/>
                    </a:lnTo>
                    <a:lnTo>
                      <a:pt x="4" y="444"/>
                    </a:lnTo>
                    <a:lnTo>
                      <a:pt x="10" y="440"/>
                    </a:lnTo>
                    <a:lnTo>
                      <a:pt x="10" y="438"/>
                    </a:lnTo>
                    <a:lnTo>
                      <a:pt x="8" y="438"/>
                    </a:lnTo>
                    <a:lnTo>
                      <a:pt x="8" y="434"/>
                    </a:lnTo>
                    <a:lnTo>
                      <a:pt x="18" y="434"/>
                    </a:lnTo>
                    <a:lnTo>
                      <a:pt x="20" y="438"/>
                    </a:lnTo>
                    <a:lnTo>
                      <a:pt x="18" y="442"/>
                    </a:lnTo>
                    <a:lnTo>
                      <a:pt x="20" y="444"/>
                    </a:lnTo>
                    <a:lnTo>
                      <a:pt x="22" y="440"/>
                    </a:lnTo>
                    <a:lnTo>
                      <a:pt x="22" y="446"/>
                    </a:lnTo>
                    <a:lnTo>
                      <a:pt x="26" y="440"/>
                    </a:lnTo>
                    <a:lnTo>
                      <a:pt x="24" y="440"/>
                    </a:lnTo>
                    <a:lnTo>
                      <a:pt x="28" y="432"/>
                    </a:lnTo>
                    <a:lnTo>
                      <a:pt x="28" y="430"/>
                    </a:lnTo>
                    <a:lnTo>
                      <a:pt x="30" y="428"/>
                    </a:lnTo>
                    <a:lnTo>
                      <a:pt x="26" y="430"/>
                    </a:lnTo>
                    <a:lnTo>
                      <a:pt x="26" y="426"/>
                    </a:lnTo>
                    <a:lnTo>
                      <a:pt x="28" y="424"/>
                    </a:lnTo>
                    <a:lnTo>
                      <a:pt x="32" y="426"/>
                    </a:lnTo>
                    <a:lnTo>
                      <a:pt x="32" y="426"/>
                    </a:lnTo>
                    <a:lnTo>
                      <a:pt x="34" y="426"/>
                    </a:lnTo>
                    <a:lnTo>
                      <a:pt x="34" y="424"/>
                    </a:lnTo>
                    <a:lnTo>
                      <a:pt x="28" y="422"/>
                    </a:lnTo>
                    <a:lnTo>
                      <a:pt x="28" y="418"/>
                    </a:lnTo>
                    <a:lnTo>
                      <a:pt x="32" y="418"/>
                    </a:lnTo>
                    <a:lnTo>
                      <a:pt x="36" y="414"/>
                    </a:lnTo>
                    <a:lnTo>
                      <a:pt x="34" y="408"/>
                    </a:lnTo>
                    <a:lnTo>
                      <a:pt x="28" y="402"/>
                    </a:lnTo>
                    <a:lnTo>
                      <a:pt x="34" y="396"/>
                    </a:lnTo>
                    <a:lnTo>
                      <a:pt x="32" y="390"/>
                    </a:lnTo>
                    <a:lnTo>
                      <a:pt x="34" y="382"/>
                    </a:lnTo>
                    <a:lnTo>
                      <a:pt x="34" y="378"/>
                    </a:lnTo>
                    <a:lnTo>
                      <a:pt x="36" y="374"/>
                    </a:lnTo>
                    <a:lnTo>
                      <a:pt x="38" y="376"/>
                    </a:lnTo>
                    <a:lnTo>
                      <a:pt x="36" y="372"/>
                    </a:lnTo>
                    <a:lnTo>
                      <a:pt x="36" y="370"/>
                    </a:lnTo>
                    <a:lnTo>
                      <a:pt x="38" y="370"/>
                    </a:lnTo>
                    <a:lnTo>
                      <a:pt x="38" y="372"/>
                    </a:lnTo>
                    <a:lnTo>
                      <a:pt x="38" y="366"/>
                    </a:lnTo>
                    <a:lnTo>
                      <a:pt x="34" y="364"/>
                    </a:lnTo>
                    <a:lnTo>
                      <a:pt x="36" y="362"/>
                    </a:lnTo>
                    <a:lnTo>
                      <a:pt x="40" y="358"/>
                    </a:lnTo>
                    <a:lnTo>
                      <a:pt x="36" y="360"/>
                    </a:lnTo>
                    <a:lnTo>
                      <a:pt x="32" y="356"/>
                    </a:lnTo>
                    <a:lnTo>
                      <a:pt x="30" y="360"/>
                    </a:lnTo>
                    <a:lnTo>
                      <a:pt x="26" y="362"/>
                    </a:lnTo>
                    <a:lnTo>
                      <a:pt x="24" y="360"/>
                    </a:lnTo>
                    <a:lnTo>
                      <a:pt x="24" y="360"/>
                    </a:lnTo>
                    <a:lnTo>
                      <a:pt x="22" y="354"/>
                    </a:lnTo>
                    <a:lnTo>
                      <a:pt x="22" y="346"/>
                    </a:lnTo>
                    <a:lnTo>
                      <a:pt x="24" y="330"/>
                    </a:lnTo>
                    <a:lnTo>
                      <a:pt x="26" y="328"/>
                    </a:lnTo>
                    <a:lnTo>
                      <a:pt x="26" y="328"/>
                    </a:lnTo>
                    <a:lnTo>
                      <a:pt x="26" y="324"/>
                    </a:lnTo>
                    <a:lnTo>
                      <a:pt x="28" y="320"/>
                    </a:lnTo>
                    <a:lnTo>
                      <a:pt x="26" y="308"/>
                    </a:lnTo>
                    <a:lnTo>
                      <a:pt x="24" y="296"/>
                    </a:lnTo>
                    <a:lnTo>
                      <a:pt x="24" y="286"/>
                    </a:lnTo>
                    <a:lnTo>
                      <a:pt x="26" y="284"/>
                    </a:lnTo>
                    <a:lnTo>
                      <a:pt x="30" y="284"/>
                    </a:lnTo>
                    <a:lnTo>
                      <a:pt x="30" y="276"/>
                    </a:lnTo>
                    <a:lnTo>
                      <a:pt x="32" y="276"/>
                    </a:lnTo>
                    <a:lnTo>
                      <a:pt x="32" y="276"/>
                    </a:lnTo>
                    <a:lnTo>
                      <a:pt x="36" y="264"/>
                    </a:lnTo>
                    <a:lnTo>
                      <a:pt x="40" y="252"/>
                    </a:lnTo>
                    <a:lnTo>
                      <a:pt x="40" y="252"/>
                    </a:lnTo>
                    <a:lnTo>
                      <a:pt x="46" y="234"/>
                    </a:lnTo>
                    <a:lnTo>
                      <a:pt x="48" y="218"/>
                    </a:lnTo>
                    <a:lnTo>
                      <a:pt x="48" y="202"/>
                    </a:lnTo>
                    <a:lnTo>
                      <a:pt x="46" y="184"/>
                    </a:lnTo>
                    <a:lnTo>
                      <a:pt x="46" y="184"/>
                    </a:lnTo>
                    <a:lnTo>
                      <a:pt x="48" y="178"/>
                    </a:lnTo>
                    <a:lnTo>
                      <a:pt x="50" y="178"/>
                    </a:lnTo>
                    <a:lnTo>
                      <a:pt x="50" y="178"/>
                    </a:lnTo>
                    <a:lnTo>
                      <a:pt x="50" y="174"/>
                    </a:lnTo>
                    <a:lnTo>
                      <a:pt x="50" y="170"/>
                    </a:lnTo>
                    <a:lnTo>
                      <a:pt x="48" y="162"/>
                    </a:lnTo>
                    <a:lnTo>
                      <a:pt x="48" y="162"/>
                    </a:lnTo>
                    <a:lnTo>
                      <a:pt x="54" y="146"/>
                    </a:lnTo>
                    <a:lnTo>
                      <a:pt x="58" y="120"/>
                    </a:lnTo>
                    <a:lnTo>
                      <a:pt x="62" y="94"/>
                    </a:lnTo>
                    <a:lnTo>
                      <a:pt x="62" y="84"/>
                    </a:lnTo>
                    <a:lnTo>
                      <a:pt x="60" y="78"/>
                    </a:lnTo>
                    <a:lnTo>
                      <a:pt x="60" y="78"/>
                    </a:lnTo>
                    <a:lnTo>
                      <a:pt x="64" y="74"/>
                    </a:lnTo>
                    <a:lnTo>
                      <a:pt x="64" y="66"/>
                    </a:lnTo>
                    <a:lnTo>
                      <a:pt x="66" y="46"/>
                    </a:lnTo>
                    <a:lnTo>
                      <a:pt x="64" y="24"/>
                    </a:lnTo>
                    <a:lnTo>
                      <a:pt x="60" y="10"/>
                    </a:lnTo>
                    <a:lnTo>
                      <a:pt x="7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2" name="Freeform 1571">
                <a:extLst>
                  <a:ext uri="{FF2B5EF4-FFF2-40B4-BE49-F238E27FC236}">
                    <a16:creationId xmlns:a16="http://schemas.microsoft.com/office/drawing/2014/main" id="{4B32209A-C149-4D84-8459-16553F919D9C}"/>
                  </a:ext>
                </a:extLst>
              </p:cNvPr>
              <p:cNvSpPr>
                <a:spLocks/>
              </p:cNvSpPr>
              <p:nvPr/>
            </p:nvSpPr>
            <p:spPr bwMode="auto">
              <a:xfrm>
                <a:off x="2124" y="3716"/>
                <a:ext cx="32" cy="56"/>
              </a:xfrm>
              <a:custGeom>
                <a:avLst/>
                <a:gdLst/>
                <a:ahLst/>
                <a:cxnLst>
                  <a:cxn ang="0">
                    <a:pos x="32" y="54"/>
                  </a:cxn>
                  <a:cxn ang="0">
                    <a:pos x="28" y="56"/>
                  </a:cxn>
                  <a:cxn ang="0">
                    <a:pos x="28" y="56"/>
                  </a:cxn>
                  <a:cxn ang="0">
                    <a:pos x="22" y="54"/>
                  </a:cxn>
                  <a:cxn ang="0">
                    <a:pos x="16" y="52"/>
                  </a:cxn>
                  <a:cxn ang="0">
                    <a:pos x="6" y="52"/>
                  </a:cxn>
                  <a:cxn ang="0">
                    <a:pos x="4" y="50"/>
                  </a:cxn>
                  <a:cxn ang="0">
                    <a:pos x="6" y="48"/>
                  </a:cxn>
                  <a:cxn ang="0">
                    <a:pos x="0" y="48"/>
                  </a:cxn>
                  <a:cxn ang="0">
                    <a:pos x="0" y="44"/>
                  </a:cxn>
                  <a:cxn ang="0">
                    <a:pos x="8" y="42"/>
                  </a:cxn>
                  <a:cxn ang="0">
                    <a:pos x="4" y="36"/>
                  </a:cxn>
                  <a:cxn ang="0">
                    <a:pos x="14" y="44"/>
                  </a:cxn>
                  <a:cxn ang="0">
                    <a:pos x="14" y="38"/>
                  </a:cxn>
                  <a:cxn ang="0">
                    <a:pos x="18" y="42"/>
                  </a:cxn>
                  <a:cxn ang="0">
                    <a:pos x="18" y="40"/>
                  </a:cxn>
                  <a:cxn ang="0">
                    <a:pos x="22" y="42"/>
                  </a:cxn>
                  <a:cxn ang="0">
                    <a:pos x="16" y="36"/>
                  </a:cxn>
                  <a:cxn ang="0">
                    <a:pos x="14" y="28"/>
                  </a:cxn>
                  <a:cxn ang="0">
                    <a:pos x="24" y="20"/>
                  </a:cxn>
                  <a:cxn ang="0">
                    <a:pos x="22" y="18"/>
                  </a:cxn>
                  <a:cxn ang="0">
                    <a:pos x="14" y="22"/>
                  </a:cxn>
                  <a:cxn ang="0">
                    <a:pos x="10" y="20"/>
                  </a:cxn>
                  <a:cxn ang="0">
                    <a:pos x="10" y="12"/>
                  </a:cxn>
                  <a:cxn ang="0">
                    <a:pos x="12" y="8"/>
                  </a:cxn>
                  <a:cxn ang="0">
                    <a:pos x="18" y="6"/>
                  </a:cxn>
                  <a:cxn ang="0">
                    <a:pos x="22" y="0"/>
                  </a:cxn>
                  <a:cxn ang="0">
                    <a:pos x="24" y="4"/>
                  </a:cxn>
                  <a:cxn ang="0">
                    <a:pos x="30" y="2"/>
                  </a:cxn>
                  <a:cxn ang="0">
                    <a:pos x="30" y="2"/>
                  </a:cxn>
                  <a:cxn ang="0">
                    <a:pos x="32" y="10"/>
                  </a:cxn>
                  <a:cxn ang="0">
                    <a:pos x="32" y="26"/>
                  </a:cxn>
                  <a:cxn ang="0">
                    <a:pos x="32" y="54"/>
                  </a:cxn>
                  <a:cxn ang="0">
                    <a:pos x="32" y="54"/>
                  </a:cxn>
                </a:cxnLst>
                <a:rect l="0" t="0" r="r" b="b"/>
                <a:pathLst>
                  <a:path w="32" h="56">
                    <a:moveTo>
                      <a:pt x="32" y="54"/>
                    </a:moveTo>
                    <a:lnTo>
                      <a:pt x="28" y="56"/>
                    </a:lnTo>
                    <a:lnTo>
                      <a:pt x="28" y="56"/>
                    </a:lnTo>
                    <a:lnTo>
                      <a:pt x="22" y="54"/>
                    </a:lnTo>
                    <a:lnTo>
                      <a:pt x="16" y="52"/>
                    </a:lnTo>
                    <a:lnTo>
                      <a:pt x="6" y="52"/>
                    </a:lnTo>
                    <a:lnTo>
                      <a:pt x="4" y="50"/>
                    </a:lnTo>
                    <a:lnTo>
                      <a:pt x="6" y="48"/>
                    </a:lnTo>
                    <a:lnTo>
                      <a:pt x="0" y="48"/>
                    </a:lnTo>
                    <a:lnTo>
                      <a:pt x="0" y="44"/>
                    </a:lnTo>
                    <a:lnTo>
                      <a:pt x="8" y="42"/>
                    </a:lnTo>
                    <a:lnTo>
                      <a:pt x="4" y="36"/>
                    </a:lnTo>
                    <a:lnTo>
                      <a:pt x="14" y="44"/>
                    </a:lnTo>
                    <a:lnTo>
                      <a:pt x="14" y="38"/>
                    </a:lnTo>
                    <a:lnTo>
                      <a:pt x="18" y="42"/>
                    </a:lnTo>
                    <a:lnTo>
                      <a:pt x="18" y="40"/>
                    </a:lnTo>
                    <a:lnTo>
                      <a:pt x="22" y="42"/>
                    </a:lnTo>
                    <a:lnTo>
                      <a:pt x="16" y="36"/>
                    </a:lnTo>
                    <a:lnTo>
                      <a:pt x="14" y="28"/>
                    </a:lnTo>
                    <a:lnTo>
                      <a:pt x="24" y="20"/>
                    </a:lnTo>
                    <a:lnTo>
                      <a:pt x="22" y="18"/>
                    </a:lnTo>
                    <a:lnTo>
                      <a:pt x="14" y="22"/>
                    </a:lnTo>
                    <a:lnTo>
                      <a:pt x="10" y="20"/>
                    </a:lnTo>
                    <a:lnTo>
                      <a:pt x="10" y="12"/>
                    </a:lnTo>
                    <a:lnTo>
                      <a:pt x="12" y="8"/>
                    </a:lnTo>
                    <a:lnTo>
                      <a:pt x="18" y="6"/>
                    </a:lnTo>
                    <a:lnTo>
                      <a:pt x="22" y="0"/>
                    </a:lnTo>
                    <a:lnTo>
                      <a:pt x="24" y="4"/>
                    </a:lnTo>
                    <a:lnTo>
                      <a:pt x="30" y="2"/>
                    </a:lnTo>
                    <a:lnTo>
                      <a:pt x="30" y="2"/>
                    </a:lnTo>
                    <a:lnTo>
                      <a:pt x="32" y="10"/>
                    </a:lnTo>
                    <a:lnTo>
                      <a:pt x="32" y="26"/>
                    </a:lnTo>
                    <a:lnTo>
                      <a:pt x="32" y="54"/>
                    </a:lnTo>
                    <a:lnTo>
                      <a:pt x="32" y="5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3" name="Freeform 1572">
                <a:extLst>
                  <a:ext uri="{FF2B5EF4-FFF2-40B4-BE49-F238E27FC236}">
                    <a16:creationId xmlns:a16="http://schemas.microsoft.com/office/drawing/2014/main" id="{162D0631-B3F0-40B9-9571-FA727E81B307}"/>
                  </a:ext>
                </a:extLst>
              </p:cNvPr>
              <p:cNvSpPr>
                <a:spLocks/>
              </p:cNvSpPr>
              <p:nvPr/>
            </p:nvSpPr>
            <p:spPr bwMode="auto">
              <a:xfrm>
                <a:off x="2150" y="2766"/>
                <a:ext cx="4" cy="6"/>
              </a:xfrm>
              <a:custGeom>
                <a:avLst/>
                <a:gdLst/>
                <a:ahLst/>
                <a:cxnLst>
                  <a:cxn ang="0">
                    <a:pos x="4" y="0"/>
                  </a:cxn>
                  <a:cxn ang="0">
                    <a:pos x="0" y="2"/>
                  </a:cxn>
                  <a:cxn ang="0">
                    <a:pos x="0" y="6"/>
                  </a:cxn>
                  <a:cxn ang="0">
                    <a:pos x="4" y="6"/>
                  </a:cxn>
                  <a:cxn ang="0">
                    <a:pos x="4" y="0"/>
                  </a:cxn>
                </a:cxnLst>
                <a:rect l="0" t="0" r="r" b="b"/>
                <a:pathLst>
                  <a:path w="4" h="6">
                    <a:moveTo>
                      <a:pt x="4" y="0"/>
                    </a:moveTo>
                    <a:lnTo>
                      <a:pt x="0" y="2"/>
                    </a:lnTo>
                    <a:lnTo>
                      <a:pt x="0" y="6"/>
                    </a:lnTo>
                    <a:lnTo>
                      <a:pt x="4" y="6"/>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4" name="Freeform 1573">
                <a:extLst>
                  <a:ext uri="{FF2B5EF4-FFF2-40B4-BE49-F238E27FC236}">
                    <a16:creationId xmlns:a16="http://schemas.microsoft.com/office/drawing/2014/main" id="{2F06185C-268B-4C12-98B9-D87CC4F7C234}"/>
                  </a:ext>
                </a:extLst>
              </p:cNvPr>
              <p:cNvSpPr>
                <a:spLocks/>
              </p:cNvSpPr>
              <p:nvPr/>
            </p:nvSpPr>
            <p:spPr bwMode="auto">
              <a:xfrm>
                <a:off x="2160" y="2764"/>
                <a:ext cx="6" cy="10"/>
              </a:xfrm>
              <a:custGeom>
                <a:avLst/>
                <a:gdLst/>
                <a:ahLst/>
                <a:cxnLst>
                  <a:cxn ang="0">
                    <a:pos x="0" y="6"/>
                  </a:cxn>
                  <a:cxn ang="0">
                    <a:pos x="4" y="10"/>
                  </a:cxn>
                  <a:cxn ang="0">
                    <a:pos x="6" y="0"/>
                  </a:cxn>
                  <a:cxn ang="0">
                    <a:pos x="0" y="6"/>
                  </a:cxn>
                </a:cxnLst>
                <a:rect l="0" t="0" r="r" b="b"/>
                <a:pathLst>
                  <a:path w="6" h="10">
                    <a:moveTo>
                      <a:pt x="0" y="6"/>
                    </a:moveTo>
                    <a:lnTo>
                      <a:pt x="4" y="10"/>
                    </a:lnTo>
                    <a:lnTo>
                      <a:pt x="6" y="0"/>
                    </a:lnTo>
                    <a:lnTo>
                      <a:pt x="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5" name="Freeform 1574">
                <a:extLst>
                  <a:ext uri="{FF2B5EF4-FFF2-40B4-BE49-F238E27FC236}">
                    <a16:creationId xmlns:a16="http://schemas.microsoft.com/office/drawing/2014/main" id="{2E65D99B-5989-4C64-8BD7-71CAB23BC4C0}"/>
                  </a:ext>
                </a:extLst>
              </p:cNvPr>
              <p:cNvSpPr>
                <a:spLocks/>
              </p:cNvSpPr>
              <p:nvPr/>
            </p:nvSpPr>
            <p:spPr bwMode="auto">
              <a:xfrm>
                <a:off x="2208" y="2780"/>
                <a:ext cx="6" cy="4"/>
              </a:xfrm>
              <a:custGeom>
                <a:avLst/>
                <a:gdLst/>
                <a:ahLst/>
                <a:cxnLst>
                  <a:cxn ang="0">
                    <a:pos x="4" y="0"/>
                  </a:cxn>
                  <a:cxn ang="0">
                    <a:pos x="6" y="4"/>
                  </a:cxn>
                  <a:cxn ang="0">
                    <a:pos x="4" y="4"/>
                  </a:cxn>
                  <a:cxn ang="0">
                    <a:pos x="0" y="4"/>
                  </a:cxn>
                  <a:cxn ang="0">
                    <a:pos x="0" y="0"/>
                  </a:cxn>
                  <a:cxn ang="0">
                    <a:pos x="2" y="2"/>
                  </a:cxn>
                  <a:cxn ang="0">
                    <a:pos x="4" y="0"/>
                  </a:cxn>
                </a:cxnLst>
                <a:rect l="0" t="0" r="r" b="b"/>
                <a:pathLst>
                  <a:path w="6" h="4">
                    <a:moveTo>
                      <a:pt x="4" y="0"/>
                    </a:moveTo>
                    <a:lnTo>
                      <a:pt x="6" y="4"/>
                    </a:lnTo>
                    <a:lnTo>
                      <a:pt x="4" y="4"/>
                    </a:lnTo>
                    <a:lnTo>
                      <a:pt x="0" y="4"/>
                    </a:lnTo>
                    <a:lnTo>
                      <a:pt x="0" y="0"/>
                    </a:lnTo>
                    <a:lnTo>
                      <a:pt x="2"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6" name="Freeform 1575">
                <a:extLst>
                  <a:ext uri="{FF2B5EF4-FFF2-40B4-BE49-F238E27FC236}">
                    <a16:creationId xmlns:a16="http://schemas.microsoft.com/office/drawing/2014/main" id="{4782FBAF-D263-4E7E-B069-5CBCA59C0FEE}"/>
                  </a:ext>
                </a:extLst>
              </p:cNvPr>
              <p:cNvSpPr>
                <a:spLocks/>
              </p:cNvSpPr>
              <p:nvPr/>
            </p:nvSpPr>
            <p:spPr bwMode="auto">
              <a:xfrm>
                <a:off x="2238" y="2788"/>
                <a:ext cx="10" cy="10"/>
              </a:xfrm>
              <a:custGeom>
                <a:avLst/>
                <a:gdLst/>
                <a:ahLst/>
                <a:cxnLst>
                  <a:cxn ang="0">
                    <a:pos x="10" y="2"/>
                  </a:cxn>
                  <a:cxn ang="0">
                    <a:pos x="10" y="2"/>
                  </a:cxn>
                  <a:cxn ang="0">
                    <a:pos x="8" y="4"/>
                  </a:cxn>
                  <a:cxn ang="0">
                    <a:pos x="10" y="8"/>
                  </a:cxn>
                  <a:cxn ang="0">
                    <a:pos x="8" y="10"/>
                  </a:cxn>
                  <a:cxn ang="0">
                    <a:pos x="0" y="10"/>
                  </a:cxn>
                  <a:cxn ang="0">
                    <a:pos x="4" y="6"/>
                  </a:cxn>
                  <a:cxn ang="0">
                    <a:pos x="4" y="4"/>
                  </a:cxn>
                  <a:cxn ang="0">
                    <a:pos x="2" y="2"/>
                  </a:cxn>
                  <a:cxn ang="0">
                    <a:pos x="10" y="0"/>
                  </a:cxn>
                  <a:cxn ang="0">
                    <a:pos x="10" y="2"/>
                  </a:cxn>
                </a:cxnLst>
                <a:rect l="0" t="0" r="r" b="b"/>
                <a:pathLst>
                  <a:path w="10" h="10">
                    <a:moveTo>
                      <a:pt x="10" y="2"/>
                    </a:moveTo>
                    <a:lnTo>
                      <a:pt x="10" y="2"/>
                    </a:lnTo>
                    <a:lnTo>
                      <a:pt x="8" y="4"/>
                    </a:lnTo>
                    <a:lnTo>
                      <a:pt x="10" y="8"/>
                    </a:lnTo>
                    <a:lnTo>
                      <a:pt x="8" y="10"/>
                    </a:lnTo>
                    <a:lnTo>
                      <a:pt x="0" y="10"/>
                    </a:lnTo>
                    <a:lnTo>
                      <a:pt x="4" y="6"/>
                    </a:lnTo>
                    <a:lnTo>
                      <a:pt x="4" y="4"/>
                    </a:lnTo>
                    <a:lnTo>
                      <a:pt x="2" y="2"/>
                    </a:lnTo>
                    <a:lnTo>
                      <a:pt x="10" y="0"/>
                    </a:lnTo>
                    <a:lnTo>
                      <a:pt x="1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7" name="Freeform 1576">
                <a:extLst>
                  <a:ext uri="{FF2B5EF4-FFF2-40B4-BE49-F238E27FC236}">
                    <a16:creationId xmlns:a16="http://schemas.microsoft.com/office/drawing/2014/main" id="{B1365E41-1752-41C2-9883-6B0AE17C1A82}"/>
                  </a:ext>
                </a:extLst>
              </p:cNvPr>
              <p:cNvSpPr>
                <a:spLocks/>
              </p:cNvSpPr>
              <p:nvPr/>
            </p:nvSpPr>
            <p:spPr bwMode="auto">
              <a:xfrm>
                <a:off x="2374" y="2930"/>
                <a:ext cx="24" cy="20"/>
              </a:xfrm>
              <a:custGeom>
                <a:avLst/>
                <a:gdLst/>
                <a:ahLst/>
                <a:cxnLst>
                  <a:cxn ang="0">
                    <a:pos x="24" y="2"/>
                  </a:cxn>
                  <a:cxn ang="0">
                    <a:pos x="24" y="8"/>
                  </a:cxn>
                  <a:cxn ang="0">
                    <a:pos x="18" y="16"/>
                  </a:cxn>
                  <a:cxn ang="0">
                    <a:pos x="18" y="16"/>
                  </a:cxn>
                  <a:cxn ang="0">
                    <a:pos x="10" y="20"/>
                  </a:cxn>
                  <a:cxn ang="0">
                    <a:pos x="2" y="20"/>
                  </a:cxn>
                  <a:cxn ang="0">
                    <a:pos x="0" y="18"/>
                  </a:cxn>
                  <a:cxn ang="0">
                    <a:pos x="0" y="4"/>
                  </a:cxn>
                  <a:cxn ang="0">
                    <a:pos x="2" y="0"/>
                  </a:cxn>
                  <a:cxn ang="0">
                    <a:pos x="2" y="0"/>
                  </a:cxn>
                  <a:cxn ang="0">
                    <a:pos x="12" y="0"/>
                  </a:cxn>
                  <a:cxn ang="0">
                    <a:pos x="20" y="0"/>
                  </a:cxn>
                  <a:cxn ang="0">
                    <a:pos x="24" y="2"/>
                  </a:cxn>
                </a:cxnLst>
                <a:rect l="0" t="0" r="r" b="b"/>
                <a:pathLst>
                  <a:path w="24" h="20">
                    <a:moveTo>
                      <a:pt x="24" y="2"/>
                    </a:moveTo>
                    <a:lnTo>
                      <a:pt x="24" y="8"/>
                    </a:lnTo>
                    <a:lnTo>
                      <a:pt x="18" y="16"/>
                    </a:lnTo>
                    <a:lnTo>
                      <a:pt x="18" y="16"/>
                    </a:lnTo>
                    <a:lnTo>
                      <a:pt x="10" y="20"/>
                    </a:lnTo>
                    <a:lnTo>
                      <a:pt x="2" y="20"/>
                    </a:lnTo>
                    <a:lnTo>
                      <a:pt x="0" y="18"/>
                    </a:lnTo>
                    <a:lnTo>
                      <a:pt x="0" y="4"/>
                    </a:lnTo>
                    <a:lnTo>
                      <a:pt x="2" y="0"/>
                    </a:lnTo>
                    <a:lnTo>
                      <a:pt x="2" y="0"/>
                    </a:lnTo>
                    <a:lnTo>
                      <a:pt x="12" y="0"/>
                    </a:lnTo>
                    <a:lnTo>
                      <a:pt x="20" y="0"/>
                    </a:lnTo>
                    <a:lnTo>
                      <a:pt x="2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8" name="Freeform 1577">
                <a:extLst>
                  <a:ext uri="{FF2B5EF4-FFF2-40B4-BE49-F238E27FC236}">
                    <a16:creationId xmlns:a16="http://schemas.microsoft.com/office/drawing/2014/main" id="{42B07607-6794-4C86-9582-F6B0D166C2B6}"/>
                  </a:ext>
                </a:extLst>
              </p:cNvPr>
              <p:cNvSpPr>
                <a:spLocks/>
              </p:cNvSpPr>
              <p:nvPr/>
            </p:nvSpPr>
            <p:spPr bwMode="auto">
              <a:xfrm>
                <a:off x="2160" y="3772"/>
                <a:ext cx="16" cy="8"/>
              </a:xfrm>
              <a:custGeom>
                <a:avLst/>
                <a:gdLst/>
                <a:ahLst/>
                <a:cxnLst>
                  <a:cxn ang="0">
                    <a:pos x="2" y="2"/>
                  </a:cxn>
                  <a:cxn ang="0">
                    <a:pos x="0" y="0"/>
                  </a:cxn>
                  <a:cxn ang="0">
                    <a:pos x="0" y="0"/>
                  </a:cxn>
                  <a:cxn ang="0">
                    <a:pos x="8" y="0"/>
                  </a:cxn>
                  <a:cxn ang="0">
                    <a:pos x="14" y="0"/>
                  </a:cxn>
                  <a:cxn ang="0">
                    <a:pos x="16" y="6"/>
                  </a:cxn>
                  <a:cxn ang="0">
                    <a:pos x="12" y="8"/>
                  </a:cxn>
                  <a:cxn ang="0">
                    <a:pos x="10" y="6"/>
                  </a:cxn>
                  <a:cxn ang="0">
                    <a:pos x="8" y="6"/>
                  </a:cxn>
                  <a:cxn ang="0">
                    <a:pos x="4" y="6"/>
                  </a:cxn>
                  <a:cxn ang="0">
                    <a:pos x="2" y="2"/>
                  </a:cxn>
                </a:cxnLst>
                <a:rect l="0" t="0" r="r" b="b"/>
                <a:pathLst>
                  <a:path w="16" h="8">
                    <a:moveTo>
                      <a:pt x="2" y="2"/>
                    </a:moveTo>
                    <a:lnTo>
                      <a:pt x="0" y="0"/>
                    </a:lnTo>
                    <a:lnTo>
                      <a:pt x="0" y="0"/>
                    </a:lnTo>
                    <a:lnTo>
                      <a:pt x="8" y="0"/>
                    </a:lnTo>
                    <a:lnTo>
                      <a:pt x="14" y="0"/>
                    </a:lnTo>
                    <a:lnTo>
                      <a:pt x="16" y="6"/>
                    </a:lnTo>
                    <a:lnTo>
                      <a:pt x="12" y="8"/>
                    </a:lnTo>
                    <a:lnTo>
                      <a:pt x="10" y="6"/>
                    </a:lnTo>
                    <a:lnTo>
                      <a:pt x="8" y="6"/>
                    </a:lnTo>
                    <a:lnTo>
                      <a:pt x="4" y="6"/>
                    </a:lnTo>
                    <a:lnTo>
                      <a:pt x="2"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69" name="Freeform 1578">
                <a:extLst>
                  <a:ext uri="{FF2B5EF4-FFF2-40B4-BE49-F238E27FC236}">
                    <a16:creationId xmlns:a16="http://schemas.microsoft.com/office/drawing/2014/main" id="{D8C62A19-9D29-487F-B9EC-7C9D1A8D7F87}"/>
                  </a:ext>
                </a:extLst>
              </p:cNvPr>
              <p:cNvSpPr>
                <a:spLocks/>
              </p:cNvSpPr>
              <p:nvPr/>
            </p:nvSpPr>
            <p:spPr bwMode="auto">
              <a:xfrm>
                <a:off x="2204" y="3766"/>
                <a:ext cx="12" cy="4"/>
              </a:xfrm>
              <a:custGeom>
                <a:avLst/>
                <a:gdLst/>
                <a:ahLst/>
                <a:cxnLst>
                  <a:cxn ang="0">
                    <a:pos x="2" y="0"/>
                  </a:cxn>
                  <a:cxn ang="0">
                    <a:pos x="12" y="0"/>
                  </a:cxn>
                  <a:cxn ang="0">
                    <a:pos x="2" y="4"/>
                  </a:cxn>
                  <a:cxn ang="0">
                    <a:pos x="0" y="4"/>
                  </a:cxn>
                  <a:cxn ang="0">
                    <a:pos x="2" y="0"/>
                  </a:cxn>
                </a:cxnLst>
                <a:rect l="0" t="0" r="r" b="b"/>
                <a:pathLst>
                  <a:path w="12" h="4">
                    <a:moveTo>
                      <a:pt x="2" y="0"/>
                    </a:moveTo>
                    <a:lnTo>
                      <a:pt x="12" y="0"/>
                    </a:lnTo>
                    <a:lnTo>
                      <a:pt x="2" y="4"/>
                    </a:lnTo>
                    <a:lnTo>
                      <a:pt x="0" y="4"/>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0" name="Freeform 1579">
                <a:extLst>
                  <a:ext uri="{FF2B5EF4-FFF2-40B4-BE49-F238E27FC236}">
                    <a16:creationId xmlns:a16="http://schemas.microsoft.com/office/drawing/2014/main" id="{B3615B57-F279-45F5-9602-651AA2805F3B}"/>
                  </a:ext>
                </a:extLst>
              </p:cNvPr>
              <p:cNvSpPr>
                <a:spLocks/>
              </p:cNvSpPr>
              <p:nvPr/>
            </p:nvSpPr>
            <p:spPr bwMode="auto">
              <a:xfrm>
                <a:off x="2088" y="3514"/>
                <a:ext cx="12" cy="30"/>
              </a:xfrm>
              <a:custGeom>
                <a:avLst/>
                <a:gdLst/>
                <a:ahLst/>
                <a:cxnLst>
                  <a:cxn ang="0">
                    <a:pos x="6" y="0"/>
                  </a:cxn>
                  <a:cxn ang="0">
                    <a:pos x="6" y="2"/>
                  </a:cxn>
                  <a:cxn ang="0">
                    <a:pos x="8" y="2"/>
                  </a:cxn>
                  <a:cxn ang="0">
                    <a:pos x="12" y="12"/>
                  </a:cxn>
                  <a:cxn ang="0">
                    <a:pos x="6" y="16"/>
                  </a:cxn>
                  <a:cxn ang="0">
                    <a:pos x="10" y="20"/>
                  </a:cxn>
                  <a:cxn ang="0">
                    <a:pos x="8" y="20"/>
                  </a:cxn>
                  <a:cxn ang="0">
                    <a:pos x="8" y="26"/>
                  </a:cxn>
                  <a:cxn ang="0">
                    <a:pos x="6" y="26"/>
                  </a:cxn>
                  <a:cxn ang="0">
                    <a:pos x="6" y="30"/>
                  </a:cxn>
                  <a:cxn ang="0">
                    <a:pos x="0" y="28"/>
                  </a:cxn>
                  <a:cxn ang="0">
                    <a:pos x="0" y="26"/>
                  </a:cxn>
                  <a:cxn ang="0">
                    <a:pos x="0" y="26"/>
                  </a:cxn>
                  <a:cxn ang="0">
                    <a:pos x="2" y="14"/>
                  </a:cxn>
                  <a:cxn ang="0">
                    <a:pos x="2" y="4"/>
                  </a:cxn>
                  <a:cxn ang="0">
                    <a:pos x="6" y="0"/>
                  </a:cxn>
                </a:cxnLst>
                <a:rect l="0" t="0" r="r" b="b"/>
                <a:pathLst>
                  <a:path w="12" h="30">
                    <a:moveTo>
                      <a:pt x="6" y="0"/>
                    </a:moveTo>
                    <a:lnTo>
                      <a:pt x="6" y="2"/>
                    </a:lnTo>
                    <a:lnTo>
                      <a:pt x="8" y="2"/>
                    </a:lnTo>
                    <a:lnTo>
                      <a:pt x="12" y="12"/>
                    </a:lnTo>
                    <a:lnTo>
                      <a:pt x="6" y="16"/>
                    </a:lnTo>
                    <a:lnTo>
                      <a:pt x="10" y="20"/>
                    </a:lnTo>
                    <a:lnTo>
                      <a:pt x="8" y="20"/>
                    </a:lnTo>
                    <a:lnTo>
                      <a:pt x="8" y="26"/>
                    </a:lnTo>
                    <a:lnTo>
                      <a:pt x="6" y="26"/>
                    </a:lnTo>
                    <a:lnTo>
                      <a:pt x="6" y="30"/>
                    </a:lnTo>
                    <a:lnTo>
                      <a:pt x="0" y="28"/>
                    </a:lnTo>
                    <a:lnTo>
                      <a:pt x="0" y="26"/>
                    </a:lnTo>
                    <a:lnTo>
                      <a:pt x="0" y="26"/>
                    </a:lnTo>
                    <a:lnTo>
                      <a:pt x="2" y="14"/>
                    </a:lnTo>
                    <a:lnTo>
                      <a:pt x="2" y="4"/>
                    </a:lnTo>
                    <a:lnTo>
                      <a:pt x="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1" name="Freeform 1580">
                <a:extLst>
                  <a:ext uri="{FF2B5EF4-FFF2-40B4-BE49-F238E27FC236}">
                    <a16:creationId xmlns:a16="http://schemas.microsoft.com/office/drawing/2014/main" id="{A68924D9-2D61-4B33-95CB-0AB460B0B76B}"/>
                  </a:ext>
                </a:extLst>
              </p:cNvPr>
              <p:cNvSpPr>
                <a:spLocks/>
              </p:cNvSpPr>
              <p:nvPr/>
            </p:nvSpPr>
            <p:spPr bwMode="auto">
              <a:xfrm>
                <a:off x="2096" y="3560"/>
                <a:ext cx="8" cy="10"/>
              </a:xfrm>
              <a:custGeom>
                <a:avLst/>
                <a:gdLst/>
                <a:ahLst/>
                <a:cxnLst>
                  <a:cxn ang="0">
                    <a:pos x="6" y="0"/>
                  </a:cxn>
                  <a:cxn ang="0">
                    <a:pos x="8" y="4"/>
                  </a:cxn>
                  <a:cxn ang="0">
                    <a:pos x="8" y="8"/>
                  </a:cxn>
                  <a:cxn ang="0">
                    <a:pos x="2" y="10"/>
                  </a:cxn>
                  <a:cxn ang="0">
                    <a:pos x="0" y="4"/>
                  </a:cxn>
                  <a:cxn ang="0">
                    <a:pos x="6" y="0"/>
                  </a:cxn>
                </a:cxnLst>
                <a:rect l="0" t="0" r="r" b="b"/>
                <a:pathLst>
                  <a:path w="8" h="10">
                    <a:moveTo>
                      <a:pt x="6" y="0"/>
                    </a:moveTo>
                    <a:lnTo>
                      <a:pt x="8" y="4"/>
                    </a:lnTo>
                    <a:lnTo>
                      <a:pt x="8" y="8"/>
                    </a:lnTo>
                    <a:lnTo>
                      <a:pt x="2" y="10"/>
                    </a:lnTo>
                    <a:lnTo>
                      <a:pt x="0" y="4"/>
                    </a:lnTo>
                    <a:lnTo>
                      <a:pt x="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2" name="Freeform 1581">
                <a:extLst>
                  <a:ext uri="{FF2B5EF4-FFF2-40B4-BE49-F238E27FC236}">
                    <a16:creationId xmlns:a16="http://schemas.microsoft.com/office/drawing/2014/main" id="{B22795A1-AAA3-40C9-888A-482BA52981E6}"/>
                  </a:ext>
                </a:extLst>
              </p:cNvPr>
              <p:cNvSpPr>
                <a:spLocks/>
              </p:cNvSpPr>
              <p:nvPr/>
            </p:nvSpPr>
            <p:spPr bwMode="auto">
              <a:xfrm>
                <a:off x="2074" y="3628"/>
                <a:ext cx="6" cy="10"/>
              </a:xfrm>
              <a:custGeom>
                <a:avLst/>
                <a:gdLst/>
                <a:ahLst/>
                <a:cxnLst>
                  <a:cxn ang="0">
                    <a:pos x="0" y="0"/>
                  </a:cxn>
                  <a:cxn ang="0">
                    <a:pos x="2" y="0"/>
                  </a:cxn>
                  <a:cxn ang="0">
                    <a:pos x="6" y="10"/>
                  </a:cxn>
                  <a:cxn ang="0">
                    <a:pos x="6" y="10"/>
                  </a:cxn>
                  <a:cxn ang="0">
                    <a:pos x="2" y="6"/>
                  </a:cxn>
                  <a:cxn ang="0">
                    <a:pos x="0" y="0"/>
                  </a:cxn>
                  <a:cxn ang="0">
                    <a:pos x="0" y="0"/>
                  </a:cxn>
                </a:cxnLst>
                <a:rect l="0" t="0" r="r" b="b"/>
                <a:pathLst>
                  <a:path w="6" h="10">
                    <a:moveTo>
                      <a:pt x="0" y="0"/>
                    </a:moveTo>
                    <a:lnTo>
                      <a:pt x="2" y="0"/>
                    </a:lnTo>
                    <a:lnTo>
                      <a:pt x="6" y="10"/>
                    </a:lnTo>
                    <a:lnTo>
                      <a:pt x="6" y="10"/>
                    </a:lnTo>
                    <a:lnTo>
                      <a:pt x="2" y="6"/>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3" name="Freeform 1582">
                <a:extLst>
                  <a:ext uri="{FF2B5EF4-FFF2-40B4-BE49-F238E27FC236}">
                    <a16:creationId xmlns:a16="http://schemas.microsoft.com/office/drawing/2014/main" id="{14DA66E6-D69E-44F8-A67B-75A99EBD2CB5}"/>
                  </a:ext>
                </a:extLst>
              </p:cNvPr>
              <p:cNvSpPr>
                <a:spLocks/>
              </p:cNvSpPr>
              <p:nvPr/>
            </p:nvSpPr>
            <p:spPr bwMode="auto">
              <a:xfrm>
                <a:off x="2078" y="3640"/>
                <a:ext cx="8" cy="28"/>
              </a:xfrm>
              <a:custGeom>
                <a:avLst/>
                <a:gdLst/>
                <a:ahLst/>
                <a:cxnLst>
                  <a:cxn ang="0">
                    <a:pos x="2" y="6"/>
                  </a:cxn>
                  <a:cxn ang="0">
                    <a:pos x="2" y="2"/>
                  </a:cxn>
                  <a:cxn ang="0">
                    <a:pos x="4" y="0"/>
                  </a:cxn>
                  <a:cxn ang="0">
                    <a:pos x="8" y="6"/>
                  </a:cxn>
                  <a:cxn ang="0">
                    <a:pos x="8" y="6"/>
                  </a:cxn>
                  <a:cxn ang="0">
                    <a:pos x="8" y="16"/>
                  </a:cxn>
                  <a:cxn ang="0">
                    <a:pos x="8" y="22"/>
                  </a:cxn>
                  <a:cxn ang="0">
                    <a:pos x="8" y="26"/>
                  </a:cxn>
                  <a:cxn ang="0">
                    <a:pos x="6" y="28"/>
                  </a:cxn>
                  <a:cxn ang="0">
                    <a:pos x="4" y="24"/>
                  </a:cxn>
                  <a:cxn ang="0">
                    <a:pos x="4" y="16"/>
                  </a:cxn>
                  <a:cxn ang="0">
                    <a:pos x="0" y="12"/>
                  </a:cxn>
                  <a:cxn ang="0">
                    <a:pos x="2" y="12"/>
                  </a:cxn>
                  <a:cxn ang="0">
                    <a:pos x="2" y="10"/>
                  </a:cxn>
                  <a:cxn ang="0">
                    <a:pos x="0" y="8"/>
                  </a:cxn>
                  <a:cxn ang="0">
                    <a:pos x="2" y="6"/>
                  </a:cxn>
                </a:cxnLst>
                <a:rect l="0" t="0" r="r" b="b"/>
                <a:pathLst>
                  <a:path w="8" h="28">
                    <a:moveTo>
                      <a:pt x="2" y="6"/>
                    </a:moveTo>
                    <a:lnTo>
                      <a:pt x="2" y="2"/>
                    </a:lnTo>
                    <a:lnTo>
                      <a:pt x="4" y="0"/>
                    </a:lnTo>
                    <a:lnTo>
                      <a:pt x="8" y="6"/>
                    </a:lnTo>
                    <a:lnTo>
                      <a:pt x="8" y="6"/>
                    </a:lnTo>
                    <a:lnTo>
                      <a:pt x="8" y="16"/>
                    </a:lnTo>
                    <a:lnTo>
                      <a:pt x="8" y="22"/>
                    </a:lnTo>
                    <a:lnTo>
                      <a:pt x="8" y="26"/>
                    </a:lnTo>
                    <a:lnTo>
                      <a:pt x="6" y="28"/>
                    </a:lnTo>
                    <a:lnTo>
                      <a:pt x="4" y="24"/>
                    </a:lnTo>
                    <a:lnTo>
                      <a:pt x="4" y="16"/>
                    </a:lnTo>
                    <a:lnTo>
                      <a:pt x="0" y="12"/>
                    </a:lnTo>
                    <a:lnTo>
                      <a:pt x="2" y="12"/>
                    </a:lnTo>
                    <a:lnTo>
                      <a:pt x="2" y="10"/>
                    </a:lnTo>
                    <a:lnTo>
                      <a:pt x="0" y="8"/>
                    </a:lnTo>
                    <a:lnTo>
                      <a:pt x="2"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4" name="Freeform 1583">
                <a:extLst>
                  <a:ext uri="{FF2B5EF4-FFF2-40B4-BE49-F238E27FC236}">
                    <a16:creationId xmlns:a16="http://schemas.microsoft.com/office/drawing/2014/main" id="{6F1FAE9C-0C09-4814-B60B-E39982772FC2}"/>
                  </a:ext>
                </a:extLst>
              </p:cNvPr>
              <p:cNvSpPr>
                <a:spLocks/>
              </p:cNvSpPr>
              <p:nvPr/>
            </p:nvSpPr>
            <p:spPr bwMode="auto">
              <a:xfrm>
                <a:off x="2076" y="3670"/>
                <a:ext cx="6" cy="6"/>
              </a:xfrm>
              <a:custGeom>
                <a:avLst/>
                <a:gdLst/>
                <a:ahLst/>
                <a:cxnLst>
                  <a:cxn ang="0">
                    <a:pos x="0" y="0"/>
                  </a:cxn>
                  <a:cxn ang="0">
                    <a:pos x="6" y="0"/>
                  </a:cxn>
                  <a:cxn ang="0">
                    <a:pos x="4" y="6"/>
                  </a:cxn>
                  <a:cxn ang="0">
                    <a:pos x="2" y="4"/>
                  </a:cxn>
                  <a:cxn ang="0">
                    <a:pos x="0" y="4"/>
                  </a:cxn>
                  <a:cxn ang="0">
                    <a:pos x="0" y="4"/>
                  </a:cxn>
                  <a:cxn ang="0">
                    <a:pos x="0" y="0"/>
                  </a:cxn>
                  <a:cxn ang="0">
                    <a:pos x="0" y="0"/>
                  </a:cxn>
                </a:cxnLst>
                <a:rect l="0" t="0" r="r" b="b"/>
                <a:pathLst>
                  <a:path w="6" h="6">
                    <a:moveTo>
                      <a:pt x="0" y="0"/>
                    </a:moveTo>
                    <a:lnTo>
                      <a:pt x="6" y="0"/>
                    </a:lnTo>
                    <a:lnTo>
                      <a:pt x="4" y="6"/>
                    </a:lnTo>
                    <a:lnTo>
                      <a:pt x="2" y="4"/>
                    </a:lnTo>
                    <a:lnTo>
                      <a:pt x="0" y="4"/>
                    </a:lnTo>
                    <a:lnTo>
                      <a:pt x="0" y="4"/>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5" name="Freeform 1584">
                <a:extLst>
                  <a:ext uri="{FF2B5EF4-FFF2-40B4-BE49-F238E27FC236}">
                    <a16:creationId xmlns:a16="http://schemas.microsoft.com/office/drawing/2014/main" id="{12D4AFC1-5719-4D76-A07E-ECFEB7B02EF8}"/>
                  </a:ext>
                </a:extLst>
              </p:cNvPr>
              <p:cNvSpPr>
                <a:spLocks/>
              </p:cNvSpPr>
              <p:nvPr/>
            </p:nvSpPr>
            <p:spPr bwMode="auto">
              <a:xfrm>
                <a:off x="2084" y="3674"/>
                <a:ext cx="6" cy="8"/>
              </a:xfrm>
              <a:custGeom>
                <a:avLst/>
                <a:gdLst/>
                <a:ahLst/>
                <a:cxnLst>
                  <a:cxn ang="0">
                    <a:pos x="0" y="6"/>
                  </a:cxn>
                  <a:cxn ang="0">
                    <a:pos x="0" y="0"/>
                  </a:cxn>
                  <a:cxn ang="0">
                    <a:pos x="4" y="4"/>
                  </a:cxn>
                  <a:cxn ang="0">
                    <a:pos x="6" y="8"/>
                  </a:cxn>
                  <a:cxn ang="0">
                    <a:pos x="6" y="8"/>
                  </a:cxn>
                  <a:cxn ang="0">
                    <a:pos x="4" y="6"/>
                  </a:cxn>
                  <a:cxn ang="0">
                    <a:pos x="0" y="6"/>
                  </a:cxn>
                  <a:cxn ang="0">
                    <a:pos x="0" y="6"/>
                  </a:cxn>
                </a:cxnLst>
                <a:rect l="0" t="0" r="r" b="b"/>
                <a:pathLst>
                  <a:path w="6" h="8">
                    <a:moveTo>
                      <a:pt x="0" y="6"/>
                    </a:moveTo>
                    <a:lnTo>
                      <a:pt x="0" y="0"/>
                    </a:lnTo>
                    <a:lnTo>
                      <a:pt x="4" y="4"/>
                    </a:lnTo>
                    <a:lnTo>
                      <a:pt x="6" y="8"/>
                    </a:lnTo>
                    <a:lnTo>
                      <a:pt x="6" y="8"/>
                    </a:lnTo>
                    <a:lnTo>
                      <a:pt x="4" y="6"/>
                    </a:lnTo>
                    <a:lnTo>
                      <a:pt x="0" y="6"/>
                    </a:lnTo>
                    <a:lnTo>
                      <a:pt x="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6" name="Freeform 1585">
                <a:extLst>
                  <a:ext uri="{FF2B5EF4-FFF2-40B4-BE49-F238E27FC236}">
                    <a16:creationId xmlns:a16="http://schemas.microsoft.com/office/drawing/2014/main" id="{DBEEC949-0B55-424A-BDAC-06206F5CEA1C}"/>
                  </a:ext>
                </a:extLst>
              </p:cNvPr>
              <p:cNvSpPr>
                <a:spLocks/>
              </p:cNvSpPr>
              <p:nvPr/>
            </p:nvSpPr>
            <p:spPr bwMode="auto">
              <a:xfrm>
                <a:off x="2080" y="3680"/>
                <a:ext cx="6" cy="10"/>
              </a:xfrm>
              <a:custGeom>
                <a:avLst/>
                <a:gdLst/>
                <a:ahLst/>
                <a:cxnLst>
                  <a:cxn ang="0">
                    <a:pos x="4" y="10"/>
                  </a:cxn>
                  <a:cxn ang="0">
                    <a:pos x="4" y="10"/>
                  </a:cxn>
                  <a:cxn ang="0">
                    <a:pos x="4" y="10"/>
                  </a:cxn>
                  <a:cxn ang="0">
                    <a:pos x="0" y="4"/>
                  </a:cxn>
                  <a:cxn ang="0">
                    <a:pos x="0" y="0"/>
                  </a:cxn>
                  <a:cxn ang="0">
                    <a:pos x="4" y="2"/>
                  </a:cxn>
                  <a:cxn ang="0">
                    <a:pos x="4" y="2"/>
                  </a:cxn>
                  <a:cxn ang="0">
                    <a:pos x="6" y="6"/>
                  </a:cxn>
                  <a:cxn ang="0">
                    <a:pos x="4" y="10"/>
                  </a:cxn>
                  <a:cxn ang="0">
                    <a:pos x="4" y="10"/>
                  </a:cxn>
                </a:cxnLst>
                <a:rect l="0" t="0" r="r" b="b"/>
                <a:pathLst>
                  <a:path w="6" h="10">
                    <a:moveTo>
                      <a:pt x="4" y="10"/>
                    </a:moveTo>
                    <a:lnTo>
                      <a:pt x="4" y="10"/>
                    </a:lnTo>
                    <a:lnTo>
                      <a:pt x="4" y="10"/>
                    </a:lnTo>
                    <a:lnTo>
                      <a:pt x="0" y="4"/>
                    </a:lnTo>
                    <a:lnTo>
                      <a:pt x="0" y="0"/>
                    </a:lnTo>
                    <a:lnTo>
                      <a:pt x="4" y="2"/>
                    </a:lnTo>
                    <a:lnTo>
                      <a:pt x="4" y="2"/>
                    </a:lnTo>
                    <a:lnTo>
                      <a:pt x="6" y="6"/>
                    </a:lnTo>
                    <a:lnTo>
                      <a:pt x="4" y="10"/>
                    </a:lnTo>
                    <a:lnTo>
                      <a:pt x="4"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7" name="Freeform 1586">
                <a:extLst>
                  <a:ext uri="{FF2B5EF4-FFF2-40B4-BE49-F238E27FC236}">
                    <a16:creationId xmlns:a16="http://schemas.microsoft.com/office/drawing/2014/main" id="{D9342F0B-B38C-45D5-A036-34C90E95B7E9}"/>
                  </a:ext>
                </a:extLst>
              </p:cNvPr>
              <p:cNvSpPr>
                <a:spLocks/>
              </p:cNvSpPr>
              <p:nvPr/>
            </p:nvSpPr>
            <p:spPr bwMode="auto">
              <a:xfrm>
                <a:off x="2096" y="3708"/>
                <a:ext cx="26" cy="30"/>
              </a:xfrm>
              <a:custGeom>
                <a:avLst/>
                <a:gdLst/>
                <a:ahLst/>
                <a:cxnLst>
                  <a:cxn ang="0">
                    <a:pos x="2" y="4"/>
                  </a:cxn>
                  <a:cxn ang="0">
                    <a:pos x="6" y="2"/>
                  </a:cxn>
                  <a:cxn ang="0">
                    <a:pos x="8" y="6"/>
                  </a:cxn>
                  <a:cxn ang="0">
                    <a:pos x="10" y="0"/>
                  </a:cxn>
                  <a:cxn ang="0">
                    <a:pos x="12" y="0"/>
                  </a:cxn>
                  <a:cxn ang="0">
                    <a:pos x="12" y="6"/>
                  </a:cxn>
                  <a:cxn ang="0">
                    <a:pos x="8" y="12"/>
                  </a:cxn>
                  <a:cxn ang="0">
                    <a:pos x="14" y="18"/>
                  </a:cxn>
                  <a:cxn ang="0">
                    <a:pos x="20" y="14"/>
                  </a:cxn>
                  <a:cxn ang="0">
                    <a:pos x="26" y="14"/>
                  </a:cxn>
                  <a:cxn ang="0">
                    <a:pos x="26" y="18"/>
                  </a:cxn>
                  <a:cxn ang="0">
                    <a:pos x="14" y="26"/>
                  </a:cxn>
                  <a:cxn ang="0">
                    <a:pos x="14" y="30"/>
                  </a:cxn>
                  <a:cxn ang="0">
                    <a:pos x="14" y="30"/>
                  </a:cxn>
                  <a:cxn ang="0">
                    <a:pos x="10" y="28"/>
                  </a:cxn>
                  <a:cxn ang="0">
                    <a:pos x="6" y="24"/>
                  </a:cxn>
                  <a:cxn ang="0">
                    <a:pos x="12" y="24"/>
                  </a:cxn>
                  <a:cxn ang="0">
                    <a:pos x="10" y="18"/>
                  </a:cxn>
                  <a:cxn ang="0">
                    <a:pos x="8" y="22"/>
                  </a:cxn>
                  <a:cxn ang="0">
                    <a:pos x="4" y="20"/>
                  </a:cxn>
                  <a:cxn ang="0">
                    <a:pos x="4" y="18"/>
                  </a:cxn>
                  <a:cxn ang="0">
                    <a:pos x="0" y="14"/>
                  </a:cxn>
                  <a:cxn ang="0">
                    <a:pos x="2" y="4"/>
                  </a:cxn>
                </a:cxnLst>
                <a:rect l="0" t="0" r="r" b="b"/>
                <a:pathLst>
                  <a:path w="26" h="30">
                    <a:moveTo>
                      <a:pt x="2" y="4"/>
                    </a:moveTo>
                    <a:lnTo>
                      <a:pt x="6" y="2"/>
                    </a:lnTo>
                    <a:lnTo>
                      <a:pt x="8" y="6"/>
                    </a:lnTo>
                    <a:lnTo>
                      <a:pt x="10" y="0"/>
                    </a:lnTo>
                    <a:lnTo>
                      <a:pt x="12" y="0"/>
                    </a:lnTo>
                    <a:lnTo>
                      <a:pt x="12" y="6"/>
                    </a:lnTo>
                    <a:lnTo>
                      <a:pt x="8" y="12"/>
                    </a:lnTo>
                    <a:lnTo>
                      <a:pt x="14" y="18"/>
                    </a:lnTo>
                    <a:lnTo>
                      <a:pt x="20" y="14"/>
                    </a:lnTo>
                    <a:lnTo>
                      <a:pt x="26" y="14"/>
                    </a:lnTo>
                    <a:lnTo>
                      <a:pt x="26" y="18"/>
                    </a:lnTo>
                    <a:lnTo>
                      <a:pt x="14" y="26"/>
                    </a:lnTo>
                    <a:lnTo>
                      <a:pt x="14" y="30"/>
                    </a:lnTo>
                    <a:lnTo>
                      <a:pt x="14" y="30"/>
                    </a:lnTo>
                    <a:lnTo>
                      <a:pt x="10" y="28"/>
                    </a:lnTo>
                    <a:lnTo>
                      <a:pt x="6" y="24"/>
                    </a:lnTo>
                    <a:lnTo>
                      <a:pt x="12" y="24"/>
                    </a:lnTo>
                    <a:lnTo>
                      <a:pt x="10" y="18"/>
                    </a:lnTo>
                    <a:lnTo>
                      <a:pt x="8" y="22"/>
                    </a:lnTo>
                    <a:lnTo>
                      <a:pt x="4" y="20"/>
                    </a:lnTo>
                    <a:lnTo>
                      <a:pt x="4" y="18"/>
                    </a:lnTo>
                    <a:lnTo>
                      <a:pt x="0" y="14"/>
                    </a:lnTo>
                    <a:lnTo>
                      <a:pt x="2"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8" name="Freeform 1587">
                <a:extLst>
                  <a:ext uri="{FF2B5EF4-FFF2-40B4-BE49-F238E27FC236}">
                    <a16:creationId xmlns:a16="http://schemas.microsoft.com/office/drawing/2014/main" id="{F5943EA7-C6EA-43BE-BD75-C2710344F874}"/>
                  </a:ext>
                </a:extLst>
              </p:cNvPr>
              <p:cNvSpPr>
                <a:spLocks/>
              </p:cNvSpPr>
              <p:nvPr/>
            </p:nvSpPr>
            <p:spPr bwMode="auto">
              <a:xfrm>
                <a:off x="2084" y="3722"/>
                <a:ext cx="18" cy="12"/>
              </a:xfrm>
              <a:custGeom>
                <a:avLst/>
                <a:gdLst/>
                <a:ahLst/>
                <a:cxnLst>
                  <a:cxn ang="0">
                    <a:pos x="0" y="0"/>
                  </a:cxn>
                  <a:cxn ang="0">
                    <a:pos x="18" y="12"/>
                  </a:cxn>
                  <a:cxn ang="0">
                    <a:pos x="18" y="12"/>
                  </a:cxn>
                  <a:cxn ang="0">
                    <a:pos x="10" y="10"/>
                  </a:cxn>
                  <a:cxn ang="0">
                    <a:pos x="2" y="4"/>
                  </a:cxn>
                  <a:cxn ang="0">
                    <a:pos x="0" y="0"/>
                  </a:cxn>
                </a:cxnLst>
                <a:rect l="0" t="0" r="r" b="b"/>
                <a:pathLst>
                  <a:path w="18" h="12">
                    <a:moveTo>
                      <a:pt x="0" y="0"/>
                    </a:moveTo>
                    <a:lnTo>
                      <a:pt x="18" y="12"/>
                    </a:lnTo>
                    <a:lnTo>
                      <a:pt x="18" y="12"/>
                    </a:lnTo>
                    <a:lnTo>
                      <a:pt x="10" y="10"/>
                    </a:lnTo>
                    <a:lnTo>
                      <a:pt x="2" y="4"/>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79" name="Freeform 1588">
                <a:extLst>
                  <a:ext uri="{FF2B5EF4-FFF2-40B4-BE49-F238E27FC236}">
                    <a16:creationId xmlns:a16="http://schemas.microsoft.com/office/drawing/2014/main" id="{868E9A74-F5C6-4669-A867-118FC1C011B1}"/>
                  </a:ext>
                </a:extLst>
              </p:cNvPr>
              <p:cNvSpPr>
                <a:spLocks/>
              </p:cNvSpPr>
              <p:nvPr/>
            </p:nvSpPr>
            <p:spPr bwMode="auto">
              <a:xfrm>
                <a:off x="2096" y="3736"/>
                <a:ext cx="18" cy="16"/>
              </a:xfrm>
              <a:custGeom>
                <a:avLst/>
                <a:gdLst/>
                <a:ahLst/>
                <a:cxnLst>
                  <a:cxn ang="0">
                    <a:pos x="0" y="0"/>
                  </a:cxn>
                  <a:cxn ang="0">
                    <a:pos x="0" y="0"/>
                  </a:cxn>
                  <a:cxn ang="0">
                    <a:pos x="12" y="6"/>
                  </a:cxn>
                  <a:cxn ang="0">
                    <a:pos x="14" y="4"/>
                  </a:cxn>
                  <a:cxn ang="0">
                    <a:pos x="16" y="8"/>
                  </a:cxn>
                  <a:cxn ang="0">
                    <a:pos x="18" y="10"/>
                  </a:cxn>
                  <a:cxn ang="0">
                    <a:pos x="16" y="10"/>
                  </a:cxn>
                  <a:cxn ang="0">
                    <a:pos x="14" y="16"/>
                  </a:cxn>
                  <a:cxn ang="0">
                    <a:pos x="12" y="16"/>
                  </a:cxn>
                  <a:cxn ang="0">
                    <a:pos x="12" y="16"/>
                  </a:cxn>
                  <a:cxn ang="0">
                    <a:pos x="8" y="14"/>
                  </a:cxn>
                  <a:cxn ang="0">
                    <a:pos x="4" y="12"/>
                  </a:cxn>
                  <a:cxn ang="0">
                    <a:pos x="0" y="2"/>
                  </a:cxn>
                  <a:cxn ang="0">
                    <a:pos x="0" y="0"/>
                  </a:cxn>
                </a:cxnLst>
                <a:rect l="0" t="0" r="r" b="b"/>
                <a:pathLst>
                  <a:path w="18" h="16">
                    <a:moveTo>
                      <a:pt x="0" y="0"/>
                    </a:moveTo>
                    <a:lnTo>
                      <a:pt x="0" y="0"/>
                    </a:lnTo>
                    <a:lnTo>
                      <a:pt x="12" y="6"/>
                    </a:lnTo>
                    <a:lnTo>
                      <a:pt x="14" y="4"/>
                    </a:lnTo>
                    <a:lnTo>
                      <a:pt x="16" y="8"/>
                    </a:lnTo>
                    <a:lnTo>
                      <a:pt x="18" y="10"/>
                    </a:lnTo>
                    <a:lnTo>
                      <a:pt x="16" y="10"/>
                    </a:lnTo>
                    <a:lnTo>
                      <a:pt x="14" y="16"/>
                    </a:lnTo>
                    <a:lnTo>
                      <a:pt x="12" y="16"/>
                    </a:lnTo>
                    <a:lnTo>
                      <a:pt x="12" y="16"/>
                    </a:lnTo>
                    <a:lnTo>
                      <a:pt x="8" y="14"/>
                    </a:lnTo>
                    <a:lnTo>
                      <a:pt x="4" y="12"/>
                    </a:lnTo>
                    <a:lnTo>
                      <a:pt x="0" y="2"/>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0" name="Freeform 1589">
                <a:extLst>
                  <a:ext uri="{FF2B5EF4-FFF2-40B4-BE49-F238E27FC236}">
                    <a16:creationId xmlns:a16="http://schemas.microsoft.com/office/drawing/2014/main" id="{93CF14E9-C7E9-4D42-B27A-0EA562B4FE14}"/>
                  </a:ext>
                </a:extLst>
              </p:cNvPr>
              <p:cNvSpPr>
                <a:spLocks/>
              </p:cNvSpPr>
              <p:nvPr/>
            </p:nvSpPr>
            <p:spPr bwMode="auto">
              <a:xfrm>
                <a:off x="2114" y="3746"/>
                <a:ext cx="12" cy="12"/>
              </a:xfrm>
              <a:custGeom>
                <a:avLst/>
                <a:gdLst/>
                <a:ahLst/>
                <a:cxnLst>
                  <a:cxn ang="0">
                    <a:pos x="4" y="0"/>
                  </a:cxn>
                  <a:cxn ang="0">
                    <a:pos x="6" y="6"/>
                  </a:cxn>
                  <a:cxn ang="0">
                    <a:pos x="8" y="4"/>
                  </a:cxn>
                  <a:cxn ang="0">
                    <a:pos x="12" y="6"/>
                  </a:cxn>
                  <a:cxn ang="0">
                    <a:pos x="12" y="12"/>
                  </a:cxn>
                  <a:cxn ang="0">
                    <a:pos x="6" y="8"/>
                  </a:cxn>
                  <a:cxn ang="0">
                    <a:pos x="6" y="10"/>
                  </a:cxn>
                  <a:cxn ang="0">
                    <a:pos x="0" y="8"/>
                  </a:cxn>
                  <a:cxn ang="0">
                    <a:pos x="0" y="2"/>
                  </a:cxn>
                  <a:cxn ang="0">
                    <a:pos x="4" y="0"/>
                  </a:cxn>
                </a:cxnLst>
                <a:rect l="0" t="0" r="r" b="b"/>
                <a:pathLst>
                  <a:path w="12" h="12">
                    <a:moveTo>
                      <a:pt x="4" y="0"/>
                    </a:moveTo>
                    <a:lnTo>
                      <a:pt x="6" y="6"/>
                    </a:lnTo>
                    <a:lnTo>
                      <a:pt x="8" y="4"/>
                    </a:lnTo>
                    <a:lnTo>
                      <a:pt x="12" y="6"/>
                    </a:lnTo>
                    <a:lnTo>
                      <a:pt x="12" y="12"/>
                    </a:lnTo>
                    <a:lnTo>
                      <a:pt x="6" y="8"/>
                    </a:lnTo>
                    <a:lnTo>
                      <a:pt x="6" y="10"/>
                    </a:lnTo>
                    <a:lnTo>
                      <a:pt x="0" y="8"/>
                    </a:lnTo>
                    <a:lnTo>
                      <a:pt x="0"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1" name="Freeform 1590">
                <a:extLst>
                  <a:ext uri="{FF2B5EF4-FFF2-40B4-BE49-F238E27FC236}">
                    <a16:creationId xmlns:a16="http://schemas.microsoft.com/office/drawing/2014/main" id="{ADC055E6-3C62-47CB-9565-4E7DBFCE27D2}"/>
                  </a:ext>
                </a:extLst>
              </p:cNvPr>
              <p:cNvSpPr>
                <a:spLocks/>
              </p:cNvSpPr>
              <p:nvPr/>
            </p:nvSpPr>
            <p:spPr bwMode="auto">
              <a:xfrm>
                <a:off x="2140" y="3772"/>
                <a:ext cx="24" cy="16"/>
              </a:xfrm>
              <a:custGeom>
                <a:avLst/>
                <a:gdLst/>
                <a:ahLst/>
                <a:cxnLst>
                  <a:cxn ang="0">
                    <a:pos x="0" y="4"/>
                  </a:cxn>
                  <a:cxn ang="0">
                    <a:pos x="18" y="0"/>
                  </a:cxn>
                  <a:cxn ang="0">
                    <a:pos x="18" y="0"/>
                  </a:cxn>
                  <a:cxn ang="0">
                    <a:pos x="20" y="8"/>
                  </a:cxn>
                  <a:cxn ang="0">
                    <a:pos x="24" y="16"/>
                  </a:cxn>
                  <a:cxn ang="0">
                    <a:pos x="18" y="12"/>
                  </a:cxn>
                  <a:cxn ang="0">
                    <a:pos x="14" y="12"/>
                  </a:cxn>
                  <a:cxn ang="0">
                    <a:pos x="10" y="6"/>
                  </a:cxn>
                  <a:cxn ang="0">
                    <a:pos x="6" y="8"/>
                  </a:cxn>
                  <a:cxn ang="0">
                    <a:pos x="10" y="14"/>
                  </a:cxn>
                  <a:cxn ang="0">
                    <a:pos x="6" y="12"/>
                  </a:cxn>
                  <a:cxn ang="0">
                    <a:pos x="4" y="8"/>
                  </a:cxn>
                  <a:cxn ang="0">
                    <a:pos x="6" y="6"/>
                  </a:cxn>
                  <a:cxn ang="0">
                    <a:pos x="0" y="8"/>
                  </a:cxn>
                  <a:cxn ang="0">
                    <a:pos x="0" y="4"/>
                  </a:cxn>
                </a:cxnLst>
                <a:rect l="0" t="0" r="r" b="b"/>
                <a:pathLst>
                  <a:path w="24" h="16">
                    <a:moveTo>
                      <a:pt x="0" y="4"/>
                    </a:moveTo>
                    <a:lnTo>
                      <a:pt x="18" y="0"/>
                    </a:lnTo>
                    <a:lnTo>
                      <a:pt x="18" y="0"/>
                    </a:lnTo>
                    <a:lnTo>
                      <a:pt x="20" y="8"/>
                    </a:lnTo>
                    <a:lnTo>
                      <a:pt x="24" y="16"/>
                    </a:lnTo>
                    <a:lnTo>
                      <a:pt x="18" y="12"/>
                    </a:lnTo>
                    <a:lnTo>
                      <a:pt x="14" y="12"/>
                    </a:lnTo>
                    <a:lnTo>
                      <a:pt x="10" y="6"/>
                    </a:lnTo>
                    <a:lnTo>
                      <a:pt x="6" y="8"/>
                    </a:lnTo>
                    <a:lnTo>
                      <a:pt x="10" y="14"/>
                    </a:lnTo>
                    <a:lnTo>
                      <a:pt x="6" y="12"/>
                    </a:lnTo>
                    <a:lnTo>
                      <a:pt x="4" y="8"/>
                    </a:lnTo>
                    <a:lnTo>
                      <a:pt x="6" y="6"/>
                    </a:lnTo>
                    <a:lnTo>
                      <a:pt x="0" y="8"/>
                    </a:lnTo>
                    <a:lnTo>
                      <a:pt x="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2" name="Freeform 1591">
                <a:extLst>
                  <a:ext uri="{FF2B5EF4-FFF2-40B4-BE49-F238E27FC236}">
                    <a16:creationId xmlns:a16="http://schemas.microsoft.com/office/drawing/2014/main" id="{A6051903-2107-4921-9DEC-E46C42BBBD6C}"/>
                  </a:ext>
                </a:extLst>
              </p:cNvPr>
              <p:cNvSpPr>
                <a:spLocks/>
              </p:cNvSpPr>
              <p:nvPr/>
            </p:nvSpPr>
            <p:spPr bwMode="auto">
              <a:xfrm>
                <a:off x="2252" y="2778"/>
                <a:ext cx="4" cy="4"/>
              </a:xfrm>
              <a:custGeom>
                <a:avLst/>
                <a:gdLst/>
                <a:ahLst/>
                <a:cxnLst>
                  <a:cxn ang="0">
                    <a:pos x="2" y="0"/>
                  </a:cxn>
                  <a:cxn ang="0">
                    <a:pos x="4" y="2"/>
                  </a:cxn>
                  <a:cxn ang="0">
                    <a:pos x="2" y="4"/>
                  </a:cxn>
                  <a:cxn ang="0">
                    <a:pos x="0" y="4"/>
                  </a:cxn>
                  <a:cxn ang="0">
                    <a:pos x="2" y="0"/>
                  </a:cxn>
                </a:cxnLst>
                <a:rect l="0" t="0" r="r" b="b"/>
                <a:pathLst>
                  <a:path w="4" h="4">
                    <a:moveTo>
                      <a:pt x="2" y="0"/>
                    </a:moveTo>
                    <a:lnTo>
                      <a:pt x="4" y="2"/>
                    </a:lnTo>
                    <a:lnTo>
                      <a:pt x="2" y="4"/>
                    </a:lnTo>
                    <a:lnTo>
                      <a:pt x="0" y="4"/>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3" name="Freeform 1592">
                <a:extLst>
                  <a:ext uri="{FF2B5EF4-FFF2-40B4-BE49-F238E27FC236}">
                    <a16:creationId xmlns:a16="http://schemas.microsoft.com/office/drawing/2014/main" id="{31FADFE1-30BE-4179-973A-A4A25C01ED0C}"/>
                  </a:ext>
                </a:extLst>
              </p:cNvPr>
              <p:cNvSpPr>
                <a:spLocks/>
              </p:cNvSpPr>
              <p:nvPr/>
            </p:nvSpPr>
            <p:spPr bwMode="auto">
              <a:xfrm>
                <a:off x="3127" y="2860"/>
                <a:ext cx="228" cy="238"/>
              </a:xfrm>
              <a:custGeom>
                <a:avLst/>
                <a:gdLst/>
                <a:ahLst/>
                <a:cxnLst>
                  <a:cxn ang="0">
                    <a:pos x="218" y="48"/>
                  </a:cxn>
                  <a:cxn ang="0">
                    <a:pos x="222" y="32"/>
                  </a:cxn>
                  <a:cxn ang="0">
                    <a:pos x="222" y="20"/>
                  </a:cxn>
                  <a:cxn ang="0">
                    <a:pos x="206" y="10"/>
                  </a:cxn>
                  <a:cxn ang="0">
                    <a:pos x="194" y="12"/>
                  </a:cxn>
                  <a:cxn ang="0">
                    <a:pos x="182" y="0"/>
                  </a:cxn>
                  <a:cxn ang="0">
                    <a:pos x="156" y="0"/>
                  </a:cxn>
                  <a:cxn ang="0">
                    <a:pos x="150" y="4"/>
                  </a:cxn>
                  <a:cxn ang="0">
                    <a:pos x="148" y="2"/>
                  </a:cxn>
                  <a:cxn ang="0">
                    <a:pos x="130" y="8"/>
                  </a:cxn>
                  <a:cxn ang="0">
                    <a:pos x="124" y="12"/>
                  </a:cxn>
                  <a:cxn ang="0">
                    <a:pos x="86" y="0"/>
                  </a:cxn>
                  <a:cxn ang="0">
                    <a:pos x="78" y="18"/>
                  </a:cxn>
                  <a:cxn ang="0">
                    <a:pos x="76" y="20"/>
                  </a:cxn>
                  <a:cxn ang="0">
                    <a:pos x="74" y="32"/>
                  </a:cxn>
                  <a:cxn ang="0">
                    <a:pos x="68" y="42"/>
                  </a:cxn>
                  <a:cxn ang="0">
                    <a:pos x="64" y="76"/>
                  </a:cxn>
                  <a:cxn ang="0">
                    <a:pos x="46" y="108"/>
                  </a:cxn>
                  <a:cxn ang="0">
                    <a:pos x="24" y="122"/>
                  </a:cxn>
                  <a:cxn ang="0">
                    <a:pos x="8" y="126"/>
                  </a:cxn>
                  <a:cxn ang="0">
                    <a:pos x="4" y="134"/>
                  </a:cxn>
                  <a:cxn ang="0">
                    <a:pos x="0" y="142"/>
                  </a:cxn>
                  <a:cxn ang="0">
                    <a:pos x="0" y="146"/>
                  </a:cxn>
                  <a:cxn ang="0">
                    <a:pos x="10" y="142"/>
                  </a:cxn>
                  <a:cxn ang="0">
                    <a:pos x="46" y="140"/>
                  </a:cxn>
                  <a:cxn ang="0">
                    <a:pos x="52" y="144"/>
                  </a:cxn>
                  <a:cxn ang="0">
                    <a:pos x="58" y="164"/>
                  </a:cxn>
                  <a:cxn ang="0">
                    <a:pos x="62" y="170"/>
                  </a:cxn>
                  <a:cxn ang="0">
                    <a:pos x="72" y="170"/>
                  </a:cxn>
                  <a:cxn ang="0">
                    <a:pos x="86" y="156"/>
                  </a:cxn>
                  <a:cxn ang="0">
                    <a:pos x="102" y="160"/>
                  </a:cxn>
                  <a:cxn ang="0">
                    <a:pos x="112" y="160"/>
                  </a:cxn>
                  <a:cxn ang="0">
                    <a:pos x="114" y="162"/>
                  </a:cxn>
                  <a:cxn ang="0">
                    <a:pos x="116" y="202"/>
                  </a:cxn>
                  <a:cxn ang="0">
                    <a:pos x="120" y="212"/>
                  </a:cxn>
                  <a:cxn ang="0">
                    <a:pos x="122" y="208"/>
                  </a:cxn>
                  <a:cxn ang="0">
                    <a:pos x="144" y="206"/>
                  </a:cxn>
                  <a:cxn ang="0">
                    <a:pos x="154" y="210"/>
                  </a:cxn>
                  <a:cxn ang="0">
                    <a:pos x="166" y="220"/>
                  </a:cxn>
                  <a:cxn ang="0">
                    <a:pos x="178" y="218"/>
                  </a:cxn>
                  <a:cxn ang="0">
                    <a:pos x="190" y="224"/>
                  </a:cxn>
                  <a:cxn ang="0">
                    <a:pos x="208" y="238"/>
                  </a:cxn>
                  <a:cxn ang="0">
                    <a:pos x="200" y="224"/>
                  </a:cxn>
                  <a:cxn ang="0">
                    <a:pos x="194" y="218"/>
                  </a:cxn>
                  <a:cxn ang="0">
                    <a:pos x="198" y="182"/>
                  </a:cxn>
                  <a:cxn ang="0">
                    <a:pos x="200" y="176"/>
                  </a:cxn>
                  <a:cxn ang="0">
                    <a:pos x="218" y="172"/>
                  </a:cxn>
                  <a:cxn ang="0">
                    <a:pos x="216" y="164"/>
                  </a:cxn>
                  <a:cxn ang="0">
                    <a:pos x="208" y="156"/>
                  </a:cxn>
                  <a:cxn ang="0">
                    <a:pos x="204" y="140"/>
                  </a:cxn>
                  <a:cxn ang="0">
                    <a:pos x="202" y="132"/>
                  </a:cxn>
                  <a:cxn ang="0">
                    <a:pos x="202" y="120"/>
                  </a:cxn>
                  <a:cxn ang="0">
                    <a:pos x="202" y="122"/>
                  </a:cxn>
                  <a:cxn ang="0">
                    <a:pos x="204" y="108"/>
                  </a:cxn>
                  <a:cxn ang="0">
                    <a:pos x="204" y="104"/>
                  </a:cxn>
                  <a:cxn ang="0">
                    <a:pos x="200" y="96"/>
                  </a:cxn>
                  <a:cxn ang="0">
                    <a:pos x="208" y="84"/>
                  </a:cxn>
                  <a:cxn ang="0">
                    <a:pos x="212" y="58"/>
                  </a:cxn>
                  <a:cxn ang="0">
                    <a:pos x="218" y="52"/>
                  </a:cxn>
                </a:cxnLst>
                <a:rect l="0" t="0" r="r" b="b"/>
                <a:pathLst>
                  <a:path w="228" h="238">
                    <a:moveTo>
                      <a:pt x="218" y="52"/>
                    </a:moveTo>
                    <a:lnTo>
                      <a:pt x="218" y="48"/>
                    </a:lnTo>
                    <a:lnTo>
                      <a:pt x="228" y="38"/>
                    </a:lnTo>
                    <a:lnTo>
                      <a:pt x="222" y="32"/>
                    </a:lnTo>
                    <a:lnTo>
                      <a:pt x="224" y="20"/>
                    </a:lnTo>
                    <a:lnTo>
                      <a:pt x="222" y="20"/>
                    </a:lnTo>
                    <a:lnTo>
                      <a:pt x="208" y="8"/>
                    </a:lnTo>
                    <a:lnTo>
                      <a:pt x="206" y="10"/>
                    </a:lnTo>
                    <a:lnTo>
                      <a:pt x="198" y="10"/>
                    </a:lnTo>
                    <a:lnTo>
                      <a:pt x="194" y="12"/>
                    </a:lnTo>
                    <a:lnTo>
                      <a:pt x="190" y="10"/>
                    </a:lnTo>
                    <a:lnTo>
                      <a:pt x="182" y="0"/>
                    </a:lnTo>
                    <a:lnTo>
                      <a:pt x="182" y="0"/>
                    </a:lnTo>
                    <a:lnTo>
                      <a:pt x="156" y="0"/>
                    </a:lnTo>
                    <a:lnTo>
                      <a:pt x="154" y="4"/>
                    </a:lnTo>
                    <a:lnTo>
                      <a:pt x="150" y="4"/>
                    </a:lnTo>
                    <a:lnTo>
                      <a:pt x="148" y="2"/>
                    </a:lnTo>
                    <a:lnTo>
                      <a:pt x="148" y="2"/>
                    </a:lnTo>
                    <a:lnTo>
                      <a:pt x="136" y="6"/>
                    </a:lnTo>
                    <a:lnTo>
                      <a:pt x="130" y="8"/>
                    </a:lnTo>
                    <a:lnTo>
                      <a:pt x="124" y="8"/>
                    </a:lnTo>
                    <a:lnTo>
                      <a:pt x="124" y="12"/>
                    </a:lnTo>
                    <a:lnTo>
                      <a:pt x="122" y="12"/>
                    </a:lnTo>
                    <a:lnTo>
                      <a:pt x="86" y="0"/>
                    </a:lnTo>
                    <a:lnTo>
                      <a:pt x="78" y="10"/>
                    </a:lnTo>
                    <a:lnTo>
                      <a:pt x="78" y="18"/>
                    </a:lnTo>
                    <a:lnTo>
                      <a:pt x="76" y="20"/>
                    </a:lnTo>
                    <a:lnTo>
                      <a:pt x="76" y="20"/>
                    </a:lnTo>
                    <a:lnTo>
                      <a:pt x="76" y="26"/>
                    </a:lnTo>
                    <a:lnTo>
                      <a:pt x="74" y="32"/>
                    </a:lnTo>
                    <a:lnTo>
                      <a:pt x="68" y="42"/>
                    </a:lnTo>
                    <a:lnTo>
                      <a:pt x="68" y="42"/>
                    </a:lnTo>
                    <a:lnTo>
                      <a:pt x="66" y="58"/>
                    </a:lnTo>
                    <a:lnTo>
                      <a:pt x="64" y="76"/>
                    </a:lnTo>
                    <a:lnTo>
                      <a:pt x="54" y="86"/>
                    </a:lnTo>
                    <a:lnTo>
                      <a:pt x="46" y="108"/>
                    </a:lnTo>
                    <a:lnTo>
                      <a:pt x="24" y="128"/>
                    </a:lnTo>
                    <a:lnTo>
                      <a:pt x="24" y="122"/>
                    </a:lnTo>
                    <a:lnTo>
                      <a:pt x="12" y="128"/>
                    </a:lnTo>
                    <a:lnTo>
                      <a:pt x="8" y="126"/>
                    </a:lnTo>
                    <a:lnTo>
                      <a:pt x="8" y="126"/>
                    </a:lnTo>
                    <a:lnTo>
                      <a:pt x="4" y="134"/>
                    </a:lnTo>
                    <a:lnTo>
                      <a:pt x="2" y="140"/>
                    </a:lnTo>
                    <a:lnTo>
                      <a:pt x="0" y="142"/>
                    </a:lnTo>
                    <a:lnTo>
                      <a:pt x="0" y="146"/>
                    </a:lnTo>
                    <a:lnTo>
                      <a:pt x="0" y="146"/>
                    </a:lnTo>
                    <a:lnTo>
                      <a:pt x="4" y="144"/>
                    </a:lnTo>
                    <a:lnTo>
                      <a:pt x="10" y="142"/>
                    </a:lnTo>
                    <a:lnTo>
                      <a:pt x="22" y="140"/>
                    </a:lnTo>
                    <a:lnTo>
                      <a:pt x="46" y="140"/>
                    </a:lnTo>
                    <a:lnTo>
                      <a:pt x="52" y="144"/>
                    </a:lnTo>
                    <a:lnTo>
                      <a:pt x="52" y="144"/>
                    </a:lnTo>
                    <a:lnTo>
                      <a:pt x="54" y="158"/>
                    </a:lnTo>
                    <a:lnTo>
                      <a:pt x="58" y="164"/>
                    </a:lnTo>
                    <a:lnTo>
                      <a:pt x="62" y="170"/>
                    </a:lnTo>
                    <a:lnTo>
                      <a:pt x="62" y="170"/>
                    </a:lnTo>
                    <a:lnTo>
                      <a:pt x="66" y="170"/>
                    </a:lnTo>
                    <a:lnTo>
                      <a:pt x="72" y="170"/>
                    </a:lnTo>
                    <a:lnTo>
                      <a:pt x="84" y="168"/>
                    </a:lnTo>
                    <a:lnTo>
                      <a:pt x="86" y="156"/>
                    </a:lnTo>
                    <a:lnTo>
                      <a:pt x="102" y="154"/>
                    </a:lnTo>
                    <a:lnTo>
                      <a:pt x="102" y="160"/>
                    </a:lnTo>
                    <a:lnTo>
                      <a:pt x="112" y="160"/>
                    </a:lnTo>
                    <a:lnTo>
                      <a:pt x="112" y="160"/>
                    </a:lnTo>
                    <a:lnTo>
                      <a:pt x="114" y="162"/>
                    </a:lnTo>
                    <a:lnTo>
                      <a:pt x="114" y="162"/>
                    </a:lnTo>
                    <a:lnTo>
                      <a:pt x="116" y="188"/>
                    </a:lnTo>
                    <a:lnTo>
                      <a:pt x="116" y="202"/>
                    </a:lnTo>
                    <a:lnTo>
                      <a:pt x="116" y="210"/>
                    </a:lnTo>
                    <a:lnTo>
                      <a:pt x="120" y="212"/>
                    </a:lnTo>
                    <a:lnTo>
                      <a:pt x="122" y="208"/>
                    </a:lnTo>
                    <a:lnTo>
                      <a:pt x="122" y="208"/>
                    </a:lnTo>
                    <a:lnTo>
                      <a:pt x="132" y="206"/>
                    </a:lnTo>
                    <a:lnTo>
                      <a:pt x="144" y="206"/>
                    </a:lnTo>
                    <a:lnTo>
                      <a:pt x="146" y="210"/>
                    </a:lnTo>
                    <a:lnTo>
                      <a:pt x="154" y="210"/>
                    </a:lnTo>
                    <a:lnTo>
                      <a:pt x="158" y="214"/>
                    </a:lnTo>
                    <a:lnTo>
                      <a:pt x="166" y="220"/>
                    </a:lnTo>
                    <a:lnTo>
                      <a:pt x="178" y="218"/>
                    </a:lnTo>
                    <a:lnTo>
                      <a:pt x="178" y="218"/>
                    </a:lnTo>
                    <a:lnTo>
                      <a:pt x="182" y="222"/>
                    </a:lnTo>
                    <a:lnTo>
                      <a:pt x="190" y="224"/>
                    </a:lnTo>
                    <a:lnTo>
                      <a:pt x="192" y="230"/>
                    </a:lnTo>
                    <a:lnTo>
                      <a:pt x="208" y="238"/>
                    </a:lnTo>
                    <a:lnTo>
                      <a:pt x="208" y="224"/>
                    </a:lnTo>
                    <a:lnTo>
                      <a:pt x="200" y="224"/>
                    </a:lnTo>
                    <a:lnTo>
                      <a:pt x="194" y="218"/>
                    </a:lnTo>
                    <a:lnTo>
                      <a:pt x="194" y="218"/>
                    </a:lnTo>
                    <a:lnTo>
                      <a:pt x="198" y="200"/>
                    </a:lnTo>
                    <a:lnTo>
                      <a:pt x="198" y="182"/>
                    </a:lnTo>
                    <a:lnTo>
                      <a:pt x="200" y="180"/>
                    </a:lnTo>
                    <a:lnTo>
                      <a:pt x="200" y="176"/>
                    </a:lnTo>
                    <a:lnTo>
                      <a:pt x="202" y="176"/>
                    </a:lnTo>
                    <a:lnTo>
                      <a:pt x="218" y="172"/>
                    </a:lnTo>
                    <a:lnTo>
                      <a:pt x="216" y="164"/>
                    </a:lnTo>
                    <a:lnTo>
                      <a:pt x="216" y="164"/>
                    </a:lnTo>
                    <a:lnTo>
                      <a:pt x="212" y="160"/>
                    </a:lnTo>
                    <a:lnTo>
                      <a:pt x="208" y="156"/>
                    </a:lnTo>
                    <a:lnTo>
                      <a:pt x="206" y="148"/>
                    </a:lnTo>
                    <a:lnTo>
                      <a:pt x="204" y="140"/>
                    </a:lnTo>
                    <a:lnTo>
                      <a:pt x="202" y="132"/>
                    </a:lnTo>
                    <a:lnTo>
                      <a:pt x="202" y="132"/>
                    </a:lnTo>
                    <a:lnTo>
                      <a:pt x="202" y="126"/>
                    </a:lnTo>
                    <a:lnTo>
                      <a:pt x="202" y="120"/>
                    </a:lnTo>
                    <a:lnTo>
                      <a:pt x="202" y="122"/>
                    </a:lnTo>
                    <a:lnTo>
                      <a:pt x="202" y="122"/>
                    </a:lnTo>
                    <a:lnTo>
                      <a:pt x="204" y="112"/>
                    </a:lnTo>
                    <a:lnTo>
                      <a:pt x="204" y="108"/>
                    </a:lnTo>
                    <a:lnTo>
                      <a:pt x="204" y="104"/>
                    </a:lnTo>
                    <a:lnTo>
                      <a:pt x="204" y="104"/>
                    </a:lnTo>
                    <a:lnTo>
                      <a:pt x="200" y="96"/>
                    </a:lnTo>
                    <a:lnTo>
                      <a:pt x="200" y="96"/>
                    </a:lnTo>
                    <a:lnTo>
                      <a:pt x="208" y="84"/>
                    </a:lnTo>
                    <a:lnTo>
                      <a:pt x="208" y="84"/>
                    </a:lnTo>
                    <a:lnTo>
                      <a:pt x="210" y="66"/>
                    </a:lnTo>
                    <a:lnTo>
                      <a:pt x="212" y="58"/>
                    </a:lnTo>
                    <a:lnTo>
                      <a:pt x="218" y="52"/>
                    </a:lnTo>
                    <a:lnTo>
                      <a:pt x="218" y="5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4" name="Freeform 1593">
                <a:extLst>
                  <a:ext uri="{FF2B5EF4-FFF2-40B4-BE49-F238E27FC236}">
                    <a16:creationId xmlns:a16="http://schemas.microsoft.com/office/drawing/2014/main" id="{E47E40EB-926A-45F2-A6B1-8ACC9FFC1386}"/>
                  </a:ext>
                </a:extLst>
              </p:cNvPr>
              <p:cNvSpPr>
                <a:spLocks/>
              </p:cNvSpPr>
              <p:nvPr/>
            </p:nvSpPr>
            <p:spPr bwMode="auto">
              <a:xfrm>
                <a:off x="3177" y="3216"/>
                <a:ext cx="196" cy="184"/>
              </a:xfrm>
              <a:custGeom>
                <a:avLst/>
                <a:gdLst/>
                <a:ahLst/>
                <a:cxnLst>
                  <a:cxn ang="0">
                    <a:pos x="30" y="98"/>
                  </a:cxn>
                  <a:cxn ang="0">
                    <a:pos x="6" y="92"/>
                  </a:cxn>
                  <a:cxn ang="0">
                    <a:pos x="0" y="92"/>
                  </a:cxn>
                  <a:cxn ang="0">
                    <a:pos x="18" y="140"/>
                  </a:cxn>
                  <a:cxn ang="0">
                    <a:pos x="22" y="150"/>
                  </a:cxn>
                  <a:cxn ang="0">
                    <a:pos x="16" y="154"/>
                  </a:cxn>
                  <a:cxn ang="0">
                    <a:pos x="18" y="162"/>
                  </a:cxn>
                  <a:cxn ang="0">
                    <a:pos x="30" y="176"/>
                  </a:cxn>
                  <a:cxn ang="0">
                    <a:pos x="42" y="184"/>
                  </a:cxn>
                  <a:cxn ang="0">
                    <a:pos x="46" y="180"/>
                  </a:cxn>
                  <a:cxn ang="0">
                    <a:pos x="66" y="176"/>
                  </a:cxn>
                  <a:cxn ang="0">
                    <a:pos x="100" y="176"/>
                  </a:cxn>
                  <a:cxn ang="0">
                    <a:pos x="110" y="174"/>
                  </a:cxn>
                  <a:cxn ang="0">
                    <a:pos x="112" y="170"/>
                  </a:cxn>
                  <a:cxn ang="0">
                    <a:pos x="124" y="168"/>
                  </a:cxn>
                  <a:cxn ang="0">
                    <a:pos x="136" y="158"/>
                  </a:cxn>
                  <a:cxn ang="0">
                    <a:pos x="156" y="136"/>
                  </a:cxn>
                  <a:cxn ang="0">
                    <a:pos x="162" y="130"/>
                  </a:cxn>
                  <a:cxn ang="0">
                    <a:pos x="174" y="108"/>
                  </a:cxn>
                  <a:cxn ang="0">
                    <a:pos x="190" y="90"/>
                  </a:cxn>
                  <a:cxn ang="0">
                    <a:pos x="186" y="64"/>
                  </a:cxn>
                  <a:cxn ang="0">
                    <a:pos x="184" y="36"/>
                  </a:cxn>
                  <a:cxn ang="0">
                    <a:pos x="180" y="8"/>
                  </a:cxn>
                  <a:cxn ang="0">
                    <a:pos x="176" y="4"/>
                  </a:cxn>
                  <a:cxn ang="0">
                    <a:pos x="156" y="0"/>
                  </a:cxn>
                  <a:cxn ang="0">
                    <a:pos x="150" y="2"/>
                  </a:cxn>
                  <a:cxn ang="0">
                    <a:pos x="130" y="20"/>
                  </a:cxn>
                  <a:cxn ang="0">
                    <a:pos x="108" y="48"/>
                  </a:cxn>
                  <a:cxn ang="0">
                    <a:pos x="88" y="46"/>
                  </a:cxn>
                  <a:cxn ang="0">
                    <a:pos x="74" y="58"/>
                  </a:cxn>
                  <a:cxn ang="0">
                    <a:pos x="60" y="66"/>
                  </a:cxn>
                  <a:cxn ang="0">
                    <a:pos x="52" y="48"/>
                  </a:cxn>
                  <a:cxn ang="0">
                    <a:pos x="40" y="90"/>
                  </a:cxn>
                </a:cxnLst>
                <a:rect l="0" t="0" r="r" b="b"/>
                <a:pathLst>
                  <a:path w="196" h="184">
                    <a:moveTo>
                      <a:pt x="30" y="98"/>
                    </a:moveTo>
                    <a:lnTo>
                      <a:pt x="30" y="98"/>
                    </a:lnTo>
                    <a:lnTo>
                      <a:pt x="14" y="92"/>
                    </a:lnTo>
                    <a:lnTo>
                      <a:pt x="6" y="92"/>
                    </a:lnTo>
                    <a:lnTo>
                      <a:pt x="0" y="92"/>
                    </a:lnTo>
                    <a:lnTo>
                      <a:pt x="0" y="92"/>
                    </a:lnTo>
                    <a:lnTo>
                      <a:pt x="12" y="122"/>
                    </a:lnTo>
                    <a:lnTo>
                      <a:pt x="18" y="140"/>
                    </a:lnTo>
                    <a:lnTo>
                      <a:pt x="20" y="146"/>
                    </a:lnTo>
                    <a:lnTo>
                      <a:pt x="22" y="150"/>
                    </a:lnTo>
                    <a:lnTo>
                      <a:pt x="16" y="154"/>
                    </a:lnTo>
                    <a:lnTo>
                      <a:pt x="16" y="154"/>
                    </a:lnTo>
                    <a:lnTo>
                      <a:pt x="16" y="158"/>
                    </a:lnTo>
                    <a:lnTo>
                      <a:pt x="18" y="162"/>
                    </a:lnTo>
                    <a:lnTo>
                      <a:pt x="24" y="170"/>
                    </a:lnTo>
                    <a:lnTo>
                      <a:pt x="30" y="176"/>
                    </a:lnTo>
                    <a:lnTo>
                      <a:pt x="36" y="184"/>
                    </a:lnTo>
                    <a:lnTo>
                      <a:pt x="42" y="184"/>
                    </a:lnTo>
                    <a:lnTo>
                      <a:pt x="46" y="180"/>
                    </a:lnTo>
                    <a:lnTo>
                      <a:pt x="46" y="180"/>
                    </a:lnTo>
                    <a:lnTo>
                      <a:pt x="60" y="180"/>
                    </a:lnTo>
                    <a:lnTo>
                      <a:pt x="66" y="176"/>
                    </a:lnTo>
                    <a:lnTo>
                      <a:pt x="72" y="174"/>
                    </a:lnTo>
                    <a:lnTo>
                      <a:pt x="100" y="176"/>
                    </a:lnTo>
                    <a:lnTo>
                      <a:pt x="102" y="174"/>
                    </a:lnTo>
                    <a:lnTo>
                      <a:pt x="110" y="174"/>
                    </a:lnTo>
                    <a:lnTo>
                      <a:pt x="112" y="170"/>
                    </a:lnTo>
                    <a:lnTo>
                      <a:pt x="112" y="170"/>
                    </a:lnTo>
                    <a:lnTo>
                      <a:pt x="118" y="170"/>
                    </a:lnTo>
                    <a:lnTo>
                      <a:pt x="124" y="168"/>
                    </a:lnTo>
                    <a:lnTo>
                      <a:pt x="130" y="164"/>
                    </a:lnTo>
                    <a:lnTo>
                      <a:pt x="136" y="158"/>
                    </a:lnTo>
                    <a:lnTo>
                      <a:pt x="146" y="148"/>
                    </a:lnTo>
                    <a:lnTo>
                      <a:pt x="156" y="136"/>
                    </a:lnTo>
                    <a:lnTo>
                      <a:pt x="156" y="136"/>
                    </a:lnTo>
                    <a:lnTo>
                      <a:pt x="162" y="130"/>
                    </a:lnTo>
                    <a:lnTo>
                      <a:pt x="162" y="130"/>
                    </a:lnTo>
                    <a:lnTo>
                      <a:pt x="174" y="108"/>
                    </a:lnTo>
                    <a:lnTo>
                      <a:pt x="182" y="98"/>
                    </a:lnTo>
                    <a:lnTo>
                      <a:pt x="190" y="90"/>
                    </a:lnTo>
                    <a:lnTo>
                      <a:pt x="196" y="64"/>
                    </a:lnTo>
                    <a:lnTo>
                      <a:pt x="186" y="64"/>
                    </a:lnTo>
                    <a:lnTo>
                      <a:pt x="186" y="64"/>
                    </a:lnTo>
                    <a:lnTo>
                      <a:pt x="184" y="36"/>
                    </a:lnTo>
                    <a:lnTo>
                      <a:pt x="184" y="22"/>
                    </a:lnTo>
                    <a:lnTo>
                      <a:pt x="180" y="8"/>
                    </a:lnTo>
                    <a:lnTo>
                      <a:pt x="180" y="8"/>
                    </a:lnTo>
                    <a:lnTo>
                      <a:pt x="176" y="4"/>
                    </a:lnTo>
                    <a:lnTo>
                      <a:pt x="170" y="2"/>
                    </a:lnTo>
                    <a:lnTo>
                      <a:pt x="156" y="0"/>
                    </a:lnTo>
                    <a:lnTo>
                      <a:pt x="156" y="0"/>
                    </a:lnTo>
                    <a:lnTo>
                      <a:pt x="150" y="2"/>
                    </a:lnTo>
                    <a:lnTo>
                      <a:pt x="144" y="6"/>
                    </a:lnTo>
                    <a:lnTo>
                      <a:pt x="130" y="20"/>
                    </a:lnTo>
                    <a:lnTo>
                      <a:pt x="116" y="36"/>
                    </a:lnTo>
                    <a:lnTo>
                      <a:pt x="108" y="48"/>
                    </a:lnTo>
                    <a:lnTo>
                      <a:pt x="98" y="50"/>
                    </a:lnTo>
                    <a:lnTo>
                      <a:pt x="88" y="46"/>
                    </a:lnTo>
                    <a:lnTo>
                      <a:pt x="88" y="46"/>
                    </a:lnTo>
                    <a:lnTo>
                      <a:pt x="74" y="58"/>
                    </a:lnTo>
                    <a:lnTo>
                      <a:pt x="66" y="64"/>
                    </a:lnTo>
                    <a:lnTo>
                      <a:pt x="60" y="66"/>
                    </a:lnTo>
                    <a:lnTo>
                      <a:pt x="50" y="62"/>
                    </a:lnTo>
                    <a:lnTo>
                      <a:pt x="52" y="48"/>
                    </a:lnTo>
                    <a:lnTo>
                      <a:pt x="40" y="36"/>
                    </a:lnTo>
                    <a:lnTo>
                      <a:pt x="40" y="90"/>
                    </a:lnTo>
                    <a:lnTo>
                      <a:pt x="30" y="9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5" name="Freeform 1594">
                <a:extLst>
                  <a:ext uri="{FF2B5EF4-FFF2-40B4-BE49-F238E27FC236}">
                    <a16:creationId xmlns:a16="http://schemas.microsoft.com/office/drawing/2014/main" id="{F4D21F7C-5BA6-474E-A631-2A7C5268C543}"/>
                  </a:ext>
                </a:extLst>
              </p:cNvPr>
              <p:cNvSpPr>
                <a:spLocks/>
              </p:cNvSpPr>
              <p:nvPr/>
            </p:nvSpPr>
            <p:spPr bwMode="auto">
              <a:xfrm>
                <a:off x="3243" y="3032"/>
                <a:ext cx="140" cy="128"/>
              </a:xfrm>
              <a:custGeom>
                <a:avLst/>
                <a:gdLst/>
                <a:ahLst/>
                <a:cxnLst>
                  <a:cxn ang="0">
                    <a:pos x="68" y="112"/>
                  </a:cxn>
                  <a:cxn ang="0">
                    <a:pos x="76" y="108"/>
                  </a:cxn>
                  <a:cxn ang="0">
                    <a:pos x="80" y="108"/>
                  </a:cxn>
                  <a:cxn ang="0">
                    <a:pos x="80" y="102"/>
                  </a:cxn>
                  <a:cxn ang="0">
                    <a:pos x="94" y="96"/>
                  </a:cxn>
                  <a:cxn ang="0">
                    <a:pos x="96" y="90"/>
                  </a:cxn>
                  <a:cxn ang="0">
                    <a:pos x="132" y="74"/>
                  </a:cxn>
                  <a:cxn ang="0">
                    <a:pos x="132" y="58"/>
                  </a:cxn>
                  <a:cxn ang="0">
                    <a:pos x="136" y="52"/>
                  </a:cxn>
                  <a:cxn ang="0">
                    <a:pos x="140" y="32"/>
                  </a:cxn>
                  <a:cxn ang="0">
                    <a:pos x="134" y="18"/>
                  </a:cxn>
                  <a:cxn ang="0">
                    <a:pos x="132" y="16"/>
                  </a:cxn>
                  <a:cxn ang="0">
                    <a:pos x="122" y="12"/>
                  </a:cxn>
                  <a:cxn ang="0">
                    <a:pos x="112" y="4"/>
                  </a:cxn>
                  <a:cxn ang="0">
                    <a:pos x="108" y="8"/>
                  </a:cxn>
                  <a:cxn ang="0">
                    <a:pos x="102" y="0"/>
                  </a:cxn>
                  <a:cxn ang="0">
                    <a:pos x="84" y="4"/>
                  </a:cxn>
                  <a:cxn ang="0">
                    <a:pos x="82" y="10"/>
                  </a:cxn>
                  <a:cxn ang="0">
                    <a:pos x="82" y="28"/>
                  </a:cxn>
                  <a:cxn ang="0">
                    <a:pos x="84" y="52"/>
                  </a:cxn>
                  <a:cxn ang="0">
                    <a:pos x="92" y="66"/>
                  </a:cxn>
                  <a:cxn ang="0">
                    <a:pos x="74" y="52"/>
                  </a:cxn>
                  <a:cxn ang="0">
                    <a:pos x="66" y="50"/>
                  </a:cxn>
                  <a:cxn ang="0">
                    <a:pos x="50" y="48"/>
                  </a:cxn>
                  <a:cxn ang="0">
                    <a:pos x="38" y="38"/>
                  </a:cxn>
                  <a:cxn ang="0">
                    <a:pos x="28" y="34"/>
                  </a:cxn>
                  <a:cxn ang="0">
                    <a:pos x="26" y="36"/>
                  </a:cxn>
                  <a:cxn ang="0">
                    <a:pos x="26" y="62"/>
                  </a:cxn>
                  <a:cxn ang="0">
                    <a:pos x="0" y="110"/>
                  </a:cxn>
                  <a:cxn ang="0">
                    <a:pos x="14" y="122"/>
                  </a:cxn>
                  <a:cxn ang="0">
                    <a:pos x="30" y="120"/>
                  </a:cxn>
                  <a:cxn ang="0">
                    <a:pos x="38" y="126"/>
                  </a:cxn>
                  <a:cxn ang="0">
                    <a:pos x="46" y="128"/>
                  </a:cxn>
                  <a:cxn ang="0">
                    <a:pos x="56" y="128"/>
                  </a:cxn>
                  <a:cxn ang="0">
                    <a:pos x="58" y="126"/>
                  </a:cxn>
                  <a:cxn ang="0">
                    <a:pos x="68" y="112"/>
                  </a:cxn>
                </a:cxnLst>
                <a:rect l="0" t="0" r="r" b="b"/>
                <a:pathLst>
                  <a:path w="140" h="128">
                    <a:moveTo>
                      <a:pt x="68" y="112"/>
                    </a:moveTo>
                    <a:lnTo>
                      <a:pt x="68" y="112"/>
                    </a:lnTo>
                    <a:lnTo>
                      <a:pt x="72" y="112"/>
                    </a:lnTo>
                    <a:lnTo>
                      <a:pt x="76" y="108"/>
                    </a:lnTo>
                    <a:lnTo>
                      <a:pt x="80" y="108"/>
                    </a:lnTo>
                    <a:lnTo>
                      <a:pt x="80" y="108"/>
                    </a:lnTo>
                    <a:lnTo>
                      <a:pt x="80" y="102"/>
                    </a:lnTo>
                    <a:lnTo>
                      <a:pt x="80" y="102"/>
                    </a:lnTo>
                    <a:lnTo>
                      <a:pt x="90" y="98"/>
                    </a:lnTo>
                    <a:lnTo>
                      <a:pt x="94" y="96"/>
                    </a:lnTo>
                    <a:lnTo>
                      <a:pt x="100" y="96"/>
                    </a:lnTo>
                    <a:lnTo>
                      <a:pt x="96" y="90"/>
                    </a:lnTo>
                    <a:lnTo>
                      <a:pt x="134" y="76"/>
                    </a:lnTo>
                    <a:lnTo>
                      <a:pt x="132" y="74"/>
                    </a:lnTo>
                    <a:lnTo>
                      <a:pt x="130" y="70"/>
                    </a:lnTo>
                    <a:lnTo>
                      <a:pt x="132" y="58"/>
                    </a:lnTo>
                    <a:lnTo>
                      <a:pt x="138" y="56"/>
                    </a:lnTo>
                    <a:lnTo>
                      <a:pt x="136" y="52"/>
                    </a:lnTo>
                    <a:lnTo>
                      <a:pt x="140" y="32"/>
                    </a:lnTo>
                    <a:lnTo>
                      <a:pt x="140" y="32"/>
                    </a:lnTo>
                    <a:lnTo>
                      <a:pt x="138" y="24"/>
                    </a:lnTo>
                    <a:lnTo>
                      <a:pt x="134" y="18"/>
                    </a:lnTo>
                    <a:lnTo>
                      <a:pt x="132" y="18"/>
                    </a:lnTo>
                    <a:lnTo>
                      <a:pt x="132" y="16"/>
                    </a:lnTo>
                    <a:lnTo>
                      <a:pt x="132" y="16"/>
                    </a:lnTo>
                    <a:lnTo>
                      <a:pt x="122" y="12"/>
                    </a:lnTo>
                    <a:lnTo>
                      <a:pt x="116" y="8"/>
                    </a:lnTo>
                    <a:lnTo>
                      <a:pt x="112" y="4"/>
                    </a:lnTo>
                    <a:lnTo>
                      <a:pt x="110" y="4"/>
                    </a:lnTo>
                    <a:lnTo>
                      <a:pt x="108" y="8"/>
                    </a:lnTo>
                    <a:lnTo>
                      <a:pt x="104" y="4"/>
                    </a:lnTo>
                    <a:lnTo>
                      <a:pt x="102" y="0"/>
                    </a:lnTo>
                    <a:lnTo>
                      <a:pt x="86" y="4"/>
                    </a:lnTo>
                    <a:lnTo>
                      <a:pt x="84" y="4"/>
                    </a:lnTo>
                    <a:lnTo>
                      <a:pt x="84" y="8"/>
                    </a:lnTo>
                    <a:lnTo>
                      <a:pt x="82" y="10"/>
                    </a:lnTo>
                    <a:lnTo>
                      <a:pt x="82" y="10"/>
                    </a:lnTo>
                    <a:lnTo>
                      <a:pt x="82" y="28"/>
                    </a:lnTo>
                    <a:lnTo>
                      <a:pt x="78" y="46"/>
                    </a:lnTo>
                    <a:lnTo>
                      <a:pt x="84" y="52"/>
                    </a:lnTo>
                    <a:lnTo>
                      <a:pt x="92" y="52"/>
                    </a:lnTo>
                    <a:lnTo>
                      <a:pt x="92" y="66"/>
                    </a:lnTo>
                    <a:lnTo>
                      <a:pt x="76" y="58"/>
                    </a:lnTo>
                    <a:lnTo>
                      <a:pt x="74" y="52"/>
                    </a:lnTo>
                    <a:lnTo>
                      <a:pt x="74" y="52"/>
                    </a:lnTo>
                    <a:lnTo>
                      <a:pt x="66" y="50"/>
                    </a:lnTo>
                    <a:lnTo>
                      <a:pt x="62" y="46"/>
                    </a:lnTo>
                    <a:lnTo>
                      <a:pt x="50" y="48"/>
                    </a:lnTo>
                    <a:lnTo>
                      <a:pt x="42" y="42"/>
                    </a:lnTo>
                    <a:lnTo>
                      <a:pt x="38" y="38"/>
                    </a:lnTo>
                    <a:lnTo>
                      <a:pt x="30" y="38"/>
                    </a:lnTo>
                    <a:lnTo>
                      <a:pt x="28" y="34"/>
                    </a:lnTo>
                    <a:lnTo>
                      <a:pt x="24" y="34"/>
                    </a:lnTo>
                    <a:lnTo>
                      <a:pt x="26" y="36"/>
                    </a:lnTo>
                    <a:lnTo>
                      <a:pt x="24" y="60"/>
                    </a:lnTo>
                    <a:lnTo>
                      <a:pt x="26" y="62"/>
                    </a:lnTo>
                    <a:lnTo>
                      <a:pt x="0" y="62"/>
                    </a:lnTo>
                    <a:lnTo>
                      <a:pt x="0" y="110"/>
                    </a:lnTo>
                    <a:lnTo>
                      <a:pt x="14" y="122"/>
                    </a:lnTo>
                    <a:lnTo>
                      <a:pt x="14" y="122"/>
                    </a:lnTo>
                    <a:lnTo>
                      <a:pt x="24" y="120"/>
                    </a:lnTo>
                    <a:lnTo>
                      <a:pt x="30" y="120"/>
                    </a:lnTo>
                    <a:lnTo>
                      <a:pt x="34" y="122"/>
                    </a:lnTo>
                    <a:lnTo>
                      <a:pt x="38" y="126"/>
                    </a:lnTo>
                    <a:lnTo>
                      <a:pt x="38" y="126"/>
                    </a:lnTo>
                    <a:lnTo>
                      <a:pt x="46" y="128"/>
                    </a:lnTo>
                    <a:lnTo>
                      <a:pt x="52" y="126"/>
                    </a:lnTo>
                    <a:lnTo>
                      <a:pt x="56" y="128"/>
                    </a:lnTo>
                    <a:lnTo>
                      <a:pt x="56" y="128"/>
                    </a:lnTo>
                    <a:lnTo>
                      <a:pt x="58" y="126"/>
                    </a:lnTo>
                    <a:lnTo>
                      <a:pt x="62" y="122"/>
                    </a:lnTo>
                    <a:lnTo>
                      <a:pt x="68" y="112"/>
                    </a:lnTo>
                    <a:lnTo>
                      <a:pt x="68" y="112"/>
                    </a:lnTo>
                    <a:close/>
                  </a:path>
                </a:pathLst>
              </a:custGeom>
              <a:solidFill>
                <a:schemeClr val="tx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6" name="Freeform 1595">
                <a:extLst>
                  <a:ext uri="{FF2B5EF4-FFF2-40B4-BE49-F238E27FC236}">
                    <a16:creationId xmlns:a16="http://schemas.microsoft.com/office/drawing/2014/main" id="{6A344DF3-530A-4725-BFDF-4251DDFEF603}"/>
                  </a:ext>
                </a:extLst>
              </p:cNvPr>
              <p:cNvSpPr>
                <a:spLocks/>
              </p:cNvSpPr>
              <p:nvPr/>
            </p:nvSpPr>
            <p:spPr bwMode="auto">
              <a:xfrm>
                <a:off x="3339" y="3060"/>
                <a:ext cx="130" cy="220"/>
              </a:xfrm>
              <a:custGeom>
                <a:avLst/>
                <a:gdLst/>
                <a:ahLst/>
                <a:cxnLst>
                  <a:cxn ang="0">
                    <a:pos x="58" y="40"/>
                  </a:cxn>
                  <a:cxn ang="0">
                    <a:pos x="58" y="20"/>
                  </a:cxn>
                  <a:cxn ang="0">
                    <a:pos x="60" y="16"/>
                  </a:cxn>
                  <a:cxn ang="0">
                    <a:pos x="92" y="16"/>
                  </a:cxn>
                  <a:cxn ang="0">
                    <a:pos x="96" y="12"/>
                  </a:cxn>
                  <a:cxn ang="0">
                    <a:pos x="120" y="6"/>
                  </a:cxn>
                  <a:cxn ang="0">
                    <a:pos x="126" y="0"/>
                  </a:cxn>
                  <a:cxn ang="0">
                    <a:pos x="128" y="4"/>
                  </a:cxn>
                  <a:cxn ang="0">
                    <a:pos x="124" y="14"/>
                  </a:cxn>
                  <a:cxn ang="0">
                    <a:pos x="124" y="50"/>
                  </a:cxn>
                  <a:cxn ang="0">
                    <a:pos x="130" y="58"/>
                  </a:cxn>
                  <a:cxn ang="0">
                    <a:pos x="126" y="66"/>
                  </a:cxn>
                  <a:cxn ang="0">
                    <a:pos x="118" y="76"/>
                  </a:cxn>
                  <a:cxn ang="0">
                    <a:pos x="100" y="88"/>
                  </a:cxn>
                  <a:cxn ang="0">
                    <a:pos x="88" y="94"/>
                  </a:cxn>
                  <a:cxn ang="0">
                    <a:pos x="58" y="126"/>
                  </a:cxn>
                  <a:cxn ang="0">
                    <a:pos x="60" y="140"/>
                  </a:cxn>
                  <a:cxn ang="0">
                    <a:pos x="62" y="152"/>
                  </a:cxn>
                  <a:cxn ang="0">
                    <a:pos x="62" y="182"/>
                  </a:cxn>
                  <a:cxn ang="0">
                    <a:pos x="56" y="194"/>
                  </a:cxn>
                  <a:cxn ang="0">
                    <a:pos x="44" y="198"/>
                  </a:cxn>
                  <a:cxn ang="0">
                    <a:pos x="32" y="208"/>
                  </a:cxn>
                  <a:cxn ang="0">
                    <a:pos x="34" y="212"/>
                  </a:cxn>
                  <a:cxn ang="0">
                    <a:pos x="24" y="220"/>
                  </a:cxn>
                  <a:cxn ang="0">
                    <a:pos x="20" y="156"/>
                  </a:cxn>
                  <a:cxn ang="0">
                    <a:pos x="28" y="138"/>
                  </a:cxn>
                  <a:cxn ang="0">
                    <a:pos x="36" y="104"/>
                  </a:cxn>
                  <a:cxn ang="0">
                    <a:pos x="34" y="82"/>
                  </a:cxn>
                  <a:cxn ang="0">
                    <a:pos x="10" y="72"/>
                  </a:cxn>
                  <a:cxn ang="0">
                    <a:pos x="4" y="72"/>
                  </a:cxn>
                  <a:cxn ang="0">
                    <a:pos x="0" y="62"/>
                  </a:cxn>
                  <a:cxn ang="0">
                    <a:pos x="44" y="54"/>
                  </a:cxn>
                  <a:cxn ang="0">
                    <a:pos x="54" y="54"/>
                  </a:cxn>
                  <a:cxn ang="0">
                    <a:pos x="52" y="72"/>
                  </a:cxn>
                  <a:cxn ang="0">
                    <a:pos x="54" y="76"/>
                  </a:cxn>
                  <a:cxn ang="0">
                    <a:pos x="62" y="86"/>
                  </a:cxn>
                  <a:cxn ang="0">
                    <a:pos x="64" y="88"/>
                  </a:cxn>
                  <a:cxn ang="0">
                    <a:pos x="64" y="84"/>
                  </a:cxn>
                  <a:cxn ang="0">
                    <a:pos x="64" y="76"/>
                  </a:cxn>
                  <a:cxn ang="0">
                    <a:pos x="70" y="74"/>
                  </a:cxn>
                  <a:cxn ang="0">
                    <a:pos x="70" y="64"/>
                  </a:cxn>
                  <a:cxn ang="0">
                    <a:pos x="72" y="60"/>
                  </a:cxn>
                  <a:cxn ang="0">
                    <a:pos x="66" y="50"/>
                  </a:cxn>
                  <a:cxn ang="0">
                    <a:pos x="58" y="40"/>
                  </a:cxn>
                </a:cxnLst>
                <a:rect l="0" t="0" r="r" b="b"/>
                <a:pathLst>
                  <a:path w="130" h="220">
                    <a:moveTo>
                      <a:pt x="58" y="40"/>
                    </a:moveTo>
                    <a:lnTo>
                      <a:pt x="58" y="40"/>
                    </a:lnTo>
                    <a:lnTo>
                      <a:pt x="56" y="28"/>
                    </a:lnTo>
                    <a:lnTo>
                      <a:pt x="58" y="20"/>
                    </a:lnTo>
                    <a:lnTo>
                      <a:pt x="60" y="16"/>
                    </a:lnTo>
                    <a:lnTo>
                      <a:pt x="60" y="16"/>
                    </a:lnTo>
                    <a:lnTo>
                      <a:pt x="76" y="14"/>
                    </a:lnTo>
                    <a:lnTo>
                      <a:pt x="92" y="16"/>
                    </a:lnTo>
                    <a:lnTo>
                      <a:pt x="96" y="12"/>
                    </a:lnTo>
                    <a:lnTo>
                      <a:pt x="96" y="12"/>
                    </a:lnTo>
                    <a:lnTo>
                      <a:pt x="112" y="10"/>
                    </a:lnTo>
                    <a:lnTo>
                      <a:pt x="120" y="6"/>
                    </a:lnTo>
                    <a:lnTo>
                      <a:pt x="126" y="2"/>
                    </a:lnTo>
                    <a:lnTo>
                      <a:pt x="126" y="0"/>
                    </a:lnTo>
                    <a:lnTo>
                      <a:pt x="126" y="2"/>
                    </a:lnTo>
                    <a:lnTo>
                      <a:pt x="128" y="4"/>
                    </a:lnTo>
                    <a:lnTo>
                      <a:pt x="128" y="4"/>
                    </a:lnTo>
                    <a:lnTo>
                      <a:pt x="124" y="14"/>
                    </a:lnTo>
                    <a:lnTo>
                      <a:pt x="124" y="26"/>
                    </a:lnTo>
                    <a:lnTo>
                      <a:pt x="124" y="50"/>
                    </a:lnTo>
                    <a:lnTo>
                      <a:pt x="126" y="50"/>
                    </a:lnTo>
                    <a:lnTo>
                      <a:pt x="130" y="58"/>
                    </a:lnTo>
                    <a:lnTo>
                      <a:pt x="130" y="58"/>
                    </a:lnTo>
                    <a:lnTo>
                      <a:pt x="126" y="66"/>
                    </a:lnTo>
                    <a:lnTo>
                      <a:pt x="122" y="72"/>
                    </a:lnTo>
                    <a:lnTo>
                      <a:pt x="118" y="76"/>
                    </a:lnTo>
                    <a:lnTo>
                      <a:pt x="112" y="80"/>
                    </a:lnTo>
                    <a:lnTo>
                      <a:pt x="100" y="88"/>
                    </a:lnTo>
                    <a:lnTo>
                      <a:pt x="88" y="94"/>
                    </a:lnTo>
                    <a:lnTo>
                      <a:pt x="88" y="94"/>
                    </a:lnTo>
                    <a:lnTo>
                      <a:pt x="72" y="110"/>
                    </a:lnTo>
                    <a:lnTo>
                      <a:pt x="58" y="126"/>
                    </a:lnTo>
                    <a:lnTo>
                      <a:pt x="56" y="136"/>
                    </a:lnTo>
                    <a:lnTo>
                      <a:pt x="60" y="140"/>
                    </a:lnTo>
                    <a:lnTo>
                      <a:pt x="60" y="140"/>
                    </a:lnTo>
                    <a:lnTo>
                      <a:pt x="62" y="152"/>
                    </a:lnTo>
                    <a:lnTo>
                      <a:pt x="64" y="168"/>
                    </a:lnTo>
                    <a:lnTo>
                      <a:pt x="62" y="182"/>
                    </a:lnTo>
                    <a:lnTo>
                      <a:pt x="60" y="188"/>
                    </a:lnTo>
                    <a:lnTo>
                      <a:pt x="56" y="194"/>
                    </a:lnTo>
                    <a:lnTo>
                      <a:pt x="56" y="194"/>
                    </a:lnTo>
                    <a:lnTo>
                      <a:pt x="44" y="198"/>
                    </a:lnTo>
                    <a:lnTo>
                      <a:pt x="38" y="204"/>
                    </a:lnTo>
                    <a:lnTo>
                      <a:pt x="32" y="208"/>
                    </a:lnTo>
                    <a:lnTo>
                      <a:pt x="32" y="212"/>
                    </a:lnTo>
                    <a:lnTo>
                      <a:pt x="34" y="212"/>
                    </a:lnTo>
                    <a:lnTo>
                      <a:pt x="34" y="220"/>
                    </a:lnTo>
                    <a:lnTo>
                      <a:pt x="24" y="220"/>
                    </a:lnTo>
                    <a:lnTo>
                      <a:pt x="24" y="220"/>
                    </a:lnTo>
                    <a:lnTo>
                      <a:pt x="20" y="156"/>
                    </a:lnTo>
                    <a:lnTo>
                      <a:pt x="20" y="156"/>
                    </a:lnTo>
                    <a:lnTo>
                      <a:pt x="28" y="138"/>
                    </a:lnTo>
                    <a:lnTo>
                      <a:pt x="34" y="120"/>
                    </a:lnTo>
                    <a:lnTo>
                      <a:pt x="36" y="104"/>
                    </a:lnTo>
                    <a:lnTo>
                      <a:pt x="34" y="82"/>
                    </a:lnTo>
                    <a:lnTo>
                      <a:pt x="34" y="82"/>
                    </a:lnTo>
                    <a:lnTo>
                      <a:pt x="18" y="76"/>
                    </a:lnTo>
                    <a:lnTo>
                      <a:pt x="10" y="72"/>
                    </a:lnTo>
                    <a:lnTo>
                      <a:pt x="4" y="72"/>
                    </a:lnTo>
                    <a:lnTo>
                      <a:pt x="4" y="72"/>
                    </a:lnTo>
                    <a:lnTo>
                      <a:pt x="2" y="66"/>
                    </a:lnTo>
                    <a:lnTo>
                      <a:pt x="0" y="62"/>
                    </a:lnTo>
                    <a:lnTo>
                      <a:pt x="38" y="48"/>
                    </a:lnTo>
                    <a:lnTo>
                      <a:pt x="44" y="54"/>
                    </a:lnTo>
                    <a:lnTo>
                      <a:pt x="52" y="54"/>
                    </a:lnTo>
                    <a:lnTo>
                      <a:pt x="54" y="54"/>
                    </a:lnTo>
                    <a:lnTo>
                      <a:pt x="56" y="64"/>
                    </a:lnTo>
                    <a:lnTo>
                      <a:pt x="52" y="72"/>
                    </a:lnTo>
                    <a:lnTo>
                      <a:pt x="52" y="72"/>
                    </a:lnTo>
                    <a:lnTo>
                      <a:pt x="54" y="76"/>
                    </a:lnTo>
                    <a:lnTo>
                      <a:pt x="56" y="80"/>
                    </a:lnTo>
                    <a:lnTo>
                      <a:pt x="62" y="86"/>
                    </a:lnTo>
                    <a:lnTo>
                      <a:pt x="62" y="88"/>
                    </a:lnTo>
                    <a:lnTo>
                      <a:pt x="64" y="88"/>
                    </a:lnTo>
                    <a:lnTo>
                      <a:pt x="64" y="88"/>
                    </a:lnTo>
                    <a:lnTo>
                      <a:pt x="64" y="84"/>
                    </a:lnTo>
                    <a:lnTo>
                      <a:pt x="62" y="80"/>
                    </a:lnTo>
                    <a:lnTo>
                      <a:pt x="64" y="76"/>
                    </a:lnTo>
                    <a:lnTo>
                      <a:pt x="70" y="74"/>
                    </a:lnTo>
                    <a:lnTo>
                      <a:pt x="70" y="74"/>
                    </a:lnTo>
                    <a:lnTo>
                      <a:pt x="70" y="68"/>
                    </a:lnTo>
                    <a:lnTo>
                      <a:pt x="70" y="64"/>
                    </a:lnTo>
                    <a:lnTo>
                      <a:pt x="72" y="60"/>
                    </a:lnTo>
                    <a:lnTo>
                      <a:pt x="72" y="60"/>
                    </a:lnTo>
                    <a:lnTo>
                      <a:pt x="70" y="54"/>
                    </a:lnTo>
                    <a:lnTo>
                      <a:pt x="66" y="50"/>
                    </a:lnTo>
                    <a:lnTo>
                      <a:pt x="58" y="40"/>
                    </a:lnTo>
                    <a:lnTo>
                      <a:pt x="58" y="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7" name="Freeform 1596">
                <a:extLst>
                  <a:ext uri="{FF2B5EF4-FFF2-40B4-BE49-F238E27FC236}">
                    <a16:creationId xmlns:a16="http://schemas.microsoft.com/office/drawing/2014/main" id="{CD67EFCC-5D74-4C83-9D3E-F164F4ABF72F}"/>
                  </a:ext>
                </a:extLst>
              </p:cNvPr>
              <p:cNvSpPr>
                <a:spLocks/>
              </p:cNvSpPr>
              <p:nvPr/>
            </p:nvSpPr>
            <p:spPr bwMode="auto">
              <a:xfrm>
                <a:off x="3373" y="3048"/>
                <a:ext cx="38" cy="100"/>
              </a:xfrm>
              <a:custGeom>
                <a:avLst/>
                <a:gdLst/>
                <a:ahLst/>
                <a:cxnLst>
                  <a:cxn ang="0">
                    <a:pos x="24" y="52"/>
                  </a:cxn>
                  <a:cxn ang="0">
                    <a:pos x="24" y="56"/>
                  </a:cxn>
                  <a:cxn ang="0">
                    <a:pos x="26" y="58"/>
                  </a:cxn>
                  <a:cxn ang="0">
                    <a:pos x="28" y="64"/>
                  </a:cxn>
                  <a:cxn ang="0">
                    <a:pos x="24" y="60"/>
                  </a:cxn>
                  <a:cxn ang="0">
                    <a:pos x="24" y="62"/>
                  </a:cxn>
                  <a:cxn ang="0">
                    <a:pos x="20" y="62"/>
                  </a:cxn>
                  <a:cxn ang="0">
                    <a:pos x="20" y="56"/>
                  </a:cxn>
                  <a:cxn ang="0">
                    <a:pos x="20" y="56"/>
                  </a:cxn>
                  <a:cxn ang="0">
                    <a:pos x="18" y="52"/>
                  </a:cxn>
                  <a:cxn ang="0">
                    <a:pos x="18" y="48"/>
                  </a:cxn>
                  <a:cxn ang="0">
                    <a:pos x="16" y="42"/>
                  </a:cxn>
                  <a:cxn ang="0">
                    <a:pos x="14" y="38"/>
                  </a:cxn>
                  <a:cxn ang="0">
                    <a:pos x="14" y="38"/>
                  </a:cxn>
                  <a:cxn ang="0">
                    <a:pos x="16" y="32"/>
                  </a:cxn>
                  <a:cxn ang="0">
                    <a:pos x="18" y="26"/>
                  </a:cxn>
                  <a:cxn ang="0">
                    <a:pos x="16" y="12"/>
                  </a:cxn>
                  <a:cxn ang="0">
                    <a:pos x="12" y="6"/>
                  </a:cxn>
                  <a:cxn ang="0">
                    <a:pos x="14" y="2"/>
                  </a:cxn>
                  <a:cxn ang="0">
                    <a:pos x="12" y="2"/>
                  </a:cxn>
                  <a:cxn ang="0">
                    <a:pos x="8" y="2"/>
                  </a:cxn>
                  <a:cxn ang="0">
                    <a:pos x="2" y="0"/>
                  </a:cxn>
                  <a:cxn ang="0">
                    <a:pos x="2" y="2"/>
                  </a:cxn>
                  <a:cxn ang="0">
                    <a:pos x="4" y="2"/>
                  </a:cxn>
                  <a:cxn ang="0">
                    <a:pos x="4" y="2"/>
                  </a:cxn>
                  <a:cxn ang="0">
                    <a:pos x="8" y="8"/>
                  </a:cxn>
                  <a:cxn ang="0">
                    <a:pos x="10" y="16"/>
                  </a:cxn>
                  <a:cxn ang="0">
                    <a:pos x="6" y="36"/>
                  </a:cxn>
                  <a:cxn ang="0">
                    <a:pos x="8" y="40"/>
                  </a:cxn>
                  <a:cxn ang="0">
                    <a:pos x="2" y="42"/>
                  </a:cxn>
                  <a:cxn ang="0">
                    <a:pos x="0" y="54"/>
                  </a:cxn>
                  <a:cxn ang="0">
                    <a:pos x="2" y="58"/>
                  </a:cxn>
                  <a:cxn ang="0">
                    <a:pos x="4" y="60"/>
                  </a:cxn>
                  <a:cxn ang="0">
                    <a:pos x="10" y="66"/>
                  </a:cxn>
                  <a:cxn ang="0">
                    <a:pos x="18" y="66"/>
                  </a:cxn>
                  <a:cxn ang="0">
                    <a:pos x="20" y="66"/>
                  </a:cxn>
                  <a:cxn ang="0">
                    <a:pos x="22" y="76"/>
                  </a:cxn>
                  <a:cxn ang="0">
                    <a:pos x="18" y="84"/>
                  </a:cxn>
                  <a:cxn ang="0">
                    <a:pos x="18" y="84"/>
                  </a:cxn>
                  <a:cxn ang="0">
                    <a:pos x="20" y="88"/>
                  </a:cxn>
                  <a:cxn ang="0">
                    <a:pos x="22" y="92"/>
                  </a:cxn>
                  <a:cxn ang="0">
                    <a:pos x="28" y="98"/>
                  </a:cxn>
                  <a:cxn ang="0">
                    <a:pos x="28" y="100"/>
                  </a:cxn>
                  <a:cxn ang="0">
                    <a:pos x="30" y="100"/>
                  </a:cxn>
                  <a:cxn ang="0">
                    <a:pos x="30" y="100"/>
                  </a:cxn>
                  <a:cxn ang="0">
                    <a:pos x="30" y="96"/>
                  </a:cxn>
                  <a:cxn ang="0">
                    <a:pos x="28" y="92"/>
                  </a:cxn>
                  <a:cxn ang="0">
                    <a:pos x="30" y="88"/>
                  </a:cxn>
                  <a:cxn ang="0">
                    <a:pos x="36" y="86"/>
                  </a:cxn>
                  <a:cxn ang="0">
                    <a:pos x="36" y="86"/>
                  </a:cxn>
                  <a:cxn ang="0">
                    <a:pos x="36" y="80"/>
                  </a:cxn>
                  <a:cxn ang="0">
                    <a:pos x="36" y="76"/>
                  </a:cxn>
                  <a:cxn ang="0">
                    <a:pos x="38" y="72"/>
                  </a:cxn>
                  <a:cxn ang="0">
                    <a:pos x="38" y="72"/>
                  </a:cxn>
                  <a:cxn ang="0">
                    <a:pos x="36" y="66"/>
                  </a:cxn>
                  <a:cxn ang="0">
                    <a:pos x="32" y="62"/>
                  </a:cxn>
                  <a:cxn ang="0">
                    <a:pos x="24" y="52"/>
                  </a:cxn>
                  <a:cxn ang="0">
                    <a:pos x="24" y="52"/>
                  </a:cxn>
                </a:cxnLst>
                <a:rect l="0" t="0" r="r" b="b"/>
                <a:pathLst>
                  <a:path w="38" h="100">
                    <a:moveTo>
                      <a:pt x="24" y="52"/>
                    </a:moveTo>
                    <a:lnTo>
                      <a:pt x="24" y="56"/>
                    </a:lnTo>
                    <a:lnTo>
                      <a:pt x="26" y="58"/>
                    </a:lnTo>
                    <a:lnTo>
                      <a:pt x="28" y="64"/>
                    </a:lnTo>
                    <a:lnTo>
                      <a:pt x="24" y="60"/>
                    </a:lnTo>
                    <a:lnTo>
                      <a:pt x="24" y="62"/>
                    </a:lnTo>
                    <a:lnTo>
                      <a:pt x="20" y="62"/>
                    </a:lnTo>
                    <a:lnTo>
                      <a:pt x="20" y="56"/>
                    </a:lnTo>
                    <a:lnTo>
                      <a:pt x="20" y="56"/>
                    </a:lnTo>
                    <a:lnTo>
                      <a:pt x="18" y="52"/>
                    </a:lnTo>
                    <a:lnTo>
                      <a:pt x="18" y="48"/>
                    </a:lnTo>
                    <a:lnTo>
                      <a:pt x="16" y="42"/>
                    </a:lnTo>
                    <a:lnTo>
                      <a:pt x="14" y="38"/>
                    </a:lnTo>
                    <a:lnTo>
                      <a:pt x="14" y="38"/>
                    </a:lnTo>
                    <a:lnTo>
                      <a:pt x="16" y="32"/>
                    </a:lnTo>
                    <a:lnTo>
                      <a:pt x="18" y="26"/>
                    </a:lnTo>
                    <a:lnTo>
                      <a:pt x="16" y="12"/>
                    </a:lnTo>
                    <a:lnTo>
                      <a:pt x="12" y="6"/>
                    </a:lnTo>
                    <a:lnTo>
                      <a:pt x="14" y="2"/>
                    </a:lnTo>
                    <a:lnTo>
                      <a:pt x="12" y="2"/>
                    </a:lnTo>
                    <a:lnTo>
                      <a:pt x="8" y="2"/>
                    </a:lnTo>
                    <a:lnTo>
                      <a:pt x="2" y="0"/>
                    </a:lnTo>
                    <a:lnTo>
                      <a:pt x="2" y="2"/>
                    </a:lnTo>
                    <a:lnTo>
                      <a:pt x="4" y="2"/>
                    </a:lnTo>
                    <a:lnTo>
                      <a:pt x="4" y="2"/>
                    </a:lnTo>
                    <a:lnTo>
                      <a:pt x="8" y="8"/>
                    </a:lnTo>
                    <a:lnTo>
                      <a:pt x="10" y="16"/>
                    </a:lnTo>
                    <a:lnTo>
                      <a:pt x="6" y="36"/>
                    </a:lnTo>
                    <a:lnTo>
                      <a:pt x="8" y="40"/>
                    </a:lnTo>
                    <a:lnTo>
                      <a:pt x="2" y="42"/>
                    </a:lnTo>
                    <a:lnTo>
                      <a:pt x="0" y="54"/>
                    </a:lnTo>
                    <a:lnTo>
                      <a:pt x="2" y="58"/>
                    </a:lnTo>
                    <a:lnTo>
                      <a:pt x="4" y="60"/>
                    </a:lnTo>
                    <a:lnTo>
                      <a:pt x="10" y="66"/>
                    </a:lnTo>
                    <a:lnTo>
                      <a:pt x="18" y="66"/>
                    </a:lnTo>
                    <a:lnTo>
                      <a:pt x="20" y="66"/>
                    </a:lnTo>
                    <a:lnTo>
                      <a:pt x="22" y="76"/>
                    </a:lnTo>
                    <a:lnTo>
                      <a:pt x="18" y="84"/>
                    </a:lnTo>
                    <a:lnTo>
                      <a:pt x="18" y="84"/>
                    </a:lnTo>
                    <a:lnTo>
                      <a:pt x="20" y="88"/>
                    </a:lnTo>
                    <a:lnTo>
                      <a:pt x="22" y="92"/>
                    </a:lnTo>
                    <a:lnTo>
                      <a:pt x="28" y="98"/>
                    </a:lnTo>
                    <a:lnTo>
                      <a:pt x="28" y="100"/>
                    </a:lnTo>
                    <a:lnTo>
                      <a:pt x="30" y="100"/>
                    </a:lnTo>
                    <a:lnTo>
                      <a:pt x="30" y="100"/>
                    </a:lnTo>
                    <a:lnTo>
                      <a:pt x="30" y="96"/>
                    </a:lnTo>
                    <a:lnTo>
                      <a:pt x="28" y="92"/>
                    </a:lnTo>
                    <a:lnTo>
                      <a:pt x="30" y="88"/>
                    </a:lnTo>
                    <a:lnTo>
                      <a:pt x="36" y="86"/>
                    </a:lnTo>
                    <a:lnTo>
                      <a:pt x="36" y="86"/>
                    </a:lnTo>
                    <a:lnTo>
                      <a:pt x="36" y="80"/>
                    </a:lnTo>
                    <a:lnTo>
                      <a:pt x="36" y="76"/>
                    </a:lnTo>
                    <a:lnTo>
                      <a:pt x="38" y="72"/>
                    </a:lnTo>
                    <a:lnTo>
                      <a:pt x="38" y="72"/>
                    </a:lnTo>
                    <a:lnTo>
                      <a:pt x="36" y="66"/>
                    </a:lnTo>
                    <a:lnTo>
                      <a:pt x="32" y="62"/>
                    </a:lnTo>
                    <a:lnTo>
                      <a:pt x="24" y="52"/>
                    </a:lnTo>
                    <a:lnTo>
                      <a:pt x="24" y="5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8" name="Freeform 1597">
                <a:extLst>
                  <a:ext uri="{FF2B5EF4-FFF2-40B4-BE49-F238E27FC236}">
                    <a16:creationId xmlns:a16="http://schemas.microsoft.com/office/drawing/2014/main" id="{C387D1A4-4ABE-42A9-9430-C6512516A05C}"/>
                  </a:ext>
                </a:extLst>
              </p:cNvPr>
              <p:cNvSpPr>
                <a:spLocks/>
              </p:cNvSpPr>
              <p:nvPr/>
            </p:nvSpPr>
            <p:spPr bwMode="auto">
              <a:xfrm>
                <a:off x="3387" y="2868"/>
                <a:ext cx="94" cy="118"/>
              </a:xfrm>
              <a:custGeom>
                <a:avLst/>
                <a:gdLst/>
                <a:ahLst/>
                <a:cxnLst>
                  <a:cxn ang="0">
                    <a:pos x="2" y="68"/>
                  </a:cxn>
                  <a:cxn ang="0">
                    <a:pos x="2" y="66"/>
                  </a:cxn>
                  <a:cxn ang="0">
                    <a:pos x="6" y="66"/>
                  </a:cxn>
                  <a:cxn ang="0">
                    <a:pos x="6" y="66"/>
                  </a:cxn>
                  <a:cxn ang="0">
                    <a:pos x="10" y="64"/>
                  </a:cxn>
                  <a:cxn ang="0">
                    <a:pos x="10" y="62"/>
                  </a:cxn>
                  <a:cxn ang="0">
                    <a:pos x="10" y="62"/>
                  </a:cxn>
                  <a:cxn ang="0">
                    <a:pos x="6" y="62"/>
                  </a:cxn>
                  <a:cxn ang="0">
                    <a:pos x="2" y="64"/>
                  </a:cxn>
                  <a:cxn ang="0">
                    <a:pos x="2" y="64"/>
                  </a:cxn>
                  <a:cxn ang="0">
                    <a:pos x="0" y="60"/>
                  </a:cxn>
                  <a:cxn ang="0">
                    <a:pos x="0" y="56"/>
                  </a:cxn>
                  <a:cxn ang="0">
                    <a:pos x="12" y="40"/>
                  </a:cxn>
                  <a:cxn ang="0">
                    <a:pos x="12" y="24"/>
                  </a:cxn>
                  <a:cxn ang="0">
                    <a:pos x="6" y="20"/>
                  </a:cxn>
                  <a:cxn ang="0">
                    <a:pos x="4" y="8"/>
                  </a:cxn>
                  <a:cxn ang="0">
                    <a:pos x="0" y="6"/>
                  </a:cxn>
                  <a:cxn ang="0">
                    <a:pos x="6" y="0"/>
                  </a:cxn>
                  <a:cxn ang="0">
                    <a:pos x="6" y="0"/>
                  </a:cxn>
                  <a:cxn ang="0">
                    <a:pos x="18" y="0"/>
                  </a:cxn>
                  <a:cxn ang="0">
                    <a:pos x="32" y="2"/>
                  </a:cxn>
                  <a:cxn ang="0">
                    <a:pos x="32" y="2"/>
                  </a:cxn>
                  <a:cxn ang="0">
                    <a:pos x="42" y="6"/>
                  </a:cxn>
                  <a:cxn ang="0">
                    <a:pos x="52" y="12"/>
                  </a:cxn>
                  <a:cxn ang="0">
                    <a:pos x="58" y="14"/>
                  </a:cxn>
                  <a:cxn ang="0">
                    <a:pos x="64" y="14"/>
                  </a:cxn>
                  <a:cxn ang="0">
                    <a:pos x="68" y="12"/>
                  </a:cxn>
                  <a:cxn ang="0">
                    <a:pos x="72" y="8"/>
                  </a:cxn>
                  <a:cxn ang="0">
                    <a:pos x="82" y="6"/>
                  </a:cxn>
                  <a:cxn ang="0">
                    <a:pos x="82" y="6"/>
                  </a:cxn>
                  <a:cxn ang="0">
                    <a:pos x="88" y="8"/>
                  </a:cxn>
                  <a:cxn ang="0">
                    <a:pos x="94" y="8"/>
                  </a:cxn>
                  <a:cxn ang="0">
                    <a:pos x="94" y="8"/>
                  </a:cxn>
                  <a:cxn ang="0">
                    <a:pos x="90" y="16"/>
                  </a:cxn>
                  <a:cxn ang="0">
                    <a:pos x="84" y="24"/>
                  </a:cxn>
                  <a:cxn ang="0">
                    <a:pos x="84" y="70"/>
                  </a:cxn>
                  <a:cxn ang="0">
                    <a:pos x="90" y="80"/>
                  </a:cxn>
                  <a:cxn ang="0">
                    <a:pos x="88" y="84"/>
                  </a:cxn>
                  <a:cxn ang="0">
                    <a:pos x="84" y="84"/>
                  </a:cxn>
                  <a:cxn ang="0">
                    <a:pos x="82" y="90"/>
                  </a:cxn>
                  <a:cxn ang="0">
                    <a:pos x="82" y="90"/>
                  </a:cxn>
                  <a:cxn ang="0">
                    <a:pos x="78" y="92"/>
                  </a:cxn>
                  <a:cxn ang="0">
                    <a:pos x="76" y="96"/>
                  </a:cxn>
                  <a:cxn ang="0">
                    <a:pos x="72" y="104"/>
                  </a:cxn>
                  <a:cxn ang="0">
                    <a:pos x="68" y="114"/>
                  </a:cxn>
                  <a:cxn ang="0">
                    <a:pos x="66" y="116"/>
                  </a:cxn>
                  <a:cxn ang="0">
                    <a:pos x="64" y="118"/>
                  </a:cxn>
                  <a:cxn ang="0">
                    <a:pos x="48" y="108"/>
                  </a:cxn>
                  <a:cxn ang="0">
                    <a:pos x="44" y="98"/>
                  </a:cxn>
                  <a:cxn ang="0">
                    <a:pos x="44" y="98"/>
                  </a:cxn>
                  <a:cxn ang="0">
                    <a:pos x="22" y="84"/>
                  </a:cxn>
                  <a:cxn ang="0">
                    <a:pos x="8" y="74"/>
                  </a:cxn>
                  <a:cxn ang="0">
                    <a:pos x="2" y="68"/>
                  </a:cxn>
                  <a:cxn ang="0">
                    <a:pos x="2" y="68"/>
                  </a:cxn>
                </a:cxnLst>
                <a:rect l="0" t="0" r="r" b="b"/>
                <a:pathLst>
                  <a:path w="94" h="118">
                    <a:moveTo>
                      <a:pt x="2" y="68"/>
                    </a:moveTo>
                    <a:lnTo>
                      <a:pt x="2" y="66"/>
                    </a:lnTo>
                    <a:lnTo>
                      <a:pt x="6" y="66"/>
                    </a:lnTo>
                    <a:lnTo>
                      <a:pt x="6" y="66"/>
                    </a:lnTo>
                    <a:lnTo>
                      <a:pt x="10" y="64"/>
                    </a:lnTo>
                    <a:lnTo>
                      <a:pt x="10" y="62"/>
                    </a:lnTo>
                    <a:lnTo>
                      <a:pt x="10" y="62"/>
                    </a:lnTo>
                    <a:lnTo>
                      <a:pt x="6" y="62"/>
                    </a:lnTo>
                    <a:lnTo>
                      <a:pt x="2" y="64"/>
                    </a:lnTo>
                    <a:lnTo>
                      <a:pt x="2" y="64"/>
                    </a:lnTo>
                    <a:lnTo>
                      <a:pt x="0" y="60"/>
                    </a:lnTo>
                    <a:lnTo>
                      <a:pt x="0" y="56"/>
                    </a:lnTo>
                    <a:lnTo>
                      <a:pt x="12" y="40"/>
                    </a:lnTo>
                    <a:lnTo>
                      <a:pt x="12" y="24"/>
                    </a:lnTo>
                    <a:lnTo>
                      <a:pt x="6" y="20"/>
                    </a:lnTo>
                    <a:lnTo>
                      <a:pt x="4" y="8"/>
                    </a:lnTo>
                    <a:lnTo>
                      <a:pt x="0" y="6"/>
                    </a:lnTo>
                    <a:lnTo>
                      <a:pt x="6" y="0"/>
                    </a:lnTo>
                    <a:lnTo>
                      <a:pt x="6" y="0"/>
                    </a:lnTo>
                    <a:lnTo>
                      <a:pt x="18" y="0"/>
                    </a:lnTo>
                    <a:lnTo>
                      <a:pt x="32" y="2"/>
                    </a:lnTo>
                    <a:lnTo>
                      <a:pt x="32" y="2"/>
                    </a:lnTo>
                    <a:lnTo>
                      <a:pt x="42" y="6"/>
                    </a:lnTo>
                    <a:lnTo>
                      <a:pt x="52" y="12"/>
                    </a:lnTo>
                    <a:lnTo>
                      <a:pt x="58" y="14"/>
                    </a:lnTo>
                    <a:lnTo>
                      <a:pt x="64" y="14"/>
                    </a:lnTo>
                    <a:lnTo>
                      <a:pt x="68" y="12"/>
                    </a:lnTo>
                    <a:lnTo>
                      <a:pt x="72" y="8"/>
                    </a:lnTo>
                    <a:lnTo>
                      <a:pt x="82" y="6"/>
                    </a:lnTo>
                    <a:lnTo>
                      <a:pt x="82" y="6"/>
                    </a:lnTo>
                    <a:lnTo>
                      <a:pt x="88" y="8"/>
                    </a:lnTo>
                    <a:lnTo>
                      <a:pt x="94" y="8"/>
                    </a:lnTo>
                    <a:lnTo>
                      <a:pt x="94" y="8"/>
                    </a:lnTo>
                    <a:lnTo>
                      <a:pt x="90" y="16"/>
                    </a:lnTo>
                    <a:lnTo>
                      <a:pt x="84" y="24"/>
                    </a:lnTo>
                    <a:lnTo>
                      <a:pt x="84" y="70"/>
                    </a:lnTo>
                    <a:lnTo>
                      <a:pt x="90" y="80"/>
                    </a:lnTo>
                    <a:lnTo>
                      <a:pt x="88" y="84"/>
                    </a:lnTo>
                    <a:lnTo>
                      <a:pt x="84" y="84"/>
                    </a:lnTo>
                    <a:lnTo>
                      <a:pt x="82" y="90"/>
                    </a:lnTo>
                    <a:lnTo>
                      <a:pt x="82" y="90"/>
                    </a:lnTo>
                    <a:lnTo>
                      <a:pt x="78" y="92"/>
                    </a:lnTo>
                    <a:lnTo>
                      <a:pt x="76" y="96"/>
                    </a:lnTo>
                    <a:lnTo>
                      <a:pt x="72" y="104"/>
                    </a:lnTo>
                    <a:lnTo>
                      <a:pt x="68" y="114"/>
                    </a:lnTo>
                    <a:lnTo>
                      <a:pt x="66" y="116"/>
                    </a:lnTo>
                    <a:lnTo>
                      <a:pt x="64" y="118"/>
                    </a:lnTo>
                    <a:lnTo>
                      <a:pt x="48" y="108"/>
                    </a:lnTo>
                    <a:lnTo>
                      <a:pt x="44" y="98"/>
                    </a:lnTo>
                    <a:lnTo>
                      <a:pt x="44" y="98"/>
                    </a:lnTo>
                    <a:lnTo>
                      <a:pt x="22" y="84"/>
                    </a:lnTo>
                    <a:lnTo>
                      <a:pt x="8" y="74"/>
                    </a:lnTo>
                    <a:lnTo>
                      <a:pt x="2" y="68"/>
                    </a:lnTo>
                    <a:lnTo>
                      <a:pt x="2" y="68"/>
                    </a:lnTo>
                    <a:close/>
                  </a:path>
                </a:pathLst>
              </a:custGeom>
              <a:solidFill>
                <a:schemeClr val="tx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89" name="Freeform 1598">
                <a:extLst>
                  <a:ext uri="{FF2B5EF4-FFF2-40B4-BE49-F238E27FC236}">
                    <a16:creationId xmlns:a16="http://schemas.microsoft.com/office/drawing/2014/main" id="{7BBBE4F2-D0AB-4D35-BF12-B2D1D9B589B6}"/>
                  </a:ext>
                </a:extLst>
              </p:cNvPr>
              <p:cNvSpPr>
                <a:spLocks/>
              </p:cNvSpPr>
              <p:nvPr/>
            </p:nvSpPr>
            <p:spPr bwMode="auto">
              <a:xfrm>
                <a:off x="3335" y="2940"/>
                <a:ext cx="130" cy="136"/>
              </a:xfrm>
              <a:custGeom>
                <a:avLst/>
                <a:gdLst/>
                <a:ahLst/>
                <a:cxnLst>
                  <a:cxn ang="0">
                    <a:pos x="18" y="96"/>
                  </a:cxn>
                  <a:cxn ang="0">
                    <a:pos x="12" y="80"/>
                  </a:cxn>
                  <a:cxn ang="0">
                    <a:pos x="2" y="68"/>
                  </a:cxn>
                  <a:cxn ang="0">
                    <a:pos x="4" y="62"/>
                  </a:cxn>
                  <a:cxn ang="0">
                    <a:pos x="0" y="50"/>
                  </a:cxn>
                  <a:cxn ang="0">
                    <a:pos x="6" y="40"/>
                  </a:cxn>
                  <a:cxn ang="0">
                    <a:pos x="10" y="22"/>
                  </a:cxn>
                  <a:cxn ang="0">
                    <a:pos x="16" y="12"/>
                  </a:cxn>
                  <a:cxn ang="0">
                    <a:pos x="26" y="0"/>
                  </a:cxn>
                  <a:cxn ang="0">
                    <a:pos x="26" y="10"/>
                  </a:cxn>
                  <a:cxn ang="0">
                    <a:pos x="26" y="22"/>
                  </a:cxn>
                  <a:cxn ang="0">
                    <a:pos x="30" y="18"/>
                  </a:cxn>
                  <a:cxn ang="0">
                    <a:pos x="38" y="24"/>
                  </a:cxn>
                  <a:cxn ang="0">
                    <a:pos x="40" y="22"/>
                  </a:cxn>
                  <a:cxn ang="0">
                    <a:pos x="44" y="18"/>
                  </a:cxn>
                  <a:cxn ang="0">
                    <a:pos x="50" y="14"/>
                  </a:cxn>
                  <a:cxn ang="0">
                    <a:pos x="44" y="14"/>
                  </a:cxn>
                  <a:cxn ang="0">
                    <a:pos x="52" y="0"/>
                  </a:cxn>
                  <a:cxn ang="0">
                    <a:pos x="96" y="26"/>
                  </a:cxn>
                  <a:cxn ang="0">
                    <a:pos x="116" y="46"/>
                  </a:cxn>
                  <a:cxn ang="0">
                    <a:pos x="112" y="56"/>
                  </a:cxn>
                  <a:cxn ang="0">
                    <a:pos x="110" y="68"/>
                  </a:cxn>
                  <a:cxn ang="0">
                    <a:pos x="116" y="86"/>
                  </a:cxn>
                  <a:cxn ang="0">
                    <a:pos x="118" y="92"/>
                  </a:cxn>
                  <a:cxn ang="0">
                    <a:pos x="116" y="94"/>
                  </a:cxn>
                  <a:cxn ang="0">
                    <a:pos x="118" y="100"/>
                  </a:cxn>
                  <a:cxn ang="0">
                    <a:pos x="122" y="108"/>
                  </a:cxn>
                  <a:cxn ang="0">
                    <a:pos x="130" y="120"/>
                  </a:cxn>
                  <a:cxn ang="0">
                    <a:pos x="130" y="122"/>
                  </a:cxn>
                  <a:cxn ang="0">
                    <a:pos x="116" y="130"/>
                  </a:cxn>
                  <a:cxn ang="0">
                    <a:pos x="96" y="136"/>
                  </a:cxn>
                  <a:cxn ang="0">
                    <a:pos x="80" y="134"/>
                  </a:cxn>
                  <a:cxn ang="0">
                    <a:pos x="64" y="136"/>
                  </a:cxn>
                  <a:cxn ang="0">
                    <a:pos x="60" y="122"/>
                  </a:cxn>
                  <a:cxn ang="0">
                    <a:pos x="56" y="112"/>
                  </a:cxn>
                  <a:cxn ang="0">
                    <a:pos x="52" y="110"/>
                  </a:cxn>
                  <a:cxn ang="0">
                    <a:pos x="50" y="110"/>
                  </a:cxn>
                  <a:cxn ang="0">
                    <a:pos x="46" y="110"/>
                  </a:cxn>
                  <a:cxn ang="0">
                    <a:pos x="26" y="100"/>
                  </a:cxn>
                  <a:cxn ang="0">
                    <a:pos x="18" y="96"/>
                  </a:cxn>
                </a:cxnLst>
                <a:rect l="0" t="0" r="r" b="b"/>
                <a:pathLst>
                  <a:path w="130" h="136">
                    <a:moveTo>
                      <a:pt x="18" y="96"/>
                    </a:moveTo>
                    <a:lnTo>
                      <a:pt x="18" y="96"/>
                    </a:lnTo>
                    <a:lnTo>
                      <a:pt x="14" y="86"/>
                    </a:lnTo>
                    <a:lnTo>
                      <a:pt x="12" y="80"/>
                    </a:lnTo>
                    <a:lnTo>
                      <a:pt x="12" y="76"/>
                    </a:lnTo>
                    <a:lnTo>
                      <a:pt x="2" y="68"/>
                    </a:lnTo>
                    <a:lnTo>
                      <a:pt x="2" y="66"/>
                    </a:lnTo>
                    <a:lnTo>
                      <a:pt x="4" y="62"/>
                    </a:lnTo>
                    <a:lnTo>
                      <a:pt x="2" y="54"/>
                    </a:lnTo>
                    <a:lnTo>
                      <a:pt x="0" y="50"/>
                    </a:lnTo>
                    <a:lnTo>
                      <a:pt x="0" y="42"/>
                    </a:lnTo>
                    <a:lnTo>
                      <a:pt x="6" y="40"/>
                    </a:lnTo>
                    <a:lnTo>
                      <a:pt x="14" y="28"/>
                    </a:lnTo>
                    <a:lnTo>
                      <a:pt x="10" y="22"/>
                    </a:lnTo>
                    <a:lnTo>
                      <a:pt x="10" y="22"/>
                    </a:lnTo>
                    <a:lnTo>
                      <a:pt x="16" y="12"/>
                    </a:lnTo>
                    <a:lnTo>
                      <a:pt x="10" y="0"/>
                    </a:lnTo>
                    <a:lnTo>
                      <a:pt x="26" y="0"/>
                    </a:lnTo>
                    <a:lnTo>
                      <a:pt x="26" y="0"/>
                    </a:lnTo>
                    <a:lnTo>
                      <a:pt x="26" y="10"/>
                    </a:lnTo>
                    <a:lnTo>
                      <a:pt x="26" y="16"/>
                    </a:lnTo>
                    <a:lnTo>
                      <a:pt x="26" y="22"/>
                    </a:lnTo>
                    <a:lnTo>
                      <a:pt x="30" y="18"/>
                    </a:lnTo>
                    <a:lnTo>
                      <a:pt x="30" y="18"/>
                    </a:lnTo>
                    <a:lnTo>
                      <a:pt x="36" y="20"/>
                    </a:lnTo>
                    <a:lnTo>
                      <a:pt x="38" y="24"/>
                    </a:lnTo>
                    <a:lnTo>
                      <a:pt x="38" y="24"/>
                    </a:lnTo>
                    <a:lnTo>
                      <a:pt x="40" y="22"/>
                    </a:lnTo>
                    <a:lnTo>
                      <a:pt x="42" y="18"/>
                    </a:lnTo>
                    <a:lnTo>
                      <a:pt x="44" y="18"/>
                    </a:lnTo>
                    <a:lnTo>
                      <a:pt x="50" y="16"/>
                    </a:lnTo>
                    <a:lnTo>
                      <a:pt x="50" y="14"/>
                    </a:lnTo>
                    <a:lnTo>
                      <a:pt x="44" y="14"/>
                    </a:lnTo>
                    <a:lnTo>
                      <a:pt x="44" y="14"/>
                    </a:lnTo>
                    <a:lnTo>
                      <a:pt x="50" y="8"/>
                    </a:lnTo>
                    <a:lnTo>
                      <a:pt x="52" y="0"/>
                    </a:lnTo>
                    <a:lnTo>
                      <a:pt x="54" y="0"/>
                    </a:lnTo>
                    <a:lnTo>
                      <a:pt x="96" y="26"/>
                    </a:lnTo>
                    <a:lnTo>
                      <a:pt x="100" y="36"/>
                    </a:lnTo>
                    <a:lnTo>
                      <a:pt x="116" y="46"/>
                    </a:lnTo>
                    <a:lnTo>
                      <a:pt x="116" y="46"/>
                    </a:lnTo>
                    <a:lnTo>
                      <a:pt x="112" y="56"/>
                    </a:lnTo>
                    <a:lnTo>
                      <a:pt x="110" y="64"/>
                    </a:lnTo>
                    <a:lnTo>
                      <a:pt x="110" y="68"/>
                    </a:lnTo>
                    <a:lnTo>
                      <a:pt x="120" y="78"/>
                    </a:lnTo>
                    <a:lnTo>
                      <a:pt x="116" y="86"/>
                    </a:lnTo>
                    <a:lnTo>
                      <a:pt x="116" y="86"/>
                    </a:lnTo>
                    <a:lnTo>
                      <a:pt x="118" y="92"/>
                    </a:lnTo>
                    <a:lnTo>
                      <a:pt x="116" y="92"/>
                    </a:lnTo>
                    <a:lnTo>
                      <a:pt x="116" y="94"/>
                    </a:lnTo>
                    <a:lnTo>
                      <a:pt x="118" y="100"/>
                    </a:lnTo>
                    <a:lnTo>
                      <a:pt x="118" y="100"/>
                    </a:lnTo>
                    <a:lnTo>
                      <a:pt x="118" y="100"/>
                    </a:lnTo>
                    <a:lnTo>
                      <a:pt x="122" y="108"/>
                    </a:lnTo>
                    <a:lnTo>
                      <a:pt x="122" y="116"/>
                    </a:lnTo>
                    <a:lnTo>
                      <a:pt x="130" y="120"/>
                    </a:lnTo>
                    <a:lnTo>
                      <a:pt x="130" y="122"/>
                    </a:lnTo>
                    <a:lnTo>
                      <a:pt x="130" y="122"/>
                    </a:lnTo>
                    <a:lnTo>
                      <a:pt x="124" y="126"/>
                    </a:lnTo>
                    <a:lnTo>
                      <a:pt x="116" y="130"/>
                    </a:lnTo>
                    <a:lnTo>
                      <a:pt x="100" y="132"/>
                    </a:lnTo>
                    <a:lnTo>
                      <a:pt x="96" y="136"/>
                    </a:lnTo>
                    <a:lnTo>
                      <a:pt x="96" y="136"/>
                    </a:lnTo>
                    <a:lnTo>
                      <a:pt x="80" y="134"/>
                    </a:lnTo>
                    <a:lnTo>
                      <a:pt x="64" y="136"/>
                    </a:lnTo>
                    <a:lnTo>
                      <a:pt x="64" y="136"/>
                    </a:lnTo>
                    <a:lnTo>
                      <a:pt x="60" y="130"/>
                    </a:lnTo>
                    <a:lnTo>
                      <a:pt x="60" y="122"/>
                    </a:lnTo>
                    <a:lnTo>
                      <a:pt x="58" y="116"/>
                    </a:lnTo>
                    <a:lnTo>
                      <a:pt x="56" y="112"/>
                    </a:lnTo>
                    <a:lnTo>
                      <a:pt x="54" y="110"/>
                    </a:lnTo>
                    <a:lnTo>
                      <a:pt x="52" y="110"/>
                    </a:lnTo>
                    <a:lnTo>
                      <a:pt x="52" y="110"/>
                    </a:lnTo>
                    <a:lnTo>
                      <a:pt x="50" y="110"/>
                    </a:lnTo>
                    <a:lnTo>
                      <a:pt x="46" y="110"/>
                    </a:lnTo>
                    <a:lnTo>
                      <a:pt x="46" y="110"/>
                    </a:lnTo>
                    <a:lnTo>
                      <a:pt x="32" y="104"/>
                    </a:lnTo>
                    <a:lnTo>
                      <a:pt x="26" y="100"/>
                    </a:lnTo>
                    <a:lnTo>
                      <a:pt x="20" y="96"/>
                    </a:lnTo>
                    <a:lnTo>
                      <a:pt x="18" y="96"/>
                    </a:lnTo>
                    <a:close/>
                  </a:path>
                </a:pathLst>
              </a:custGeom>
              <a:solidFill>
                <a:schemeClr val="accent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0" name="Freeform 1599">
                <a:extLst>
                  <a:ext uri="{FF2B5EF4-FFF2-40B4-BE49-F238E27FC236}">
                    <a16:creationId xmlns:a16="http://schemas.microsoft.com/office/drawing/2014/main" id="{B5B8BC46-7D5D-4C4C-9399-78E2B322B766}"/>
                  </a:ext>
                </a:extLst>
              </p:cNvPr>
              <p:cNvSpPr>
                <a:spLocks/>
              </p:cNvSpPr>
              <p:nvPr/>
            </p:nvSpPr>
            <p:spPr bwMode="auto">
              <a:xfrm>
                <a:off x="3118" y="3000"/>
                <a:ext cx="151" cy="160"/>
              </a:xfrm>
              <a:custGeom>
                <a:avLst/>
                <a:gdLst/>
                <a:ahLst/>
                <a:cxnLst>
                  <a:cxn ang="0">
                    <a:pos x="81" y="152"/>
                  </a:cxn>
                  <a:cxn ang="0">
                    <a:pos x="81" y="152"/>
                  </a:cxn>
                  <a:cxn ang="0">
                    <a:pos x="67" y="152"/>
                  </a:cxn>
                  <a:cxn ang="0">
                    <a:pos x="47" y="152"/>
                  </a:cxn>
                  <a:cxn ang="0">
                    <a:pos x="27" y="150"/>
                  </a:cxn>
                  <a:cxn ang="0">
                    <a:pos x="19" y="148"/>
                  </a:cxn>
                  <a:cxn ang="0">
                    <a:pos x="13" y="146"/>
                  </a:cxn>
                  <a:cxn ang="0">
                    <a:pos x="0" y="152"/>
                  </a:cxn>
                  <a:cxn ang="0">
                    <a:pos x="0" y="152"/>
                  </a:cxn>
                  <a:cxn ang="0">
                    <a:pos x="3" y="134"/>
                  </a:cxn>
                  <a:cxn ang="0">
                    <a:pos x="7" y="114"/>
                  </a:cxn>
                  <a:cxn ang="0">
                    <a:pos x="13" y="98"/>
                  </a:cxn>
                  <a:cxn ang="0">
                    <a:pos x="19" y="90"/>
                  </a:cxn>
                  <a:cxn ang="0">
                    <a:pos x="23" y="84"/>
                  </a:cxn>
                  <a:cxn ang="0">
                    <a:pos x="25" y="62"/>
                  </a:cxn>
                  <a:cxn ang="0">
                    <a:pos x="17" y="44"/>
                  </a:cxn>
                  <a:cxn ang="0">
                    <a:pos x="21" y="40"/>
                  </a:cxn>
                  <a:cxn ang="0">
                    <a:pos x="21" y="40"/>
                  </a:cxn>
                  <a:cxn ang="0">
                    <a:pos x="17" y="22"/>
                  </a:cxn>
                  <a:cxn ang="0">
                    <a:pos x="13" y="14"/>
                  </a:cxn>
                  <a:cxn ang="0">
                    <a:pos x="9" y="6"/>
                  </a:cxn>
                  <a:cxn ang="0">
                    <a:pos x="9" y="6"/>
                  </a:cxn>
                  <a:cxn ang="0">
                    <a:pos x="13" y="4"/>
                  </a:cxn>
                  <a:cxn ang="0">
                    <a:pos x="19" y="2"/>
                  </a:cxn>
                  <a:cxn ang="0">
                    <a:pos x="31" y="0"/>
                  </a:cxn>
                  <a:cxn ang="0">
                    <a:pos x="55" y="0"/>
                  </a:cxn>
                  <a:cxn ang="0">
                    <a:pos x="61" y="4"/>
                  </a:cxn>
                  <a:cxn ang="0">
                    <a:pos x="61" y="4"/>
                  </a:cxn>
                  <a:cxn ang="0">
                    <a:pos x="63" y="18"/>
                  </a:cxn>
                  <a:cxn ang="0">
                    <a:pos x="67" y="24"/>
                  </a:cxn>
                  <a:cxn ang="0">
                    <a:pos x="71" y="30"/>
                  </a:cxn>
                  <a:cxn ang="0">
                    <a:pos x="71" y="30"/>
                  </a:cxn>
                  <a:cxn ang="0">
                    <a:pos x="75" y="30"/>
                  </a:cxn>
                  <a:cxn ang="0">
                    <a:pos x="81" y="30"/>
                  </a:cxn>
                  <a:cxn ang="0">
                    <a:pos x="93" y="28"/>
                  </a:cxn>
                  <a:cxn ang="0">
                    <a:pos x="95" y="16"/>
                  </a:cxn>
                  <a:cxn ang="0">
                    <a:pos x="111" y="14"/>
                  </a:cxn>
                  <a:cxn ang="0">
                    <a:pos x="111" y="20"/>
                  </a:cxn>
                  <a:cxn ang="0">
                    <a:pos x="121" y="20"/>
                  </a:cxn>
                  <a:cxn ang="0">
                    <a:pos x="121" y="20"/>
                  </a:cxn>
                  <a:cxn ang="0">
                    <a:pos x="123" y="22"/>
                  </a:cxn>
                  <a:cxn ang="0">
                    <a:pos x="123" y="22"/>
                  </a:cxn>
                  <a:cxn ang="0">
                    <a:pos x="125" y="48"/>
                  </a:cxn>
                  <a:cxn ang="0">
                    <a:pos x="125" y="62"/>
                  </a:cxn>
                  <a:cxn ang="0">
                    <a:pos x="125" y="70"/>
                  </a:cxn>
                  <a:cxn ang="0">
                    <a:pos x="129" y="72"/>
                  </a:cxn>
                  <a:cxn ang="0">
                    <a:pos x="131" y="68"/>
                  </a:cxn>
                  <a:cxn ang="0">
                    <a:pos x="149" y="66"/>
                  </a:cxn>
                  <a:cxn ang="0">
                    <a:pos x="151" y="68"/>
                  </a:cxn>
                  <a:cxn ang="0">
                    <a:pos x="149" y="92"/>
                  </a:cxn>
                  <a:cxn ang="0">
                    <a:pos x="151" y="94"/>
                  </a:cxn>
                  <a:cxn ang="0">
                    <a:pos x="125" y="94"/>
                  </a:cxn>
                  <a:cxn ang="0">
                    <a:pos x="125" y="142"/>
                  </a:cxn>
                  <a:cxn ang="0">
                    <a:pos x="139" y="154"/>
                  </a:cxn>
                  <a:cxn ang="0">
                    <a:pos x="139" y="154"/>
                  </a:cxn>
                  <a:cxn ang="0">
                    <a:pos x="133" y="158"/>
                  </a:cxn>
                  <a:cxn ang="0">
                    <a:pos x="125" y="160"/>
                  </a:cxn>
                  <a:cxn ang="0">
                    <a:pos x="113" y="160"/>
                  </a:cxn>
                  <a:cxn ang="0">
                    <a:pos x="99" y="158"/>
                  </a:cxn>
                  <a:cxn ang="0">
                    <a:pos x="85" y="156"/>
                  </a:cxn>
                  <a:cxn ang="0">
                    <a:pos x="81" y="152"/>
                  </a:cxn>
                </a:cxnLst>
                <a:rect l="0" t="0" r="r" b="b"/>
                <a:pathLst>
                  <a:path w="151" h="160">
                    <a:moveTo>
                      <a:pt x="81" y="152"/>
                    </a:moveTo>
                    <a:lnTo>
                      <a:pt x="81" y="152"/>
                    </a:lnTo>
                    <a:lnTo>
                      <a:pt x="67" y="152"/>
                    </a:lnTo>
                    <a:lnTo>
                      <a:pt x="47" y="152"/>
                    </a:lnTo>
                    <a:lnTo>
                      <a:pt x="27" y="150"/>
                    </a:lnTo>
                    <a:lnTo>
                      <a:pt x="19" y="148"/>
                    </a:lnTo>
                    <a:lnTo>
                      <a:pt x="13" y="146"/>
                    </a:lnTo>
                    <a:lnTo>
                      <a:pt x="0" y="152"/>
                    </a:lnTo>
                    <a:lnTo>
                      <a:pt x="0" y="152"/>
                    </a:lnTo>
                    <a:lnTo>
                      <a:pt x="3" y="134"/>
                    </a:lnTo>
                    <a:lnTo>
                      <a:pt x="7" y="114"/>
                    </a:lnTo>
                    <a:lnTo>
                      <a:pt x="13" y="98"/>
                    </a:lnTo>
                    <a:lnTo>
                      <a:pt x="19" y="90"/>
                    </a:lnTo>
                    <a:lnTo>
                      <a:pt x="23" y="84"/>
                    </a:lnTo>
                    <a:lnTo>
                      <a:pt x="25" y="62"/>
                    </a:lnTo>
                    <a:lnTo>
                      <a:pt x="17" y="44"/>
                    </a:lnTo>
                    <a:lnTo>
                      <a:pt x="21" y="40"/>
                    </a:lnTo>
                    <a:lnTo>
                      <a:pt x="21" y="40"/>
                    </a:lnTo>
                    <a:lnTo>
                      <a:pt x="17" y="22"/>
                    </a:lnTo>
                    <a:lnTo>
                      <a:pt x="13" y="14"/>
                    </a:lnTo>
                    <a:lnTo>
                      <a:pt x="9" y="6"/>
                    </a:lnTo>
                    <a:lnTo>
                      <a:pt x="9" y="6"/>
                    </a:lnTo>
                    <a:lnTo>
                      <a:pt x="13" y="4"/>
                    </a:lnTo>
                    <a:lnTo>
                      <a:pt x="19" y="2"/>
                    </a:lnTo>
                    <a:lnTo>
                      <a:pt x="31" y="0"/>
                    </a:lnTo>
                    <a:lnTo>
                      <a:pt x="55" y="0"/>
                    </a:lnTo>
                    <a:lnTo>
                      <a:pt x="61" y="4"/>
                    </a:lnTo>
                    <a:lnTo>
                      <a:pt x="61" y="4"/>
                    </a:lnTo>
                    <a:lnTo>
                      <a:pt x="63" y="18"/>
                    </a:lnTo>
                    <a:lnTo>
                      <a:pt x="67" y="24"/>
                    </a:lnTo>
                    <a:lnTo>
                      <a:pt x="71" y="30"/>
                    </a:lnTo>
                    <a:lnTo>
                      <a:pt x="71" y="30"/>
                    </a:lnTo>
                    <a:lnTo>
                      <a:pt x="75" y="30"/>
                    </a:lnTo>
                    <a:lnTo>
                      <a:pt x="81" y="30"/>
                    </a:lnTo>
                    <a:lnTo>
                      <a:pt x="93" y="28"/>
                    </a:lnTo>
                    <a:lnTo>
                      <a:pt x="95" y="16"/>
                    </a:lnTo>
                    <a:lnTo>
                      <a:pt x="111" y="14"/>
                    </a:lnTo>
                    <a:lnTo>
                      <a:pt x="111" y="20"/>
                    </a:lnTo>
                    <a:lnTo>
                      <a:pt x="121" y="20"/>
                    </a:lnTo>
                    <a:lnTo>
                      <a:pt x="121" y="20"/>
                    </a:lnTo>
                    <a:lnTo>
                      <a:pt x="123" y="22"/>
                    </a:lnTo>
                    <a:lnTo>
                      <a:pt x="123" y="22"/>
                    </a:lnTo>
                    <a:lnTo>
                      <a:pt x="125" y="48"/>
                    </a:lnTo>
                    <a:lnTo>
                      <a:pt x="125" y="62"/>
                    </a:lnTo>
                    <a:lnTo>
                      <a:pt x="125" y="70"/>
                    </a:lnTo>
                    <a:lnTo>
                      <a:pt x="129" y="72"/>
                    </a:lnTo>
                    <a:lnTo>
                      <a:pt x="131" y="68"/>
                    </a:lnTo>
                    <a:lnTo>
                      <a:pt x="149" y="66"/>
                    </a:lnTo>
                    <a:lnTo>
                      <a:pt x="151" y="68"/>
                    </a:lnTo>
                    <a:lnTo>
                      <a:pt x="149" y="92"/>
                    </a:lnTo>
                    <a:lnTo>
                      <a:pt x="151" y="94"/>
                    </a:lnTo>
                    <a:lnTo>
                      <a:pt x="125" y="94"/>
                    </a:lnTo>
                    <a:lnTo>
                      <a:pt x="125" y="142"/>
                    </a:lnTo>
                    <a:lnTo>
                      <a:pt x="139" y="154"/>
                    </a:lnTo>
                    <a:lnTo>
                      <a:pt x="139" y="154"/>
                    </a:lnTo>
                    <a:lnTo>
                      <a:pt x="133" y="158"/>
                    </a:lnTo>
                    <a:lnTo>
                      <a:pt x="125" y="160"/>
                    </a:lnTo>
                    <a:lnTo>
                      <a:pt x="113" y="160"/>
                    </a:lnTo>
                    <a:lnTo>
                      <a:pt x="99" y="158"/>
                    </a:lnTo>
                    <a:lnTo>
                      <a:pt x="85" y="156"/>
                    </a:lnTo>
                    <a:lnTo>
                      <a:pt x="81" y="15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1" name="Freeform 1600">
                <a:extLst>
                  <a:ext uri="{FF2B5EF4-FFF2-40B4-BE49-F238E27FC236}">
                    <a16:creationId xmlns:a16="http://schemas.microsoft.com/office/drawing/2014/main" id="{E8078FE5-CE22-4E91-B182-42729068A46F}"/>
                  </a:ext>
                </a:extLst>
              </p:cNvPr>
              <p:cNvSpPr>
                <a:spLocks/>
              </p:cNvSpPr>
              <p:nvPr/>
            </p:nvSpPr>
            <p:spPr bwMode="auto">
              <a:xfrm>
                <a:off x="3281" y="3128"/>
                <a:ext cx="94" cy="96"/>
              </a:xfrm>
              <a:custGeom>
                <a:avLst/>
                <a:gdLst/>
                <a:ahLst/>
                <a:cxnLst>
                  <a:cxn ang="0">
                    <a:pos x="38" y="16"/>
                  </a:cxn>
                  <a:cxn ang="0">
                    <a:pos x="42" y="16"/>
                  </a:cxn>
                  <a:cxn ang="0">
                    <a:pos x="44" y="14"/>
                  </a:cxn>
                  <a:cxn ang="0">
                    <a:pos x="42" y="12"/>
                  </a:cxn>
                  <a:cxn ang="0">
                    <a:pos x="42" y="12"/>
                  </a:cxn>
                  <a:cxn ang="0">
                    <a:pos x="42" y="6"/>
                  </a:cxn>
                  <a:cxn ang="0">
                    <a:pos x="42" y="6"/>
                  </a:cxn>
                  <a:cxn ang="0">
                    <a:pos x="52" y="2"/>
                  </a:cxn>
                  <a:cxn ang="0">
                    <a:pos x="56" y="0"/>
                  </a:cxn>
                  <a:cxn ang="0">
                    <a:pos x="62" y="0"/>
                  </a:cxn>
                  <a:cxn ang="0">
                    <a:pos x="62" y="4"/>
                  </a:cxn>
                  <a:cxn ang="0">
                    <a:pos x="62" y="4"/>
                  </a:cxn>
                  <a:cxn ang="0">
                    <a:pos x="68" y="4"/>
                  </a:cxn>
                  <a:cxn ang="0">
                    <a:pos x="76" y="8"/>
                  </a:cxn>
                  <a:cxn ang="0">
                    <a:pos x="92" y="14"/>
                  </a:cxn>
                  <a:cxn ang="0">
                    <a:pos x="92" y="14"/>
                  </a:cxn>
                  <a:cxn ang="0">
                    <a:pos x="94" y="36"/>
                  </a:cxn>
                  <a:cxn ang="0">
                    <a:pos x="92" y="52"/>
                  </a:cxn>
                  <a:cxn ang="0">
                    <a:pos x="86" y="70"/>
                  </a:cxn>
                  <a:cxn ang="0">
                    <a:pos x="78" y="88"/>
                  </a:cxn>
                  <a:cxn ang="0">
                    <a:pos x="78" y="88"/>
                  </a:cxn>
                  <a:cxn ang="0">
                    <a:pos x="76" y="96"/>
                  </a:cxn>
                  <a:cxn ang="0">
                    <a:pos x="76" y="96"/>
                  </a:cxn>
                  <a:cxn ang="0">
                    <a:pos x="72" y="92"/>
                  </a:cxn>
                  <a:cxn ang="0">
                    <a:pos x="66" y="90"/>
                  </a:cxn>
                  <a:cxn ang="0">
                    <a:pos x="52" y="88"/>
                  </a:cxn>
                  <a:cxn ang="0">
                    <a:pos x="50" y="88"/>
                  </a:cxn>
                  <a:cxn ang="0">
                    <a:pos x="32" y="80"/>
                  </a:cxn>
                  <a:cxn ang="0">
                    <a:pos x="30" y="68"/>
                  </a:cxn>
                  <a:cxn ang="0">
                    <a:pos x="30" y="68"/>
                  </a:cxn>
                  <a:cxn ang="0">
                    <a:pos x="24" y="62"/>
                  </a:cxn>
                  <a:cxn ang="0">
                    <a:pos x="20" y="58"/>
                  </a:cxn>
                  <a:cxn ang="0">
                    <a:pos x="16" y="58"/>
                  </a:cxn>
                  <a:cxn ang="0">
                    <a:pos x="16" y="58"/>
                  </a:cxn>
                  <a:cxn ang="0">
                    <a:pos x="8" y="44"/>
                  </a:cxn>
                  <a:cxn ang="0">
                    <a:pos x="2" y="34"/>
                  </a:cxn>
                  <a:cxn ang="0">
                    <a:pos x="0" y="30"/>
                  </a:cxn>
                  <a:cxn ang="0">
                    <a:pos x="0" y="30"/>
                  </a:cxn>
                  <a:cxn ang="0">
                    <a:pos x="8" y="32"/>
                  </a:cxn>
                  <a:cxn ang="0">
                    <a:pos x="14" y="30"/>
                  </a:cxn>
                  <a:cxn ang="0">
                    <a:pos x="18" y="32"/>
                  </a:cxn>
                  <a:cxn ang="0">
                    <a:pos x="18" y="32"/>
                  </a:cxn>
                  <a:cxn ang="0">
                    <a:pos x="38" y="16"/>
                  </a:cxn>
                  <a:cxn ang="0">
                    <a:pos x="38" y="16"/>
                  </a:cxn>
                </a:cxnLst>
                <a:rect l="0" t="0" r="r" b="b"/>
                <a:pathLst>
                  <a:path w="94" h="96">
                    <a:moveTo>
                      <a:pt x="38" y="16"/>
                    </a:moveTo>
                    <a:lnTo>
                      <a:pt x="42" y="16"/>
                    </a:lnTo>
                    <a:lnTo>
                      <a:pt x="44" y="14"/>
                    </a:lnTo>
                    <a:lnTo>
                      <a:pt x="42" y="12"/>
                    </a:lnTo>
                    <a:lnTo>
                      <a:pt x="42" y="12"/>
                    </a:lnTo>
                    <a:lnTo>
                      <a:pt x="42" y="6"/>
                    </a:lnTo>
                    <a:lnTo>
                      <a:pt x="42" y="6"/>
                    </a:lnTo>
                    <a:lnTo>
                      <a:pt x="52" y="2"/>
                    </a:lnTo>
                    <a:lnTo>
                      <a:pt x="56" y="0"/>
                    </a:lnTo>
                    <a:lnTo>
                      <a:pt x="62" y="0"/>
                    </a:lnTo>
                    <a:lnTo>
                      <a:pt x="62" y="4"/>
                    </a:lnTo>
                    <a:lnTo>
                      <a:pt x="62" y="4"/>
                    </a:lnTo>
                    <a:lnTo>
                      <a:pt x="68" y="4"/>
                    </a:lnTo>
                    <a:lnTo>
                      <a:pt x="76" y="8"/>
                    </a:lnTo>
                    <a:lnTo>
                      <a:pt x="92" y="14"/>
                    </a:lnTo>
                    <a:lnTo>
                      <a:pt x="92" y="14"/>
                    </a:lnTo>
                    <a:lnTo>
                      <a:pt x="94" y="36"/>
                    </a:lnTo>
                    <a:lnTo>
                      <a:pt x="92" y="52"/>
                    </a:lnTo>
                    <a:lnTo>
                      <a:pt x="86" y="70"/>
                    </a:lnTo>
                    <a:lnTo>
                      <a:pt x="78" y="88"/>
                    </a:lnTo>
                    <a:lnTo>
                      <a:pt x="78" y="88"/>
                    </a:lnTo>
                    <a:lnTo>
                      <a:pt x="76" y="96"/>
                    </a:lnTo>
                    <a:lnTo>
                      <a:pt x="76" y="96"/>
                    </a:lnTo>
                    <a:lnTo>
                      <a:pt x="72" y="92"/>
                    </a:lnTo>
                    <a:lnTo>
                      <a:pt x="66" y="90"/>
                    </a:lnTo>
                    <a:lnTo>
                      <a:pt x="52" y="88"/>
                    </a:lnTo>
                    <a:lnTo>
                      <a:pt x="50" y="88"/>
                    </a:lnTo>
                    <a:lnTo>
                      <a:pt x="32" y="80"/>
                    </a:lnTo>
                    <a:lnTo>
                      <a:pt x="30" y="68"/>
                    </a:lnTo>
                    <a:lnTo>
                      <a:pt x="30" y="68"/>
                    </a:lnTo>
                    <a:lnTo>
                      <a:pt x="24" y="62"/>
                    </a:lnTo>
                    <a:lnTo>
                      <a:pt x="20" y="58"/>
                    </a:lnTo>
                    <a:lnTo>
                      <a:pt x="16" y="58"/>
                    </a:lnTo>
                    <a:lnTo>
                      <a:pt x="16" y="58"/>
                    </a:lnTo>
                    <a:lnTo>
                      <a:pt x="8" y="44"/>
                    </a:lnTo>
                    <a:lnTo>
                      <a:pt x="2" y="34"/>
                    </a:lnTo>
                    <a:lnTo>
                      <a:pt x="0" y="30"/>
                    </a:lnTo>
                    <a:lnTo>
                      <a:pt x="0" y="30"/>
                    </a:lnTo>
                    <a:lnTo>
                      <a:pt x="8" y="32"/>
                    </a:lnTo>
                    <a:lnTo>
                      <a:pt x="14" y="30"/>
                    </a:lnTo>
                    <a:lnTo>
                      <a:pt x="18" y="32"/>
                    </a:lnTo>
                    <a:lnTo>
                      <a:pt x="18" y="32"/>
                    </a:lnTo>
                    <a:lnTo>
                      <a:pt x="38" y="16"/>
                    </a:lnTo>
                    <a:lnTo>
                      <a:pt x="38" y="1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2" name="Freeform 1601">
                <a:extLst>
                  <a:ext uri="{FF2B5EF4-FFF2-40B4-BE49-F238E27FC236}">
                    <a16:creationId xmlns:a16="http://schemas.microsoft.com/office/drawing/2014/main" id="{9BEAA82B-60F9-4EC5-84FB-6DB6C01F474A}"/>
                  </a:ext>
                </a:extLst>
              </p:cNvPr>
              <p:cNvSpPr>
                <a:spLocks/>
              </p:cNvSpPr>
              <p:nvPr/>
            </p:nvSpPr>
            <p:spPr bwMode="auto">
              <a:xfrm>
                <a:off x="3217" y="3158"/>
                <a:ext cx="114" cy="124"/>
              </a:xfrm>
              <a:custGeom>
                <a:avLst/>
                <a:gdLst/>
                <a:ahLst/>
                <a:cxnLst>
                  <a:cxn ang="0">
                    <a:pos x="114" y="58"/>
                  </a:cxn>
                  <a:cxn ang="0">
                    <a:pos x="96" y="50"/>
                  </a:cxn>
                  <a:cxn ang="0">
                    <a:pos x="94" y="38"/>
                  </a:cxn>
                  <a:cxn ang="0">
                    <a:pos x="94" y="38"/>
                  </a:cxn>
                  <a:cxn ang="0">
                    <a:pos x="88" y="32"/>
                  </a:cxn>
                  <a:cxn ang="0">
                    <a:pos x="84" y="28"/>
                  </a:cxn>
                  <a:cxn ang="0">
                    <a:pos x="80" y="28"/>
                  </a:cxn>
                  <a:cxn ang="0">
                    <a:pos x="80" y="28"/>
                  </a:cxn>
                  <a:cxn ang="0">
                    <a:pos x="72" y="14"/>
                  </a:cxn>
                  <a:cxn ang="0">
                    <a:pos x="66" y="4"/>
                  </a:cxn>
                  <a:cxn ang="0">
                    <a:pos x="64" y="0"/>
                  </a:cxn>
                  <a:cxn ang="0">
                    <a:pos x="60" y="0"/>
                  </a:cxn>
                  <a:cxn ang="0">
                    <a:pos x="60" y="0"/>
                  </a:cxn>
                  <a:cxn ang="0">
                    <a:pos x="52" y="4"/>
                  </a:cxn>
                  <a:cxn ang="0">
                    <a:pos x="44" y="10"/>
                  </a:cxn>
                  <a:cxn ang="0">
                    <a:pos x="42" y="4"/>
                  </a:cxn>
                  <a:cxn ang="0">
                    <a:pos x="42" y="4"/>
                  </a:cxn>
                  <a:cxn ang="0">
                    <a:pos x="36" y="4"/>
                  </a:cxn>
                  <a:cxn ang="0">
                    <a:pos x="28" y="4"/>
                  </a:cxn>
                  <a:cxn ang="0">
                    <a:pos x="12" y="8"/>
                  </a:cxn>
                  <a:cxn ang="0">
                    <a:pos x="12" y="56"/>
                  </a:cxn>
                  <a:cxn ang="0">
                    <a:pos x="0" y="56"/>
                  </a:cxn>
                  <a:cxn ang="0">
                    <a:pos x="0" y="94"/>
                  </a:cxn>
                  <a:cxn ang="0">
                    <a:pos x="12" y="106"/>
                  </a:cxn>
                  <a:cxn ang="0">
                    <a:pos x="10" y="120"/>
                  </a:cxn>
                  <a:cxn ang="0">
                    <a:pos x="20" y="124"/>
                  </a:cxn>
                  <a:cxn ang="0">
                    <a:pos x="20" y="124"/>
                  </a:cxn>
                  <a:cxn ang="0">
                    <a:pos x="26" y="122"/>
                  </a:cxn>
                  <a:cxn ang="0">
                    <a:pos x="34" y="116"/>
                  </a:cxn>
                  <a:cxn ang="0">
                    <a:pos x="48" y="104"/>
                  </a:cxn>
                  <a:cxn ang="0">
                    <a:pos x="58" y="108"/>
                  </a:cxn>
                  <a:cxn ang="0">
                    <a:pos x="68" y="106"/>
                  </a:cxn>
                  <a:cxn ang="0">
                    <a:pos x="68" y="106"/>
                  </a:cxn>
                  <a:cxn ang="0">
                    <a:pos x="88" y="80"/>
                  </a:cxn>
                  <a:cxn ang="0">
                    <a:pos x="102" y="66"/>
                  </a:cxn>
                  <a:cxn ang="0">
                    <a:pos x="108" y="60"/>
                  </a:cxn>
                  <a:cxn ang="0">
                    <a:pos x="114" y="58"/>
                  </a:cxn>
                  <a:cxn ang="0">
                    <a:pos x="114" y="58"/>
                  </a:cxn>
                </a:cxnLst>
                <a:rect l="0" t="0" r="r" b="b"/>
                <a:pathLst>
                  <a:path w="114" h="124">
                    <a:moveTo>
                      <a:pt x="114" y="58"/>
                    </a:moveTo>
                    <a:lnTo>
                      <a:pt x="96" y="50"/>
                    </a:lnTo>
                    <a:lnTo>
                      <a:pt x="94" y="38"/>
                    </a:lnTo>
                    <a:lnTo>
                      <a:pt x="94" y="38"/>
                    </a:lnTo>
                    <a:lnTo>
                      <a:pt x="88" y="32"/>
                    </a:lnTo>
                    <a:lnTo>
                      <a:pt x="84" y="28"/>
                    </a:lnTo>
                    <a:lnTo>
                      <a:pt x="80" y="28"/>
                    </a:lnTo>
                    <a:lnTo>
                      <a:pt x="80" y="28"/>
                    </a:lnTo>
                    <a:lnTo>
                      <a:pt x="72" y="14"/>
                    </a:lnTo>
                    <a:lnTo>
                      <a:pt x="66" y="4"/>
                    </a:lnTo>
                    <a:lnTo>
                      <a:pt x="64" y="0"/>
                    </a:lnTo>
                    <a:lnTo>
                      <a:pt x="60" y="0"/>
                    </a:lnTo>
                    <a:lnTo>
                      <a:pt x="60" y="0"/>
                    </a:lnTo>
                    <a:lnTo>
                      <a:pt x="52" y="4"/>
                    </a:lnTo>
                    <a:lnTo>
                      <a:pt x="44" y="10"/>
                    </a:lnTo>
                    <a:lnTo>
                      <a:pt x="42" y="4"/>
                    </a:lnTo>
                    <a:lnTo>
                      <a:pt x="42" y="4"/>
                    </a:lnTo>
                    <a:lnTo>
                      <a:pt x="36" y="4"/>
                    </a:lnTo>
                    <a:lnTo>
                      <a:pt x="28" y="4"/>
                    </a:lnTo>
                    <a:lnTo>
                      <a:pt x="12" y="8"/>
                    </a:lnTo>
                    <a:lnTo>
                      <a:pt x="12" y="56"/>
                    </a:lnTo>
                    <a:lnTo>
                      <a:pt x="0" y="56"/>
                    </a:lnTo>
                    <a:lnTo>
                      <a:pt x="0" y="94"/>
                    </a:lnTo>
                    <a:lnTo>
                      <a:pt x="12" y="106"/>
                    </a:lnTo>
                    <a:lnTo>
                      <a:pt x="10" y="120"/>
                    </a:lnTo>
                    <a:lnTo>
                      <a:pt x="20" y="124"/>
                    </a:lnTo>
                    <a:lnTo>
                      <a:pt x="20" y="124"/>
                    </a:lnTo>
                    <a:lnTo>
                      <a:pt x="26" y="122"/>
                    </a:lnTo>
                    <a:lnTo>
                      <a:pt x="34" y="116"/>
                    </a:lnTo>
                    <a:lnTo>
                      <a:pt x="48" y="104"/>
                    </a:lnTo>
                    <a:lnTo>
                      <a:pt x="58" y="108"/>
                    </a:lnTo>
                    <a:lnTo>
                      <a:pt x="68" y="106"/>
                    </a:lnTo>
                    <a:lnTo>
                      <a:pt x="68" y="106"/>
                    </a:lnTo>
                    <a:lnTo>
                      <a:pt x="88" y="80"/>
                    </a:lnTo>
                    <a:lnTo>
                      <a:pt x="102" y="66"/>
                    </a:lnTo>
                    <a:lnTo>
                      <a:pt x="108" y="60"/>
                    </a:lnTo>
                    <a:lnTo>
                      <a:pt x="114" y="58"/>
                    </a:lnTo>
                    <a:lnTo>
                      <a:pt x="114" y="5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3" name="Freeform 1602">
                <a:extLst>
                  <a:ext uri="{FF2B5EF4-FFF2-40B4-BE49-F238E27FC236}">
                    <a16:creationId xmlns:a16="http://schemas.microsoft.com/office/drawing/2014/main" id="{2059DAD9-C71C-44F4-9769-1416BF8A4DA9}"/>
                  </a:ext>
                </a:extLst>
              </p:cNvPr>
              <p:cNvSpPr>
                <a:spLocks/>
              </p:cNvSpPr>
              <p:nvPr/>
            </p:nvSpPr>
            <p:spPr bwMode="auto">
              <a:xfrm>
                <a:off x="3118" y="3146"/>
                <a:ext cx="163" cy="168"/>
              </a:xfrm>
              <a:custGeom>
                <a:avLst/>
                <a:gdLst/>
                <a:ahLst/>
                <a:cxnLst>
                  <a:cxn ang="0">
                    <a:pos x="81" y="6"/>
                  </a:cxn>
                  <a:cxn ang="0">
                    <a:pos x="81" y="6"/>
                  </a:cxn>
                  <a:cxn ang="0">
                    <a:pos x="67" y="6"/>
                  </a:cxn>
                  <a:cxn ang="0">
                    <a:pos x="47" y="6"/>
                  </a:cxn>
                  <a:cxn ang="0">
                    <a:pos x="27" y="4"/>
                  </a:cxn>
                  <a:cxn ang="0">
                    <a:pos x="19" y="2"/>
                  </a:cxn>
                  <a:cxn ang="0">
                    <a:pos x="13" y="0"/>
                  </a:cxn>
                  <a:cxn ang="0">
                    <a:pos x="0" y="6"/>
                  </a:cxn>
                  <a:cxn ang="0">
                    <a:pos x="0" y="6"/>
                  </a:cxn>
                  <a:cxn ang="0">
                    <a:pos x="0" y="16"/>
                  </a:cxn>
                  <a:cxn ang="0">
                    <a:pos x="0" y="16"/>
                  </a:cxn>
                  <a:cxn ang="0">
                    <a:pos x="19" y="46"/>
                  </a:cxn>
                  <a:cxn ang="0">
                    <a:pos x="27" y="62"/>
                  </a:cxn>
                  <a:cxn ang="0">
                    <a:pos x="33" y="76"/>
                  </a:cxn>
                  <a:cxn ang="0">
                    <a:pos x="33" y="76"/>
                  </a:cxn>
                  <a:cxn ang="0">
                    <a:pos x="33" y="98"/>
                  </a:cxn>
                  <a:cxn ang="0">
                    <a:pos x="33" y="98"/>
                  </a:cxn>
                  <a:cxn ang="0">
                    <a:pos x="35" y="104"/>
                  </a:cxn>
                  <a:cxn ang="0">
                    <a:pos x="39" y="110"/>
                  </a:cxn>
                  <a:cxn ang="0">
                    <a:pos x="39" y="110"/>
                  </a:cxn>
                  <a:cxn ang="0">
                    <a:pos x="43" y="140"/>
                  </a:cxn>
                  <a:cxn ang="0">
                    <a:pos x="45" y="146"/>
                  </a:cxn>
                  <a:cxn ang="0">
                    <a:pos x="47" y="152"/>
                  </a:cxn>
                  <a:cxn ang="0">
                    <a:pos x="53" y="158"/>
                  </a:cxn>
                  <a:cxn ang="0">
                    <a:pos x="59" y="162"/>
                  </a:cxn>
                  <a:cxn ang="0">
                    <a:pos x="59" y="162"/>
                  </a:cxn>
                  <a:cxn ang="0">
                    <a:pos x="65" y="162"/>
                  </a:cxn>
                  <a:cxn ang="0">
                    <a:pos x="73" y="162"/>
                  </a:cxn>
                  <a:cxn ang="0">
                    <a:pos x="89" y="168"/>
                  </a:cxn>
                  <a:cxn ang="0">
                    <a:pos x="99" y="160"/>
                  </a:cxn>
                  <a:cxn ang="0">
                    <a:pos x="99" y="68"/>
                  </a:cxn>
                  <a:cxn ang="0">
                    <a:pos x="111" y="68"/>
                  </a:cxn>
                  <a:cxn ang="0">
                    <a:pos x="111" y="20"/>
                  </a:cxn>
                  <a:cxn ang="0">
                    <a:pos x="111" y="20"/>
                  </a:cxn>
                  <a:cxn ang="0">
                    <a:pos x="127" y="16"/>
                  </a:cxn>
                  <a:cxn ang="0">
                    <a:pos x="135" y="16"/>
                  </a:cxn>
                  <a:cxn ang="0">
                    <a:pos x="141" y="16"/>
                  </a:cxn>
                  <a:cxn ang="0">
                    <a:pos x="143" y="22"/>
                  </a:cxn>
                  <a:cxn ang="0">
                    <a:pos x="143" y="22"/>
                  </a:cxn>
                  <a:cxn ang="0">
                    <a:pos x="151" y="16"/>
                  </a:cxn>
                  <a:cxn ang="0">
                    <a:pos x="159" y="12"/>
                  </a:cxn>
                  <a:cxn ang="0">
                    <a:pos x="163" y="12"/>
                  </a:cxn>
                  <a:cxn ang="0">
                    <a:pos x="159" y="8"/>
                  </a:cxn>
                  <a:cxn ang="0">
                    <a:pos x="159" y="8"/>
                  </a:cxn>
                  <a:cxn ang="0">
                    <a:pos x="155" y="6"/>
                  </a:cxn>
                  <a:cxn ang="0">
                    <a:pos x="149" y="6"/>
                  </a:cxn>
                  <a:cxn ang="0">
                    <a:pos x="139" y="8"/>
                  </a:cxn>
                  <a:cxn ang="0">
                    <a:pos x="127" y="12"/>
                  </a:cxn>
                  <a:cxn ang="0">
                    <a:pos x="119" y="14"/>
                  </a:cxn>
                  <a:cxn ang="0">
                    <a:pos x="119" y="14"/>
                  </a:cxn>
                  <a:cxn ang="0">
                    <a:pos x="111" y="14"/>
                  </a:cxn>
                  <a:cxn ang="0">
                    <a:pos x="103" y="12"/>
                  </a:cxn>
                  <a:cxn ang="0">
                    <a:pos x="93" y="10"/>
                  </a:cxn>
                  <a:cxn ang="0">
                    <a:pos x="85" y="10"/>
                  </a:cxn>
                  <a:cxn ang="0">
                    <a:pos x="81" y="6"/>
                  </a:cxn>
                </a:cxnLst>
                <a:rect l="0" t="0" r="r" b="b"/>
                <a:pathLst>
                  <a:path w="163" h="168">
                    <a:moveTo>
                      <a:pt x="81" y="6"/>
                    </a:moveTo>
                    <a:lnTo>
                      <a:pt x="81" y="6"/>
                    </a:lnTo>
                    <a:lnTo>
                      <a:pt x="67" y="6"/>
                    </a:lnTo>
                    <a:lnTo>
                      <a:pt x="47" y="6"/>
                    </a:lnTo>
                    <a:lnTo>
                      <a:pt x="27" y="4"/>
                    </a:lnTo>
                    <a:lnTo>
                      <a:pt x="19" y="2"/>
                    </a:lnTo>
                    <a:lnTo>
                      <a:pt x="13" y="0"/>
                    </a:lnTo>
                    <a:lnTo>
                      <a:pt x="0" y="6"/>
                    </a:lnTo>
                    <a:lnTo>
                      <a:pt x="0" y="6"/>
                    </a:lnTo>
                    <a:lnTo>
                      <a:pt x="0" y="16"/>
                    </a:lnTo>
                    <a:lnTo>
                      <a:pt x="0" y="16"/>
                    </a:lnTo>
                    <a:lnTo>
                      <a:pt x="19" y="46"/>
                    </a:lnTo>
                    <a:lnTo>
                      <a:pt x="27" y="62"/>
                    </a:lnTo>
                    <a:lnTo>
                      <a:pt x="33" y="76"/>
                    </a:lnTo>
                    <a:lnTo>
                      <a:pt x="33" y="76"/>
                    </a:lnTo>
                    <a:lnTo>
                      <a:pt x="33" y="98"/>
                    </a:lnTo>
                    <a:lnTo>
                      <a:pt x="33" y="98"/>
                    </a:lnTo>
                    <a:lnTo>
                      <a:pt x="35" y="104"/>
                    </a:lnTo>
                    <a:lnTo>
                      <a:pt x="39" y="110"/>
                    </a:lnTo>
                    <a:lnTo>
                      <a:pt x="39" y="110"/>
                    </a:lnTo>
                    <a:lnTo>
                      <a:pt x="43" y="140"/>
                    </a:lnTo>
                    <a:lnTo>
                      <a:pt x="45" y="146"/>
                    </a:lnTo>
                    <a:lnTo>
                      <a:pt x="47" y="152"/>
                    </a:lnTo>
                    <a:lnTo>
                      <a:pt x="53" y="158"/>
                    </a:lnTo>
                    <a:lnTo>
                      <a:pt x="59" y="162"/>
                    </a:lnTo>
                    <a:lnTo>
                      <a:pt x="59" y="162"/>
                    </a:lnTo>
                    <a:lnTo>
                      <a:pt x="65" y="162"/>
                    </a:lnTo>
                    <a:lnTo>
                      <a:pt x="73" y="162"/>
                    </a:lnTo>
                    <a:lnTo>
                      <a:pt x="89" y="168"/>
                    </a:lnTo>
                    <a:lnTo>
                      <a:pt x="99" y="160"/>
                    </a:lnTo>
                    <a:lnTo>
                      <a:pt x="99" y="68"/>
                    </a:lnTo>
                    <a:lnTo>
                      <a:pt x="111" y="68"/>
                    </a:lnTo>
                    <a:lnTo>
                      <a:pt x="111" y="20"/>
                    </a:lnTo>
                    <a:lnTo>
                      <a:pt x="111" y="20"/>
                    </a:lnTo>
                    <a:lnTo>
                      <a:pt x="127" y="16"/>
                    </a:lnTo>
                    <a:lnTo>
                      <a:pt x="135" y="16"/>
                    </a:lnTo>
                    <a:lnTo>
                      <a:pt x="141" y="16"/>
                    </a:lnTo>
                    <a:lnTo>
                      <a:pt x="143" y="22"/>
                    </a:lnTo>
                    <a:lnTo>
                      <a:pt x="143" y="22"/>
                    </a:lnTo>
                    <a:lnTo>
                      <a:pt x="151" y="16"/>
                    </a:lnTo>
                    <a:lnTo>
                      <a:pt x="159" y="12"/>
                    </a:lnTo>
                    <a:lnTo>
                      <a:pt x="163" y="12"/>
                    </a:lnTo>
                    <a:lnTo>
                      <a:pt x="159" y="8"/>
                    </a:lnTo>
                    <a:lnTo>
                      <a:pt x="159" y="8"/>
                    </a:lnTo>
                    <a:lnTo>
                      <a:pt x="155" y="6"/>
                    </a:lnTo>
                    <a:lnTo>
                      <a:pt x="149" y="6"/>
                    </a:lnTo>
                    <a:lnTo>
                      <a:pt x="139" y="8"/>
                    </a:lnTo>
                    <a:lnTo>
                      <a:pt x="127" y="12"/>
                    </a:lnTo>
                    <a:lnTo>
                      <a:pt x="119" y="14"/>
                    </a:lnTo>
                    <a:lnTo>
                      <a:pt x="119" y="14"/>
                    </a:lnTo>
                    <a:lnTo>
                      <a:pt x="111" y="14"/>
                    </a:lnTo>
                    <a:lnTo>
                      <a:pt x="103" y="12"/>
                    </a:lnTo>
                    <a:lnTo>
                      <a:pt x="93" y="10"/>
                    </a:lnTo>
                    <a:lnTo>
                      <a:pt x="85" y="10"/>
                    </a:lnTo>
                    <a:lnTo>
                      <a:pt x="81"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4" name="Freeform 1603">
                <a:extLst>
                  <a:ext uri="{FF2B5EF4-FFF2-40B4-BE49-F238E27FC236}">
                    <a16:creationId xmlns:a16="http://schemas.microsoft.com/office/drawing/2014/main" id="{E204352B-DAC9-4739-B19B-B27F997FA1D0}"/>
                  </a:ext>
                </a:extLst>
              </p:cNvPr>
              <p:cNvSpPr>
                <a:spLocks/>
              </p:cNvSpPr>
              <p:nvPr/>
            </p:nvSpPr>
            <p:spPr bwMode="auto">
              <a:xfrm>
                <a:off x="2980" y="2618"/>
                <a:ext cx="191" cy="158"/>
              </a:xfrm>
              <a:custGeom>
                <a:avLst/>
                <a:gdLst/>
                <a:ahLst/>
                <a:cxnLst>
                  <a:cxn ang="0">
                    <a:pos x="48" y="60"/>
                  </a:cxn>
                  <a:cxn ang="0">
                    <a:pos x="48" y="102"/>
                  </a:cxn>
                  <a:cxn ang="0">
                    <a:pos x="44" y="102"/>
                  </a:cxn>
                  <a:cxn ang="0">
                    <a:pos x="40" y="110"/>
                  </a:cxn>
                  <a:cxn ang="0">
                    <a:pos x="14" y="110"/>
                  </a:cxn>
                  <a:cxn ang="0">
                    <a:pos x="8" y="116"/>
                  </a:cxn>
                  <a:cxn ang="0">
                    <a:pos x="0" y="116"/>
                  </a:cxn>
                  <a:cxn ang="0">
                    <a:pos x="0" y="122"/>
                  </a:cxn>
                  <a:cxn ang="0">
                    <a:pos x="0" y="122"/>
                  </a:cxn>
                  <a:cxn ang="0">
                    <a:pos x="2" y="128"/>
                  </a:cxn>
                  <a:cxn ang="0">
                    <a:pos x="6" y="134"/>
                  </a:cxn>
                  <a:cxn ang="0">
                    <a:pos x="12" y="138"/>
                  </a:cxn>
                  <a:cxn ang="0">
                    <a:pos x="14" y="144"/>
                  </a:cxn>
                  <a:cxn ang="0">
                    <a:pos x="18" y="146"/>
                  </a:cxn>
                  <a:cxn ang="0">
                    <a:pos x="24" y="146"/>
                  </a:cxn>
                  <a:cxn ang="0">
                    <a:pos x="26" y="148"/>
                  </a:cxn>
                  <a:cxn ang="0">
                    <a:pos x="24" y="150"/>
                  </a:cxn>
                  <a:cxn ang="0">
                    <a:pos x="24" y="152"/>
                  </a:cxn>
                  <a:cxn ang="0">
                    <a:pos x="28" y="156"/>
                  </a:cxn>
                  <a:cxn ang="0">
                    <a:pos x="28" y="154"/>
                  </a:cxn>
                  <a:cxn ang="0">
                    <a:pos x="28" y="152"/>
                  </a:cxn>
                  <a:cxn ang="0">
                    <a:pos x="32" y="150"/>
                  </a:cxn>
                  <a:cxn ang="0">
                    <a:pos x="42" y="158"/>
                  </a:cxn>
                  <a:cxn ang="0">
                    <a:pos x="42" y="148"/>
                  </a:cxn>
                  <a:cxn ang="0">
                    <a:pos x="42" y="148"/>
                  </a:cxn>
                  <a:cxn ang="0">
                    <a:pos x="46" y="142"/>
                  </a:cxn>
                  <a:cxn ang="0">
                    <a:pos x="48" y="136"/>
                  </a:cxn>
                  <a:cxn ang="0">
                    <a:pos x="66" y="132"/>
                  </a:cxn>
                  <a:cxn ang="0">
                    <a:pos x="82" y="142"/>
                  </a:cxn>
                  <a:cxn ang="0">
                    <a:pos x="82" y="142"/>
                  </a:cxn>
                  <a:cxn ang="0">
                    <a:pos x="88" y="140"/>
                  </a:cxn>
                  <a:cxn ang="0">
                    <a:pos x="94" y="138"/>
                  </a:cxn>
                  <a:cxn ang="0">
                    <a:pos x="112" y="144"/>
                  </a:cxn>
                  <a:cxn ang="0">
                    <a:pos x="122" y="138"/>
                  </a:cxn>
                  <a:cxn ang="0">
                    <a:pos x="147" y="140"/>
                  </a:cxn>
                  <a:cxn ang="0">
                    <a:pos x="157" y="130"/>
                  </a:cxn>
                  <a:cxn ang="0">
                    <a:pos x="161" y="130"/>
                  </a:cxn>
                  <a:cxn ang="0">
                    <a:pos x="163" y="114"/>
                  </a:cxn>
                  <a:cxn ang="0">
                    <a:pos x="183" y="90"/>
                  </a:cxn>
                  <a:cxn ang="0">
                    <a:pos x="183" y="90"/>
                  </a:cxn>
                  <a:cxn ang="0">
                    <a:pos x="185" y="64"/>
                  </a:cxn>
                  <a:cxn ang="0">
                    <a:pos x="187" y="50"/>
                  </a:cxn>
                  <a:cxn ang="0">
                    <a:pos x="189" y="46"/>
                  </a:cxn>
                  <a:cxn ang="0">
                    <a:pos x="191" y="42"/>
                  </a:cxn>
                  <a:cxn ang="0">
                    <a:pos x="179" y="28"/>
                  </a:cxn>
                  <a:cxn ang="0">
                    <a:pos x="179" y="6"/>
                  </a:cxn>
                  <a:cxn ang="0">
                    <a:pos x="175" y="8"/>
                  </a:cxn>
                  <a:cxn ang="0">
                    <a:pos x="167" y="0"/>
                  </a:cxn>
                  <a:cxn ang="0">
                    <a:pos x="138" y="0"/>
                  </a:cxn>
                  <a:cxn ang="0">
                    <a:pos x="138" y="0"/>
                  </a:cxn>
                  <a:cxn ang="0">
                    <a:pos x="94" y="36"/>
                  </a:cxn>
                  <a:cxn ang="0">
                    <a:pos x="68" y="54"/>
                  </a:cxn>
                  <a:cxn ang="0">
                    <a:pos x="56" y="58"/>
                  </a:cxn>
                  <a:cxn ang="0">
                    <a:pos x="48" y="60"/>
                  </a:cxn>
                  <a:cxn ang="0">
                    <a:pos x="48" y="60"/>
                  </a:cxn>
                </a:cxnLst>
                <a:rect l="0" t="0" r="r" b="b"/>
                <a:pathLst>
                  <a:path w="191" h="158">
                    <a:moveTo>
                      <a:pt x="48" y="60"/>
                    </a:moveTo>
                    <a:lnTo>
                      <a:pt x="48" y="102"/>
                    </a:lnTo>
                    <a:lnTo>
                      <a:pt x="44" y="102"/>
                    </a:lnTo>
                    <a:lnTo>
                      <a:pt x="40" y="110"/>
                    </a:lnTo>
                    <a:lnTo>
                      <a:pt x="14" y="110"/>
                    </a:lnTo>
                    <a:lnTo>
                      <a:pt x="8" y="116"/>
                    </a:lnTo>
                    <a:lnTo>
                      <a:pt x="0" y="116"/>
                    </a:lnTo>
                    <a:lnTo>
                      <a:pt x="0" y="122"/>
                    </a:lnTo>
                    <a:lnTo>
                      <a:pt x="0" y="122"/>
                    </a:lnTo>
                    <a:lnTo>
                      <a:pt x="2" y="128"/>
                    </a:lnTo>
                    <a:lnTo>
                      <a:pt x="6" y="134"/>
                    </a:lnTo>
                    <a:lnTo>
                      <a:pt x="12" y="138"/>
                    </a:lnTo>
                    <a:lnTo>
                      <a:pt x="14" y="144"/>
                    </a:lnTo>
                    <a:lnTo>
                      <a:pt x="18" y="146"/>
                    </a:lnTo>
                    <a:lnTo>
                      <a:pt x="24" y="146"/>
                    </a:lnTo>
                    <a:lnTo>
                      <a:pt x="26" y="148"/>
                    </a:lnTo>
                    <a:lnTo>
                      <a:pt x="24" y="150"/>
                    </a:lnTo>
                    <a:lnTo>
                      <a:pt x="24" y="152"/>
                    </a:lnTo>
                    <a:lnTo>
                      <a:pt x="28" y="156"/>
                    </a:lnTo>
                    <a:lnTo>
                      <a:pt x="28" y="154"/>
                    </a:lnTo>
                    <a:lnTo>
                      <a:pt x="28" y="152"/>
                    </a:lnTo>
                    <a:lnTo>
                      <a:pt x="32" y="150"/>
                    </a:lnTo>
                    <a:lnTo>
                      <a:pt x="42" y="158"/>
                    </a:lnTo>
                    <a:lnTo>
                      <a:pt x="42" y="148"/>
                    </a:lnTo>
                    <a:lnTo>
                      <a:pt x="42" y="148"/>
                    </a:lnTo>
                    <a:lnTo>
                      <a:pt x="46" y="142"/>
                    </a:lnTo>
                    <a:lnTo>
                      <a:pt x="48" y="136"/>
                    </a:lnTo>
                    <a:lnTo>
                      <a:pt x="66" y="132"/>
                    </a:lnTo>
                    <a:lnTo>
                      <a:pt x="82" y="142"/>
                    </a:lnTo>
                    <a:lnTo>
                      <a:pt x="82" y="142"/>
                    </a:lnTo>
                    <a:lnTo>
                      <a:pt x="88" y="140"/>
                    </a:lnTo>
                    <a:lnTo>
                      <a:pt x="94" y="138"/>
                    </a:lnTo>
                    <a:lnTo>
                      <a:pt x="112" y="144"/>
                    </a:lnTo>
                    <a:lnTo>
                      <a:pt x="122" y="138"/>
                    </a:lnTo>
                    <a:lnTo>
                      <a:pt x="147" y="140"/>
                    </a:lnTo>
                    <a:lnTo>
                      <a:pt x="157" y="130"/>
                    </a:lnTo>
                    <a:lnTo>
                      <a:pt x="161" y="130"/>
                    </a:lnTo>
                    <a:lnTo>
                      <a:pt x="163" y="114"/>
                    </a:lnTo>
                    <a:lnTo>
                      <a:pt x="183" y="90"/>
                    </a:lnTo>
                    <a:lnTo>
                      <a:pt x="183" y="90"/>
                    </a:lnTo>
                    <a:lnTo>
                      <a:pt x="185" y="64"/>
                    </a:lnTo>
                    <a:lnTo>
                      <a:pt x="187" y="50"/>
                    </a:lnTo>
                    <a:lnTo>
                      <a:pt x="189" y="46"/>
                    </a:lnTo>
                    <a:lnTo>
                      <a:pt x="191" y="42"/>
                    </a:lnTo>
                    <a:lnTo>
                      <a:pt x="179" y="28"/>
                    </a:lnTo>
                    <a:lnTo>
                      <a:pt x="179" y="6"/>
                    </a:lnTo>
                    <a:lnTo>
                      <a:pt x="175" y="8"/>
                    </a:lnTo>
                    <a:lnTo>
                      <a:pt x="167" y="0"/>
                    </a:lnTo>
                    <a:lnTo>
                      <a:pt x="138" y="0"/>
                    </a:lnTo>
                    <a:lnTo>
                      <a:pt x="138" y="0"/>
                    </a:lnTo>
                    <a:lnTo>
                      <a:pt x="94" y="36"/>
                    </a:lnTo>
                    <a:lnTo>
                      <a:pt x="68" y="54"/>
                    </a:lnTo>
                    <a:lnTo>
                      <a:pt x="56" y="58"/>
                    </a:lnTo>
                    <a:lnTo>
                      <a:pt x="48" y="60"/>
                    </a:lnTo>
                    <a:lnTo>
                      <a:pt x="48" y="6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5" name="Freeform 1604">
                <a:extLst>
                  <a:ext uri="{FF2B5EF4-FFF2-40B4-BE49-F238E27FC236}">
                    <a16:creationId xmlns:a16="http://schemas.microsoft.com/office/drawing/2014/main" id="{FC6249A2-5AC2-4C73-95B1-40CDB994D930}"/>
                  </a:ext>
                </a:extLst>
              </p:cNvPr>
              <p:cNvSpPr>
                <a:spLocks/>
              </p:cNvSpPr>
              <p:nvPr/>
            </p:nvSpPr>
            <p:spPr bwMode="auto">
              <a:xfrm>
                <a:off x="3066" y="2414"/>
                <a:ext cx="48" cy="106"/>
              </a:xfrm>
              <a:custGeom>
                <a:avLst/>
                <a:gdLst/>
                <a:ahLst/>
                <a:cxnLst>
                  <a:cxn ang="0">
                    <a:pos x="12" y="12"/>
                  </a:cxn>
                  <a:cxn ang="0">
                    <a:pos x="14" y="12"/>
                  </a:cxn>
                  <a:cxn ang="0">
                    <a:pos x="14" y="12"/>
                  </a:cxn>
                  <a:cxn ang="0">
                    <a:pos x="12" y="20"/>
                  </a:cxn>
                  <a:cxn ang="0">
                    <a:pos x="12" y="28"/>
                  </a:cxn>
                  <a:cxn ang="0">
                    <a:pos x="14" y="34"/>
                  </a:cxn>
                  <a:cxn ang="0">
                    <a:pos x="12" y="42"/>
                  </a:cxn>
                  <a:cxn ang="0">
                    <a:pos x="0" y="52"/>
                  </a:cxn>
                  <a:cxn ang="0">
                    <a:pos x="4" y="62"/>
                  </a:cxn>
                  <a:cxn ang="0">
                    <a:pos x="8" y="66"/>
                  </a:cxn>
                  <a:cxn ang="0">
                    <a:pos x="10" y="74"/>
                  </a:cxn>
                  <a:cxn ang="0">
                    <a:pos x="20" y="80"/>
                  </a:cxn>
                  <a:cxn ang="0">
                    <a:pos x="24" y="106"/>
                  </a:cxn>
                  <a:cxn ang="0">
                    <a:pos x="34" y="100"/>
                  </a:cxn>
                  <a:cxn ang="0">
                    <a:pos x="34" y="100"/>
                  </a:cxn>
                  <a:cxn ang="0">
                    <a:pos x="32" y="94"/>
                  </a:cxn>
                  <a:cxn ang="0">
                    <a:pos x="34" y="88"/>
                  </a:cxn>
                  <a:cxn ang="0">
                    <a:pos x="48" y="76"/>
                  </a:cxn>
                  <a:cxn ang="0">
                    <a:pos x="48" y="64"/>
                  </a:cxn>
                  <a:cxn ang="0">
                    <a:pos x="44" y="64"/>
                  </a:cxn>
                  <a:cxn ang="0">
                    <a:pos x="42" y="58"/>
                  </a:cxn>
                  <a:cxn ang="0">
                    <a:pos x="40" y="58"/>
                  </a:cxn>
                  <a:cxn ang="0">
                    <a:pos x="40" y="58"/>
                  </a:cxn>
                  <a:cxn ang="0">
                    <a:pos x="36" y="54"/>
                  </a:cxn>
                  <a:cxn ang="0">
                    <a:pos x="30" y="52"/>
                  </a:cxn>
                  <a:cxn ang="0">
                    <a:pos x="30" y="50"/>
                  </a:cxn>
                  <a:cxn ang="0">
                    <a:pos x="34" y="50"/>
                  </a:cxn>
                  <a:cxn ang="0">
                    <a:pos x="34" y="46"/>
                  </a:cxn>
                  <a:cxn ang="0">
                    <a:pos x="34" y="46"/>
                  </a:cxn>
                  <a:cxn ang="0">
                    <a:pos x="42" y="40"/>
                  </a:cxn>
                  <a:cxn ang="0">
                    <a:pos x="44" y="36"/>
                  </a:cxn>
                  <a:cxn ang="0">
                    <a:pos x="46" y="32"/>
                  </a:cxn>
                  <a:cxn ang="0">
                    <a:pos x="44" y="26"/>
                  </a:cxn>
                  <a:cxn ang="0">
                    <a:pos x="40" y="22"/>
                  </a:cxn>
                  <a:cxn ang="0">
                    <a:pos x="38" y="18"/>
                  </a:cxn>
                  <a:cxn ang="0">
                    <a:pos x="38" y="14"/>
                  </a:cxn>
                  <a:cxn ang="0">
                    <a:pos x="44" y="12"/>
                  </a:cxn>
                  <a:cxn ang="0">
                    <a:pos x="46" y="6"/>
                  </a:cxn>
                  <a:cxn ang="0">
                    <a:pos x="44" y="4"/>
                  </a:cxn>
                  <a:cxn ang="0">
                    <a:pos x="38" y="8"/>
                  </a:cxn>
                  <a:cxn ang="0">
                    <a:pos x="36" y="6"/>
                  </a:cxn>
                  <a:cxn ang="0">
                    <a:pos x="36" y="6"/>
                  </a:cxn>
                  <a:cxn ang="0">
                    <a:pos x="34" y="0"/>
                  </a:cxn>
                  <a:cxn ang="0">
                    <a:pos x="34" y="0"/>
                  </a:cxn>
                  <a:cxn ang="0">
                    <a:pos x="28" y="0"/>
                  </a:cxn>
                  <a:cxn ang="0">
                    <a:pos x="22" y="2"/>
                  </a:cxn>
                  <a:cxn ang="0">
                    <a:pos x="16" y="6"/>
                  </a:cxn>
                  <a:cxn ang="0">
                    <a:pos x="12" y="12"/>
                  </a:cxn>
                  <a:cxn ang="0">
                    <a:pos x="12" y="12"/>
                  </a:cxn>
                </a:cxnLst>
                <a:rect l="0" t="0" r="r" b="b"/>
                <a:pathLst>
                  <a:path w="48" h="106">
                    <a:moveTo>
                      <a:pt x="12" y="12"/>
                    </a:moveTo>
                    <a:lnTo>
                      <a:pt x="14" y="12"/>
                    </a:lnTo>
                    <a:lnTo>
                      <a:pt x="14" y="12"/>
                    </a:lnTo>
                    <a:lnTo>
                      <a:pt x="12" y="20"/>
                    </a:lnTo>
                    <a:lnTo>
                      <a:pt x="12" y="28"/>
                    </a:lnTo>
                    <a:lnTo>
                      <a:pt x="14" y="34"/>
                    </a:lnTo>
                    <a:lnTo>
                      <a:pt x="12" y="42"/>
                    </a:lnTo>
                    <a:lnTo>
                      <a:pt x="0" y="52"/>
                    </a:lnTo>
                    <a:lnTo>
                      <a:pt x="4" y="62"/>
                    </a:lnTo>
                    <a:lnTo>
                      <a:pt x="8" y="66"/>
                    </a:lnTo>
                    <a:lnTo>
                      <a:pt x="10" y="74"/>
                    </a:lnTo>
                    <a:lnTo>
                      <a:pt x="20" y="80"/>
                    </a:lnTo>
                    <a:lnTo>
                      <a:pt x="24" y="106"/>
                    </a:lnTo>
                    <a:lnTo>
                      <a:pt x="34" y="100"/>
                    </a:lnTo>
                    <a:lnTo>
                      <a:pt x="34" y="100"/>
                    </a:lnTo>
                    <a:lnTo>
                      <a:pt x="32" y="94"/>
                    </a:lnTo>
                    <a:lnTo>
                      <a:pt x="34" y="88"/>
                    </a:lnTo>
                    <a:lnTo>
                      <a:pt x="48" y="76"/>
                    </a:lnTo>
                    <a:lnTo>
                      <a:pt x="48" y="64"/>
                    </a:lnTo>
                    <a:lnTo>
                      <a:pt x="44" y="64"/>
                    </a:lnTo>
                    <a:lnTo>
                      <a:pt x="42" y="58"/>
                    </a:lnTo>
                    <a:lnTo>
                      <a:pt x="40" y="58"/>
                    </a:lnTo>
                    <a:lnTo>
                      <a:pt x="40" y="58"/>
                    </a:lnTo>
                    <a:lnTo>
                      <a:pt x="36" y="54"/>
                    </a:lnTo>
                    <a:lnTo>
                      <a:pt x="30" y="52"/>
                    </a:lnTo>
                    <a:lnTo>
                      <a:pt x="30" y="50"/>
                    </a:lnTo>
                    <a:lnTo>
                      <a:pt x="34" y="50"/>
                    </a:lnTo>
                    <a:lnTo>
                      <a:pt x="34" y="46"/>
                    </a:lnTo>
                    <a:lnTo>
                      <a:pt x="34" y="46"/>
                    </a:lnTo>
                    <a:lnTo>
                      <a:pt x="42" y="40"/>
                    </a:lnTo>
                    <a:lnTo>
                      <a:pt x="44" y="36"/>
                    </a:lnTo>
                    <a:lnTo>
                      <a:pt x="46" y="32"/>
                    </a:lnTo>
                    <a:lnTo>
                      <a:pt x="44" y="26"/>
                    </a:lnTo>
                    <a:lnTo>
                      <a:pt x="40" y="22"/>
                    </a:lnTo>
                    <a:lnTo>
                      <a:pt x="38" y="18"/>
                    </a:lnTo>
                    <a:lnTo>
                      <a:pt x="38" y="14"/>
                    </a:lnTo>
                    <a:lnTo>
                      <a:pt x="44" y="12"/>
                    </a:lnTo>
                    <a:lnTo>
                      <a:pt x="46" y="6"/>
                    </a:lnTo>
                    <a:lnTo>
                      <a:pt x="44" y="4"/>
                    </a:lnTo>
                    <a:lnTo>
                      <a:pt x="38" y="8"/>
                    </a:lnTo>
                    <a:lnTo>
                      <a:pt x="36" y="6"/>
                    </a:lnTo>
                    <a:lnTo>
                      <a:pt x="36" y="6"/>
                    </a:lnTo>
                    <a:lnTo>
                      <a:pt x="34" y="0"/>
                    </a:lnTo>
                    <a:lnTo>
                      <a:pt x="34" y="0"/>
                    </a:lnTo>
                    <a:lnTo>
                      <a:pt x="28" y="0"/>
                    </a:lnTo>
                    <a:lnTo>
                      <a:pt x="22" y="2"/>
                    </a:lnTo>
                    <a:lnTo>
                      <a:pt x="16" y="6"/>
                    </a:lnTo>
                    <a:lnTo>
                      <a:pt x="12" y="12"/>
                    </a:lnTo>
                    <a:lnTo>
                      <a:pt x="12"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6" name="Freeform 1605">
                <a:extLst>
                  <a:ext uri="{FF2B5EF4-FFF2-40B4-BE49-F238E27FC236}">
                    <a16:creationId xmlns:a16="http://schemas.microsoft.com/office/drawing/2014/main" id="{DDE7CA2A-2405-4A9A-8866-A953E5AD1D3B}"/>
                  </a:ext>
                </a:extLst>
              </p:cNvPr>
              <p:cNvSpPr>
                <a:spLocks/>
              </p:cNvSpPr>
              <p:nvPr/>
            </p:nvSpPr>
            <p:spPr bwMode="auto">
              <a:xfrm>
                <a:off x="3481" y="2762"/>
                <a:ext cx="18" cy="26"/>
              </a:xfrm>
              <a:custGeom>
                <a:avLst/>
                <a:gdLst/>
                <a:ahLst/>
                <a:cxnLst>
                  <a:cxn ang="0">
                    <a:pos x="14" y="0"/>
                  </a:cxn>
                  <a:cxn ang="0">
                    <a:pos x="14" y="0"/>
                  </a:cxn>
                  <a:cxn ang="0">
                    <a:pos x="10" y="4"/>
                  </a:cxn>
                  <a:cxn ang="0">
                    <a:pos x="4" y="8"/>
                  </a:cxn>
                  <a:cxn ang="0">
                    <a:pos x="4" y="8"/>
                  </a:cxn>
                  <a:cxn ang="0">
                    <a:pos x="4" y="14"/>
                  </a:cxn>
                  <a:cxn ang="0">
                    <a:pos x="0" y="20"/>
                  </a:cxn>
                  <a:cxn ang="0">
                    <a:pos x="2" y="24"/>
                  </a:cxn>
                  <a:cxn ang="0">
                    <a:pos x="6" y="24"/>
                  </a:cxn>
                  <a:cxn ang="0">
                    <a:pos x="10" y="22"/>
                  </a:cxn>
                  <a:cxn ang="0">
                    <a:pos x="12" y="26"/>
                  </a:cxn>
                  <a:cxn ang="0">
                    <a:pos x="16" y="18"/>
                  </a:cxn>
                  <a:cxn ang="0">
                    <a:pos x="16" y="16"/>
                  </a:cxn>
                  <a:cxn ang="0">
                    <a:pos x="10" y="18"/>
                  </a:cxn>
                  <a:cxn ang="0">
                    <a:pos x="8" y="18"/>
                  </a:cxn>
                  <a:cxn ang="0">
                    <a:pos x="10" y="16"/>
                  </a:cxn>
                  <a:cxn ang="0">
                    <a:pos x="12" y="14"/>
                  </a:cxn>
                  <a:cxn ang="0">
                    <a:pos x="18" y="10"/>
                  </a:cxn>
                  <a:cxn ang="0">
                    <a:pos x="18" y="6"/>
                  </a:cxn>
                  <a:cxn ang="0">
                    <a:pos x="14" y="0"/>
                  </a:cxn>
                </a:cxnLst>
                <a:rect l="0" t="0" r="r" b="b"/>
                <a:pathLst>
                  <a:path w="18" h="26">
                    <a:moveTo>
                      <a:pt x="14" y="0"/>
                    </a:moveTo>
                    <a:lnTo>
                      <a:pt x="14" y="0"/>
                    </a:lnTo>
                    <a:lnTo>
                      <a:pt x="10" y="4"/>
                    </a:lnTo>
                    <a:lnTo>
                      <a:pt x="4" y="8"/>
                    </a:lnTo>
                    <a:lnTo>
                      <a:pt x="4" y="8"/>
                    </a:lnTo>
                    <a:lnTo>
                      <a:pt x="4" y="14"/>
                    </a:lnTo>
                    <a:lnTo>
                      <a:pt x="0" y="20"/>
                    </a:lnTo>
                    <a:lnTo>
                      <a:pt x="2" y="24"/>
                    </a:lnTo>
                    <a:lnTo>
                      <a:pt x="6" y="24"/>
                    </a:lnTo>
                    <a:lnTo>
                      <a:pt x="10" y="22"/>
                    </a:lnTo>
                    <a:lnTo>
                      <a:pt x="12" y="26"/>
                    </a:lnTo>
                    <a:lnTo>
                      <a:pt x="16" y="18"/>
                    </a:lnTo>
                    <a:lnTo>
                      <a:pt x="16" y="16"/>
                    </a:lnTo>
                    <a:lnTo>
                      <a:pt x="10" y="18"/>
                    </a:lnTo>
                    <a:lnTo>
                      <a:pt x="8" y="18"/>
                    </a:lnTo>
                    <a:lnTo>
                      <a:pt x="10" y="16"/>
                    </a:lnTo>
                    <a:lnTo>
                      <a:pt x="12" y="14"/>
                    </a:lnTo>
                    <a:lnTo>
                      <a:pt x="18" y="10"/>
                    </a:lnTo>
                    <a:lnTo>
                      <a:pt x="18" y="6"/>
                    </a:lnTo>
                    <a:lnTo>
                      <a:pt x="1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7" name="Freeform 1606">
                <a:extLst>
                  <a:ext uri="{FF2B5EF4-FFF2-40B4-BE49-F238E27FC236}">
                    <a16:creationId xmlns:a16="http://schemas.microsoft.com/office/drawing/2014/main" id="{E91354EE-7604-4FF7-881A-89E020AE903D}"/>
                  </a:ext>
                </a:extLst>
              </p:cNvPr>
              <p:cNvSpPr>
                <a:spLocks/>
              </p:cNvSpPr>
              <p:nvPr/>
            </p:nvSpPr>
            <p:spPr bwMode="auto">
              <a:xfrm>
                <a:off x="3012" y="2748"/>
                <a:ext cx="141" cy="124"/>
              </a:xfrm>
              <a:custGeom>
                <a:avLst/>
                <a:gdLst/>
                <a:ahLst/>
                <a:cxnLst>
                  <a:cxn ang="0">
                    <a:pos x="0" y="98"/>
                  </a:cxn>
                  <a:cxn ang="0">
                    <a:pos x="24" y="102"/>
                  </a:cxn>
                  <a:cxn ang="0">
                    <a:pos x="32" y="118"/>
                  </a:cxn>
                  <a:cxn ang="0">
                    <a:pos x="48" y="124"/>
                  </a:cxn>
                  <a:cxn ang="0">
                    <a:pos x="52" y="120"/>
                  </a:cxn>
                  <a:cxn ang="0">
                    <a:pos x="64" y="122"/>
                  </a:cxn>
                  <a:cxn ang="0">
                    <a:pos x="64" y="122"/>
                  </a:cxn>
                  <a:cxn ang="0">
                    <a:pos x="68" y="116"/>
                  </a:cxn>
                  <a:cxn ang="0">
                    <a:pos x="74" y="108"/>
                  </a:cxn>
                  <a:cxn ang="0">
                    <a:pos x="80" y="92"/>
                  </a:cxn>
                  <a:cxn ang="0">
                    <a:pos x="92" y="90"/>
                  </a:cxn>
                  <a:cxn ang="0">
                    <a:pos x="98" y="96"/>
                  </a:cxn>
                  <a:cxn ang="0">
                    <a:pos x="104" y="96"/>
                  </a:cxn>
                  <a:cxn ang="0">
                    <a:pos x="104" y="96"/>
                  </a:cxn>
                  <a:cxn ang="0">
                    <a:pos x="111" y="78"/>
                  </a:cxn>
                  <a:cxn ang="0">
                    <a:pos x="115" y="70"/>
                  </a:cxn>
                  <a:cxn ang="0">
                    <a:pos x="121" y="66"/>
                  </a:cxn>
                  <a:cxn ang="0">
                    <a:pos x="129" y="38"/>
                  </a:cxn>
                  <a:cxn ang="0">
                    <a:pos x="141" y="28"/>
                  </a:cxn>
                  <a:cxn ang="0">
                    <a:pos x="141" y="28"/>
                  </a:cxn>
                  <a:cxn ang="0">
                    <a:pos x="137" y="20"/>
                  </a:cxn>
                  <a:cxn ang="0">
                    <a:pos x="137" y="10"/>
                  </a:cxn>
                  <a:cxn ang="0">
                    <a:pos x="129" y="0"/>
                  </a:cxn>
                  <a:cxn ang="0">
                    <a:pos x="125" y="0"/>
                  </a:cxn>
                  <a:cxn ang="0">
                    <a:pos x="115" y="10"/>
                  </a:cxn>
                  <a:cxn ang="0">
                    <a:pos x="90" y="8"/>
                  </a:cxn>
                  <a:cxn ang="0">
                    <a:pos x="80" y="14"/>
                  </a:cxn>
                  <a:cxn ang="0">
                    <a:pos x="62" y="8"/>
                  </a:cxn>
                  <a:cxn ang="0">
                    <a:pos x="62" y="8"/>
                  </a:cxn>
                  <a:cxn ang="0">
                    <a:pos x="56" y="10"/>
                  </a:cxn>
                  <a:cxn ang="0">
                    <a:pos x="50" y="12"/>
                  </a:cxn>
                  <a:cxn ang="0">
                    <a:pos x="34" y="2"/>
                  </a:cxn>
                  <a:cxn ang="0">
                    <a:pos x="16" y="6"/>
                  </a:cxn>
                  <a:cxn ang="0">
                    <a:pos x="16" y="6"/>
                  </a:cxn>
                  <a:cxn ang="0">
                    <a:pos x="14" y="12"/>
                  </a:cxn>
                  <a:cxn ang="0">
                    <a:pos x="10" y="18"/>
                  </a:cxn>
                  <a:cxn ang="0">
                    <a:pos x="10" y="18"/>
                  </a:cxn>
                  <a:cxn ang="0">
                    <a:pos x="10" y="26"/>
                  </a:cxn>
                  <a:cxn ang="0">
                    <a:pos x="8" y="32"/>
                  </a:cxn>
                  <a:cxn ang="0">
                    <a:pos x="12" y="44"/>
                  </a:cxn>
                  <a:cxn ang="0">
                    <a:pos x="10" y="46"/>
                  </a:cxn>
                  <a:cxn ang="0">
                    <a:pos x="10" y="50"/>
                  </a:cxn>
                  <a:cxn ang="0">
                    <a:pos x="10" y="50"/>
                  </a:cxn>
                  <a:cxn ang="0">
                    <a:pos x="2" y="74"/>
                  </a:cxn>
                  <a:cxn ang="0">
                    <a:pos x="0" y="88"/>
                  </a:cxn>
                  <a:cxn ang="0">
                    <a:pos x="0" y="94"/>
                  </a:cxn>
                  <a:cxn ang="0">
                    <a:pos x="0" y="98"/>
                  </a:cxn>
                  <a:cxn ang="0">
                    <a:pos x="0" y="98"/>
                  </a:cxn>
                </a:cxnLst>
                <a:rect l="0" t="0" r="r" b="b"/>
                <a:pathLst>
                  <a:path w="141" h="124">
                    <a:moveTo>
                      <a:pt x="0" y="98"/>
                    </a:moveTo>
                    <a:lnTo>
                      <a:pt x="24" y="102"/>
                    </a:lnTo>
                    <a:lnTo>
                      <a:pt x="32" y="118"/>
                    </a:lnTo>
                    <a:lnTo>
                      <a:pt x="48" y="124"/>
                    </a:lnTo>
                    <a:lnTo>
                      <a:pt x="52" y="120"/>
                    </a:lnTo>
                    <a:lnTo>
                      <a:pt x="64" y="122"/>
                    </a:lnTo>
                    <a:lnTo>
                      <a:pt x="64" y="122"/>
                    </a:lnTo>
                    <a:lnTo>
                      <a:pt x="68" y="116"/>
                    </a:lnTo>
                    <a:lnTo>
                      <a:pt x="74" y="108"/>
                    </a:lnTo>
                    <a:lnTo>
                      <a:pt x="80" y="92"/>
                    </a:lnTo>
                    <a:lnTo>
                      <a:pt x="92" y="90"/>
                    </a:lnTo>
                    <a:lnTo>
                      <a:pt x="98" y="96"/>
                    </a:lnTo>
                    <a:lnTo>
                      <a:pt x="104" y="96"/>
                    </a:lnTo>
                    <a:lnTo>
                      <a:pt x="104" y="96"/>
                    </a:lnTo>
                    <a:lnTo>
                      <a:pt x="111" y="78"/>
                    </a:lnTo>
                    <a:lnTo>
                      <a:pt x="115" y="70"/>
                    </a:lnTo>
                    <a:lnTo>
                      <a:pt x="121" y="66"/>
                    </a:lnTo>
                    <a:lnTo>
                      <a:pt x="129" y="38"/>
                    </a:lnTo>
                    <a:lnTo>
                      <a:pt x="141" y="28"/>
                    </a:lnTo>
                    <a:lnTo>
                      <a:pt x="141" y="28"/>
                    </a:lnTo>
                    <a:lnTo>
                      <a:pt x="137" y="20"/>
                    </a:lnTo>
                    <a:lnTo>
                      <a:pt x="137" y="10"/>
                    </a:lnTo>
                    <a:lnTo>
                      <a:pt x="129" y="0"/>
                    </a:lnTo>
                    <a:lnTo>
                      <a:pt x="125" y="0"/>
                    </a:lnTo>
                    <a:lnTo>
                      <a:pt x="115" y="10"/>
                    </a:lnTo>
                    <a:lnTo>
                      <a:pt x="90" y="8"/>
                    </a:lnTo>
                    <a:lnTo>
                      <a:pt x="80" y="14"/>
                    </a:lnTo>
                    <a:lnTo>
                      <a:pt x="62" y="8"/>
                    </a:lnTo>
                    <a:lnTo>
                      <a:pt x="62" y="8"/>
                    </a:lnTo>
                    <a:lnTo>
                      <a:pt x="56" y="10"/>
                    </a:lnTo>
                    <a:lnTo>
                      <a:pt x="50" y="12"/>
                    </a:lnTo>
                    <a:lnTo>
                      <a:pt x="34" y="2"/>
                    </a:lnTo>
                    <a:lnTo>
                      <a:pt x="16" y="6"/>
                    </a:lnTo>
                    <a:lnTo>
                      <a:pt x="16" y="6"/>
                    </a:lnTo>
                    <a:lnTo>
                      <a:pt x="14" y="12"/>
                    </a:lnTo>
                    <a:lnTo>
                      <a:pt x="10" y="18"/>
                    </a:lnTo>
                    <a:lnTo>
                      <a:pt x="10" y="18"/>
                    </a:lnTo>
                    <a:lnTo>
                      <a:pt x="10" y="26"/>
                    </a:lnTo>
                    <a:lnTo>
                      <a:pt x="8" y="32"/>
                    </a:lnTo>
                    <a:lnTo>
                      <a:pt x="12" y="44"/>
                    </a:lnTo>
                    <a:lnTo>
                      <a:pt x="10" y="46"/>
                    </a:lnTo>
                    <a:lnTo>
                      <a:pt x="10" y="50"/>
                    </a:lnTo>
                    <a:lnTo>
                      <a:pt x="10" y="50"/>
                    </a:lnTo>
                    <a:lnTo>
                      <a:pt x="2" y="74"/>
                    </a:lnTo>
                    <a:lnTo>
                      <a:pt x="0" y="88"/>
                    </a:lnTo>
                    <a:lnTo>
                      <a:pt x="0" y="94"/>
                    </a:lnTo>
                    <a:lnTo>
                      <a:pt x="0" y="98"/>
                    </a:lnTo>
                    <a:lnTo>
                      <a:pt x="0" y="9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8" name="Freeform 1607">
                <a:extLst>
                  <a:ext uri="{FF2B5EF4-FFF2-40B4-BE49-F238E27FC236}">
                    <a16:creationId xmlns:a16="http://schemas.microsoft.com/office/drawing/2014/main" id="{AC858E05-91CB-46F5-B344-8F7F436BFEAF}"/>
                  </a:ext>
                </a:extLst>
              </p:cNvPr>
              <p:cNvSpPr>
                <a:spLocks/>
              </p:cNvSpPr>
              <p:nvPr/>
            </p:nvSpPr>
            <p:spPr bwMode="auto">
              <a:xfrm>
                <a:off x="3080" y="2758"/>
                <a:ext cx="93" cy="148"/>
              </a:xfrm>
              <a:custGeom>
                <a:avLst/>
                <a:gdLst/>
                <a:ahLst/>
                <a:cxnLst>
                  <a:cxn ang="0">
                    <a:pos x="91" y="148"/>
                  </a:cxn>
                  <a:cxn ang="0">
                    <a:pos x="91" y="148"/>
                  </a:cxn>
                  <a:cxn ang="0">
                    <a:pos x="91" y="146"/>
                  </a:cxn>
                  <a:cxn ang="0">
                    <a:pos x="93" y="140"/>
                  </a:cxn>
                  <a:cxn ang="0">
                    <a:pos x="93" y="132"/>
                  </a:cxn>
                  <a:cxn ang="0">
                    <a:pos x="93" y="132"/>
                  </a:cxn>
                  <a:cxn ang="0">
                    <a:pos x="85" y="126"/>
                  </a:cxn>
                  <a:cxn ang="0">
                    <a:pos x="77" y="116"/>
                  </a:cxn>
                  <a:cxn ang="0">
                    <a:pos x="73" y="104"/>
                  </a:cxn>
                  <a:cxn ang="0">
                    <a:pos x="73" y="94"/>
                  </a:cxn>
                  <a:cxn ang="0">
                    <a:pos x="83" y="74"/>
                  </a:cxn>
                  <a:cxn ang="0">
                    <a:pos x="67" y="46"/>
                  </a:cxn>
                  <a:cxn ang="0">
                    <a:pos x="69" y="40"/>
                  </a:cxn>
                  <a:cxn ang="0">
                    <a:pos x="81" y="42"/>
                  </a:cxn>
                  <a:cxn ang="0">
                    <a:pos x="81" y="42"/>
                  </a:cxn>
                  <a:cxn ang="0">
                    <a:pos x="81" y="34"/>
                  </a:cxn>
                  <a:cxn ang="0">
                    <a:pos x="79" y="20"/>
                  </a:cxn>
                  <a:cxn ang="0">
                    <a:pos x="71" y="0"/>
                  </a:cxn>
                  <a:cxn ang="0">
                    <a:pos x="69" y="0"/>
                  </a:cxn>
                  <a:cxn ang="0">
                    <a:pos x="69" y="0"/>
                  </a:cxn>
                  <a:cxn ang="0">
                    <a:pos x="69" y="10"/>
                  </a:cxn>
                  <a:cxn ang="0">
                    <a:pos x="73" y="18"/>
                  </a:cxn>
                  <a:cxn ang="0">
                    <a:pos x="61" y="28"/>
                  </a:cxn>
                  <a:cxn ang="0">
                    <a:pos x="53" y="56"/>
                  </a:cxn>
                  <a:cxn ang="0">
                    <a:pos x="53" y="56"/>
                  </a:cxn>
                  <a:cxn ang="0">
                    <a:pos x="47" y="60"/>
                  </a:cxn>
                  <a:cxn ang="0">
                    <a:pos x="43" y="68"/>
                  </a:cxn>
                  <a:cxn ang="0">
                    <a:pos x="36" y="86"/>
                  </a:cxn>
                  <a:cxn ang="0">
                    <a:pos x="30" y="86"/>
                  </a:cxn>
                  <a:cxn ang="0">
                    <a:pos x="24" y="80"/>
                  </a:cxn>
                  <a:cxn ang="0">
                    <a:pos x="12" y="82"/>
                  </a:cxn>
                  <a:cxn ang="0">
                    <a:pos x="12" y="82"/>
                  </a:cxn>
                  <a:cxn ang="0">
                    <a:pos x="0" y="108"/>
                  </a:cxn>
                  <a:cxn ang="0">
                    <a:pos x="16" y="128"/>
                  </a:cxn>
                  <a:cxn ang="0">
                    <a:pos x="14" y="142"/>
                  </a:cxn>
                  <a:cxn ang="0">
                    <a:pos x="14" y="142"/>
                  </a:cxn>
                  <a:cxn ang="0">
                    <a:pos x="32" y="140"/>
                  </a:cxn>
                  <a:cxn ang="0">
                    <a:pos x="55" y="140"/>
                  </a:cxn>
                  <a:cxn ang="0">
                    <a:pos x="75" y="142"/>
                  </a:cxn>
                  <a:cxn ang="0">
                    <a:pos x="83" y="144"/>
                  </a:cxn>
                  <a:cxn ang="0">
                    <a:pos x="91" y="148"/>
                  </a:cxn>
                  <a:cxn ang="0">
                    <a:pos x="91" y="148"/>
                  </a:cxn>
                </a:cxnLst>
                <a:rect l="0" t="0" r="r" b="b"/>
                <a:pathLst>
                  <a:path w="93" h="148">
                    <a:moveTo>
                      <a:pt x="91" y="148"/>
                    </a:moveTo>
                    <a:lnTo>
                      <a:pt x="91" y="148"/>
                    </a:lnTo>
                    <a:lnTo>
                      <a:pt x="91" y="146"/>
                    </a:lnTo>
                    <a:lnTo>
                      <a:pt x="93" y="140"/>
                    </a:lnTo>
                    <a:lnTo>
                      <a:pt x="93" y="132"/>
                    </a:lnTo>
                    <a:lnTo>
                      <a:pt x="93" y="132"/>
                    </a:lnTo>
                    <a:lnTo>
                      <a:pt x="85" y="126"/>
                    </a:lnTo>
                    <a:lnTo>
                      <a:pt x="77" y="116"/>
                    </a:lnTo>
                    <a:lnTo>
                      <a:pt x="73" y="104"/>
                    </a:lnTo>
                    <a:lnTo>
                      <a:pt x="73" y="94"/>
                    </a:lnTo>
                    <a:lnTo>
                      <a:pt x="83" y="74"/>
                    </a:lnTo>
                    <a:lnTo>
                      <a:pt x="67" y="46"/>
                    </a:lnTo>
                    <a:lnTo>
                      <a:pt x="69" y="40"/>
                    </a:lnTo>
                    <a:lnTo>
                      <a:pt x="81" y="42"/>
                    </a:lnTo>
                    <a:lnTo>
                      <a:pt x="81" y="42"/>
                    </a:lnTo>
                    <a:lnTo>
                      <a:pt x="81" y="34"/>
                    </a:lnTo>
                    <a:lnTo>
                      <a:pt x="79" y="20"/>
                    </a:lnTo>
                    <a:lnTo>
                      <a:pt x="71" y="0"/>
                    </a:lnTo>
                    <a:lnTo>
                      <a:pt x="69" y="0"/>
                    </a:lnTo>
                    <a:lnTo>
                      <a:pt x="69" y="0"/>
                    </a:lnTo>
                    <a:lnTo>
                      <a:pt x="69" y="10"/>
                    </a:lnTo>
                    <a:lnTo>
                      <a:pt x="73" y="18"/>
                    </a:lnTo>
                    <a:lnTo>
                      <a:pt x="61" y="28"/>
                    </a:lnTo>
                    <a:lnTo>
                      <a:pt x="53" y="56"/>
                    </a:lnTo>
                    <a:lnTo>
                      <a:pt x="53" y="56"/>
                    </a:lnTo>
                    <a:lnTo>
                      <a:pt x="47" y="60"/>
                    </a:lnTo>
                    <a:lnTo>
                      <a:pt x="43" y="68"/>
                    </a:lnTo>
                    <a:lnTo>
                      <a:pt x="36" y="86"/>
                    </a:lnTo>
                    <a:lnTo>
                      <a:pt x="30" y="86"/>
                    </a:lnTo>
                    <a:lnTo>
                      <a:pt x="24" y="80"/>
                    </a:lnTo>
                    <a:lnTo>
                      <a:pt x="12" y="82"/>
                    </a:lnTo>
                    <a:lnTo>
                      <a:pt x="12" y="82"/>
                    </a:lnTo>
                    <a:lnTo>
                      <a:pt x="0" y="108"/>
                    </a:lnTo>
                    <a:lnTo>
                      <a:pt x="16" y="128"/>
                    </a:lnTo>
                    <a:lnTo>
                      <a:pt x="14" y="142"/>
                    </a:lnTo>
                    <a:lnTo>
                      <a:pt x="14" y="142"/>
                    </a:lnTo>
                    <a:lnTo>
                      <a:pt x="32" y="140"/>
                    </a:lnTo>
                    <a:lnTo>
                      <a:pt x="55" y="140"/>
                    </a:lnTo>
                    <a:lnTo>
                      <a:pt x="75" y="142"/>
                    </a:lnTo>
                    <a:lnTo>
                      <a:pt x="83" y="144"/>
                    </a:lnTo>
                    <a:lnTo>
                      <a:pt x="91" y="148"/>
                    </a:lnTo>
                    <a:lnTo>
                      <a:pt x="91" y="14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99" name="Freeform 1608">
                <a:extLst>
                  <a:ext uri="{FF2B5EF4-FFF2-40B4-BE49-F238E27FC236}">
                    <a16:creationId xmlns:a16="http://schemas.microsoft.com/office/drawing/2014/main" id="{61C365EF-A56F-4BE7-8A54-3A6E22F9A4CA}"/>
                  </a:ext>
                </a:extLst>
              </p:cNvPr>
              <p:cNvSpPr>
                <a:spLocks/>
              </p:cNvSpPr>
              <p:nvPr/>
            </p:nvSpPr>
            <p:spPr bwMode="auto">
              <a:xfrm>
                <a:off x="3327" y="2940"/>
                <a:ext cx="24" cy="22"/>
              </a:xfrm>
              <a:custGeom>
                <a:avLst/>
                <a:gdLst/>
                <a:ahLst/>
                <a:cxnLst>
                  <a:cxn ang="0">
                    <a:pos x="18" y="0"/>
                  </a:cxn>
                  <a:cxn ang="0">
                    <a:pos x="16" y="0"/>
                  </a:cxn>
                  <a:cxn ang="0">
                    <a:pos x="14" y="4"/>
                  </a:cxn>
                  <a:cxn ang="0">
                    <a:pos x="8" y="4"/>
                  </a:cxn>
                  <a:cxn ang="0">
                    <a:pos x="8" y="4"/>
                  </a:cxn>
                  <a:cxn ang="0">
                    <a:pos x="0" y="16"/>
                  </a:cxn>
                  <a:cxn ang="0">
                    <a:pos x="2" y="22"/>
                  </a:cxn>
                  <a:cxn ang="0">
                    <a:pos x="4" y="18"/>
                  </a:cxn>
                  <a:cxn ang="0">
                    <a:pos x="4" y="18"/>
                  </a:cxn>
                  <a:cxn ang="0">
                    <a:pos x="6" y="22"/>
                  </a:cxn>
                  <a:cxn ang="0">
                    <a:pos x="10" y="22"/>
                  </a:cxn>
                  <a:cxn ang="0">
                    <a:pos x="12" y="16"/>
                  </a:cxn>
                  <a:cxn ang="0">
                    <a:pos x="18" y="16"/>
                  </a:cxn>
                  <a:cxn ang="0">
                    <a:pos x="20" y="18"/>
                  </a:cxn>
                  <a:cxn ang="0">
                    <a:pos x="24" y="12"/>
                  </a:cxn>
                  <a:cxn ang="0">
                    <a:pos x="18" y="0"/>
                  </a:cxn>
                </a:cxnLst>
                <a:rect l="0" t="0" r="r" b="b"/>
                <a:pathLst>
                  <a:path w="24" h="22">
                    <a:moveTo>
                      <a:pt x="18" y="0"/>
                    </a:moveTo>
                    <a:lnTo>
                      <a:pt x="16" y="0"/>
                    </a:lnTo>
                    <a:lnTo>
                      <a:pt x="14" y="4"/>
                    </a:lnTo>
                    <a:lnTo>
                      <a:pt x="8" y="4"/>
                    </a:lnTo>
                    <a:lnTo>
                      <a:pt x="8" y="4"/>
                    </a:lnTo>
                    <a:lnTo>
                      <a:pt x="0" y="16"/>
                    </a:lnTo>
                    <a:lnTo>
                      <a:pt x="2" y="22"/>
                    </a:lnTo>
                    <a:lnTo>
                      <a:pt x="4" y="18"/>
                    </a:lnTo>
                    <a:lnTo>
                      <a:pt x="4" y="18"/>
                    </a:lnTo>
                    <a:lnTo>
                      <a:pt x="6" y="22"/>
                    </a:lnTo>
                    <a:lnTo>
                      <a:pt x="10" y="22"/>
                    </a:lnTo>
                    <a:lnTo>
                      <a:pt x="12" y="16"/>
                    </a:lnTo>
                    <a:lnTo>
                      <a:pt x="18" y="16"/>
                    </a:lnTo>
                    <a:lnTo>
                      <a:pt x="20" y="18"/>
                    </a:lnTo>
                    <a:lnTo>
                      <a:pt x="24" y="12"/>
                    </a:lnTo>
                    <a:lnTo>
                      <a:pt x="1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0" name="Freeform 1609">
                <a:extLst>
                  <a:ext uri="{FF2B5EF4-FFF2-40B4-BE49-F238E27FC236}">
                    <a16:creationId xmlns:a16="http://schemas.microsoft.com/office/drawing/2014/main" id="{351751AD-9DA1-4586-9F37-3252BFA88A81}"/>
                  </a:ext>
                </a:extLst>
              </p:cNvPr>
              <p:cNvSpPr>
                <a:spLocks/>
              </p:cNvSpPr>
              <p:nvPr/>
            </p:nvSpPr>
            <p:spPr bwMode="auto">
              <a:xfrm>
                <a:off x="3153" y="2786"/>
                <a:ext cx="156" cy="104"/>
              </a:xfrm>
              <a:custGeom>
                <a:avLst/>
                <a:gdLst/>
                <a:ahLst/>
                <a:cxnLst>
                  <a:cxn ang="0">
                    <a:pos x="156" y="74"/>
                  </a:cxn>
                  <a:cxn ang="0">
                    <a:pos x="156" y="74"/>
                  </a:cxn>
                  <a:cxn ang="0">
                    <a:pos x="130" y="74"/>
                  </a:cxn>
                  <a:cxn ang="0">
                    <a:pos x="128" y="78"/>
                  </a:cxn>
                  <a:cxn ang="0">
                    <a:pos x="124" y="78"/>
                  </a:cxn>
                  <a:cxn ang="0">
                    <a:pos x="122" y="76"/>
                  </a:cxn>
                  <a:cxn ang="0">
                    <a:pos x="122" y="76"/>
                  </a:cxn>
                  <a:cxn ang="0">
                    <a:pos x="110" y="80"/>
                  </a:cxn>
                  <a:cxn ang="0">
                    <a:pos x="104" y="82"/>
                  </a:cxn>
                  <a:cxn ang="0">
                    <a:pos x="98" y="82"/>
                  </a:cxn>
                  <a:cxn ang="0">
                    <a:pos x="98" y="86"/>
                  </a:cxn>
                  <a:cxn ang="0">
                    <a:pos x="96" y="86"/>
                  </a:cxn>
                  <a:cxn ang="0">
                    <a:pos x="60" y="74"/>
                  </a:cxn>
                  <a:cxn ang="0">
                    <a:pos x="52" y="84"/>
                  </a:cxn>
                  <a:cxn ang="0">
                    <a:pos x="52" y="92"/>
                  </a:cxn>
                  <a:cxn ang="0">
                    <a:pos x="52" y="92"/>
                  </a:cxn>
                  <a:cxn ang="0">
                    <a:pos x="40" y="96"/>
                  </a:cxn>
                  <a:cxn ang="0">
                    <a:pos x="32" y="98"/>
                  </a:cxn>
                  <a:cxn ang="0">
                    <a:pos x="24" y="98"/>
                  </a:cxn>
                  <a:cxn ang="0">
                    <a:pos x="20" y="104"/>
                  </a:cxn>
                  <a:cxn ang="0">
                    <a:pos x="20" y="104"/>
                  </a:cxn>
                  <a:cxn ang="0">
                    <a:pos x="12" y="98"/>
                  </a:cxn>
                  <a:cxn ang="0">
                    <a:pos x="4" y="88"/>
                  </a:cxn>
                  <a:cxn ang="0">
                    <a:pos x="0" y="76"/>
                  </a:cxn>
                  <a:cxn ang="0">
                    <a:pos x="0" y="66"/>
                  </a:cxn>
                  <a:cxn ang="0">
                    <a:pos x="10" y="46"/>
                  </a:cxn>
                  <a:cxn ang="0">
                    <a:pos x="10" y="46"/>
                  </a:cxn>
                  <a:cxn ang="0">
                    <a:pos x="20" y="44"/>
                  </a:cxn>
                  <a:cxn ang="0">
                    <a:pos x="32" y="40"/>
                  </a:cxn>
                  <a:cxn ang="0">
                    <a:pos x="56" y="30"/>
                  </a:cxn>
                  <a:cxn ang="0">
                    <a:pos x="54" y="26"/>
                  </a:cxn>
                  <a:cxn ang="0">
                    <a:pos x="88" y="8"/>
                  </a:cxn>
                  <a:cxn ang="0">
                    <a:pos x="88" y="6"/>
                  </a:cxn>
                  <a:cxn ang="0">
                    <a:pos x="90" y="2"/>
                  </a:cxn>
                  <a:cxn ang="0">
                    <a:pos x="98" y="0"/>
                  </a:cxn>
                  <a:cxn ang="0">
                    <a:pos x="110" y="16"/>
                  </a:cxn>
                  <a:cxn ang="0">
                    <a:pos x="108" y="26"/>
                  </a:cxn>
                  <a:cxn ang="0">
                    <a:pos x="108" y="26"/>
                  </a:cxn>
                  <a:cxn ang="0">
                    <a:pos x="134" y="48"/>
                  </a:cxn>
                  <a:cxn ang="0">
                    <a:pos x="150" y="62"/>
                  </a:cxn>
                  <a:cxn ang="0">
                    <a:pos x="154" y="68"/>
                  </a:cxn>
                  <a:cxn ang="0">
                    <a:pos x="156" y="74"/>
                  </a:cxn>
                  <a:cxn ang="0">
                    <a:pos x="156" y="74"/>
                  </a:cxn>
                </a:cxnLst>
                <a:rect l="0" t="0" r="r" b="b"/>
                <a:pathLst>
                  <a:path w="156" h="104">
                    <a:moveTo>
                      <a:pt x="156" y="74"/>
                    </a:moveTo>
                    <a:lnTo>
                      <a:pt x="156" y="74"/>
                    </a:lnTo>
                    <a:lnTo>
                      <a:pt x="130" y="74"/>
                    </a:lnTo>
                    <a:lnTo>
                      <a:pt x="128" y="78"/>
                    </a:lnTo>
                    <a:lnTo>
                      <a:pt x="124" y="78"/>
                    </a:lnTo>
                    <a:lnTo>
                      <a:pt x="122" y="76"/>
                    </a:lnTo>
                    <a:lnTo>
                      <a:pt x="122" y="76"/>
                    </a:lnTo>
                    <a:lnTo>
                      <a:pt x="110" y="80"/>
                    </a:lnTo>
                    <a:lnTo>
                      <a:pt x="104" y="82"/>
                    </a:lnTo>
                    <a:lnTo>
                      <a:pt x="98" y="82"/>
                    </a:lnTo>
                    <a:lnTo>
                      <a:pt x="98" y="86"/>
                    </a:lnTo>
                    <a:lnTo>
                      <a:pt x="96" y="86"/>
                    </a:lnTo>
                    <a:lnTo>
                      <a:pt x="60" y="74"/>
                    </a:lnTo>
                    <a:lnTo>
                      <a:pt x="52" y="84"/>
                    </a:lnTo>
                    <a:lnTo>
                      <a:pt x="52" y="92"/>
                    </a:lnTo>
                    <a:lnTo>
                      <a:pt x="52" y="92"/>
                    </a:lnTo>
                    <a:lnTo>
                      <a:pt x="40" y="96"/>
                    </a:lnTo>
                    <a:lnTo>
                      <a:pt x="32" y="98"/>
                    </a:lnTo>
                    <a:lnTo>
                      <a:pt x="24" y="98"/>
                    </a:lnTo>
                    <a:lnTo>
                      <a:pt x="20" y="104"/>
                    </a:lnTo>
                    <a:lnTo>
                      <a:pt x="20" y="104"/>
                    </a:lnTo>
                    <a:lnTo>
                      <a:pt x="12" y="98"/>
                    </a:lnTo>
                    <a:lnTo>
                      <a:pt x="4" y="88"/>
                    </a:lnTo>
                    <a:lnTo>
                      <a:pt x="0" y="76"/>
                    </a:lnTo>
                    <a:lnTo>
                      <a:pt x="0" y="66"/>
                    </a:lnTo>
                    <a:lnTo>
                      <a:pt x="10" y="46"/>
                    </a:lnTo>
                    <a:lnTo>
                      <a:pt x="10" y="46"/>
                    </a:lnTo>
                    <a:lnTo>
                      <a:pt x="20" y="44"/>
                    </a:lnTo>
                    <a:lnTo>
                      <a:pt x="32" y="40"/>
                    </a:lnTo>
                    <a:lnTo>
                      <a:pt x="56" y="30"/>
                    </a:lnTo>
                    <a:lnTo>
                      <a:pt x="54" y="26"/>
                    </a:lnTo>
                    <a:lnTo>
                      <a:pt x="88" y="8"/>
                    </a:lnTo>
                    <a:lnTo>
                      <a:pt x="88" y="6"/>
                    </a:lnTo>
                    <a:lnTo>
                      <a:pt x="90" y="2"/>
                    </a:lnTo>
                    <a:lnTo>
                      <a:pt x="98" y="0"/>
                    </a:lnTo>
                    <a:lnTo>
                      <a:pt x="110" y="16"/>
                    </a:lnTo>
                    <a:lnTo>
                      <a:pt x="108" y="26"/>
                    </a:lnTo>
                    <a:lnTo>
                      <a:pt x="108" y="26"/>
                    </a:lnTo>
                    <a:lnTo>
                      <a:pt x="134" y="48"/>
                    </a:lnTo>
                    <a:lnTo>
                      <a:pt x="150" y="62"/>
                    </a:lnTo>
                    <a:lnTo>
                      <a:pt x="154" y="68"/>
                    </a:lnTo>
                    <a:lnTo>
                      <a:pt x="156" y="74"/>
                    </a:lnTo>
                    <a:lnTo>
                      <a:pt x="156" y="7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1" name="Freeform 1610">
                <a:extLst>
                  <a:ext uri="{FF2B5EF4-FFF2-40B4-BE49-F238E27FC236}">
                    <a16:creationId xmlns:a16="http://schemas.microsoft.com/office/drawing/2014/main" id="{2F49FB7F-8C13-4003-B545-70E8A1858432}"/>
                  </a:ext>
                </a:extLst>
              </p:cNvPr>
              <p:cNvSpPr>
                <a:spLocks/>
              </p:cNvSpPr>
              <p:nvPr/>
            </p:nvSpPr>
            <p:spPr bwMode="auto">
              <a:xfrm>
                <a:off x="3123" y="2984"/>
                <a:ext cx="12" cy="18"/>
              </a:xfrm>
              <a:custGeom>
                <a:avLst/>
                <a:gdLst/>
                <a:ahLst/>
                <a:cxnLst>
                  <a:cxn ang="0">
                    <a:pos x="4" y="18"/>
                  </a:cxn>
                  <a:cxn ang="0">
                    <a:pos x="2" y="16"/>
                  </a:cxn>
                  <a:cxn ang="0">
                    <a:pos x="2" y="8"/>
                  </a:cxn>
                  <a:cxn ang="0">
                    <a:pos x="0" y="8"/>
                  </a:cxn>
                  <a:cxn ang="0">
                    <a:pos x="6" y="0"/>
                  </a:cxn>
                  <a:cxn ang="0">
                    <a:pos x="10" y="0"/>
                  </a:cxn>
                  <a:cxn ang="0">
                    <a:pos x="12" y="2"/>
                  </a:cxn>
                  <a:cxn ang="0">
                    <a:pos x="12" y="2"/>
                  </a:cxn>
                  <a:cxn ang="0">
                    <a:pos x="8" y="10"/>
                  </a:cxn>
                  <a:cxn ang="0">
                    <a:pos x="6" y="16"/>
                  </a:cxn>
                  <a:cxn ang="0">
                    <a:pos x="4" y="18"/>
                  </a:cxn>
                </a:cxnLst>
                <a:rect l="0" t="0" r="r" b="b"/>
                <a:pathLst>
                  <a:path w="12" h="18">
                    <a:moveTo>
                      <a:pt x="4" y="18"/>
                    </a:moveTo>
                    <a:lnTo>
                      <a:pt x="2" y="16"/>
                    </a:lnTo>
                    <a:lnTo>
                      <a:pt x="2" y="8"/>
                    </a:lnTo>
                    <a:lnTo>
                      <a:pt x="0" y="8"/>
                    </a:lnTo>
                    <a:lnTo>
                      <a:pt x="6" y="0"/>
                    </a:lnTo>
                    <a:lnTo>
                      <a:pt x="10" y="0"/>
                    </a:lnTo>
                    <a:lnTo>
                      <a:pt x="12" y="2"/>
                    </a:lnTo>
                    <a:lnTo>
                      <a:pt x="12" y="2"/>
                    </a:lnTo>
                    <a:lnTo>
                      <a:pt x="8" y="10"/>
                    </a:lnTo>
                    <a:lnTo>
                      <a:pt x="6" y="16"/>
                    </a:lnTo>
                    <a:lnTo>
                      <a:pt x="4"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2" name="Freeform 1611">
                <a:extLst>
                  <a:ext uri="{FF2B5EF4-FFF2-40B4-BE49-F238E27FC236}">
                    <a16:creationId xmlns:a16="http://schemas.microsoft.com/office/drawing/2014/main" id="{D685F312-AF74-487A-9BBF-7C42C244BE20}"/>
                  </a:ext>
                </a:extLst>
              </p:cNvPr>
              <p:cNvSpPr>
                <a:spLocks/>
              </p:cNvSpPr>
              <p:nvPr/>
            </p:nvSpPr>
            <p:spPr bwMode="auto">
              <a:xfrm>
                <a:off x="3084" y="2898"/>
                <a:ext cx="67" cy="80"/>
              </a:xfrm>
              <a:custGeom>
                <a:avLst/>
                <a:gdLst/>
                <a:ahLst/>
                <a:cxnLst>
                  <a:cxn ang="0">
                    <a:pos x="30" y="0"/>
                  </a:cxn>
                  <a:cxn ang="0">
                    <a:pos x="30" y="14"/>
                  </a:cxn>
                  <a:cxn ang="0">
                    <a:pos x="8" y="16"/>
                  </a:cxn>
                  <a:cxn ang="0">
                    <a:pos x="6" y="22"/>
                  </a:cxn>
                  <a:cxn ang="0">
                    <a:pos x="12" y="28"/>
                  </a:cxn>
                  <a:cxn ang="0">
                    <a:pos x="6" y="26"/>
                  </a:cxn>
                  <a:cxn ang="0">
                    <a:pos x="0" y="40"/>
                  </a:cxn>
                  <a:cxn ang="0">
                    <a:pos x="0" y="40"/>
                  </a:cxn>
                  <a:cxn ang="0">
                    <a:pos x="12" y="62"/>
                  </a:cxn>
                  <a:cxn ang="0">
                    <a:pos x="20" y="72"/>
                  </a:cxn>
                  <a:cxn ang="0">
                    <a:pos x="28" y="80"/>
                  </a:cxn>
                  <a:cxn ang="0">
                    <a:pos x="28" y="74"/>
                  </a:cxn>
                  <a:cxn ang="0">
                    <a:pos x="34" y="74"/>
                  </a:cxn>
                  <a:cxn ang="0">
                    <a:pos x="34" y="62"/>
                  </a:cxn>
                  <a:cxn ang="0">
                    <a:pos x="47" y="52"/>
                  </a:cxn>
                  <a:cxn ang="0">
                    <a:pos x="63" y="58"/>
                  </a:cxn>
                  <a:cxn ang="0">
                    <a:pos x="63" y="58"/>
                  </a:cxn>
                  <a:cxn ang="0">
                    <a:pos x="65" y="44"/>
                  </a:cxn>
                  <a:cxn ang="0">
                    <a:pos x="65" y="36"/>
                  </a:cxn>
                  <a:cxn ang="0">
                    <a:pos x="63" y="30"/>
                  </a:cxn>
                  <a:cxn ang="0">
                    <a:pos x="67" y="14"/>
                  </a:cxn>
                  <a:cxn ang="0">
                    <a:pos x="57" y="8"/>
                  </a:cxn>
                  <a:cxn ang="0">
                    <a:pos x="55" y="14"/>
                  </a:cxn>
                  <a:cxn ang="0">
                    <a:pos x="53" y="14"/>
                  </a:cxn>
                  <a:cxn ang="0">
                    <a:pos x="53" y="14"/>
                  </a:cxn>
                  <a:cxn ang="0">
                    <a:pos x="53" y="6"/>
                  </a:cxn>
                  <a:cxn ang="0">
                    <a:pos x="55" y="0"/>
                  </a:cxn>
                  <a:cxn ang="0">
                    <a:pos x="30" y="0"/>
                  </a:cxn>
                </a:cxnLst>
                <a:rect l="0" t="0" r="r" b="b"/>
                <a:pathLst>
                  <a:path w="67" h="80">
                    <a:moveTo>
                      <a:pt x="30" y="0"/>
                    </a:moveTo>
                    <a:lnTo>
                      <a:pt x="30" y="14"/>
                    </a:lnTo>
                    <a:lnTo>
                      <a:pt x="8" y="16"/>
                    </a:lnTo>
                    <a:lnTo>
                      <a:pt x="6" y="22"/>
                    </a:lnTo>
                    <a:lnTo>
                      <a:pt x="12" y="28"/>
                    </a:lnTo>
                    <a:lnTo>
                      <a:pt x="6" y="26"/>
                    </a:lnTo>
                    <a:lnTo>
                      <a:pt x="0" y="40"/>
                    </a:lnTo>
                    <a:lnTo>
                      <a:pt x="0" y="40"/>
                    </a:lnTo>
                    <a:lnTo>
                      <a:pt x="12" y="62"/>
                    </a:lnTo>
                    <a:lnTo>
                      <a:pt x="20" y="72"/>
                    </a:lnTo>
                    <a:lnTo>
                      <a:pt x="28" y="80"/>
                    </a:lnTo>
                    <a:lnTo>
                      <a:pt x="28" y="74"/>
                    </a:lnTo>
                    <a:lnTo>
                      <a:pt x="34" y="74"/>
                    </a:lnTo>
                    <a:lnTo>
                      <a:pt x="34" y="62"/>
                    </a:lnTo>
                    <a:lnTo>
                      <a:pt x="47" y="52"/>
                    </a:lnTo>
                    <a:lnTo>
                      <a:pt x="63" y="58"/>
                    </a:lnTo>
                    <a:lnTo>
                      <a:pt x="63" y="58"/>
                    </a:lnTo>
                    <a:lnTo>
                      <a:pt x="65" y="44"/>
                    </a:lnTo>
                    <a:lnTo>
                      <a:pt x="65" y="36"/>
                    </a:lnTo>
                    <a:lnTo>
                      <a:pt x="63" y="30"/>
                    </a:lnTo>
                    <a:lnTo>
                      <a:pt x="67" y="14"/>
                    </a:lnTo>
                    <a:lnTo>
                      <a:pt x="57" y="8"/>
                    </a:lnTo>
                    <a:lnTo>
                      <a:pt x="55" y="14"/>
                    </a:lnTo>
                    <a:lnTo>
                      <a:pt x="53" y="14"/>
                    </a:lnTo>
                    <a:lnTo>
                      <a:pt x="53" y="14"/>
                    </a:lnTo>
                    <a:lnTo>
                      <a:pt x="53" y="6"/>
                    </a:lnTo>
                    <a:lnTo>
                      <a:pt x="55" y="0"/>
                    </a:lnTo>
                    <a:lnTo>
                      <a:pt x="3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3" name="Freeform 1612">
                <a:extLst>
                  <a:ext uri="{FF2B5EF4-FFF2-40B4-BE49-F238E27FC236}">
                    <a16:creationId xmlns:a16="http://schemas.microsoft.com/office/drawing/2014/main" id="{3FE1DCCA-A88D-4277-8E45-3639743E23FA}"/>
                  </a:ext>
                </a:extLst>
              </p:cNvPr>
              <p:cNvSpPr>
                <a:spLocks/>
              </p:cNvSpPr>
              <p:nvPr/>
            </p:nvSpPr>
            <p:spPr bwMode="auto">
              <a:xfrm>
                <a:off x="3112" y="2880"/>
                <a:ext cx="91" cy="112"/>
              </a:xfrm>
              <a:custGeom>
                <a:avLst/>
                <a:gdLst/>
                <a:ahLst/>
                <a:cxnLst>
                  <a:cxn ang="0">
                    <a:pos x="91" y="0"/>
                  </a:cxn>
                  <a:cxn ang="0">
                    <a:pos x="91" y="0"/>
                  </a:cxn>
                  <a:cxn ang="0">
                    <a:pos x="79" y="2"/>
                  </a:cxn>
                  <a:cxn ang="0">
                    <a:pos x="65" y="4"/>
                  </a:cxn>
                  <a:cxn ang="0">
                    <a:pos x="61" y="10"/>
                  </a:cxn>
                  <a:cxn ang="0">
                    <a:pos x="61" y="10"/>
                  </a:cxn>
                  <a:cxn ang="0">
                    <a:pos x="61" y="18"/>
                  </a:cxn>
                  <a:cxn ang="0">
                    <a:pos x="59" y="24"/>
                  </a:cxn>
                  <a:cxn ang="0">
                    <a:pos x="59" y="26"/>
                  </a:cxn>
                  <a:cxn ang="0">
                    <a:pos x="59" y="26"/>
                  </a:cxn>
                  <a:cxn ang="0">
                    <a:pos x="51" y="22"/>
                  </a:cxn>
                  <a:cxn ang="0">
                    <a:pos x="43" y="20"/>
                  </a:cxn>
                  <a:cxn ang="0">
                    <a:pos x="35" y="18"/>
                  </a:cxn>
                  <a:cxn ang="0">
                    <a:pos x="27" y="20"/>
                  </a:cxn>
                  <a:cxn ang="0">
                    <a:pos x="27" y="20"/>
                  </a:cxn>
                  <a:cxn ang="0">
                    <a:pos x="25" y="26"/>
                  </a:cxn>
                  <a:cxn ang="0">
                    <a:pos x="25" y="32"/>
                  </a:cxn>
                  <a:cxn ang="0">
                    <a:pos x="27" y="32"/>
                  </a:cxn>
                  <a:cxn ang="0">
                    <a:pos x="29" y="26"/>
                  </a:cxn>
                  <a:cxn ang="0">
                    <a:pos x="39" y="32"/>
                  </a:cxn>
                  <a:cxn ang="0">
                    <a:pos x="35" y="48"/>
                  </a:cxn>
                  <a:cxn ang="0">
                    <a:pos x="35" y="48"/>
                  </a:cxn>
                  <a:cxn ang="0">
                    <a:pos x="37" y="54"/>
                  </a:cxn>
                  <a:cxn ang="0">
                    <a:pos x="37" y="62"/>
                  </a:cxn>
                  <a:cxn ang="0">
                    <a:pos x="35" y="76"/>
                  </a:cxn>
                  <a:cxn ang="0">
                    <a:pos x="19" y="70"/>
                  </a:cxn>
                  <a:cxn ang="0">
                    <a:pos x="6" y="80"/>
                  </a:cxn>
                  <a:cxn ang="0">
                    <a:pos x="6" y="92"/>
                  </a:cxn>
                  <a:cxn ang="0">
                    <a:pos x="0" y="92"/>
                  </a:cxn>
                  <a:cxn ang="0">
                    <a:pos x="0" y="98"/>
                  </a:cxn>
                  <a:cxn ang="0">
                    <a:pos x="11" y="112"/>
                  </a:cxn>
                  <a:cxn ang="0">
                    <a:pos x="17" y="104"/>
                  </a:cxn>
                  <a:cxn ang="0">
                    <a:pos x="21" y="104"/>
                  </a:cxn>
                  <a:cxn ang="0">
                    <a:pos x="23" y="106"/>
                  </a:cxn>
                  <a:cxn ang="0">
                    <a:pos x="27" y="108"/>
                  </a:cxn>
                  <a:cxn ang="0">
                    <a:pos x="39" y="102"/>
                  </a:cxn>
                  <a:cxn ang="0">
                    <a:pos x="39" y="108"/>
                  </a:cxn>
                  <a:cxn ang="0">
                    <a:pos x="61" y="88"/>
                  </a:cxn>
                  <a:cxn ang="0">
                    <a:pos x="69" y="66"/>
                  </a:cxn>
                  <a:cxn ang="0">
                    <a:pos x="79" y="56"/>
                  </a:cxn>
                  <a:cxn ang="0">
                    <a:pos x="79" y="56"/>
                  </a:cxn>
                  <a:cxn ang="0">
                    <a:pos x="81" y="38"/>
                  </a:cxn>
                  <a:cxn ang="0">
                    <a:pos x="83" y="22"/>
                  </a:cxn>
                  <a:cxn ang="0">
                    <a:pos x="83" y="22"/>
                  </a:cxn>
                  <a:cxn ang="0">
                    <a:pos x="89" y="12"/>
                  </a:cxn>
                  <a:cxn ang="0">
                    <a:pos x="91" y="6"/>
                  </a:cxn>
                  <a:cxn ang="0">
                    <a:pos x="91" y="0"/>
                  </a:cxn>
                  <a:cxn ang="0">
                    <a:pos x="91" y="0"/>
                  </a:cxn>
                </a:cxnLst>
                <a:rect l="0" t="0" r="r" b="b"/>
                <a:pathLst>
                  <a:path w="91" h="112">
                    <a:moveTo>
                      <a:pt x="91" y="0"/>
                    </a:moveTo>
                    <a:lnTo>
                      <a:pt x="91" y="0"/>
                    </a:lnTo>
                    <a:lnTo>
                      <a:pt x="79" y="2"/>
                    </a:lnTo>
                    <a:lnTo>
                      <a:pt x="65" y="4"/>
                    </a:lnTo>
                    <a:lnTo>
                      <a:pt x="61" y="10"/>
                    </a:lnTo>
                    <a:lnTo>
                      <a:pt x="61" y="10"/>
                    </a:lnTo>
                    <a:lnTo>
                      <a:pt x="61" y="18"/>
                    </a:lnTo>
                    <a:lnTo>
                      <a:pt x="59" y="24"/>
                    </a:lnTo>
                    <a:lnTo>
                      <a:pt x="59" y="26"/>
                    </a:lnTo>
                    <a:lnTo>
                      <a:pt x="59" y="26"/>
                    </a:lnTo>
                    <a:lnTo>
                      <a:pt x="51" y="22"/>
                    </a:lnTo>
                    <a:lnTo>
                      <a:pt x="43" y="20"/>
                    </a:lnTo>
                    <a:lnTo>
                      <a:pt x="35" y="18"/>
                    </a:lnTo>
                    <a:lnTo>
                      <a:pt x="27" y="20"/>
                    </a:lnTo>
                    <a:lnTo>
                      <a:pt x="27" y="20"/>
                    </a:lnTo>
                    <a:lnTo>
                      <a:pt x="25" y="26"/>
                    </a:lnTo>
                    <a:lnTo>
                      <a:pt x="25" y="32"/>
                    </a:lnTo>
                    <a:lnTo>
                      <a:pt x="27" y="32"/>
                    </a:lnTo>
                    <a:lnTo>
                      <a:pt x="29" y="26"/>
                    </a:lnTo>
                    <a:lnTo>
                      <a:pt x="39" y="32"/>
                    </a:lnTo>
                    <a:lnTo>
                      <a:pt x="35" y="48"/>
                    </a:lnTo>
                    <a:lnTo>
                      <a:pt x="35" y="48"/>
                    </a:lnTo>
                    <a:lnTo>
                      <a:pt x="37" y="54"/>
                    </a:lnTo>
                    <a:lnTo>
                      <a:pt x="37" y="62"/>
                    </a:lnTo>
                    <a:lnTo>
                      <a:pt x="35" y="76"/>
                    </a:lnTo>
                    <a:lnTo>
                      <a:pt x="19" y="70"/>
                    </a:lnTo>
                    <a:lnTo>
                      <a:pt x="6" y="80"/>
                    </a:lnTo>
                    <a:lnTo>
                      <a:pt x="6" y="92"/>
                    </a:lnTo>
                    <a:lnTo>
                      <a:pt x="0" y="92"/>
                    </a:lnTo>
                    <a:lnTo>
                      <a:pt x="0" y="98"/>
                    </a:lnTo>
                    <a:lnTo>
                      <a:pt x="11" y="112"/>
                    </a:lnTo>
                    <a:lnTo>
                      <a:pt x="17" y="104"/>
                    </a:lnTo>
                    <a:lnTo>
                      <a:pt x="21" y="104"/>
                    </a:lnTo>
                    <a:lnTo>
                      <a:pt x="23" y="106"/>
                    </a:lnTo>
                    <a:lnTo>
                      <a:pt x="27" y="108"/>
                    </a:lnTo>
                    <a:lnTo>
                      <a:pt x="39" y="102"/>
                    </a:lnTo>
                    <a:lnTo>
                      <a:pt x="39" y="108"/>
                    </a:lnTo>
                    <a:lnTo>
                      <a:pt x="61" y="88"/>
                    </a:lnTo>
                    <a:lnTo>
                      <a:pt x="69" y="66"/>
                    </a:lnTo>
                    <a:lnTo>
                      <a:pt x="79" y="56"/>
                    </a:lnTo>
                    <a:lnTo>
                      <a:pt x="79" y="56"/>
                    </a:lnTo>
                    <a:lnTo>
                      <a:pt x="81" y="38"/>
                    </a:lnTo>
                    <a:lnTo>
                      <a:pt x="83" y="22"/>
                    </a:lnTo>
                    <a:lnTo>
                      <a:pt x="83" y="22"/>
                    </a:lnTo>
                    <a:lnTo>
                      <a:pt x="89" y="12"/>
                    </a:lnTo>
                    <a:lnTo>
                      <a:pt x="91" y="6"/>
                    </a:lnTo>
                    <a:lnTo>
                      <a:pt x="91" y="0"/>
                    </a:lnTo>
                    <a:lnTo>
                      <a:pt x="91"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4" name="Freeform 1613">
                <a:extLst>
                  <a:ext uri="{FF2B5EF4-FFF2-40B4-BE49-F238E27FC236}">
                    <a16:creationId xmlns:a16="http://schemas.microsoft.com/office/drawing/2014/main" id="{2D8328DB-00DF-4AB9-8DCA-2F83ED66B4A7}"/>
                  </a:ext>
                </a:extLst>
              </p:cNvPr>
              <p:cNvSpPr>
                <a:spLocks/>
              </p:cNvSpPr>
              <p:nvPr/>
            </p:nvSpPr>
            <p:spPr bwMode="auto">
              <a:xfrm>
                <a:off x="3329" y="2956"/>
                <a:ext cx="20" cy="26"/>
              </a:xfrm>
              <a:custGeom>
                <a:avLst/>
                <a:gdLst/>
                <a:ahLst/>
                <a:cxnLst>
                  <a:cxn ang="0">
                    <a:pos x="4" y="26"/>
                  </a:cxn>
                  <a:cxn ang="0">
                    <a:pos x="4" y="26"/>
                  </a:cxn>
                  <a:cxn ang="0">
                    <a:pos x="2" y="20"/>
                  </a:cxn>
                  <a:cxn ang="0">
                    <a:pos x="2" y="14"/>
                  </a:cxn>
                  <a:cxn ang="0">
                    <a:pos x="2" y="8"/>
                  </a:cxn>
                  <a:cxn ang="0">
                    <a:pos x="0" y="6"/>
                  </a:cxn>
                  <a:cxn ang="0">
                    <a:pos x="2" y="2"/>
                  </a:cxn>
                  <a:cxn ang="0">
                    <a:pos x="2" y="2"/>
                  </a:cxn>
                  <a:cxn ang="0">
                    <a:pos x="4" y="6"/>
                  </a:cxn>
                  <a:cxn ang="0">
                    <a:pos x="8" y="6"/>
                  </a:cxn>
                  <a:cxn ang="0">
                    <a:pos x="10" y="0"/>
                  </a:cxn>
                  <a:cxn ang="0">
                    <a:pos x="16" y="0"/>
                  </a:cxn>
                  <a:cxn ang="0">
                    <a:pos x="18" y="2"/>
                  </a:cxn>
                  <a:cxn ang="0">
                    <a:pos x="16" y="6"/>
                  </a:cxn>
                  <a:cxn ang="0">
                    <a:pos x="20" y="12"/>
                  </a:cxn>
                  <a:cxn ang="0">
                    <a:pos x="12" y="24"/>
                  </a:cxn>
                  <a:cxn ang="0">
                    <a:pos x="6" y="26"/>
                  </a:cxn>
                  <a:cxn ang="0">
                    <a:pos x="4" y="26"/>
                  </a:cxn>
                </a:cxnLst>
                <a:rect l="0" t="0" r="r" b="b"/>
                <a:pathLst>
                  <a:path w="20" h="26">
                    <a:moveTo>
                      <a:pt x="4" y="26"/>
                    </a:moveTo>
                    <a:lnTo>
                      <a:pt x="4" y="26"/>
                    </a:lnTo>
                    <a:lnTo>
                      <a:pt x="2" y="20"/>
                    </a:lnTo>
                    <a:lnTo>
                      <a:pt x="2" y="14"/>
                    </a:lnTo>
                    <a:lnTo>
                      <a:pt x="2" y="8"/>
                    </a:lnTo>
                    <a:lnTo>
                      <a:pt x="0" y="6"/>
                    </a:lnTo>
                    <a:lnTo>
                      <a:pt x="2" y="2"/>
                    </a:lnTo>
                    <a:lnTo>
                      <a:pt x="2" y="2"/>
                    </a:lnTo>
                    <a:lnTo>
                      <a:pt x="4" y="6"/>
                    </a:lnTo>
                    <a:lnTo>
                      <a:pt x="8" y="6"/>
                    </a:lnTo>
                    <a:lnTo>
                      <a:pt x="10" y="0"/>
                    </a:lnTo>
                    <a:lnTo>
                      <a:pt x="16" y="0"/>
                    </a:lnTo>
                    <a:lnTo>
                      <a:pt x="18" y="2"/>
                    </a:lnTo>
                    <a:lnTo>
                      <a:pt x="16" y="6"/>
                    </a:lnTo>
                    <a:lnTo>
                      <a:pt x="20" y="12"/>
                    </a:lnTo>
                    <a:lnTo>
                      <a:pt x="12" y="24"/>
                    </a:lnTo>
                    <a:lnTo>
                      <a:pt x="6" y="26"/>
                    </a:lnTo>
                    <a:lnTo>
                      <a:pt x="4"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5" name="Freeform 1614">
                <a:extLst>
                  <a:ext uri="{FF2B5EF4-FFF2-40B4-BE49-F238E27FC236}">
                    <a16:creationId xmlns:a16="http://schemas.microsoft.com/office/drawing/2014/main" id="{9E73C2FD-B755-488A-8418-6803D437746A}"/>
                  </a:ext>
                </a:extLst>
              </p:cNvPr>
              <p:cNvSpPr>
                <a:spLocks/>
              </p:cNvSpPr>
              <p:nvPr/>
            </p:nvSpPr>
            <p:spPr bwMode="auto">
              <a:xfrm>
                <a:off x="3123" y="2984"/>
                <a:ext cx="12" cy="18"/>
              </a:xfrm>
              <a:custGeom>
                <a:avLst/>
                <a:gdLst/>
                <a:ahLst/>
                <a:cxnLst>
                  <a:cxn ang="0">
                    <a:pos x="4" y="18"/>
                  </a:cxn>
                  <a:cxn ang="0">
                    <a:pos x="2" y="16"/>
                  </a:cxn>
                  <a:cxn ang="0">
                    <a:pos x="2" y="8"/>
                  </a:cxn>
                  <a:cxn ang="0">
                    <a:pos x="0" y="8"/>
                  </a:cxn>
                  <a:cxn ang="0">
                    <a:pos x="6" y="0"/>
                  </a:cxn>
                  <a:cxn ang="0">
                    <a:pos x="10" y="0"/>
                  </a:cxn>
                  <a:cxn ang="0">
                    <a:pos x="12" y="2"/>
                  </a:cxn>
                  <a:cxn ang="0">
                    <a:pos x="12" y="2"/>
                  </a:cxn>
                  <a:cxn ang="0">
                    <a:pos x="8" y="10"/>
                  </a:cxn>
                  <a:cxn ang="0">
                    <a:pos x="6" y="16"/>
                  </a:cxn>
                  <a:cxn ang="0">
                    <a:pos x="4" y="18"/>
                  </a:cxn>
                </a:cxnLst>
                <a:rect l="0" t="0" r="r" b="b"/>
                <a:pathLst>
                  <a:path w="12" h="18">
                    <a:moveTo>
                      <a:pt x="4" y="18"/>
                    </a:moveTo>
                    <a:lnTo>
                      <a:pt x="2" y="16"/>
                    </a:lnTo>
                    <a:lnTo>
                      <a:pt x="2" y="8"/>
                    </a:lnTo>
                    <a:lnTo>
                      <a:pt x="0" y="8"/>
                    </a:lnTo>
                    <a:lnTo>
                      <a:pt x="6" y="0"/>
                    </a:lnTo>
                    <a:lnTo>
                      <a:pt x="10" y="0"/>
                    </a:lnTo>
                    <a:lnTo>
                      <a:pt x="12" y="2"/>
                    </a:lnTo>
                    <a:lnTo>
                      <a:pt x="12" y="2"/>
                    </a:lnTo>
                    <a:lnTo>
                      <a:pt x="8" y="10"/>
                    </a:lnTo>
                    <a:lnTo>
                      <a:pt x="6" y="16"/>
                    </a:lnTo>
                    <a:lnTo>
                      <a:pt x="4"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6" name="Freeform 1615">
                <a:extLst>
                  <a:ext uri="{FF2B5EF4-FFF2-40B4-BE49-F238E27FC236}">
                    <a16:creationId xmlns:a16="http://schemas.microsoft.com/office/drawing/2014/main" id="{2A8499BE-ED62-4A0F-B063-5B71A246CA8B}"/>
                  </a:ext>
                </a:extLst>
              </p:cNvPr>
              <p:cNvSpPr>
                <a:spLocks/>
              </p:cNvSpPr>
              <p:nvPr/>
            </p:nvSpPr>
            <p:spPr bwMode="auto">
              <a:xfrm>
                <a:off x="3090" y="2898"/>
                <a:ext cx="24" cy="16"/>
              </a:xfrm>
              <a:custGeom>
                <a:avLst/>
                <a:gdLst/>
                <a:ahLst/>
                <a:cxnLst>
                  <a:cxn ang="0">
                    <a:pos x="24" y="0"/>
                  </a:cxn>
                  <a:cxn ang="0">
                    <a:pos x="4" y="2"/>
                  </a:cxn>
                  <a:cxn ang="0">
                    <a:pos x="4" y="2"/>
                  </a:cxn>
                  <a:cxn ang="0">
                    <a:pos x="2" y="8"/>
                  </a:cxn>
                  <a:cxn ang="0">
                    <a:pos x="0" y="14"/>
                  </a:cxn>
                  <a:cxn ang="0">
                    <a:pos x="4" y="16"/>
                  </a:cxn>
                  <a:cxn ang="0">
                    <a:pos x="2" y="16"/>
                  </a:cxn>
                  <a:cxn ang="0">
                    <a:pos x="24" y="14"/>
                  </a:cxn>
                  <a:cxn ang="0">
                    <a:pos x="24" y="0"/>
                  </a:cxn>
                </a:cxnLst>
                <a:rect l="0" t="0" r="r" b="b"/>
                <a:pathLst>
                  <a:path w="24" h="16">
                    <a:moveTo>
                      <a:pt x="24" y="0"/>
                    </a:moveTo>
                    <a:lnTo>
                      <a:pt x="4" y="2"/>
                    </a:lnTo>
                    <a:lnTo>
                      <a:pt x="4" y="2"/>
                    </a:lnTo>
                    <a:lnTo>
                      <a:pt x="2" y="8"/>
                    </a:lnTo>
                    <a:lnTo>
                      <a:pt x="0" y="14"/>
                    </a:lnTo>
                    <a:lnTo>
                      <a:pt x="4" y="16"/>
                    </a:lnTo>
                    <a:lnTo>
                      <a:pt x="2" y="16"/>
                    </a:lnTo>
                    <a:lnTo>
                      <a:pt x="24" y="14"/>
                    </a:lnTo>
                    <a:lnTo>
                      <a:pt x="2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7" name="Freeform 1616">
                <a:extLst>
                  <a:ext uri="{FF2B5EF4-FFF2-40B4-BE49-F238E27FC236}">
                    <a16:creationId xmlns:a16="http://schemas.microsoft.com/office/drawing/2014/main" id="{FC63F96B-9A32-4A2D-804D-67D3E5D872E6}"/>
                  </a:ext>
                </a:extLst>
              </p:cNvPr>
              <p:cNvSpPr>
                <a:spLocks/>
              </p:cNvSpPr>
              <p:nvPr/>
            </p:nvSpPr>
            <p:spPr bwMode="auto">
              <a:xfrm>
                <a:off x="3305" y="3306"/>
                <a:ext cx="26" cy="30"/>
              </a:xfrm>
              <a:custGeom>
                <a:avLst/>
                <a:gdLst/>
                <a:ahLst/>
                <a:cxnLst>
                  <a:cxn ang="0">
                    <a:pos x="26" y="14"/>
                  </a:cxn>
                  <a:cxn ang="0">
                    <a:pos x="22" y="22"/>
                  </a:cxn>
                  <a:cxn ang="0">
                    <a:pos x="22" y="22"/>
                  </a:cxn>
                  <a:cxn ang="0">
                    <a:pos x="16" y="26"/>
                  </a:cxn>
                  <a:cxn ang="0">
                    <a:pos x="12" y="30"/>
                  </a:cxn>
                  <a:cxn ang="0">
                    <a:pos x="8" y="30"/>
                  </a:cxn>
                  <a:cxn ang="0">
                    <a:pos x="8" y="30"/>
                  </a:cxn>
                  <a:cxn ang="0">
                    <a:pos x="2" y="24"/>
                  </a:cxn>
                  <a:cxn ang="0">
                    <a:pos x="0" y="18"/>
                  </a:cxn>
                  <a:cxn ang="0">
                    <a:pos x="0" y="18"/>
                  </a:cxn>
                  <a:cxn ang="0">
                    <a:pos x="2" y="12"/>
                  </a:cxn>
                  <a:cxn ang="0">
                    <a:pos x="6" y="6"/>
                  </a:cxn>
                  <a:cxn ang="0">
                    <a:pos x="12" y="2"/>
                  </a:cxn>
                  <a:cxn ang="0">
                    <a:pos x="18" y="0"/>
                  </a:cxn>
                  <a:cxn ang="0">
                    <a:pos x="18" y="0"/>
                  </a:cxn>
                  <a:cxn ang="0">
                    <a:pos x="24" y="6"/>
                  </a:cxn>
                  <a:cxn ang="0">
                    <a:pos x="26" y="14"/>
                  </a:cxn>
                  <a:cxn ang="0">
                    <a:pos x="26" y="14"/>
                  </a:cxn>
                </a:cxnLst>
                <a:rect l="0" t="0" r="r" b="b"/>
                <a:pathLst>
                  <a:path w="26" h="30">
                    <a:moveTo>
                      <a:pt x="26" y="14"/>
                    </a:moveTo>
                    <a:lnTo>
                      <a:pt x="22" y="22"/>
                    </a:lnTo>
                    <a:lnTo>
                      <a:pt x="22" y="22"/>
                    </a:lnTo>
                    <a:lnTo>
                      <a:pt x="16" y="26"/>
                    </a:lnTo>
                    <a:lnTo>
                      <a:pt x="12" y="30"/>
                    </a:lnTo>
                    <a:lnTo>
                      <a:pt x="8" y="30"/>
                    </a:lnTo>
                    <a:lnTo>
                      <a:pt x="8" y="30"/>
                    </a:lnTo>
                    <a:lnTo>
                      <a:pt x="2" y="24"/>
                    </a:lnTo>
                    <a:lnTo>
                      <a:pt x="0" y="18"/>
                    </a:lnTo>
                    <a:lnTo>
                      <a:pt x="0" y="18"/>
                    </a:lnTo>
                    <a:lnTo>
                      <a:pt x="2" y="12"/>
                    </a:lnTo>
                    <a:lnTo>
                      <a:pt x="6" y="6"/>
                    </a:lnTo>
                    <a:lnTo>
                      <a:pt x="12" y="2"/>
                    </a:lnTo>
                    <a:lnTo>
                      <a:pt x="18" y="0"/>
                    </a:lnTo>
                    <a:lnTo>
                      <a:pt x="18" y="0"/>
                    </a:lnTo>
                    <a:lnTo>
                      <a:pt x="24" y="6"/>
                    </a:lnTo>
                    <a:lnTo>
                      <a:pt x="26" y="14"/>
                    </a:lnTo>
                    <a:lnTo>
                      <a:pt x="26"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8" name="Freeform 1617">
                <a:extLst>
                  <a:ext uri="{FF2B5EF4-FFF2-40B4-BE49-F238E27FC236}">
                    <a16:creationId xmlns:a16="http://schemas.microsoft.com/office/drawing/2014/main" id="{D7169EE4-5A62-4B8A-A3EE-907FF320ABC3}"/>
                  </a:ext>
                </a:extLst>
              </p:cNvPr>
              <p:cNvSpPr>
                <a:spLocks/>
              </p:cNvSpPr>
              <p:nvPr/>
            </p:nvSpPr>
            <p:spPr bwMode="auto">
              <a:xfrm>
                <a:off x="3349" y="3266"/>
                <a:ext cx="14" cy="22"/>
              </a:xfrm>
              <a:custGeom>
                <a:avLst/>
                <a:gdLst/>
                <a:ahLst/>
                <a:cxnLst>
                  <a:cxn ang="0">
                    <a:pos x="14" y="14"/>
                  </a:cxn>
                  <a:cxn ang="0">
                    <a:pos x="14" y="2"/>
                  </a:cxn>
                  <a:cxn ang="0">
                    <a:pos x="12" y="4"/>
                  </a:cxn>
                  <a:cxn ang="0">
                    <a:pos x="8" y="0"/>
                  </a:cxn>
                  <a:cxn ang="0">
                    <a:pos x="4" y="2"/>
                  </a:cxn>
                  <a:cxn ang="0">
                    <a:pos x="0" y="12"/>
                  </a:cxn>
                  <a:cxn ang="0">
                    <a:pos x="2" y="20"/>
                  </a:cxn>
                  <a:cxn ang="0">
                    <a:pos x="2" y="20"/>
                  </a:cxn>
                  <a:cxn ang="0">
                    <a:pos x="10" y="22"/>
                  </a:cxn>
                  <a:cxn ang="0">
                    <a:pos x="14" y="14"/>
                  </a:cxn>
                </a:cxnLst>
                <a:rect l="0" t="0" r="r" b="b"/>
                <a:pathLst>
                  <a:path w="14" h="22">
                    <a:moveTo>
                      <a:pt x="14" y="14"/>
                    </a:moveTo>
                    <a:lnTo>
                      <a:pt x="14" y="2"/>
                    </a:lnTo>
                    <a:lnTo>
                      <a:pt x="12" y="4"/>
                    </a:lnTo>
                    <a:lnTo>
                      <a:pt x="8" y="0"/>
                    </a:lnTo>
                    <a:lnTo>
                      <a:pt x="4" y="2"/>
                    </a:lnTo>
                    <a:lnTo>
                      <a:pt x="0" y="12"/>
                    </a:lnTo>
                    <a:lnTo>
                      <a:pt x="2" y="20"/>
                    </a:lnTo>
                    <a:lnTo>
                      <a:pt x="2" y="20"/>
                    </a:lnTo>
                    <a:lnTo>
                      <a:pt x="10" y="22"/>
                    </a:lnTo>
                    <a:lnTo>
                      <a:pt x="14"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09" name="Freeform 1618">
                <a:extLst>
                  <a:ext uri="{FF2B5EF4-FFF2-40B4-BE49-F238E27FC236}">
                    <a16:creationId xmlns:a16="http://schemas.microsoft.com/office/drawing/2014/main" id="{992E2384-EB00-4BEE-8A18-4116FEF40C53}"/>
                  </a:ext>
                </a:extLst>
              </p:cNvPr>
              <p:cNvSpPr>
                <a:spLocks/>
              </p:cNvSpPr>
              <p:nvPr/>
            </p:nvSpPr>
            <p:spPr bwMode="auto">
              <a:xfrm>
                <a:off x="2876" y="2788"/>
                <a:ext cx="74" cy="84"/>
              </a:xfrm>
              <a:custGeom>
                <a:avLst/>
                <a:gdLst/>
                <a:ahLst/>
                <a:cxnLst>
                  <a:cxn ang="0">
                    <a:pos x="6" y="12"/>
                  </a:cxn>
                  <a:cxn ang="0">
                    <a:pos x="8" y="18"/>
                  </a:cxn>
                  <a:cxn ang="0">
                    <a:pos x="8" y="30"/>
                  </a:cxn>
                  <a:cxn ang="0">
                    <a:pos x="4" y="30"/>
                  </a:cxn>
                  <a:cxn ang="0">
                    <a:pos x="4" y="34"/>
                  </a:cxn>
                  <a:cxn ang="0">
                    <a:pos x="8" y="36"/>
                  </a:cxn>
                  <a:cxn ang="0">
                    <a:pos x="4" y="42"/>
                  </a:cxn>
                  <a:cxn ang="0">
                    <a:pos x="2" y="42"/>
                  </a:cxn>
                  <a:cxn ang="0">
                    <a:pos x="4" y="48"/>
                  </a:cxn>
                  <a:cxn ang="0">
                    <a:pos x="0" y="56"/>
                  </a:cxn>
                  <a:cxn ang="0">
                    <a:pos x="0" y="56"/>
                  </a:cxn>
                  <a:cxn ang="0">
                    <a:pos x="8" y="58"/>
                  </a:cxn>
                  <a:cxn ang="0">
                    <a:pos x="14" y="64"/>
                  </a:cxn>
                  <a:cxn ang="0">
                    <a:pos x="14" y="70"/>
                  </a:cxn>
                  <a:cxn ang="0">
                    <a:pos x="12" y="74"/>
                  </a:cxn>
                  <a:cxn ang="0">
                    <a:pos x="12" y="82"/>
                  </a:cxn>
                  <a:cxn ang="0">
                    <a:pos x="16" y="84"/>
                  </a:cxn>
                  <a:cxn ang="0">
                    <a:pos x="16" y="84"/>
                  </a:cxn>
                  <a:cxn ang="0">
                    <a:pos x="26" y="78"/>
                  </a:cxn>
                  <a:cxn ang="0">
                    <a:pos x="40" y="74"/>
                  </a:cxn>
                  <a:cxn ang="0">
                    <a:pos x="56" y="72"/>
                  </a:cxn>
                  <a:cxn ang="0">
                    <a:pos x="62" y="74"/>
                  </a:cxn>
                  <a:cxn ang="0">
                    <a:pos x="66" y="74"/>
                  </a:cxn>
                  <a:cxn ang="0">
                    <a:pos x="68" y="72"/>
                  </a:cxn>
                  <a:cxn ang="0">
                    <a:pos x="68" y="72"/>
                  </a:cxn>
                  <a:cxn ang="0">
                    <a:pos x="66" y="64"/>
                  </a:cxn>
                  <a:cxn ang="0">
                    <a:pos x="66" y="52"/>
                  </a:cxn>
                  <a:cxn ang="0">
                    <a:pos x="68" y="40"/>
                  </a:cxn>
                  <a:cxn ang="0">
                    <a:pos x="70" y="36"/>
                  </a:cxn>
                  <a:cxn ang="0">
                    <a:pos x="74" y="34"/>
                  </a:cxn>
                  <a:cxn ang="0">
                    <a:pos x="72" y="22"/>
                  </a:cxn>
                  <a:cxn ang="0">
                    <a:pos x="70" y="22"/>
                  </a:cxn>
                  <a:cxn ang="0">
                    <a:pos x="72" y="20"/>
                  </a:cxn>
                  <a:cxn ang="0">
                    <a:pos x="70" y="16"/>
                  </a:cxn>
                  <a:cxn ang="0">
                    <a:pos x="68" y="16"/>
                  </a:cxn>
                  <a:cxn ang="0">
                    <a:pos x="64" y="10"/>
                  </a:cxn>
                  <a:cxn ang="0">
                    <a:pos x="64" y="12"/>
                  </a:cxn>
                  <a:cxn ang="0">
                    <a:pos x="64" y="12"/>
                  </a:cxn>
                  <a:cxn ang="0">
                    <a:pos x="60" y="12"/>
                  </a:cxn>
                  <a:cxn ang="0">
                    <a:pos x="54" y="12"/>
                  </a:cxn>
                  <a:cxn ang="0">
                    <a:pos x="46" y="14"/>
                  </a:cxn>
                  <a:cxn ang="0">
                    <a:pos x="40" y="6"/>
                  </a:cxn>
                  <a:cxn ang="0">
                    <a:pos x="28" y="8"/>
                  </a:cxn>
                  <a:cxn ang="0">
                    <a:pos x="28" y="0"/>
                  </a:cxn>
                  <a:cxn ang="0">
                    <a:pos x="24" y="2"/>
                  </a:cxn>
                  <a:cxn ang="0">
                    <a:pos x="22" y="6"/>
                  </a:cxn>
                  <a:cxn ang="0">
                    <a:pos x="14" y="8"/>
                  </a:cxn>
                  <a:cxn ang="0">
                    <a:pos x="12" y="4"/>
                  </a:cxn>
                  <a:cxn ang="0">
                    <a:pos x="12" y="4"/>
                  </a:cxn>
                  <a:cxn ang="0">
                    <a:pos x="8" y="8"/>
                  </a:cxn>
                  <a:cxn ang="0">
                    <a:pos x="6" y="12"/>
                  </a:cxn>
                  <a:cxn ang="0">
                    <a:pos x="6" y="12"/>
                  </a:cxn>
                </a:cxnLst>
                <a:rect l="0" t="0" r="r" b="b"/>
                <a:pathLst>
                  <a:path w="74" h="84">
                    <a:moveTo>
                      <a:pt x="6" y="12"/>
                    </a:moveTo>
                    <a:lnTo>
                      <a:pt x="8" y="18"/>
                    </a:lnTo>
                    <a:lnTo>
                      <a:pt x="8" y="30"/>
                    </a:lnTo>
                    <a:lnTo>
                      <a:pt x="4" y="30"/>
                    </a:lnTo>
                    <a:lnTo>
                      <a:pt x="4" y="34"/>
                    </a:lnTo>
                    <a:lnTo>
                      <a:pt x="8" y="36"/>
                    </a:lnTo>
                    <a:lnTo>
                      <a:pt x="4" y="42"/>
                    </a:lnTo>
                    <a:lnTo>
                      <a:pt x="2" y="42"/>
                    </a:lnTo>
                    <a:lnTo>
                      <a:pt x="4" y="48"/>
                    </a:lnTo>
                    <a:lnTo>
                      <a:pt x="0" y="56"/>
                    </a:lnTo>
                    <a:lnTo>
                      <a:pt x="0" y="56"/>
                    </a:lnTo>
                    <a:lnTo>
                      <a:pt x="8" y="58"/>
                    </a:lnTo>
                    <a:lnTo>
                      <a:pt x="14" y="64"/>
                    </a:lnTo>
                    <a:lnTo>
                      <a:pt x="14" y="70"/>
                    </a:lnTo>
                    <a:lnTo>
                      <a:pt x="12" y="74"/>
                    </a:lnTo>
                    <a:lnTo>
                      <a:pt x="12" y="82"/>
                    </a:lnTo>
                    <a:lnTo>
                      <a:pt x="16" y="84"/>
                    </a:lnTo>
                    <a:lnTo>
                      <a:pt x="16" y="84"/>
                    </a:lnTo>
                    <a:lnTo>
                      <a:pt x="26" y="78"/>
                    </a:lnTo>
                    <a:lnTo>
                      <a:pt x="40" y="74"/>
                    </a:lnTo>
                    <a:lnTo>
                      <a:pt x="56" y="72"/>
                    </a:lnTo>
                    <a:lnTo>
                      <a:pt x="62" y="74"/>
                    </a:lnTo>
                    <a:lnTo>
                      <a:pt x="66" y="74"/>
                    </a:lnTo>
                    <a:lnTo>
                      <a:pt x="68" y="72"/>
                    </a:lnTo>
                    <a:lnTo>
                      <a:pt x="68" y="72"/>
                    </a:lnTo>
                    <a:lnTo>
                      <a:pt x="66" y="64"/>
                    </a:lnTo>
                    <a:lnTo>
                      <a:pt x="66" y="52"/>
                    </a:lnTo>
                    <a:lnTo>
                      <a:pt x="68" y="40"/>
                    </a:lnTo>
                    <a:lnTo>
                      <a:pt x="70" y="36"/>
                    </a:lnTo>
                    <a:lnTo>
                      <a:pt x="74" y="34"/>
                    </a:lnTo>
                    <a:lnTo>
                      <a:pt x="72" y="22"/>
                    </a:lnTo>
                    <a:lnTo>
                      <a:pt x="70" y="22"/>
                    </a:lnTo>
                    <a:lnTo>
                      <a:pt x="72" y="20"/>
                    </a:lnTo>
                    <a:lnTo>
                      <a:pt x="70" y="16"/>
                    </a:lnTo>
                    <a:lnTo>
                      <a:pt x="68" y="16"/>
                    </a:lnTo>
                    <a:lnTo>
                      <a:pt x="64" y="10"/>
                    </a:lnTo>
                    <a:lnTo>
                      <a:pt x="64" y="12"/>
                    </a:lnTo>
                    <a:lnTo>
                      <a:pt x="64" y="12"/>
                    </a:lnTo>
                    <a:lnTo>
                      <a:pt x="60" y="12"/>
                    </a:lnTo>
                    <a:lnTo>
                      <a:pt x="54" y="12"/>
                    </a:lnTo>
                    <a:lnTo>
                      <a:pt x="46" y="14"/>
                    </a:lnTo>
                    <a:lnTo>
                      <a:pt x="40" y="6"/>
                    </a:lnTo>
                    <a:lnTo>
                      <a:pt x="28" y="8"/>
                    </a:lnTo>
                    <a:lnTo>
                      <a:pt x="28" y="0"/>
                    </a:lnTo>
                    <a:lnTo>
                      <a:pt x="24" y="2"/>
                    </a:lnTo>
                    <a:lnTo>
                      <a:pt x="22" y="6"/>
                    </a:lnTo>
                    <a:lnTo>
                      <a:pt x="14" y="8"/>
                    </a:lnTo>
                    <a:lnTo>
                      <a:pt x="12" y="4"/>
                    </a:lnTo>
                    <a:lnTo>
                      <a:pt x="12" y="4"/>
                    </a:lnTo>
                    <a:lnTo>
                      <a:pt x="8" y="8"/>
                    </a:lnTo>
                    <a:lnTo>
                      <a:pt x="6" y="12"/>
                    </a:lnTo>
                    <a:lnTo>
                      <a:pt x="6" y="12"/>
                    </a:lnTo>
                    <a:close/>
                  </a:path>
                </a:pathLst>
              </a:custGeom>
              <a:solidFill>
                <a:schemeClr val="accent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0" name="Freeform 1619">
                <a:extLst>
                  <a:ext uri="{FF2B5EF4-FFF2-40B4-BE49-F238E27FC236}">
                    <a16:creationId xmlns:a16="http://schemas.microsoft.com/office/drawing/2014/main" id="{4D2A1698-4520-4250-8225-A8E85EA21F7A}"/>
                  </a:ext>
                </a:extLst>
              </p:cNvPr>
              <p:cNvSpPr>
                <a:spLocks/>
              </p:cNvSpPr>
              <p:nvPr/>
            </p:nvSpPr>
            <p:spPr bwMode="auto">
              <a:xfrm>
                <a:off x="2988" y="2768"/>
                <a:ext cx="36" cy="80"/>
              </a:xfrm>
              <a:custGeom>
                <a:avLst/>
                <a:gdLst/>
                <a:ahLst/>
                <a:cxnLst>
                  <a:cxn ang="0">
                    <a:pos x="14" y="80"/>
                  </a:cxn>
                  <a:cxn ang="0">
                    <a:pos x="6" y="32"/>
                  </a:cxn>
                  <a:cxn ang="0">
                    <a:pos x="0" y="26"/>
                  </a:cxn>
                  <a:cxn ang="0">
                    <a:pos x="2" y="18"/>
                  </a:cxn>
                  <a:cxn ang="0">
                    <a:pos x="8" y="12"/>
                  </a:cxn>
                  <a:cxn ang="0">
                    <a:pos x="14" y="12"/>
                  </a:cxn>
                  <a:cxn ang="0">
                    <a:pos x="14" y="12"/>
                  </a:cxn>
                  <a:cxn ang="0">
                    <a:pos x="18" y="8"/>
                  </a:cxn>
                  <a:cxn ang="0">
                    <a:pos x="20" y="4"/>
                  </a:cxn>
                  <a:cxn ang="0">
                    <a:pos x="20" y="2"/>
                  </a:cxn>
                  <a:cxn ang="0">
                    <a:pos x="24" y="0"/>
                  </a:cxn>
                  <a:cxn ang="0">
                    <a:pos x="34" y="8"/>
                  </a:cxn>
                  <a:cxn ang="0">
                    <a:pos x="32" y="12"/>
                  </a:cxn>
                  <a:cxn ang="0">
                    <a:pos x="36" y="24"/>
                  </a:cxn>
                  <a:cxn ang="0">
                    <a:pos x="34" y="26"/>
                  </a:cxn>
                  <a:cxn ang="0">
                    <a:pos x="34" y="30"/>
                  </a:cxn>
                  <a:cxn ang="0">
                    <a:pos x="34" y="30"/>
                  </a:cxn>
                  <a:cxn ang="0">
                    <a:pos x="26" y="54"/>
                  </a:cxn>
                  <a:cxn ang="0">
                    <a:pos x="24" y="68"/>
                  </a:cxn>
                  <a:cxn ang="0">
                    <a:pos x="24" y="74"/>
                  </a:cxn>
                  <a:cxn ang="0">
                    <a:pos x="24" y="78"/>
                  </a:cxn>
                  <a:cxn ang="0">
                    <a:pos x="14" y="80"/>
                  </a:cxn>
                </a:cxnLst>
                <a:rect l="0" t="0" r="r" b="b"/>
                <a:pathLst>
                  <a:path w="36" h="80">
                    <a:moveTo>
                      <a:pt x="14" y="80"/>
                    </a:moveTo>
                    <a:lnTo>
                      <a:pt x="6" y="32"/>
                    </a:lnTo>
                    <a:lnTo>
                      <a:pt x="0" y="26"/>
                    </a:lnTo>
                    <a:lnTo>
                      <a:pt x="2" y="18"/>
                    </a:lnTo>
                    <a:lnTo>
                      <a:pt x="8" y="12"/>
                    </a:lnTo>
                    <a:lnTo>
                      <a:pt x="14" y="12"/>
                    </a:lnTo>
                    <a:lnTo>
                      <a:pt x="14" y="12"/>
                    </a:lnTo>
                    <a:lnTo>
                      <a:pt x="18" y="8"/>
                    </a:lnTo>
                    <a:lnTo>
                      <a:pt x="20" y="4"/>
                    </a:lnTo>
                    <a:lnTo>
                      <a:pt x="20" y="2"/>
                    </a:lnTo>
                    <a:lnTo>
                      <a:pt x="24" y="0"/>
                    </a:lnTo>
                    <a:lnTo>
                      <a:pt x="34" y="8"/>
                    </a:lnTo>
                    <a:lnTo>
                      <a:pt x="32" y="12"/>
                    </a:lnTo>
                    <a:lnTo>
                      <a:pt x="36" y="24"/>
                    </a:lnTo>
                    <a:lnTo>
                      <a:pt x="34" y="26"/>
                    </a:lnTo>
                    <a:lnTo>
                      <a:pt x="34" y="30"/>
                    </a:lnTo>
                    <a:lnTo>
                      <a:pt x="34" y="30"/>
                    </a:lnTo>
                    <a:lnTo>
                      <a:pt x="26" y="54"/>
                    </a:lnTo>
                    <a:lnTo>
                      <a:pt x="24" y="68"/>
                    </a:lnTo>
                    <a:lnTo>
                      <a:pt x="24" y="74"/>
                    </a:lnTo>
                    <a:lnTo>
                      <a:pt x="24" y="78"/>
                    </a:lnTo>
                    <a:lnTo>
                      <a:pt x="14" y="8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1" name="Freeform 1620">
                <a:extLst>
                  <a:ext uri="{FF2B5EF4-FFF2-40B4-BE49-F238E27FC236}">
                    <a16:creationId xmlns:a16="http://schemas.microsoft.com/office/drawing/2014/main" id="{D6DB08DC-EFE0-4E26-9CC0-6153424AE892}"/>
                  </a:ext>
                </a:extLst>
              </p:cNvPr>
              <p:cNvSpPr>
                <a:spLocks/>
              </p:cNvSpPr>
              <p:nvPr/>
            </p:nvSpPr>
            <p:spPr bwMode="auto">
              <a:xfrm>
                <a:off x="2842" y="2818"/>
                <a:ext cx="48" cy="52"/>
              </a:xfrm>
              <a:custGeom>
                <a:avLst/>
                <a:gdLst/>
                <a:ahLst/>
                <a:cxnLst>
                  <a:cxn ang="0">
                    <a:pos x="0" y="20"/>
                  </a:cxn>
                  <a:cxn ang="0">
                    <a:pos x="0" y="20"/>
                  </a:cxn>
                  <a:cxn ang="0">
                    <a:pos x="2" y="16"/>
                  </a:cxn>
                  <a:cxn ang="0">
                    <a:pos x="6" y="12"/>
                  </a:cxn>
                  <a:cxn ang="0">
                    <a:pos x="10" y="8"/>
                  </a:cxn>
                  <a:cxn ang="0">
                    <a:pos x="14" y="4"/>
                  </a:cxn>
                  <a:cxn ang="0">
                    <a:pos x="14" y="2"/>
                  </a:cxn>
                  <a:cxn ang="0">
                    <a:pos x="16" y="0"/>
                  </a:cxn>
                  <a:cxn ang="0">
                    <a:pos x="20" y="0"/>
                  </a:cxn>
                  <a:cxn ang="0">
                    <a:pos x="22" y="2"/>
                  </a:cxn>
                  <a:cxn ang="0">
                    <a:pos x="24" y="10"/>
                  </a:cxn>
                  <a:cxn ang="0">
                    <a:pos x="24" y="14"/>
                  </a:cxn>
                  <a:cxn ang="0">
                    <a:pos x="30" y="16"/>
                  </a:cxn>
                  <a:cxn ang="0">
                    <a:pos x="32" y="10"/>
                  </a:cxn>
                  <a:cxn ang="0">
                    <a:pos x="32" y="10"/>
                  </a:cxn>
                  <a:cxn ang="0">
                    <a:pos x="36" y="14"/>
                  </a:cxn>
                  <a:cxn ang="0">
                    <a:pos x="38" y="18"/>
                  </a:cxn>
                  <a:cxn ang="0">
                    <a:pos x="34" y="26"/>
                  </a:cxn>
                  <a:cxn ang="0">
                    <a:pos x="34" y="26"/>
                  </a:cxn>
                  <a:cxn ang="0">
                    <a:pos x="42" y="28"/>
                  </a:cxn>
                  <a:cxn ang="0">
                    <a:pos x="48" y="34"/>
                  </a:cxn>
                  <a:cxn ang="0">
                    <a:pos x="48" y="40"/>
                  </a:cxn>
                  <a:cxn ang="0">
                    <a:pos x="46" y="44"/>
                  </a:cxn>
                  <a:cxn ang="0">
                    <a:pos x="46" y="52"/>
                  </a:cxn>
                  <a:cxn ang="0">
                    <a:pos x="46" y="52"/>
                  </a:cxn>
                  <a:cxn ang="0">
                    <a:pos x="36" y="48"/>
                  </a:cxn>
                  <a:cxn ang="0">
                    <a:pos x="22" y="40"/>
                  </a:cxn>
                  <a:cxn ang="0">
                    <a:pos x="8" y="28"/>
                  </a:cxn>
                  <a:cxn ang="0">
                    <a:pos x="0" y="20"/>
                  </a:cxn>
                  <a:cxn ang="0">
                    <a:pos x="0" y="20"/>
                  </a:cxn>
                </a:cxnLst>
                <a:rect l="0" t="0" r="r" b="b"/>
                <a:pathLst>
                  <a:path w="48" h="52">
                    <a:moveTo>
                      <a:pt x="0" y="20"/>
                    </a:moveTo>
                    <a:lnTo>
                      <a:pt x="0" y="20"/>
                    </a:lnTo>
                    <a:lnTo>
                      <a:pt x="2" y="16"/>
                    </a:lnTo>
                    <a:lnTo>
                      <a:pt x="6" y="12"/>
                    </a:lnTo>
                    <a:lnTo>
                      <a:pt x="10" y="8"/>
                    </a:lnTo>
                    <a:lnTo>
                      <a:pt x="14" y="4"/>
                    </a:lnTo>
                    <a:lnTo>
                      <a:pt x="14" y="2"/>
                    </a:lnTo>
                    <a:lnTo>
                      <a:pt x="16" y="0"/>
                    </a:lnTo>
                    <a:lnTo>
                      <a:pt x="20" y="0"/>
                    </a:lnTo>
                    <a:lnTo>
                      <a:pt x="22" y="2"/>
                    </a:lnTo>
                    <a:lnTo>
                      <a:pt x="24" y="10"/>
                    </a:lnTo>
                    <a:lnTo>
                      <a:pt x="24" y="14"/>
                    </a:lnTo>
                    <a:lnTo>
                      <a:pt x="30" y="16"/>
                    </a:lnTo>
                    <a:lnTo>
                      <a:pt x="32" y="10"/>
                    </a:lnTo>
                    <a:lnTo>
                      <a:pt x="32" y="10"/>
                    </a:lnTo>
                    <a:lnTo>
                      <a:pt x="36" y="14"/>
                    </a:lnTo>
                    <a:lnTo>
                      <a:pt x="38" y="18"/>
                    </a:lnTo>
                    <a:lnTo>
                      <a:pt x="34" y="26"/>
                    </a:lnTo>
                    <a:lnTo>
                      <a:pt x="34" y="26"/>
                    </a:lnTo>
                    <a:lnTo>
                      <a:pt x="42" y="28"/>
                    </a:lnTo>
                    <a:lnTo>
                      <a:pt x="48" y="34"/>
                    </a:lnTo>
                    <a:lnTo>
                      <a:pt x="48" y="40"/>
                    </a:lnTo>
                    <a:lnTo>
                      <a:pt x="46" y="44"/>
                    </a:lnTo>
                    <a:lnTo>
                      <a:pt x="46" y="52"/>
                    </a:lnTo>
                    <a:lnTo>
                      <a:pt x="46" y="52"/>
                    </a:lnTo>
                    <a:lnTo>
                      <a:pt x="36" y="48"/>
                    </a:lnTo>
                    <a:lnTo>
                      <a:pt x="22" y="40"/>
                    </a:lnTo>
                    <a:lnTo>
                      <a:pt x="8" y="28"/>
                    </a:lnTo>
                    <a:lnTo>
                      <a:pt x="0" y="20"/>
                    </a:lnTo>
                    <a:lnTo>
                      <a:pt x="0" y="2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2" name="Freeform 1621">
                <a:extLst>
                  <a:ext uri="{FF2B5EF4-FFF2-40B4-BE49-F238E27FC236}">
                    <a16:creationId xmlns:a16="http://schemas.microsoft.com/office/drawing/2014/main" id="{403298BA-4600-40DD-A196-4B0FFCE15C3C}"/>
                  </a:ext>
                </a:extLst>
              </p:cNvPr>
              <p:cNvSpPr>
                <a:spLocks/>
              </p:cNvSpPr>
              <p:nvPr/>
            </p:nvSpPr>
            <p:spPr bwMode="auto">
              <a:xfrm>
                <a:off x="2978" y="2786"/>
                <a:ext cx="24" cy="64"/>
              </a:xfrm>
              <a:custGeom>
                <a:avLst/>
                <a:gdLst/>
                <a:ahLst/>
                <a:cxnLst>
                  <a:cxn ang="0">
                    <a:pos x="24" y="62"/>
                  </a:cxn>
                  <a:cxn ang="0">
                    <a:pos x="16" y="64"/>
                  </a:cxn>
                  <a:cxn ang="0">
                    <a:pos x="8" y="54"/>
                  </a:cxn>
                  <a:cxn ang="0">
                    <a:pos x="8" y="54"/>
                  </a:cxn>
                  <a:cxn ang="0">
                    <a:pos x="8" y="28"/>
                  </a:cxn>
                  <a:cxn ang="0">
                    <a:pos x="4" y="14"/>
                  </a:cxn>
                  <a:cxn ang="0">
                    <a:pos x="2" y="8"/>
                  </a:cxn>
                  <a:cxn ang="0">
                    <a:pos x="0" y="4"/>
                  </a:cxn>
                  <a:cxn ang="0">
                    <a:pos x="0" y="0"/>
                  </a:cxn>
                  <a:cxn ang="0">
                    <a:pos x="0" y="0"/>
                  </a:cxn>
                  <a:cxn ang="0">
                    <a:pos x="0" y="0"/>
                  </a:cxn>
                  <a:cxn ang="0">
                    <a:pos x="0" y="0"/>
                  </a:cxn>
                  <a:cxn ang="0">
                    <a:pos x="0" y="0"/>
                  </a:cxn>
                  <a:cxn ang="0">
                    <a:pos x="6" y="0"/>
                  </a:cxn>
                  <a:cxn ang="0">
                    <a:pos x="12" y="0"/>
                  </a:cxn>
                  <a:cxn ang="0">
                    <a:pos x="10" y="8"/>
                  </a:cxn>
                  <a:cxn ang="0">
                    <a:pos x="16" y="14"/>
                  </a:cxn>
                  <a:cxn ang="0">
                    <a:pos x="24" y="62"/>
                  </a:cxn>
                </a:cxnLst>
                <a:rect l="0" t="0" r="r" b="b"/>
                <a:pathLst>
                  <a:path w="24" h="64">
                    <a:moveTo>
                      <a:pt x="24" y="62"/>
                    </a:moveTo>
                    <a:lnTo>
                      <a:pt x="16" y="64"/>
                    </a:lnTo>
                    <a:lnTo>
                      <a:pt x="8" y="54"/>
                    </a:lnTo>
                    <a:lnTo>
                      <a:pt x="8" y="54"/>
                    </a:lnTo>
                    <a:lnTo>
                      <a:pt x="8" y="28"/>
                    </a:lnTo>
                    <a:lnTo>
                      <a:pt x="4" y="14"/>
                    </a:lnTo>
                    <a:lnTo>
                      <a:pt x="2" y="8"/>
                    </a:lnTo>
                    <a:lnTo>
                      <a:pt x="0" y="4"/>
                    </a:lnTo>
                    <a:lnTo>
                      <a:pt x="0" y="0"/>
                    </a:lnTo>
                    <a:lnTo>
                      <a:pt x="0" y="0"/>
                    </a:lnTo>
                    <a:lnTo>
                      <a:pt x="0" y="0"/>
                    </a:lnTo>
                    <a:lnTo>
                      <a:pt x="0" y="0"/>
                    </a:lnTo>
                    <a:lnTo>
                      <a:pt x="0" y="0"/>
                    </a:lnTo>
                    <a:lnTo>
                      <a:pt x="6" y="0"/>
                    </a:lnTo>
                    <a:lnTo>
                      <a:pt x="12" y="0"/>
                    </a:lnTo>
                    <a:lnTo>
                      <a:pt x="10" y="8"/>
                    </a:lnTo>
                    <a:lnTo>
                      <a:pt x="16" y="14"/>
                    </a:lnTo>
                    <a:lnTo>
                      <a:pt x="24" y="6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3" name="Freeform 1622">
                <a:extLst>
                  <a:ext uri="{FF2B5EF4-FFF2-40B4-BE49-F238E27FC236}">
                    <a16:creationId xmlns:a16="http://schemas.microsoft.com/office/drawing/2014/main" id="{84802232-1206-439B-968D-C76FA2A2BF10}"/>
                  </a:ext>
                </a:extLst>
              </p:cNvPr>
              <p:cNvSpPr>
                <a:spLocks/>
              </p:cNvSpPr>
              <p:nvPr/>
            </p:nvSpPr>
            <p:spPr bwMode="auto">
              <a:xfrm>
                <a:off x="2798" y="2764"/>
                <a:ext cx="86" cy="70"/>
              </a:xfrm>
              <a:custGeom>
                <a:avLst/>
                <a:gdLst/>
                <a:ahLst/>
                <a:cxnLst>
                  <a:cxn ang="0">
                    <a:pos x="16" y="0"/>
                  </a:cxn>
                  <a:cxn ang="0">
                    <a:pos x="24" y="0"/>
                  </a:cxn>
                  <a:cxn ang="0">
                    <a:pos x="24" y="2"/>
                  </a:cxn>
                  <a:cxn ang="0">
                    <a:pos x="24" y="2"/>
                  </a:cxn>
                  <a:cxn ang="0">
                    <a:pos x="34" y="4"/>
                  </a:cxn>
                  <a:cxn ang="0">
                    <a:pos x="46" y="2"/>
                  </a:cxn>
                  <a:cxn ang="0">
                    <a:pos x="44" y="6"/>
                  </a:cxn>
                  <a:cxn ang="0">
                    <a:pos x="46" y="8"/>
                  </a:cxn>
                  <a:cxn ang="0">
                    <a:pos x="50" y="6"/>
                  </a:cxn>
                  <a:cxn ang="0">
                    <a:pos x="54" y="10"/>
                  </a:cxn>
                  <a:cxn ang="0">
                    <a:pos x="58" y="6"/>
                  </a:cxn>
                  <a:cxn ang="0">
                    <a:pos x="72" y="2"/>
                  </a:cxn>
                  <a:cxn ang="0">
                    <a:pos x="72" y="2"/>
                  </a:cxn>
                  <a:cxn ang="0">
                    <a:pos x="78" y="18"/>
                  </a:cxn>
                  <a:cxn ang="0">
                    <a:pos x="82" y="26"/>
                  </a:cxn>
                  <a:cxn ang="0">
                    <a:pos x="86" y="32"/>
                  </a:cxn>
                  <a:cxn ang="0">
                    <a:pos x="84" y="36"/>
                  </a:cxn>
                  <a:cxn ang="0">
                    <a:pos x="86" y="42"/>
                  </a:cxn>
                  <a:cxn ang="0">
                    <a:pos x="86" y="54"/>
                  </a:cxn>
                  <a:cxn ang="0">
                    <a:pos x="82" y="54"/>
                  </a:cxn>
                  <a:cxn ang="0">
                    <a:pos x="82" y="58"/>
                  </a:cxn>
                  <a:cxn ang="0">
                    <a:pos x="86" y="60"/>
                  </a:cxn>
                  <a:cxn ang="0">
                    <a:pos x="82" y="66"/>
                  </a:cxn>
                  <a:cxn ang="0">
                    <a:pos x="80" y="66"/>
                  </a:cxn>
                  <a:cxn ang="0">
                    <a:pos x="76" y="64"/>
                  </a:cxn>
                  <a:cxn ang="0">
                    <a:pos x="74" y="70"/>
                  </a:cxn>
                  <a:cxn ang="0">
                    <a:pos x="68" y="68"/>
                  </a:cxn>
                  <a:cxn ang="0">
                    <a:pos x="68" y="64"/>
                  </a:cxn>
                  <a:cxn ang="0">
                    <a:pos x="66" y="56"/>
                  </a:cxn>
                  <a:cxn ang="0">
                    <a:pos x="64" y="54"/>
                  </a:cxn>
                  <a:cxn ang="0">
                    <a:pos x="60" y="54"/>
                  </a:cxn>
                  <a:cxn ang="0">
                    <a:pos x="58" y="56"/>
                  </a:cxn>
                  <a:cxn ang="0">
                    <a:pos x="54" y="52"/>
                  </a:cxn>
                  <a:cxn ang="0">
                    <a:pos x="54" y="52"/>
                  </a:cxn>
                  <a:cxn ang="0">
                    <a:pos x="54" y="52"/>
                  </a:cxn>
                  <a:cxn ang="0">
                    <a:pos x="52" y="42"/>
                  </a:cxn>
                  <a:cxn ang="0">
                    <a:pos x="46" y="34"/>
                  </a:cxn>
                  <a:cxn ang="0">
                    <a:pos x="32" y="36"/>
                  </a:cxn>
                  <a:cxn ang="0">
                    <a:pos x="26" y="46"/>
                  </a:cxn>
                  <a:cxn ang="0">
                    <a:pos x="22" y="46"/>
                  </a:cxn>
                  <a:cxn ang="0">
                    <a:pos x="22" y="46"/>
                  </a:cxn>
                  <a:cxn ang="0">
                    <a:pos x="18" y="42"/>
                  </a:cxn>
                  <a:cxn ang="0">
                    <a:pos x="14" y="36"/>
                  </a:cxn>
                  <a:cxn ang="0">
                    <a:pos x="8" y="34"/>
                  </a:cxn>
                  <a:cxn ang="0">
                    <a:pos x="6" y="26"/>
                  </a:cxn>
                  <a:cxn ang="0">
                    <a:pos x="2" y="24"/>
                  </a:cxn>
                  <a:cxn ang="0">
                    <a:pos x="0" y="22"/>
                  </a:cxn>
                  <a:cxn ang="0">
                    <a:pos x="6" y="14"/>
                  </a:cxn>
                  <a:cxn ang="0">
                    <a:pos x="16" y="12"/>
                  </a:cxn>
                  <a:cxn ang="0">
                    <a:pos x="14" y="6"/>
                  </a:cxn>
                  <a:cxn ang="0">
                    <a:pos x="18" y="4"/>
                  </a:cxn>
                  <a:cxn ang="0">
                    <a:pos x="16" y="0"/>
                  </a:cxn>
                </a:cxnLst>
                <a:rect l="0" t="0" r="r" b="b"/>
                <a:pathLst>
                  <a:path w="86" h="70">
                    <a:moveTo>
                      <a:pt x="16" y="0"/>
                    </a:moveTo>
                    <a:lnTo>
                      <a:pt x="24" y="0"/>
                    </a:lnTo>
                    <a:lnTo>
                      <a:pt x="24" y="2"/>
                    </a:lnTo>
                    <a:lnTo>
                      <a:pt x="24" y="2"/>
                    </a:lnTo>
                    <a:lnTo>
                      <a:pt x="34" y="4"/>
                    </a:lnTo>
                    <a:lnTo>
                      <a:pt x="46" y="2"/>
                    </a:lnTo>
                    <a:lnTo>
                      <a:pt x="44" y="6"/>
                    </a:lnTo>
                    <a:lnTo>
                      <a:pt x="46" y="8"/>
                    </a:lnTo>
                    <a:lnTo>
                      <a:pt x="50" y="6"/>
                    </a:lnTo>
                    <a:lnTo>
                      <a:pt x="54" y="10"/>
                    </a:lnTo>
                    <a:lnTo>
                      <a:pt x="58" y="6"/>
                    </a:lnTo>
                    <a:lnTo>
                      <a:pt x="72" y="2"/>
                    </a:lnTo>
                    <a:lnTo>
                      <a:pt x="72" y="2"/>
                    </a:lnTo>
                    <a:lnTo>
                      <a:pt x="78" y="18"/>
                    </a:lnTo>
                    <a:lnTo>
                      <a:pt x="82" y="26"/>
                    </a:lnTo>
                    <a:lnTo>
                      <a:pt x="86" y="32"/>
                    </a:lnTo>
                    <a:lnTo>
                      <a:pt x="84" y="36"/>
                    </a:lnTo>
                    <a:lnTo>
                      <a:pt x="86" y="42"/>
                    </a:lnTo>
                    <a:lnTo>
                      <a:pt x="86" y="54"/>
                    </a:lnTo>
                    <a:lnTo>
                      <a:pt x="82" y="54"/>
                    </a:lnTo>
                    <a:lnTo>
                      <a:pt x="82" y="58"/>
                    </a:lnTo>
                    <a:lnTo>
                      <a:pt x="86" y="60"/>
                    </a:lnTo>
                    <a:lnTo>
                      <a:pt x="82" y="66"/>
                    </a:lnTo>
                    <a:lnTo>
                      <a:pt x="80" y="66"/>
                    </a:lnTo>
                    <a:lnTo>
                      <a:pt x="76" y="64"/>
                    </a:lnTo>
                    <a:lnTo>
                      <a:pt x="74" y="70"/>
                    </a:lnTo>
                    <a:lnTo>
                      <a:pt x="68" y="68"/>
                    </a:lnTo>
                    <a:lnTo>
                      <a:pt x="68" y="64"/>
                    </a:lnTo>
                    <a:lnTo>
                      <a:pt x="66" y="56"/>
                    </a:lnTo>
                    <a:lnTo>
                      <a:pt x="64" y="54"/>
                    </a:lnTo>
                    <a:lnTo>
                      <a:pt x="60" y="54"/>
                    </a:lnTo>
                    <a:lnTo>
                      <a:pt x="58" y="56"/>
                    </a:lnTo>
                    <a:lnTo>
                      <a:pt x="54" y="52"/>
                    </a:lnTo>
                    <a:lnTo>
                      <a:pt x="54" y="52"/>
                    </a:lnTo>
                    <a:lnTo>
                      <a:pt x="54" y="52"/>
                    </a:lnTo>
                    <a:lnTo>
                      <a:pt x="52" y="42"/>
                    </a:lnTo>
                    <a:lnTo>
                      <a:pt x="46" y="34"/>
                    </a:lnTo>
                    <a:lnTo>
                      <a:pt x="32" y="36"/>
                    </a:lnTo>
                    <a:lnTo>
                      <a:pt x="26" y="46"/>
                    </a:lnTo>
                    <a:lnTo>
                      <a:pt x="22" y="46"/>
                    </a:lnTo>
                    <a:lnTo>
                      <a:pt x="22" y="46"/>
                    </a:lnTo>
                    <a:lnTo>
                      <a:pt x="18" y="42"/>
                    </a:lnTo>
                    <a:lnTo>
                      <a:pt x="14" y="36"/>
                    </a:lnTo>
                    <a:lnTo>
                      <a:pt x="8" y="34"/>
                    </a:lnTo>
                    <a:lnTo>
                      <a:pt x="6" y="26"/>
                    </a:lnTo>
                    <a:lnTo>
                      <a:pt x="2" y="24"/>
                    </a:lnTo>
                    <a:lnTo>
                      <a:pt x="0" y="22"/>
                    </a:lnTo>
                    <a:lnTo>
                      <a:pt x="6" y="14"/>
                    </a:lnTo>
                    <a:lnTo>
                      <a:pt x="16" y="12"/>
                    </a:lnTo>
                    <a:lnTo>
                      <a:pt x="14" y="6"/>
                    </a:lnTo>
                    <a:lnTo>
                      <a:pt x="18" y="4"/>
                    </a:lnTo>
                    <a:lnTo>
                      <a:pt x="1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4" name="Freeform 1623">
                <a:extLst>
                  <a:ext uri="{FF2B5EF4-FFF2-40B4-BE49-F238E27FC236}">
                    <a16:creationId xmlns:a16="http://schemas.microsoft.com/office/drawing/2014/main" id="{04BD1347-27E7-40BE-9B7B-48DED17F72FB}"/>
                  </a:ext>
                </a:extLst>
              </p:cNvPr>
              <p:cNvSpPr>
                <a:spLocks/>
              </p:cNvSpPr>
              <p:nvPr/>
            </p:nvSpPr>
            <p:spPr bwMode="auto">
              <a:xfrm>
                <a:off x="2942" y="2786"/>
                <a:ext cx="52" cy="82"/>
              </a:xfrm>
              <a:custGeom>
                <a:avLst/>
                <a:gdLst/>
                <a:ahLst/>
                <a:cxnLst>
                  <a:cxn ang="0">
                    <a:pos x="52" y="64"/>
                  </a:cxn>
                  <a:cxn ang="0">
                    <a:pos x="44" y="54"/>
                  </a:cxn>
                  <a:cxn ang="0">
                    <a:pos x="44" y="54"/>
                  </a:cxn>
                  <a:cxn ang="0">
                    <a:pos x="44" y="28"/>
                  </a:cxn>
                  <a:cxn ang="0">
                    <a:pos x="40" y="14"/>
                  </a:cxn>
                  <a:cxn ang="0">
                    <a:pos x="38" y="8"/>
                  </a:cxn>
                  <a:cxn ang="0">
                    <a:pos x="36" y="4"/>
                  </a:cxn>
                  <a:cxn ang="0">
                    <a:pos x="36" y="0"/>
                  </a:cxn>
                  <a:cxn ang="0">
                    <a:pos x="36" y="0"/>
                  </a:cxn>
                  <a:cxn ang="0">
                    <a:pos x="36" y="0"/>
                  </a:cxn>
                  <a:cxn ang="0">
                    <a:pos x="36" y="0"/>
                  </a:cxn>
                  <a:cxn ang="0">
                    <a:pos x="36" y="0"/>
                  </a:cxn>
                  <a:cxn ang="0">
                    <a:pos x="20" y="0"/>
                  </a:cxn>
                  <a:cxn ang="0">
                    <a:pos x="2" y="0"/>
                  </a:cxn>
                  <a:cxn ang="0">
                    <a:pos x="2" y="4"/>
                  </a:cxn>
                  <a:cxn ang="0">
                    <a:pos x="2" y="4"/>
                  </a:cxn>
                  <a:cxn ang="0">
                    <a:pos x="4" y="12"/>
                  </a:cxn>
                  <a:cxn ang="0">
                    <a:pos x="6" y="22"/>
                  </a:cxn>
                  <a:cxn ang="0">
                    <a:pos x="4" y="24"/>
                  </a:cxn>
                  <a:cxn ang="0">
                    <a:pos x="6" y="24"/>
                  </a:cxn>
                  <a:cxn ang="0">
                    <a:pos x="8" y="36"/>
                  </a:cxn>
                  <a:cxn ang="0">
                    <a:pos x="8" y="36"/>
                  </a:cxn>
                  <a:cxn ang="0">
                    <a:pos x="4" y="38"/>
                  </a:cxn>
                  <a:cxn ang="0">
                    <a:pos x="2" y="42"/>
                  </a:cxn>
                  <a:cxn ang="0">
                    <a:pos x="0" y="54"/>
                  </a:cxn>
                  <a:cxn ang="0">
                    <a:pos x="0" y="66"/>
                  </a:cxn>
                  <a:cxn ang="0">
                    <a:pos x="2" y="74"/>
                  </a:cxn>
                  <a:cxn ang="0">
                    <a:pos x="0" y="76"/>
                  </a:cxn>
                  <a:cxn ang="0">
                    <a:pos x="14" y="82"/>
                  </a:cxn>
                  <a:cxn ang="0">
                    <a:pos x="14" y="82"/>
                  </a:cxn>
                  <a:cxn ang="0">
                    <a:pos x="30" y="72"/>
                  </a:cxn>
                  <a:cxn ang="0">
                    <a:pos x="40" y="68"/>
                  </a:cxn>
                  <a:cxn ang="0">
                    <a:pos x="48" y="68"/>
                  </a:cxn>
                  <a:cxn ang="0">
                    <a:pos x="52" y="64"/>
                  </a:cxn>
                </a:cxnLst>
                <a:rect l="0" t="0" r="r" b="b"/>
                <a:pathLst>
                  <a:path w="52" h="82">
                    <a:moveTo>
                      <a:pt x="52" y="64"/>
                    </a:moveTo>
                    <a:lnTo>
                      <a:pt x="44" y="54"/>
                    </a:lnTo>
                    <a:lnTo>
                      <a:pt x="44" y="54"/>
                    </a:lnTo>
                    <a:lnTo>
                      <a:pt x="44" y="28"/>
                    </a:lnTo>
                    <a:lnTo>
                      <a:pt x="40" y="14"/>
                    </a:lnTo>
                    <a:lnTo>
                      <a:pt x="38" y="8"/>
                    </a:lnTo>
                    <a:lnTo>
                      <a:pt x="36" y="4"/>
                    </a:lnTo>
                    <a:lnTo>
                      <a:pt x="36" y="0"/>
                    </a:lnTo>
                    <a:lnTo>
                      <a:pt x="36" y="0"/>
                    </a:lnTo>
                    <a:lnTo>
                      <a:pt x="36" y="0"/>
                    </a:lnTo>
                    <a:lnTo>
                      <a:pt x="36" y="0"/>
                    </a:lnTo>
                    <a:lnTo>
                      <a:pt x="36" y="0"/>
                    </a:lnTo>
                    <a:lnTo>
                      <a:pt x="20" y="0"/>
                    </a:lnTo>
                    <a:lnTo>
                      <a:pt x="2" y="0"/>
                    </a:lnTo>
                    <a:lnTo>
                      <a:pt x="2" y="4"/>
                    </a:lnTo>
                    <a:lnTo>
                      <a:pt x="2" y="4"/>
                    </a:lnTo>
                    <a:lnTo>
                      <a:pt x="4" y="12"/>
                    </a:lnTo>
                    <a:lnTo>
                      <a:pt x="6" y="22"/>
                    </a:lnTo>
                    <a:lnTo>
                      <a:pt x="4" y="24"/>
                    </a:lnTo>
                    <a:lnTo>
                      <a:pt x="6" y="24"/>
                    </a:lnTo>
                    <a:lnTo>
                      <a:pt x="8" y="36"/>
                    </a:lnTo>
                    <a:lnTo>
                      <a:pt x="8" y="36"/>
                    </a:lnTo>
                    <a:lnTo>
                      <a:pt x="4" y="38"/>
                    </a:lnTo>
                    <a:lnTo>
                      <a:pt x="2" y="42"/>
                    </a:lnTo>
                    <a:lnTo>
                      <a:pt x="0" y="54"/>
                    </a:lnTo>
                    <a:lnTo>
                      <a:pt x="0" y="66"/>
                    </a:lnTo>
                    <a:lnTo>
                      <a:pt x="2" y="74"/>
                    </a:lnTo>
                    <a:lnTo>
                      <a:pt x="0" y="76"/>
                    </a:lnTo>
                    <a:lnTo>
                      <a:pt x="14" y="82"/>
                    </a:lnTo>
                    <a:lnTo>
                      <a:pt x="14" y="82"/>
                    </a:lnTo>
                    <a:lnTo>
                      <a:pt x="30" y="72"/>
                    </a:lnTo>
                    <a:lnTo>
                      <a:pt x="40" y="68"/>
                    </a:lnTo>
                    <a:lnTo>
                      <a:pt x="48" y="68"/>
                    </a:lnTo>
                    <a:lnTo>
                      <a:pt x="52" y="64"/>
                    </a:lnTo>
                    <a:close/>
                  </a:path>
                </a:pathLst>
              </a:custGeom>
              <a:solidFill>
                <a:schemeClr val="tx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5" name="Freeform 1624">
                <a:extLst>
                  <a:ext uri="{FF2B5EF4-FFF2-40B4-BE49-F238E27FC236}">
                    <a16:creationId xmlns:a16="http://schemas.microsoft.com/office/drawing/2014/main" id="{67EDC3C2-F5FE-4D37-8599-8E7F2900826D}"/>
                  </a:ext>
                </a:extLst>
              </p:cNvPr>
              <p:cNvSpPr>
                <a:spLocks/>
              </p:cNvSpPr>
              <p:nvPr/>
            </p:nvSpPr>
            <p:spPr bwMode="auto">
              <a:xfrm>
                <a:off x="2778" y="2746"/>
                <a:ext cx="36" cy="14"/>
              </a:xfrm>
              <a:custGeom>
                <a:avLst/>
                <a:gdLst/>
                <a:ahLst/>
                <a:cxnLst>
                  <a:cxn ang="0">
                    <a:pos x="2" y="6"/>
                  </a:cxn>
                  <a:cxn ang="0">
                    <a:pos x="14" y="4"/>
                  </a:cxn>
                  <a:cxn ang="0">
                    <a:pos x="16" y="2"/>
                  </a:cxn>
                  <a:cxn ang="0">
                    <a:pos x="20" y="0"/>
                  </a:cxn>
                  <a:cxn ang="0">
                    <a:pos x="28" y="6"/>
                  </a:cxn>
                  <a:cxn ang="0">
                    <a:pos x="36" y="4"/>
                  </a:cxn>
                  <a:cxn ang="0">
                    <a:pos x="36" y="8"/>
                  </a:cxn>
                  <a:cxn ang="0">
                    <a:pos x="32" y="12"/>
                  </a:cxn>
                  <a:cxn ang="0">
                    <a:pos x="16" y="8"/>
                  </a:cxn>
                  <a:cxn ang="0">
                    <a:pos x="12" y="12"/>
                  </a:cxn>
                  <a:cxn ang="0">
                    <a:pos x="12" y="14"/>
                  </a:cxn>
                  <a:cxn ang="0">
                    <a:pos x="0" y="12"/>
                  </a:cxn>
                  <a:cxn ang="0">
                    <a:pos x="0" y="12"/>
                  </a:cxn>
                  <a:cxn ang="0">
                    <a:pos x="0" y="8"/>
                  </a:cxn>
                  <a:cxn ang="0">
                    <a:pos x="2" y="8"/>
                  </a:cxn>
                  <a:cxn ang="0">
                    <a:pos x="2" y="6"/>
                  </a:cxn>
                </a:cxnLst>
                <a:rect l="0" t="0" r="r" b="b"/>
                <a:pathLst>
                  <a:path w="36" h="14">
                    <a:moveTo>
                      <a:pt x="2" y="6"/>
                    </a:moveTo>
                    <a:lnTo>
                      <a:pt x="14" y="4"/>
                    </a:lnTo>
                    <a:lnTo>
                      <a:pt x="16" y="2"/>
                    </a:lnTo>
                    <a:lnTo>
                      <a:pt x="20" y="0"/>
                    </a:lnTo>
                    <a:lnTo>
                      <a:pt x="28" y="6"/>
                    </a:lnTo>
                    <a:lnTo>
                      <a:pt x="36" y="4"/>
                    </a:lnTo>
                    <a:lnTo>
                      <a:pt x="36" y="8"/>
                    </a:lnTo>
                    <a:lnTo>
                      <a:pt x="32" y="12"/>
                    </a:lnTo>
                    <a:lnTo>
                      <a:pt x="16" y="8"/>
                    </a:lnTo>
                    <a:lnTo>
                      <a:pt x="12" y="12"/>
                    </a:lnTo>
                    <a:lnTo>
                      <a:pt x="12" y="14"/>
                    </a:lnTo>
                    <a:lnTo>
                      <a:pt x="0" y="12"/>
                    </a:lnTo>
                    <a:lnTo>
                      <a:pt x="0" y="12"/>
                    </a:lnTo>
                    <a:lnTo>
                      <a:pt x="0" y="8"/>
                    </a:lnTo>
                    <a:lnTo>
                      <a:pt x="2" y="8"/>
                    </a:lnTo>
                    <a:lnTo>
                      <a:pt x="2"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6" name="Freeform 1625">
                <a:extLst>
                  <a:ext uri="{FF2B5EF4-FFF2-40B4-BE49-F238E27FC236}">
                    <a16:creationId xmlns:a16="http://schemas.microsoft.com/office/drawing/2014/main" id="{096F553D-5D7B-4324-8D21-641CC7DED2C4}"/>
                  </a:ext>
                </a:extLst>
              </p:cNvPr>
              <p:cNvSpPr>
                <a:spLocks/>
              </p:cNvSpPr>
              <p:nvPr/>
            </p:nvSpPr>
            <p:spPr bwMode="auto">
              <a:xfrm>
                <a:off x="2778" y="2764"/>
                <a:ext cx="38" cy="22"/>
              </a:xfrm>
              <a:custGeom>
                <a:avLst/>
                <a:gdLst/>
                <a:ahLst/>
                <a:cxnLst>
                  <a:cxn ang="0">
                    <a:pos x="20" y="22"/>
                  </a:cxn>
                  <a:cxn ang="0">
                    <a:pos x="26" y="14"/>
                  </a:cxn>
                  <a:cxn ang="0">
                    <a:pos x="36" y="12"/>
                  </a:cxn>
                  <a:cxn ang="0">
                    <a:pos x="34" y="6"/>
                  </a:cxn>
                  <a:cxn ang="0">
                    <a:pos x="38" y="4"/>
                  </a:cxn>
                  <a:cxn ang="0">
                    <a:pos x="36" y="0"/>
                  </a:cxn>
                  <a:cxn ang="0">
                    <a:pos x="36" y="0"/>
                  </a:cxn>
                  <a:cxn ang="0">
                    <a:pos x="16" y="2"/>
                  </a:cxn>
                  <a:cxn ang="0">
                    <a:pos x="0" y="2"/>
                  </a:cxn>
                  <a:cxn ang="0">
                    <a:pos x="2" y="6"/>
                  </a:cxn>
                  <a:cxn ang="0">
                    <a:pos x="6" y="6"/>
                  </a:cxn>
                  <a:cxn ang="0">
                    <a:pos x="6" y="10"/>
                  </a:cxn>
                  <a:cxn ang="0">
                    <a:pos x="10" y="12"/>
                  </a:cxn>
                  <a:cxn ang="0">
                    <a:pos x="20" y="10"/>
                  </a:cxn>
                  <a:cxn ang="0">
                    <a:pos x="20" y="10"/>
                  </a:cxn>
                  <a:cxn ang="0">
                    <a:pos x="16" y="14"/>
                  </a:cxn>
                  <a:cxn ang="0">
                    <a:pos x="18" y="20"/>
                  </a:cxn>
                  <a:cxn ang="0">
                    <a:pos x="20" y="22"/>
                  </a:cxn>
                </a:cxnLst>
                <a:rect l="0" t="0" r="r" b="b"/>
                <a:pathLst>
                  <a:path w="38" h="22">
                    <a:moveTo>
                      <a:pt x="20" y="22"/>
                    </a:moveTo>
                    <a:lnTo>
                      <a:pt x="26" y="14"/>
                    </a:lnTo>
                    <a:lnTo>
                      <a:pt x="36" y="12"/>
                    </a:lnTo>
                    <a:lnTo>
                      <a:pt x="34" y="6"/>
                    </a:lnTo>
                    <a:lnTo>
                      <a:pt x="38" y="4"/>
                    </a:lnTo>
                    <a:lnTo>
                      <a:pt x="36" y="0"/>
                    </a:lnTo>
                    <a:lnTo>
                      <a:pt x="36" y="0"/>
                    </a:lnTo>
                    <a:lnTo>
                      <a:pt x="16" y="2"/>
                    </a:lnTo>
                    <a:lnTo>
                      <a:pt x="0" y="2"/>
                    </a:lnTo>
                    <a:lnTo>
                      <a:pt x="2" y="6"/>
                    </a:lnTo>
                    <a:lnTo>
                      <a:pt x="6" y="6"/>
                    </a:lnTo>
                    <a:lnTo>
                      <a:pt x="6" y="10"/>
                    </a:lnTo>
                    <a:lnTo>
                      <a:pt x="10" y="12"/>
                    </a:lnTo>
                    <a:lnTo>
                      <a:pt x="20" y="10"/>
                    </a:lnTo>
                    <a:lnTo>
                      <a:pt x="20" y="10"/>
                    </a:lnTo>
                    <a:lnTo>
                      <a:pt x="16" y="14"/>
                    </a:lnTo>
                    <a:lnTo>
                      <a:pt x="18" y="20"/>
                    </a:lnTo>
                    <a:lnTo>
                      <a:pt x="20" y="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7" name="Freeform 1626">
                <a:extLst>
                  <a:ext uri="{FF2B5EF4-FFF2-40B4-BE49-F238E27FC236}">
                    <a16:creationId xmlns:a16="http://schemas.microsoft.com/office/drawing/2014/main" id="{B9A0E2AC-64FE-4ABF-8419-B7D54C28A392}"/>
                  </a:ext>
                </a:extLst>
              </p:cNvPr>
              <p:cNvSpPr>
                <a:spLocks/>
              </p:cNvSpPr>
              <p:nvPr/>
            </p:nvSpPr>
            <p:spPr bwMode="auto">
              <a:xfrm>
                <a:off x="2820" y="2798"/>
                <a:ext cx="36" cy="40"/>
              </a:xfrm>
              <a:custGeom>
                <a:avLst/>
                <a:gdLst/>
                <a:ahLst/>
                <a:cxnLst>
                  <a:cxn ang="0">
                    <a:pos x="22" y="40"/>
                  </a:cxn>
                  <a:cxn ang="0">
                    <a:pos x="22" y="40"/>
                  </a:cxn>
                  <a:cxn ang="0">
                    <a:pos x="24" y="36"/>
                  </a:cxn>
                  <a:cxn ang="0">
                    <a:pos x="28" y="32"/>
                  </a:cxn>
                  <a:cxn ang="0">
                    <a:pos x="32" y="28"/>
                  </a:cxn>
                  <a:cxn ang="0">
                    <a:pos x="36" y="24"/>
                  </a:cxn>
                  <a:cxn ang="0">
                    <a:pos x="36" y="22"/>
                  </a:cxn>
                  <a:cxn ang="0">
                    <a:pos x="32" y="18"/>
                  </a:cxn>
                  <a:cxn ang="0">
                    <a:pos x="32" y="18"/>
                  </a:cxn>
                  <a:cxn ang="0">
                    <a:pos x="32" y="18"/>
                  </a:cxn>
                  <a:cxn ang="0">
                    <a:pos x="30" y="8"/>
                  </a:cxn>
                  <a:cxn ang="0">
                    <a:pos x="24" y="0"/>
                  </a:cxn>
                  <a:cxn ang="0">
                    <a:pos x="10" y="2"/>
                  </a:cxn>
                  <a:cxn ang="0">
                    <a:pos x="4" y="12"/>
                  </a:cxn>
                  <a:cxn ang="0">
                    <a:pos x="0" y="12"/>
                  </a:cxn>
                  <a:cxn ang="0">
                    <a:pos x="0" y="12"/>
                  </a:cxn>
                  <a:cxn ang="0">
                    <a:pos x="6" y="24"/>
                  </a:cxn>
                  <a:cxn ang="0">
                    <a:pos x="10" y="34"/>
                  </a:cxn>
                  <a:cxn ang="0">
                    <a:pos x="22" y="40"/>
                  </a:cxn>
                </a:cxnLst>
                <a:rect l="0" t="0" r="r" b="b"/>
                <a:pathLst>
                  <a:path w="36" h="40">
                    <a:moveTo>
                      <a:pt x="22" y="40"/>
                    </a:moveTo>
                    <a:lnTo>
                      <a:pt x="22" y="40"/>
                    </a:lnTo>
                    <a:lnTo>
                      <a:pt x="24" y="36"/>
                    </a:lnTo>
                    <a:lnTo>
                      <a:pt x="28" y="32"/>
                    </a:lnTo>
                    <a:lnTo>
                      <a:pt x="32" y="28"/>
                    </a:lnTo>
                    <a:lnTo>
                      <a:pt x="36" y="24"/>
                    </a:lnTo>
                    <a:lnTo>
                      <a:pt x="36" y="22"/>
                    </a:lnTo>
                    <a:lnTo>
                      <a:pt x="32" y="18"/>
                    </a:lnTo>
                    <a:lnTo>
                      <a:pt x="32" y="18"/>
                    </a:lnTo>
                    <a:lnTo>
                      <a:pt x="32" y="18"/>
                    </a:lnTo>
                    <a:lnTo>
                      <a:pt x="30" y="8"/>
                    </a:lnTo>
                    <a:lnTo>
                      <a:pt x="24" y="0"/>
                    </a:lnTo>
                    <a:lnTo>
                      <a:pt x="10" y="2"/>
                    </a:lnTo>
                    <a:lnTo>
                      <a:pt x="4" y="12"/>
                    </a:lnTo>
                    <a:lnTo>
                      <a:pt x="0" y="12"/>
                    </a:lnTo>
                    <a:lnTo>
                      <a:pt x="0" y="12"/>
                    </a:lnTo>
                    <a:lnTo>
                      <a:pt x="6" y="24"/>
                    </a:lnTo>
                    <a:lnTo>
                      <a:pt x="10" y="34"/>
                    </a:lnTo>
                    <a:lnTo>
                      <a:pt x="22" y="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8" name="Freeform 1627">
                <a:extLst>
                  <a:ext uri="{FF2B5EF4-FFF2-40B4-BE49-F238E27FC236}">
                    <a16:creationId xmlns:a16="http://schemas.microsoft.com/office/drawing/2014/main" id="{421096BD-CE46-436E-AA29-91A7E13AF003}"/>
                  </a:ext>
                </a:extLst>
              </p:cNvPr>
              <p:cNvSpPr>
                <a:spLocks/>
              </p:cNvSpPr>
              <p:nvPr/>
            </p:nvSpPr>
            <p:spPr bwMode="auto">
              <a:xfrm>
                <a:off x="2768" y="2710"/>
                <a:ext cx="76" cy="58"/>
              </a:xfrm>
              <a:custGeom>
                <a:avLst/>
                <a:gdLst/>
                <a:ahLst/>
                <a:cxnLst>
                  <a:cxn ang="0">
                    <a:pos x="10" y="56"/>
                  </a:cxn>
                  <a:cxn ang="0">
                    <a:pos x="10" y="48"/>
                  </a:cxn>
                  <a:cxn ang="0">
                    <a:pos x="10" y="48"/>
                  </a:cxn>
                  <a:cxn ang="0">
                    <a:pos x="22" y="50"/>
                  </a:cxn>
                  <a:cxn ang="0">
                    <a:pos x="22" y="48"/>
                  </a:cxn>
                  <a:cxn ang="0">
                    <a:pos x="26" y="44"/>
                  </a:cxn>
                  <a:cxn ang="0">
                    <a:pos x="42" y="48"/>
                  </a:cxn>
                  <a:cxn ang="0">
                    <a:pos x="46" y="44"/>
                  </a:cxn>
                  <a:cxn ang="0">
                    <a:pos x="46" y="40"/>
                  </a:cxn>
                  <a:cxn ang="0">
                    <a:pos x="38" y="42"/>
                  </a:cxn>
                  <a:cxn ang="0">
                    <a:pos x="30" y="36"/>
                  </a:cxn>
                  <a:cxn ang="0">
                    <a:pos x="26" y="38"/>
                  </a:cxn>
                  <a:cxn ang="0">
                    <a:pos x="24" y="40"/>
                  </a:cxn>
                  <a:cxn ang="0">
                    <a:pos x="12" y="42"/>
                  </a:cxn>
                  <a:cxn ang="0">
                    <a:pos x="4" y="26"/>
                  </a:cxn>
                  <a:cxn ang="0">
                    <a:pos x="2" y="28"/>
                  </a:cxn>
                  <a:cxn ang="0">
                    <a:pos x="0" y="26"/>
                  </a:cxn>
                  <a:cxn ang="0">
                    <a:pos x="0" y="26"/>
                  </a:cxn>
                  <a:cxn ang="0">
                    <a:pos x="4" y="26"/>
                  </a:cxn>
                  <a:cxn ang="0">
                    <a:pos x="6" y="22"/>
                  </a:cxn>
                  <a:cxn ang="0">
                    <a:pos x="10" y="16"/>
                  </a:cxn>
                  <a:cxn ang="0">
                    <a:pos x="12" y="8"/>
                  </a:cxn>
                  <a:cxn ang="0">
                    <a:pos x="16" y="2"/>
                  </a:cxn>
                  <a:cxn ang="0">
                    <a:pos x="30" y="0"/>
                  </a:cxn>
                  <a:cxn ang="0">
                    <a:pos x="30" y="0"/>
                  </a:cxn>
                  <a:cxn ang="0">
                    <a:pos x="40" y="4"/>
                  </a:cxn>
                  <a:cxn ang="0">
                    <a:pos x="48" y="12"/>
                  </a:cxn>
                  <a:cxn ang="0">
                    <a:pos x="66" y="26"/>
                  </a:cxn>
                  <a:cxn ang="0">
                    <a:pos x="68" y="40"/>
                  </a:cxn>
                  <a:cxn ang="0">
                    <a:pos x="68" y="40"/>
                  </a:cxn>
                  <a:cxn ang="0">
                    <a:pos x="72" y="44"/>
                  </a:cxn>
                  <a:cxn ang="0">
                    <a:pos x="76" y="50"/>
                  </a:cxn>
                  <a:cxn ang="0">
                    <a:pos x="76" y="56"/>
                  </a:cxn>
                  <a:cxn ang="0">
                    <a:pos x="76" y="56"/>
                  </a:cxn>
                  <a:cxn ang="0">
                    <a:pos x="64" y="58"/>
                  </a:cxn>
                  <a:cxn ang="0">
                    <a:pos x="54" y="56"/>
                  </a:cxn>
                  <a:cxn ang="0">
                    <a:pos x="54" y="54"/>
                  </a:cxn>
                  <a:cxn ang="0">
                    <a:pos x="54" y="54"/>
                  </a:cxn>
                  <a:cxn ang="0">
                    <a:pos x="44" y="52"/>
                  </a:cxn>
                  <a:cxn ang="0">
                    <a:pos x="34" y="54"/>
                  </a:cxn>
                  <a:cxn ang="0">
                    <a:pos x="12" y="58"/>
                  </a:cxn>
                  <a:cxn ang="0">
                    <a:pos x="10" y="56"/>
                  </a:cxn>
                </a:cxnLst>
                <a:rect l="0" t="0" r="r" b="b"/>
                <a:pathLst>
                  <a:path w="76" h="58">
                    <a:moveTo>
                      <a:pt x="10" y="56"/>
                    </a:moveTo>
                    <a:lnTo>
                      <a:pt x="10" y="48"/>
                    </a:lnTo>
                    <a:lnTo>
                      <a:pt x="10" y="48"/>
                    </a:lnTo>
                    <a:lnTo>
                      <a:pt x="22" y="50"/>
                    </a:lnTo>
                    <a:lnTo>
                      <a:pt x="22" y="48"/>
                    </a:lnTo>
                    <a:lnTo>
                      <a:pt x="26" y="44"/>
                    </a:lnTo>
                    <a:lnTo>
                      <a:pt x="42" y="48"/>
                    </a:lnTo>
                    <a:lnTo>
                      <a:pt x="46" y="44"/>
                    </a:lnTo>
                    <a:lnTo>
                      <a:pt x="46" y="40"/>
                    </a:lnTo>
                    <a:lnTo>
                      <a:pt x="38" y="42"/>
                    </a:lnTo>
                    <a:lnTo>
                      <a:pt x="30" y="36"/>
                    </a:lnTo>
                    <a:lnTo>
                      <a:pt x="26" y="38"/>
                    </a:lnTo>
                    <a:lnTo>
                      <a:pt x="24" y="40"/>
                    </a:lnTo>
                    <a:lnTo>
                      <a:pt x="12" y="42"/>
                    </a:lnTo>
                    <a:lnTo>
                      <a:pt x="4" y="26"/>
                    </a:lnTo>
                    <a:lnTo>
                      <a:pt x="2" y="28"/>
                    </a:lnTo>
                    <a:lnTo>
                      <a:pt x="0" y="26"/>
                    </a:lnTo>
                    <a:lnTo>
                      <a:pt x="0" y="26"/>
                    </a:lnTo>
                    <a:lnTo>
                      <a:pt x="4" y="26"/>
                    </a:lnTo>
                    <a:lnTo>
                      <a:pt x="6" y="22"/>
                    </a:lnTo>
                    <a:lnTo>
                      <a:pt x="10" y="16"/>
                    </a:lnTo>
                    <a:lnTo>
                      <a:pt x="12" y="8"/>
                    </a:lnTo>
                    <a:lnTo>
                      <a:pt x="16" y="2"/>
                    </a:lnTo>
                    <a:lnTo>
                      <a:pt x="30" y="0"/>
                    </a:lnTo>
                    <a:lnTo>
                      <a:pt x="30" y="0"/>
                    </a:lnTo>
                    <a:lnTo>
                      <a:pt x="40" y="4"/>
                    </a:lnTo>
                    <a:lnTo>
                      <a:pt x="48" y="12"/>
                    </a:lnTo>
                    <a:lnTo>
                      <a:pt x="66" y="26"/>
                    </a:lnTo>
                    <a:lnTo>
                      <a:pt x="68" y="40"/>
                    </a:lnTo>
                    <a:lnTo>
                      <a:pt x="68" y="40"/>
                    </a:lnTo>
                    <a:lnTo>
                      <a:pt x="72" y="44"/>
                    </a:lnTo>
                    <a:lnTo>
                      <a:pt x="76" y="50"/>
                    </a:lnTo>
                    <a:lnTo>
                      <a:pt x="76" y="56"/>
                    </a:lnTo>
                    <a:lnTo>
                      <a:pt x="76" y="56"/>
                    </a:lnTo>
                    <a:lnTo>
                      <a:pt x="64" y="58"/>
                    </a:lnTo>
                    <a:lnTo>
                      <a:pt x="54" y="56"/>
                    </a:lnTo>
                    <a:lnTo>
                      <a:pt x="54" y="54"/>
                    </a:lnTo>
                    <a:lnTo>
                      <a:pt x="54" y="54"/>
                    </a:lnTo>
                    <a:lnTo>
                      <a:pt x="44" y="52"/>
                    </a:lnTo>
                    <a:lnTo>
                      <a:pt x="34" y="54"/>
                    </a:lnTo>
                    <a:lnTo>
                      <a:pt x="12" y="58"/>
                    </a:lnTo>
                    <a:lnTo>
                      <a:pt x="10" y="5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19" name="Freeform 1628">
                <a:extLst>
                  <a:ext uri="{FF2B5EF4-FFF2-40B4-BE49-F238E27FC236}">
                    <a16:creationId xmlns:a16="http://schemas.microsoft.com/office/drawing/2014/main" id="{780AA487-CB6B-4081-876A-DC8B5A10A1EE}"/>
                  </a:ext>
                </a:extLst>
              </p:cNvPr>
              <p:cNvSpPr>
                <a:spLocks/>
              </p:cNvSpPr>
              <p:nvPr/>
            </p:nvSpPr>
            <p:spPr bwMode="auto">
              <a:xfrm>
                <a:off x="3088" y="2478"/>
                <a:ext cx="191" cy="196"/>
              </a:xfrm>
              <a:custGeom>
                <a:avLst/>
                <a:gdLst/>
                <a:ahLst/>
                <a:cxnLst>
                  <a:cxn ang="0">
                    <a:pos x="83" y="142"/>
                  </a:cxn>
                  <a:cxn ang="0">
                    <a:pos x="67" y="148"/>
                  </a:cxn>
                  <a:cxn ang="0">
                    <a:pos x="30" y="140"/>
                  </a:cxn>
                  <a:cxn ang="0">
                    <a:pos x="12" y="126"/>
                  </a:cxn>
                  <a:cxn ang="0">
                    <a:pos x="10" y="122"/>
                  </a:cxn>
                  <a:cxn ang="0">
                    <a:pos x="6" y="110"/>
                  </a:cxn>
                  <a:cxn ang="0">
                    <a:pos x="6" y="98"/>
                  </a:cxn>
                  <a:cxn ang="0">
                    <a:pos x="0" y="48"/>
                  </a:cxn>
                  <a:cxn ang="0">
                    <a:pos x="0" y="46"/>
                  </a:cxn>
                  <a:cxn ang="0">
                    <a:pos x="12" y="36"/>
                  </a:cxn>
                  <a:cxn ang="0">
                    <a:pos x="10" y="30"/>
                  </a:cxn>
                  <a:cxn ang="0">
                    <a:pos x="26" y="12"/>
                  </a:cxn>
                  <a:cxn ang="0">
                    <a:pos x="26" y="0"/>
                  </a:cxn>
                  <a:cxn ang="0">
                    <a:pos x="41" y="6"/>
                  </a:cxn>
                  <a:cxn ang="0">
                    <a:pos x="55" y="6"/>
                  </a:cxn>
                  <a:cxn ang="0">
                    <a:pos x="75" y="22"/>
                  </a:cxn>
                  <a:cxn ang="0">
                    <a:pos x="79" y="28"/>
                  </a:cxn>
                  <a:cxn ang="0">
                    <a:pos x="103" y="34"/>
                  </a:cxn>
                  <a:cxn ang="0">
                    <a:pos x="109" y="36"/>
                  </a:cxn>
                  <a:cxn ang="0">
                    <a:pos x="115" y="42"/>
                  </a:cxn>
                  <a:cxn ang="0">
                    <a:pos x="117" y="44"/>
                  </a:cxn>
                  <a:cxn ang="0">
                    <a:pos x="125" y="40"/>
                  </a:cxn>
                  <a:cxn ang="0">
                    <a:pos x="131" y="30"/>
                  </a:cxn>
                  <a:cxn ang="0">
                    <a:pos x="129" y="24"/>
                  </a:cxn>
                  <a:cxn ang="0">
                    <a:pos x="141" y="6"/>
                  </a:cxn>
                  <a:cxn ang="0">
                    <a:pos x="147" y="4"/>
                  </a:cxn>
                  <a:cxn ang="0">
                    <a:pos x="161" y="6"/>
                  </a:cxn>
                  <a:cxn ang="0">
                    <a:pos x="165" y="12"/>
                  </a:cxn>
                  <a:cxn ang="0">
                    <a:pos x="167" y="14"/>
                  </a:cxn>
                  <a:cxn ang="0">
                    <a:pos x="191" y="24"/>
                  </a:cxn>
                  <a:cxn ang="0">
                    <a:pos x="187" y="28"/>
                  </a:cxn>
                  <a:cxn ang="0">
                    <a:pos x="185" y="46"/>
                  </a:cxn>
                  <a:cxn ang="0">
                    <a:pos x="187" y="50"/>
                  </a:cxn>
                  <a:cxn ang="0">
                    <a:pos x="187" y="58"/>
                  </a:cxn>
                  <a:cxn ang="0">
                    <a:pos x="191" y="62"/>
                  </a:cxn>
                  <a:cxn ang="0">
                    <a:pos x="179" y="188"/>
                  </a:cxn>
                </a:cxnLst>
                <a:rect l="0" t="0" r="r" b="b"/>
                <a:pathLst>
                  <a:path w="191" h="196">
                    <a:moveTo>
                      <a:pt x="179" y="196"/>
                    </a:moveTo>
                    <a:lnTo>
                      <a:pt x="83" y="142"/>
                    </a:lnTo>
                    <a:lnTo>
                      <a:pt x="83" y="142"/>
                    </a:lnTo>
                    <a:lnTo>
                      <a:pt x="67" y="148"/>
                    </a:lnTo>
                    <a:lnTo>
                      <a:pt x="59" y="140"/>
                    </a:lnTo>
                    <a:lnTo>
                      <a:pt x="30" y="140"/>
                    </a:lnTo>
                    <a:lnTo>
                      <a:pt x="26" y="128"/>
                    </a:lnTo>
                    <a:lnTo>
                      <a:pt x="12" y="126"/>
                    </a:lnTo>
                    <a:lnTo>
                      <a:pt x="10" y="122"/>
                    </a:lnTo>
                    <a:lnTo>
                      <a:pt x="10" y="122"/>
                    </a:lnTo>
                    <a:lnTo>
                      <a:pt x="8" y="116"/>
                    </a:lnTo>
                    <a:lnTo>
                      <a:pt x="6" y="110"/>
                    </a:lnTo>
                    <a:lnTo>
                      <a:pt x="2" y="100"/>
                    </a:lnTo>
                    <a:lnTo>
                      <a:pt x="6" y="98"/>
                    </a:lnTo>
                    <a:lnTo>
                      <a:pt x="6" y="58"/>
                    </a:lnTo>
                    <a:lnTo>
                      <a:pt x="0" y="48"/>
                    </a:lnTo>
                    <a:lnTo>
                      <a:pt x="0" y="46"/>
                    </a:lnTo>
                    <a:lnTo>
                      <a:pt x="0" y="46"/>
                    </a:lnTo>
                    <a:lnTo>
                      <a:pt x="6" y="40"/>
                    </a:lnTo>
                    <a:lnTo>
                      <a:pt x="12" y="36"/>
                    </a:lnTo>
                    <a:lnTo>
                      <a:pt x="12" y="36"/>
                    </a:lnTo>
                    <a:lnTo>
                      <a:pt x="10" y="30"/>
                    </a:lnTo>
                    <a:lnTo>
                      <a:pt x="12" y="24"/>
                    </a:lnTo>
                    <a:lnTo>
                      <a:pt x="26" y="12"/>
                    </a:lnTo>
                    <a:lnTo>
                      <a:pt x="26" y="0"/>
                    </a:lnTo>
                    <a:lnTo>
                      <a:pt x="26" y="0"/>
                    </a:lnTo>
                    <a:lnTo>
                      <a:pt x="33" y="4"/>
                    </a:lnTo>
                    <a:lnTo>
                      <a:pt x="41" y="6"/>
                    </a:lnTo>
                    <a:lnTo>
                      <a:pt x="55" y="6"/>
                    </a:lnTo>
                    <a:lnTo>
                      <a:pt x="55" y="6"/>
                    </a:lnTo>
                    <a:lnTo>
                      <a:pt x="69" y="16"/>
                    </a:lnTo>
                    <a:lnTo>
                      <a:pt x="75" y="22"/>
                    </a:lnTo>
                    <a:lnTo>
                      <a:pt x="79" y="28"/>
                    </a:lnTo>
                    <a:lnTo>
                      <a:pt x="79" y="28"/>
                    </a:lnTo>
                    <a:lnTo>
                      <a:pt x="95" y="32"/>
                    </a:lnTo>
                    <a:lnTo>
                      <a:pt x="103" y="34"/>
                    </a:lnTo>
                    <a:lnTo>
                      <a:pt x="109" y="36"/>
                    </a:lnTo>
                    <a:lnTo>
                      <a:pt x="109" y="36"/>
                    </a:lnTo>
                    <a:lnTo>
                      <a:pt x="113" y="40"/>
                    </a:lnTo>
                    <a:lnTo>
                      <a:pt x="115" y="42"/>
                    </a:lnTo>
                    <a:lnTo>
                      <a:pt x="117" y="44"/>
                    </a:lnTo>
                    <a:lnTo>
                      <a:pt x="117" y="44"/>
                    </a:lnTo>
                    <a:lnTo>
                      <a:pt x="121" y="42"/>
                    </a:lnTo>
                    <a:lnTo>
                      <a:pt x="125" y="40"/>
                    </a:lnTo>
                    <a:lnTo>
                      <a:pt x="129" y="36"/>
                    </a:lnTo>
                    <a:lnTo>
                      <a:pt x="131" y="30"/>
                    </a:lnTo>
                    <a:lnTo>
                      <a:pt x="131" y="30"/>
                    </a:lnTo>
                    <a:lnTo>
                      <a:pt x="129" y="24"/>
                    </a:lnTo>
                    <a:lnTo>
                      <a:pt x="129" y="16"/>
                    </a:lnTo>
                    <a:lnTo>
                      <a:pt x="141" y="6"/>
                    </a:lnTo>
                    <a:lnTo>
                      <a:pt x="141" y="6"/>
                    </a:lnTo>
                    <a:lnTo>
                      <a:pt x="147" y="4"/>
                    </a:lnTo>
                    <a:lnTo>
                      <a:pt x="155" y="4"/>
                    </a:lnTo>
                    <a:lnTo>
                      <a:pt x="161" y="6"/>
                    </a:lnTo>
                    <a:lnTo>
                      <a:pt x="167" y="8"/>
                    </a:lnTo>
                    <a:lnTo>
                      <a:pt x="165" y="12"/>
                    </a:lnTo>
                    <a:lnTo>
                      <a:pt x="167" y="14"/>
                    </a:lnTo>
                    <a:lnTo>
                      <a:pt x="167" y="14"/>
                    </a:lnTo>
                    <a:lnTo>
                      <a:pt x="189" y="18"/>
                    </a:lnTo>
                    <a:lnTo>
                      <a:pt x="191" y="24"/>
                    </a:lnTo>
                    <a:lnTo>
                      <a:pt x="189" y="24"/>
                    </a:lnTo>
                    <a:lnTo>
                      <a:pt x="187" y="28"/>
                    </a:lnTo>
                    <a:lnTo>
                      <a:pt x="189" y="42"/>
                    </a:lnTo>
                    <a:lnTo>
                      <a:pt x="185" y="46"/>
                    </a:lnTo>
                    <a:lnTo>
                      <a:pt x="185" y="46"/>
                    </a:lnTo>
                    <a:lnTo>
                      <a:pt x="187" y="50"/>
                    </a:lnTo>
                    <a:lnTo>
                      <a:pt x="189" y="54"/>
                    </a:lnTo>
                    <a:lnTo>
                      <a:pt x="187" y="58"/>
                    </a:lnTo>
                    <a:lnTo>
                      <a:pt x="191" y="62"/>
                    </a:lnTo>
                    <a:lnTo>
                      <a:pt x="191" y="62"/>
                    </a:lnTo>
                    <a:lnTo>
                      <a:pt x="191" y="188"/>
                    </a:lnTo>
                    <a:lnTo>
                      <a:pt x="179" y="188"/>
                    </a:lnTo>
                    <a:lnTo>
                      <a:pt x="179" y="19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0" name="Freeform 1629">
                <a:extLst>
                  <a:ext uri="{FF2B5EF4-FFF2-40B4-BE49-F238E27FC236}">
                    <a16:creationId xmlns:a16="http://schemas.microsoft.com/office/drawing/2014/main" id="{2E3843BF-E60D-4739-BD27-D571A3BD1346}"/>
                  </a:ext>
                </a:extLst>
              </p:cNvPr>
              <p:cNvSpPr>
                <a:spLocks/>
              </p:cNvSpPr>
              <p:nvPr/>
            </p:nvSpPr>
            <p:spPr bwMode="auto">
              <a:xfrm>
                <a:off x="3141" y="2620"/>
                <a:ext cx="126" cy="212"/>
              </a:xfrm>
              <a:custGeom>
                <a:avLst/>
                <a:gdLst/>
                <a:ahLst/>
                <a:cxnLst>
                  <a:cxn ang="0">
                    <a:pos x="126" y="54"/>
                  </a:cxn>
                  <a:cxn ang="0">
                    <a:pos x="126" y="104"/>
                  </a:cxn>
                  <a:cxn ang="0">
                    <a:pos x="114" y="104"/>
                  </a:cxn>
                  <a:cxn ang="0">
                    <a:pos x="100" y="144"/>
                  </a:cxn>
                  <a:cxn ang="0">
                    <a:pos x="106" y="142"/>
                  </a:cxn>
                  <a:cxn ang="0">
                    <a:pos x="106" y="142"/>
                  </a:cxn>
                  <a:cxn ang="0">
                    <a:pos x="108" y="152"/>
                  </a:cxn>
                  <a:cxn ang="0">
                    <a:pos x="112" y="162"/>
                  </a:cxn>
                  <a:cxn ang="0">
                    <a:pos x="110" y="166"/>
                  </a:cxn>
                  <a:cxn ang="0">
                    <a:pos x="102" y="168"/>
                  </a:cxn>
                  <a:cxn ang="0">
                    <a:pos x="100" y="172"/>
                  </a:cxn>
                  <a:cxn ang="0">
                    <a:pos x="100" y="174"/>
                  </a:cxn>
                  <a:cxn ang="0">
                    <a:pos x="66" y="192"/>
                  </a:cxn>
                  <a:cxn ang="0">
                    <a:pos x="68" y="196"/>
                  </a:cxn>
                  <a:cxn ang="0">
                    <a:pos x="68" y="196"/>
                  </a:cxn>
                  <a:cxn ang="0">
                    <a:pos x="44" y="206"/>
                  </a:cxn>
                  <a:cxn ang="0">
                    <a:pos x="32" y="210"/>
                  </a:cxn>
                  <a:cxn ang="0">
                    <a:pos x="22" y="212"/>
                  </a:cxn>
                  <a:cxn ang="0">
                    <a:pos x="6" y="184"/>
                  </a:cxn>
                  <a:cxn ang="0">
                    <a:pos x="8" y="178"/>
                  </a:cxn>
                  <a:cxn ang="0">
                    <a:pos x="20" y="180"/>
                  </a:cxn>
                  <a:cxn ang="0">
                    <a:pos x="20" y="180"/>
                  </a:cxn>
                  <a:cxn ang="0">
                    <a:pos x="20" y="172"/>
                  </a:cxn>
                  <a:cxn ang="0">
                    <a:pos x="18" y="158"/>
                  </a:cxn>
                  <a:cxn ang="0">
                    <a:pos x="10" y="138"/>
                  </a:cxn>
                  <a:cxn ang="0">
                    <a:pos x="8" y="138"/>
                  </a:cxn>
                  <a:cxn ang="0">
                    <a:pos x="0" y="128"/>
                  </a:cxn>
                  <a:cxn ang="0">
                    <a:pos x="2" y="112"/>
                  </a:cxn>
                  <a:cxn ang="0">
                    <a:pos x="22" y="88"/>
                  </a:cxn>
                  <a:cxn ang="0">
                    <a:pos x="22" y="88"/>
                  </a:cxn>
                  <a:cxn ang="0">
                    <a:pos x="24" y="62"/>
                  </a:cxn>
                  <a:cxn ang="0">
                    <a:pos x="26" y="48"/>
                  </a:cxn>
                  <a:cxn ang="0">
                    <a:pos x="28" y="44"/>
                  </a:cxn>
                  <a:cxn ang="0">
                    <a:pos x="30" y="40"/>
                  </a:cxn>
                  <a:cxn ang="0">
                    <a:pos x="18" y="26"/>
                  </a:cxn>
                  <a:cxn ang="0">
                    <a:pos x="18" y="4"/>
                  </a:cxn>
                  <a:cxn ang="0">
                    <a:pos x="30" y="0"/>
                  </a:cxn>
                  <a:cxn ang="0">
                    <a:pos x="126" y="54"/>
                  </a:cxn>
                </a:cxnLst>
                <a:rect l="0" t="0" r="r" b="b"/>
                <a:pathLst>
                  <a:path w="126" h="212">
                    <a:moveTo>
                      <a:pt x="126" y="54"/>
                    </a:moveTo>
                    <a:lnTo>
                      <a:pt x="126" y="104"/>
                    </a:lnTo>
                    <a:lnTo>
                      <a:pt x="114" y="104"/>
                    </a:lnTo>
                    <a:lnTo>
                      <a:pt x="100" y="144"/>
                    </a:lnTo>
                    <a:lnTo>
                      <a:pt x="106" y="142"/>
                    </a:lnTo>
                    <a:lnTo>
                      <a:pt x="106" y="142"/>
                    </a:lnTo>
                    <a:lnTo>
                      <a:pt x="108" y="152"/>
                    </a:lnTo>
                    <a:lnTo>
                      <a:pt x="112" y="162"/>
                    </a:lnTo>
                    <a:lnTo>
                      <a:pt x="110" y="166"/>
                    </a:lnTo>
                    <a:lnTo>
                      <a:pt x="102" y="168"/>
                    </a:lnTo>
                    <a:lnTo>
                      <a:pt x="100" y="172"/>
                    </a:lnTo>
                    <a:lnTo>
                      <a:pt x="100" y="174"/>
                    </a:lnTo>
                    <a:lnTo>
                      <a:pt x="66" y="192"/>
                    </a:lnTo>
                    <a:lnTo>
                      <a:pt x="68" y="196"/>
                    </a:lnTo>
                    <a:lnTo>
                      <a:pt x="68" y="196"/>
                    </a:lnTo>
                    <a:lnTo>
                      <a:pt x="44" y="206"/>
                    </a:lnTo>
                    <a:lnTo>
                      <a:pt x="32" y="210"/>
                    </a:lnTo>
                    <a:lnTo>
                      <a:pt x="22" y="212"/>
                    </a:lnTo>
                    <a:lnTo>
                      <a:pt x="6" y="184"/>
                    </a:lnTo>
                    <a:lnTo>
                      <a:pt x="8" y="178"/>
                    </a:lnTo>
                    <a:lnTo>
                      <a:pt x="20" y="180"/>
                    </a:lnTo>
                    <a:lnTo>
                      <a:pt x="20" y="180"/>
                    </a:lnTo>
                    <a:lnTo>
                      <a:pt x="20" y="172"/>
                    </a:lnTo>
                    <a:lnTo>
                      <a:pt x="18" y="158"/>
                    </a:lnTo>
                    <a:lnTo>
                      <a:pt x="10" y="138"/>
                    </a:lnTo>
                    <a:lnTo>
                      <a:pt x="8" y="138"/>
                    </a:lnTo>
                    <a:lnTo>
                      <a:pt x="0" y="128"/>
                    </a:lnTo>
                    <a:lnTo>
                      <a:pt x="2" y="112"/>
                    </a:lnTo>
                    <a:lnTo>
                      <a:pt x="22" y="88"/>
                    </a:lnTo>
                    <a:lnTo>
                      <a:pt x="22" y="88"/>
                    </a:lnTo>
                    <a:lnTo>
                      <a:pt x="24" y="62"/>
                    </a:lnTo>
                    <a:lnTo>
                      <a:pt x="26" y="48"/>
                    </a:lnTo>
                    <a:lnTo>
                      <a:pt x="28" y="44"/>
                    </a:lnTo>
                    <a:lnTo>
                      <a:pt x="30" y="40"/>
                    </a:lnTo>
                    <a:lnTo>
                      <a:pt x="18" y="26"/>
                    </a:lnTo>
                    <a:lnTo>
                      <a:pt x="18" y="4"/>
                    </a:lnTo>
                    <a:lnTo>
                      <a:pt x="30" y="0"/>
                    </a:lnTo>
                    <a:lnTo>
                      <a:pt x="126" y="5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1" name="Freeform 1630">
                <a:extLst>
                  <a:ext uri="{FF2B5EF4-FFF2-40B4-BE49-F238E27FC236}">
                    <a16:creationId xmlns:a16="http://schemas.microsoft.com/office/drawing/2014/main" id="{D35E1B6D-294D-492A-8775-A5B9A0F058DE}"/>
                  </a:ext>
                </a:extLst>
              </p:cNvPr>
              <p:cNvSpPr>
                <a:spLocks/>
              </p:cNvSpPr>
              <p:nvPr/>
            </p:nvSpPr>
            <p:spPr bwMode="auto">
              <a:xfrm>
                <a:off x="2824" y="2436"/>
                <a:ext cx="142" cy="122"/>
              </a:xfrm>
              <a:custGeom>
                <a:avLst/>
                <a:gdLst/>
                <a:ahLst/>
                <a:cxnLst>
                  <a:cxn ang="0">
                    <a:pos x="52" y="122"/>
                  </a:cxn>
                  <a:cxn ang="0">
                    <a:pos x="0" y="122"/>
                  </a:cxn>
                  <a:cxn ang="0">
                    <a:pos x="0" y="120"/>
                  </a:cxn>
                  <a:cxn ang="0">
                    <a:pos x="0" y="120"/>
                  </a:cxn>
                  <a:cxn ang="0">
                    <a:pos x="12" y="116"/>
                  </a:cxn>
                  <a:cxn ang="0">
                    <a:pos x="24" y="110"/>
                  </a:cxn>
                  <a:cxn ang="0">
                    <a:pos x="34" y="100"/>
                  </a:cxn>
                  <a:cxn ang="0">
                    <a:pos x="40" y="88"/>
                  </a:cxn>
                  <a:cxn ang="0">
                    <a:pos x="36" y="80"/>
                  </a:cxn>
                  <a:cxn ang="0">
                    <a:pos x="36" y="80"/>
                  </a:cxn>
                  <a:cxn ang="0">
                    <a:pos x="42" y="62"/>
                  </a:cxn>
                  <a:cxn ang="0">
                    <a:pos x="48" y="48"/>
                  </a:cxn>
                  <a:cxn ang="0">
                    <a:pos x="54" y="42"/>
                  </a:cxn>
                  <a:cxn ang="0">
                    <a:pos x="60" y="36"/>
                  </a:cxn>
                  <a:cxn ang="0">
                    <a:pos x="76" y="28"/>
                  </a:cxn>
                  <a:cxn ang="0">
                    <a:pos x="86" y="2"/>
                  </a:cxn>
                  <a:cxn ang="0">
                    <a:pos x="90" y="0"/>
                  </a:cxn>
                  <a:cxn ang="0">
                    <a:pos x="104" y="12"/>
                  </a:cxn>
                  <a:cxn ang="0">
                    <a:pos x="104" y="12"/>
                  </a:cxn>
                  <a:cxn ang="0">
                    <a:pos x="114" y="10"/>
                  </a:cxn>
                  <a:cxn ang="0">
                    <a:pos x="120" y="10"/>
                  </a:cxn>
                  <a:cxn ang="0">
                    <a:pos x="126" y="12"/>
                  </a:cxn>
                  <a:cxn ang="0">
                    <a:pos x="132" y="12"/>
                  </a:cxn>
                  <a:cxn ang="0">
                    <a:pos x="132" y="12"/>
                  </a:cxn>
                  <a:cxn ang="0">
                    <a:pos x="130" y="14"/>
                  </a:cxn>
                  <a:cxn ang="0">
                    <a:pos x="134" y="18"/>
                  </a:cxn>
                  <a:cxn ang="0">
                    <a:pos x="132" y="18"/>
                  </a:cxn>
                  <a:cxn ang="0">
                    <a:pos x="134" y="20"/>
                  </a:cxn>
                  <a:cxn ang="0">
                    <a:pos x="134" y="22"/>
                  </a:cxn>
                  <a:cxn ang="0">
                    <a:pos x="134" y="22"/>
                  </a:cxn>
                  <a:cxn ang="0">
                    <a:pos x="134" y="28"/>
                  </a:cxn>
                  <a:cxn ang="0">
                    <a:pos x="134" y="32"/>
                  </a:cxn>
                  <a:cxn ang="0">
                    <a:pos x="136" y="36"/>
                  </a:cxn>
                  <a:cxn ang="0">
                    <a:pos x="136" y="36"/>
                  </a:cxn>
                  <a:cxn ang="0">
                    <a:pos x="136" y="40"/>
                  </a:cxn>
                  <a:cxn ang="0">
                    <a:pos x="136" y="44"/>
                  </a:cxn>
                  <a:cxn ang="0">
                    <a:pos x="140" y="48"/>
                  </a:cxn>
                  <a:cxn ang="0">
                    <a:pos x="142" y="50"/>
                  </a:cxn>
                  <a:cxn ang="0">
                    <a:pos x="140" y="54"/>
                  </a:cxn>
                  <a:cxn ang="0">
                    <a:pos x="140" y="56"/>
                  </a:cxn>
                  <a:cxn ang="0">
                    <a:pos x="120" y="58"/>
                  </a:cxn>
                  <a:cxn ang="0">
                    <a:pos x="120" y="62"/>
                  </a:cxn>
                  <a:cxn ang="0">
                    <a:pos x="110" y="64"/>
                  </a:cxn>
                  <a:cxn ang="0">
                    <a:pos x="108" y="66"/>
                  </a:cxn>
                  <a:cxn ang="0">
                    <a:pos x="110" y="68"/>
                  </a:cxn>
                  <a:cxn ang="0">
                    <a:pos x="110" y="72"/>
                  </a:cxn>
                  <a:cxn ang="0">
                    <a:pos x="112" y="72"/>
                  </a:cxn>
                  <a:cxn ang="0">
                    <a:pos x="112" y="74"/>
                  </a:cxn>
                  <a:cxn ang="0">
                    <a:pos x="96" y="80"/>
                  </a:cxn>
                  <a:cxn ang="0">
                    <a:pos x="92" y="88"/>
                  </a:cxn>
                  <a:cxn ang="0">
                    <a:pos x="76" y="92"/>
                  </a:cxn>
                  <a:cxn ang="0">
                    <a:pos x="76" y="94"/>
                  </a:cxn>
                  <a:cxn ang="0">
                    <a:pos x="52" y="106"/>
                  </a:cxn>
                  <a:cxn ang="0">
                    <a:pos x="52" y="122"/>
                  </a:cxn>
                </a:cxnLst>
                <a:rect l="0" t="0" r="r" b="b"/>
                <a:pathLst>
                  <a:path w="142" h="122">
                    <a:moveTo>
                      <a:pt x="52" y="122"/>
                    </a:moveTo>
                    <a:lnTo>
                      <a:pt x="0" y="122"/>
                    </a:lnTo>
                    <a:lnTo>
                      <a:pt x="0" y="120"/>
                    </a:lnTo>
                    <a:lnTo>
                      <a:pt x="0" y="120"/>
                    </a:lnTo>
                    <a:lnTo>
                      <a:pt x="12" y="116"/>
                    </a:lnTo>
                    <a:lnTo>
                      <a:pt x="24" y="110"/>
                    </a:lnTo>
                    <a:lnTo>
                      <a:pt x="34" y="100"/>
                    </a:lnTo>
                    <a:lnTo>
                      <a:pt x="40" y="88"/>
                    </a:lnTo>
                    <a:lnTo>
                      <a:pt x="36" y="80"/>
                    </a:lnTo>
                    <a:lnTo>
                      <a:pt x="36" y="80"/>
                    </a:lnTo>
                    <a:lnTo>
                      <a:pt x="42" y="62"/>
                    </a:lnTo>
                    <a:lnTo>
                      <a:pt x="48" y="48"/>
                    </a:lnTo>
                    <a:lnTo>
                      <a:pt x="54" y="42"/>
                    </a:lnTo>
                    <a:lnTo>
                      <a:pt x="60" y="36"/>
                    </a:lnTo>
                    <a:lnTo>
                      <a:pt x="76" y="28"/>
                    </a:lnTo>
                    <a:lnTo>
                      <a:pt x="86" y="2"/>
                    </a:lnTo>
                    <a:lnTo>
                      <a:pt x="90" y="0"/>
                    </a:lnTo>
                    <a:lnTo>
                      <a:pt x="104" y="12"/>
                    </a:lnTo>
                    <a:lnTo>
                      <a:pt x="104" y="12"/>
                    </a:lnTo>
                    <a:lnTo>
                      <a:pt x="114" y="10"/>
                    </a:lnTo>
                    <a:lnTo>
                      <a:pt x="120" y="10"/>
                    </a:lnTo>
                    <a:lnTo>
                      <a:pt x="126" y="12"/>
                    </a:lnTo>
                    <a:lnTo>
                      <a:pt x="132" y="12"/>
                    </a:lnTo>
                    <a:lnTo>
                      <a:pt x="132" y="12"/>
                    </a:lnTo>
                    <a:lnTo>
                      <a:pt x="130" y="14"/>
                    </a:lnTo>
                    <a:lnTo>
                      <a:pt x="134" y="18"/>
                    </a:lnTo>
                    <a:lnTo>
                      <a:pt x="132" y="18"/>
                    </a:lnTo>
                    <a:lnTo>
                      <a:pt x="134" y="20"/>
                    </a:lnTo>
                    <a:lnTo>
                      <a:pt x="134" y="22"/>
                    </a:lnTo>
                    <a:lnTo>
                      <a:pt x="134" y="22"/>
                    </a:lnTo>
                    <a:lnTo>
                      <a:pt x="134" y="28"/>
                    </a:lnTo>
                    <a:lnTo>
                      <a:pt x="134" y="32"/>
                    </a:lnTo>
                    <a:lnTo>
                      <a:pt x="136" y="36"/>
                    </a:lnTo>
                    <a:lnTo>
                      <a:pt x="136" y="36"/>
                    </a:lnTo>
                    <a:lnTo>
                      <a:pt x="136" y="40"/>
                    </a:lnTo>
                    <a:lnTo>
                      <a:pt x="136" y="44"/>
                    </a:lnTo>
                    <a:lnTo>
                      <a:pt x="140" y="48"/>
                    </a:lnTo>
                    <a:lnTo>
                      <a:pt x="142" y="50"/>
                    </a:lnTo>
                    <a:lnTo>
                      <a:pt x="140" y="54"/>
                    </a:lnTo>
                    <a:lnTo>
                      <a:pt x="140" y="56"/>
                    </a:lnTo>
                    <a:lnTo>
                      <a:pt x="120" y="58"/>
                    </a:lnTo>
                    <a:lnTo>
                      <a:pt x="120" y="62"/>
                    </a:lnTo>
                    <a:lnTo>
                      <a:pt x="110" y="64"/>
                    </a:lnTo>
                    <a:lnTo>
                      <a:pt x="108" y="66"/>
                    </a:lnTo>
                    <a:lnTo>
                      <a:pt x="110" y="68"/>
                    </a:lnTo>
                    <a:lnTo>
                      <a:pt x="110" y="72"/>
                    </a:lnTo>
                    <a:lnTo>
                      <a:pt x="112" y="72"/>
                    </a:lnTo>
                    <a:lnTo>
                      <a:pt x="112" y="74"/>
                    </a:lnTo>
                    <a:lnTo>
                      <a:pt x="96" y="80"/>
                    </a:lnTo>
                    <a:lnTo>
                      <a:pt x="92" y="88"/>
                    </a:lnTo>
                    <a:lnTo>
                      <a:pt x="76" y="92"/>
                    </a:lnTo>
                    <a:lnTo>
                      <a:pt x="76" y="94"/>
                    </a:lnTo>
                    <a:lnTo>
                      <a:pt x="52" y="106"/>
                    </a:lnTo>
                    <a:lnTo>
                      <a:pt x="52" y="1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2" name="Freeform 1631">
                <a:extLst>
                  <a:ext uri="{FF2B5EF4-FFF2-40B4-BE49-F238E27FC236}">
                    <a16:creationId xmlns:a16="http://schemas.microsoft.com/office/drawing/2014/main" id="{7D1E87A0-67F4-4F5A-8FD8-F95E24E73C3D}"/>
                  </a:ext>
                </a:extLst>
              </p:cNvPr>
              <p:cNvSpPr>
                <a:spLocks/>
              </p:cNvSpPr>
              <p:nvPr/>
            </p:nvSpPr>
            <p:spPr bwMode="auto">
              <a:xfrm>
                <a:off x="2776" y="2566"/>
                <a:ext cx="144" cy="170"/>
              </a:xfrm>
              <a:custGeom>
                <a:avLst/>
                <a:gdLst/>
                <a:ahLst/>
                <a:cxnLst>
                  <a:cxn ang="0">
                    <a:pos x="82" y="160"/>
                  </a:cxn>
                  <a:cxn ang="0">
                    <a:pos x="136" y="160"/>
                  </a:cxn>
                  <a:cxn ang="0">
                    <a:pos x="140" y="150"/>
                  </a:cxn>
                  <a:cxn ang="0">
                    <a:pos x="134" y="148"/>
                  </a:cxn>
                  <a:cxn ang="0">
                    <a:pos x="124" y="32"/>
                  </a:cxn>
                  <a:cxn ang="0">
                    <a:pos x="144" y="32"/>
                  </a:cxn>
                  <a:cxn ang="0">
                    <a:pos x="100" y="0"/>
                  </a:cxn>
                  <a:cxn ang="0">
                    <a:pos x="100" y="16"/>
                  </a:cxn>
                  <a:cxn ang="0">
                    <a:pos x="62" y="16"/>
                  </a:cxn>
                  <a:cxn ang="0">
                    <a:pos x="62" y="52"/>
                  </a:cxn>
                  <a:cxn ang="0">
                    <a:pos x="50" y="56"/>
                  </a:cxn>
                  <a:cxn ang="0">
                    <a:pos x="46" y="60"/>
                  </a:cxn>
                  <a:cxn ang="0">
                    <a:pos x="48" y="80"/>
                  </a:cxn>
                  <a:cxn ang="0">
                    <a:pos x="4" y="82"/>
                  </a:cxn>
                  <a:cxn ang="0">
                    <a:pos x="0" y="86"/>
                  </a:cxn>
                  <a:cxn ang="0">
                    <a:pos x="4" y="92"/>
                  </a:cxn>
                  <a:cxn ang="0">
                    <a:pos x="6" y="92"/>
                  </a:cxn>
                  <a:cxn ang="0">
                    <a:pos x="8" y="102"/>
                  </a:cxn>
                  <a:cxn ang="0">
                    <a:pos x="6" y="108"/>
                  </a:cxn>
                  <a:cxn ang="0">
                    <a:pos x="10" y="120"/>
                  </a:cxn>
                  <a:cxn ang="0">
                    <a:pos x="4" y="152"/>
                  </a:cxn>
                  <a:cxn ang="0">
                    <a:pos x="8" y="146"/>
                  </a:cxn>
                  <a:cxn ang="0">
                    <a:pos x="22" y="144"/>
                  </a:cxn>
                  <a:cxn ang="0">
                    <a:pos x="22" y="144"/>
                  </a:cxn>
                  <a:cxn ang="0">
                    <a:pos x="32" y="148"/>
                  </a:cxn>
                  <a:cxn ang="0">
                    <a:pos x="40" y="156"/>
                  </a:cxn>
                  <a:cxn ang="0">
                    <a:pos x="58" y="170"/>
                  </a:cxn>
                  <a:cxn ang="0">
                    <a:pos x="58" y="170"/>
                  </a:cxn>
                  <a:cxn ang="0">
                    <a:pos x="62" y="164"/>
                  </a:cxn>
                  <a:cxn ang="0">
                    <a:pos x="66" y="156"/>
                  </a:cxn>
                  <a:cxn ang="0">
                    <a:pos x="70" y="156"/>
                  </a:cxn>
                  <a:cxn ang="0">
                    <a:pos x="72" y="164"/>
                  </a:cxn>
                  <a:cxn ang="0">
                    <a:pos x="76" y="164"/>
                  </a:cxn>
                  <a:cxn ang="0">
                    <a:pos x="82" y="160"/>
                  </a:cxn>
                </a:cxnLst>
                <a:rect l="0" t="0" r="r" b="b"/>
                <a:pathLst>
                  <a:path w="144" h="170">
                    <a:moveTo>
                      <a:pt x="82" y="160"/>
                    </a:moveTo>
                    <a:lnTo>
                      <a:pt x="136" y="160"/>
                    </a:lnTo>
                    <a:lnTo>
                      <a:pt x="140" y="150"/>
                    </a:lnTo>
                    <a:lnTo>
                      <a:pt x="134" y="148"/>
                    </a:lnTo>
                    <a:lnTo>
                      <a:pt x="124" y="32"/>
                    </a:lnTo>
                    <a:lnTo>
                      <a:pt x="144" y="32"/>
                    </a:lnTo>
                    <a:lnTo>
                      <a:pt x="100" y="0"/>
                    </a:lnTo>
                    <a:lnTo>
                      <a:pt x="100" y="16"/>
                    </a:lnTo>
                    <a:lnTo>
                      <a:pt x="62" y="16"/>
                    </a:lnTo>
                    <a:lnTo>
                      <a:pt x="62" y="52"/>
                    </a:lnTo>
                    <a:lnTo>
                      <a:pt x="50" y="56"/>
                    </a:lnTo>
                    <a:lnTo>
                      <a:pt x="46" y="60"/>
                    </a:lnTo>
                    <a:lnTo>
                      <a:pt x="48" y="80"/>
                    </a:lnTo>
                    <a:lnTo>
                      <a:pt x="4" y="82"/>
                    </a:lnTo>
                    <a:lnTo>
                      <a:pt x="0" y="86"/>
                    </a:lnTo>
                    <a:lnTo>
                      <a:pt x="4" y="92"/>
                    </a:lnTo>
                    <a:lnTo>
                      <a:pt x="6" y="92"/>
                    </a:lnTo>
                    <a:lnTo>
                      <a:pt x="8" y="102"/>
                    </a:lnTo>
                    <a:lnTo>
                      <a:pt x="6" y="108"/>
                    </a:lnTo>
                    <a:lnTo>
                      <a:pt x="10" y="120"/>
                    </a:lnTo>
                    <a:lnTo>
                      <a:pt x="4" y="152"/>
                    </a:lnTo>
                    <a:lnTo>
                      <a:pt x="8" y="146"/>
                    </a:lnTo>
                    <a:lnTo>
                      <a:pt x="22" y="144"/>
                    </a:lnTo>
                    <a:lnTo>
                      <a:pt x="22" y="144"/>
                    </a:lnTo>
                    <a:lnTo>
                      <a:pt x="32" y="148"/>
                    </a:lnTo>
                    <a:lnTo>
                      <a:pt x="40" y="156"/>
                    </a:lnTo>
                    <a:lnTo>
                      <a:pt x="58" y="170"/>
                    </a:lnTo>
                    <a:lnTo>
                      <a:pt x="58" y="170"/>
                    </a:lnTo>
                    <a:lnTo>
                      <a:pt x="62" y="164"/>
                    </a:lnTo>
                    <a:lnTo>
                      <a:pt x="66" y="156"/>
                    </a:lnTo>
                    <a:lnTo>
                      <a:pt x="70" y="156"/>
                    </a:lnTo>
                    <a:lnTo>
                      <a:pt x="72" y="164"/>
                    </a:lnTo>
                    <a:lnTo>
                      <a:pt x="76" y="164"/>
                    </a:lnTo>
                    <a:lnTo>
                      <a:pt x="82" y="16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3" name="Freeform 1632">
                <a:extLst>
                  <a:ext uri="{FF2B5EF4-FFF2-40B4-BE49-F238E27FC236}">
                    <a16:creationId xmlns:a16="http://schemas.microsoft.com/office/drawing/2014/main" id="{E4A58660-CD83-42CA-9B85-47EEFDA81BCD}"/>
                  </a:ext>
                </a:extLst>
              </p:cNvPr>
              <p:cNvSpPr>
                <a:spLocks/>
              </p:cNvSpPr>
              <p:nvPr/>
            </p:nvSpPr>
            <p:spPr bwMode="auto">
              <a:xfrm>
                <a:off x="2776" y="2558"/>
                <a:ext cx="100" cy="94"/>
              </a:xfrm>
              <a:custGeom>
                <a:avLst/>
                <a:gdLst/>
                <a:ahLst/>
                <a:cxnLst>
                  <a:cxn ang="0">
                    <a:pos x="100" y="24"/>
                  </a:cxn>
                  <a:cxn ang="0">
                    <a:pos x="62" y="24"/>
                  </a:cxn>
                  <a:cxn ang="0">
                    <a:pos x="62" y="60"/>
                  </a:cxn>
                  <a:cxn ang="0">
                    <a:pos x="50" y="64"/>
                  </a:cxn>
                  <a:cxn ang="0">
                    <a:pos x="46" y="68"/>
                  </a:cxn>
                  <a:cxn ang="0">
                    <a:pos x="48" y="88"/>
                  </a:cxn>
                  <a:cxn ang="0">
                    <a:pos x="4" y="90"/>
                  </a:cxn>
                  <a:cxn ang="0">
                    <a:pos x="0" y="94"/>
                  </a:cxn>
                  <a:cxn ang="0">
                    <a:pos x="0" y="94"/>
                  </a:cxn>
                  <a:cxn ang="0">
                    <a:pos x="2" y="86"/>
                  </a:cxn>
                  <a:cxn ang="0">
                    <a:pos x="6" y="76"/>
                  </a:cxn>
                  <a:cxn ang="0">
                    <a:pos x="16" y="58"/>
                  </a:cxn>
                  <a:cxn ang="0">
                    <a:pos x="26" y="40"/>
                  </a:cxn>
                  <a:cxn ang="0">
                    <a:pos x="28" y="32"/>
                  </a:cxn>
                  <a:cxn ang="0">
                    <a:pos x="30" y="24"/>
                  </a:cxn>
                  <a:cxn ang="0">
                    <a:pos x="30" y="24"/>
                  </a:cxn>
                  <a:cxn ang="0">
                    <a:pos x="36" y="20"/>
                  </a:cxn>
                  <a:cxn ang="0">
                    <a:pos x="40" y="14"/>
                  </a:cxn>
                  <a:cxn ang="0">
                    <a:pos x="44" y="8"/>
                  </a:cxn>
                  <a:cxn ang="0">
                    <a:pos x="48" y="0"/>
                  </a:cxn>
                  <a:cxn ang="0">
                    <a:pos x="100" y="0"/>
                  </a:cxn>
                  <a:cxn ang="0">
                    <a:pos x="100" y="0"/>
                  </a:cxn>
                  <a:cxn ang="0">
                    <a:pos x="100" y="24"/>
                  </a:cxn>
                  <a:cxn ang="0">
                    <a:pos x="100" y="24"/>
                  </a:cxn>
                </a:cxnLst>
                <a:rect l="0" t="0" r="r" b="b"/>
                <a:pathLst>
                  <a:path w="100" h="94">
                    <a:moveTo>
                      <a:pt x="100" y="24"/>
                    </a:moveTo>
                    <a:lnTo>
                      <a:pt x="62" y="24"/>
                    </a:lnTo>
                    <a:lnTo>
                      <a:pt x="62" y="60"/>
                    </a:lnTo>
                    <a:lnTo>
                      <a:pt x="50" y="64"/>
                    </a:lnTo>
                    <a:lnTo>
                      <a:pt x="46" y="68"/>
                    </a:lnTo>
                    <a:lnTo>
                      <a:pt x="48" y="88"/>
                    </a:lnTo>
                    <a:lnTo>
                      <a:pt x="4" y="90"/>
                    </a:lnTo>
                    <a:lnTo>
                      <a:pt x="0" y="94"/>
                    </a:lnTo>
                    <a:lnTo>
                      <a:pt x="0" y="94"/>
                    </a:lnTo>
                    <a:lnTo>
                      <a:pt x="2" y="86"/>
                    </a:lnTo>
                    <a:lnTo>
                      <a:pt x="6" y="76"/>
                    </a:lnTo>
                    <a:lnTo>
                      <a:pt x="16" y="58"/>
                    </a:lnTo>
                    <a:lnTo>
                      <a:pt x="26" y="40"/>
                    </a:lnTo>
                    <a:lnTo>
                      <a:pt x="28" y="32"/>
                    </a:lnTo>
                    <a:lnTo>
                      <a:pt x="30" y="24"/>
                    </a:lnTo>
                    <a:lnTo>
                      <a:pt x="30" y="24"/>
                    </a:lnTo>
                    <a:lnTo>
                      <a:pt x="36" y="20"/>
                    </a:lnTo>
                    <a:lnTo>
                      <a:pt x="40" y="14"/>
                    </a:lnTo>
                    <a:lnTo>
                      <a:pt x="44" y="8"/>
                    </a:lnTo>
                    <a:lnTo>
                      <a:pt x="48" y="0"/>
                    </a:lnTo>
                    <a:lnTo>
                      <a:pt x="100" y="0"/>
                    </a:lnTo>
                    <a:lnTo>
                      <a:pt x="100" y="0"/>
                    </a:lnTo>
                    <a:lnTo>
                      <a:pt x="100" y="24"/>
                    </a:lnTo>
                    <a:lnTo>
                      <a:pt x="100" y="2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4" name="Freeform 1633">
                <a:extLst>
                  <a:ext uri="{FF2B5EF4-FFF2-40B4-BE49-F238E27FC236}">
                    <a16:creationId xmlns:a16="http://schemas.microsoft.com/office/drawing/2014/main" id="{861F204D-288E-4108-888F-567214B5C797}"/>
                  </a:ext>
                </a:extLst>
              </p:cNvPr>
              <p:cNvSpPr>
                <a:spLocks/>
              </p:cNvSpPr>
              <p:nvPr/>
            </p:nvSpPr>
            <p:spPr bwMode="auto">
              <a:xfrm>
                <a:off x="2876" y="2416"/>
                <a:ext cx="242" cy="264"/>
              </a:xfrm>
              <a:custGeom>
                <a:avLst/>
                <a:gdLst/>
                <a:ahLst/>
                <a:cxnLst>
                  <a:cxn ang="0">
                    <a:pos x="0" y="150"/>
                  </a:cxn>
                  <a:cxn ang="0">
                    <a:pos x="116" y="238"/>
                  </a:cxn>
                  <a:cxn ang="0">
                    <a:pos x="128" y="246"/>
                  </a:cxn>
                  <a:cxn ang="0">
                    <a:pos x="140" y="252"/>
                  </a:cxn>
                  <a:cxn ang="0">
                    <a:pos x="142" y="264"/>
                  </a:cxn>
                  <a:cxn ang="0">
                    <a:pos x="170" y="256"/>
                  </a:cxn>
                  <a:cxn ang="0">
                    <a:pos x="238" y="190"/>
                  </a:cxn>
                  <a:cxn ang="0">
                    <a:pos x="222" y="184"/>
                  </a:cxn>
                  <a:cxn ang="0">
                    <a:pos x="220" y="178"/>
                  </a:cxn>
                  <a:cxn ang="0">
                    <a:pos x="214" y="162"/>
                  </a:cxn>
                  <a:cxn ang="0">
                    <a:pos x="218" y="120"/>
                  </a:cxn>
                  <a:cxn ang="0">
                    <a:pos x="212" y="108"/>
                  </a:cxn>
                  <a:cxn ang="0">
                    <a:pos x="210" y="78"/>
                  </a:cxn>
                  <a:cxn ang="0">
                    <a:pos x="198" y="64"/>
                  </a:cxn>
                  <a:cxn ang="0">
                    <a:pos x="190" y="50"/>
                  </a:cxn>
                  <a:cxn ang="0">
                    <a:pos x="202" y="40"/>
                  </a:cxn>
                  <a:cxn ang="0">
                    <a:pos x="202" y="26"/>
                  </a:cxn>
                  <a:cxn ang="0">
                    <a:pos x="204" y="10"/>
                  </a:cxn>
                  <a:cxn ang="0">
                    <a:pos x="206" y="2"/>
                  </a:cxn>
                  <a:cxn ang="0">
                    <a:pos x="190" y="0"/>
                  </a:cxn>
                  <a:cxn ang="0">
                    <a:pos x="178" y="0"/>
                  </a:cxn>
                  <a:cxn ang="0">
                    <a:pos x="162" y="4"/>
                  </a:cxn>
                  <a:cxn ang="0">
                    <a:pos x="140" y="6"/>
                  </a:cxn>
                  <a:cxn ang="0">
                    <a:pos x="132" y="8"/>
                  </a:cxn>
                  <a:cxn ang="0">
                    <a:pos x="110" y="12"/>
                  </a:cxn>
                  <a:cxn ang="0">
                    <a:pos x="104" y="20"/>
                  </a:cxn>
                  <a:cxn ang="0">
                    <a:pos x="94" y="22"/>
                  </a:cxn>
                  <a:cxn ang="0">
                    <a:pos x="84" y="30"/>
                  </a:cxn>
                  <a:cxn ang="0">
                    <a:pos x="78" y="34"/>
                  </a:cxn>
                  <a:cxn ang="0">
                    <a:pos x="80" y="38"/>
                  </a:cxn>
                  <a:cxn ang="0">
                    <a:pos x="82" y="42"/>
                  </a:cxn>
                  <a:cxn ang="0">
                    <a:pos x="82" y="48"/>
                  </a:cxn>
                  <a:cxn ang="0">
                    <a:pos x="84" y="56"/>
                  </a:cxn>
                  <a:cxn ang="0">
                    <a:pos x="84" y="60"/>
                  </a:cxn>
                  <a:cxn ang="0">
                    <a:pos x="88" y="68"/>
                  </a:cxn>
                  <a:cxn ang="0">
                    <a:pos x="88" y="74"/>
                  </a:cxn>
                  <a:cxn ang="0">
                    <a:pos x="68" y="78"/>
                  </a:cxn>
                  <a:cxn ang="0">
                    <a:pos x="58" y="84"/>
                  </a:cxn>
                  <a:cxn ang="0">
                    <a:pos x="58" y="88"/>
                  </a:cxn>
                  <a:cxn ang="0">
                    <a:pos x="60" y="92"/>
                  </a:cxn>
                  <a:cxn ang="0">
                    <a:pos x="44" y="100"/>
                  </a:cxn>
                  <a:cxn ang="0">
                    <a:pos x="24" y="112"/>
                  </a:cxn>
                  <a:cxn ang="0">
                    <a:pos x="0" y="126"/>
                  </a:cxn>
                  <a:cxn ang="0">
                    <a:pos x="0" y="150"/>
                  </a:cxn>
                </a:cxnLst>
                <a:rect l="0" t="0" r="r" b="b"/>
                <a:pathLst>
                  <a:path w="242" h="264">
                    <a:moveTo>
                      <a:pt x="0" y="150"/>
                    </a:moveTo>
                    <a:lnTo>
                      <a:pt x="0" y="150"/>
                    </a:lnTo>
                    <a:lnTo>
                      <a:pt x="116" y="234"/>
                    </a:lnTo>
                    <a:lnTo>
                      <a:pt x="116" y="238"/>
                    </a:lnTo>
                    <a:lnTo>
                      <a:pt x="116" y="238"/>
                    </a:lnTo>
                    <a:lnTo>
                      <a:pt x="128" y="246"/>
                    </a:lnTo>
                    <a:lnTo>
                      <a:pt x="134" y="250"/>
                    </a:lnTo>
                    <a:lnTo>
                      <a:pt x="140" y="252"/>
                    </a:lnTo>
                    <a:lnTo>
                      <a:pt x="140" y="262"/>
                    </a:lnTo>
                    <a:lnTo>
                      <a:pt x="142" y="264"/>
                    </a:lnTo>
                    <a:lnTo>
                      <a:pt x="142" y="264"/>
                    </a:lnTo>
                    <a:lnTo>
                      <a:pt x="170" y="256"/>
                    </a:lnTo>
                    <a:lnTo>
                      <a:pt x="242" y="202"/>
                    </a:lnTo>
                    <a:lnTo>
                      <a:pt x="238" y="190"/>
                    </a:lnTo>
                    <a:lnTo>
                      <a:pt x="224" y="188"/>
                    </a:lnTo>
                    <a:lnTo>
                      <a:pt x="222" y="184"/>
                    </a:lnTo>
                    <a:lnTo>
                      <a:pt x="222" y="184"/>
                    </a:lnTo>
                    <a:lnTo>
                      <a:pt x="220" y="178"/>
                    </a:lnTo>
                    <a:lnTo>
                      <a:pt x="218" y="172"/>
                    </a:lnTo>
                    <a:lnTo>
                      <a:pt x="214" y="162"/>
                    </a:lnTo>
                    <a:lnTo>
                      <a:pt x="218" y="160"/>
                    </a:lnTo>
                    <a:lnTo>
                      <a:pt x="218" y="120"/>
                    </a:lnTo>
                    <a:lnTo>
                      <a:pt x="212" y="110"/>
                    </a:lnTo>
                    <a:lnTo>
                      <a:pt x="212" y="108"/>
                    </a:lnTo>
                    <a:lnTo>
                      <a:pt x="214" y="104"/>
                    </a:lnTo>
                    <a:lnTo>
                      <a:pt x="210" y="78"/>
                    </a:lnTo>
                    <a:lnTo>
                      <a:pt x="200" y="72"/>
                    </a:lnTo>
                    <a:lnTo>
                      <a:pt x="198" y="64"/>
                    </a:lnTo>
                    <a:lnTo>
                      <a:pt x="194" y="60"/>
                    </a:lnTo>
                    <a:lnTo>
                      <a:pt x="190" y="50"/>
                    </a:lnTo>
                    <a:lnTo>
                      <a:pt x="202" y="40"/>
                    </a:lnTo>
                    <a:lnTo>
                      <a:pt x="202" y="40"/>
                    </a:lnTo>
                    <a:lnTo>
                      <a:pt x="204" y="32"/>
                    </a:lnTo>
                    <a:lnTo>
                      <a:pt x="202" y="26"/>
                    </a:lnTo>
                    <a:lnTo>
                      <a:pt x="202" y="18"/>
                    </a:lnTo>
                    <a:lnTo>
                      <a:pt x="204" y="10"/>
                    </a:lnTo>
                    <a:lnTo>
                      <a:pt x="202" y="10"/>
                    </a:lnTo>
                    <a:lnTo>
                      <a:pt x="206" y="2"/>
                    </a:lnTo>
                    <a:lnTo>
                      <a:pt x="196" y="4"/>
                    </a:lnTo>
                    <a:lnTo>
                      <a:pt x="190" y="0"/>
                    </a:lnTo>
                    <a:lnTo>
                      <a:pt x="186" y="4"/>
                    </a:lnTo>
                    <a:lnTo>
                      <a:pt x="178" y="0"/>
                    </a:lnTo>
                    <a:lnTo>
                      <a:pt x="166" y="6"/>
                    </a:lnTo>
                    <a:lnTo>
                      <a:pt x="162" y="4"/>
                    </a:lnTo>
                    <a:lnTo>
                      <a:pt x="140" y="6"/>
                    </a:lnTo>
                    <a:lnTo>
                      <a:pt x="140" y="6"/>
                    </a:lnTo>
                    <a:lnTo>
                      <a:pt x="138" y="6"/>
                    </a:lnTo>
                    <a:lnTo>
                      <a:pt x="132" y="8"/>
                    </a:lnTo>
                    <a:lnTo>
                      <a:pt x="122" y="10"/>
                    </a:lnTo>
                    <a:lnTo>
                      <a:pt x="110" y="12"/>
                    </a:lnTo>
                    <a:lnTo>
                      <a:pt x="106" y="16"/>
                    </a:lnTo>
                    <a:lnTo>
                      <a:pt x="104" y="20"/>
                    </a:lnTo>
                    <a:lnTo>
                      <a:pt x="94" y="22"/>
                    </a:lnTo>
                    <a:lnTo>
                      <a:pt x="94" y="22"/>
                    </a:lnTo>
                    <a:lnTo>
                      <a:pt x="90" y="26"/>
                    </a:lnTo>
                    <a:lnTo>
                      <a:pt x="84" y="30"/>
                    </a:lnTo>
                    <a:lnTo>
                      <a:pt x="80" y="32"/>
                    </a:lnTo>
                    <a:lnTo>
                      <a:pt x="78" y="34"/>
                    </a:lnTo>
                    <a:lnTo>
                      <a:pt x="82" y="38"/>
                    </a:lnTo>
                    <a:lnTo>
                      <a:pt x="80" y="38"/>
                    </a:lnTo>
                    <a:lnTo>
                      <a:pt x="82" y="40"/>
                    </a:lnTo>
                    <a:lnTo>
                      <a:pt x="82" y="42"/>
                    </a:lnTo>
                    <a:lnTo>
                      <a:pt x="82" y="42"/>
                    </a:lnTo>
                    <a:lnTo>
                      <a:pt x="82" y="48"/>
                    </a:lnTo>
                    <a:lnTo>
                      <a:pt x="82" y="52"/>
                    </a:lnTo>
                    <a:lnTo>
                      <a:pt x="84" y="56"/>
                    </a:lnTo>
                    <a:lnTo>
                      <a:pt x="84" y="56"/>
                    </a:lnTo>
                    <a:lnTo>
                      <a:pt x="84" y="60"/>
                    </a:lnTo>
                    <a:lnTo>
                      <a:pt x="84" y="64"/>
                    </a:lnTo>
                    <a:lnTo>
                      <a:pt x="88" y="68"/>
                    </a:lnTo>
                    <a:lnTo>
                      <a:pt x="90" y="70"/>
                    </a:lnTo>
                    <a:lnTo>
                      <a:pt x="88" y="74"/>
                    </a:lnTo>
                    <a:lnTo>
                      <a:pt x="88" y="76"/>
                    </a:lnTo>
                    <a:lnTo>
                      <a:pt x="68" y="78"/>
                    </a:lnTo>
                    <a:lnTo>
                      <a:pt x="68" y="82"/>
                    </a:lnTo>
                    <a:lnTo>
                      <a:pt x="58" y="84"/>
                    </a:lnTo>
                    <a:lnTo>
                      <a:pt x="56" y="86"/>
                    </a:lnTo>
                    <a:lnTo>
                      <a:pt x="58" y="88"/>
                    </a:lnTo>
                    <a:lnTo>
                      <a:pt x="58" y="92"/>
                    </a:lnTo>
                    <a:lnTo>
                      <a:pt x="60" y="92"/>
                    </a:lnTo>
                    <a:lnTo>
                      <a:pt x="60" y="94"/>
                    </a:lnTo>
                    <a:lnTo>
                      <a:pt x="44" y="100"/>
                    </a:lnTo>
                    <a:lnTo>
                      <a:pt x="40" y="108"/>
                    </a:lnTo>
                    <a:lnTo>
                      <a:pt x="24" y="112"/>
                    </a:lnTo>
                    <a:lnTo>
                      <a:pt x="24" y="114"/>
                    </a:lnTo>
                    <a:lnTo>
                      <a:pt x="0" y="126"/>
                    </a:lnTo>
                    <a:lnTo>
                      <a:pt x="0" y="126"/>
                    </a:lnTo>
                    <a:lnTo>
                      <a:pt x="0" y="150"/>
                    </a:lnTo>
                    <a:lnTo>
                      <a:pt x="0" y="1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dirty="0">
                  <a:latin typeface="Myriad for Rabobank Lt" panose="020B0403030403020204" pitchFamily="34" charset="0"/>
                </a:endParaRPr>
              </a:p>
            </p:txBody>
          </p:sp>
          <p:sp>
            <p:nvSpPr>
              <p:cNvPr id="425" name="Freeform 1634">
                <a:extLst>
                  <a:ext uri="{FF2B5EF4-FFF2-40B4-BE49-F238E27FC236}">
                    <a16:creationId xmlns:a16="http://schemas.microsoft.com/office/drawing/2014/main" id="{F4557473-3D3D-423F-A0DB-EE5C73D1FD8E}"/>
                  </a:ext>
                </a:extLst>
              </p:cNvPr>
              <p:cNvSpPr>
                <a:spLocks/>
              </p:cNvSpPr>
              <p:nvPr/>
            </p:nvSpPr>
            <p:spPr bwMode="auto">
              <a:xfrm>
                <a:off x="2834" y="2598"/>
                <a:ext cx="194" cy="198"/>
              </a:xfrm>
              <a:custGeom>
                <a:avLst/>
                <a:gdLst/>
                <a:ahLst/>
                <a:cxnLst>
                  <a:cxn ang="0">
                    <a:pos x="78" y="128"/>
                  </a:cxn>
                  <a:cxn ang="0">
                    <a:pos x="76" y="116"/>
                  </a:cxn>
                  <a:cxn ang="0">
                    <a:pos x="86" y="0"/>
                  </a:cxn>
                  <a:cxn ang="0">
                    <a:pos x="158" y="56"/>
                  </a:cxn>
                  <a:cxn ang="0">
                    <a:pos x="170" y="64"/>
                  </a:cxn>
                  <a:cxn ang="0">
                    <a:pos x="182" y="70"/>
                  </a:cxn>
                  <a:cxn ang="0">
                    <a:pos x="184" y="82"/>
                  </a:cxn>
                  <a:cxn ang="0">
                    <a:pos x="194" y="122"/>
                  </a:cxn>
                  <a:cxn ang="0">
                    <a:pos x="186" y="130"/>
                  </a:cxn>
                  <a:cxn ang="0">
                    <a:pos x="154" y="136"/>
                  </a:cxn>
                  <a:cxn ang="0">
                    <a:pos x="146" y="136"/>
                  </a:cxn>
                  <a:cxn ang="0">
                    <a:pos x="130" y="142"/>
                  </a:cxn>
                  <a:cxn ang="0">
                    <a:pos x="114" y="154"/>
                  </a:cxn>
                  <a:cxn ang="0">
                    <a:pos x="98" y="160"/>
                  </a:cxn>
                  <a:cxn ang="0">
                    <a:pos x="96" y="164"/>
                  </a:cxn>
                  <a:cxn ang="0">
                    <a:pos x="88" y="176"/>
                  </a:cxn>
                  <a:cxn ang="0">
                    <a:pos x="82" y="190"/>
                  </a:cxn>
                  <a:cxn ang="0">
                    <a:pos x="70" y="198"/>
                  </a:cxn>
                  <a:cxn ang="0">
                    <a:pos x="66" y="192"/>
                  </a:cxn>
                  <a:cxn ang="0">
                    <a:pos x="56" y="198"/>
                  </a:cxn>
                  <a:cxn ang="0">
                    <a:pos x="50" y="198"/>
                  </a:cxn>
                  <a:cxn ang="0">
                    <a:pos x="46" y="192"/>
                  </a:cxn>
                  <a:cxn ang="0">
                    <a:pos x="36" y="168"/>
                  </a:cxn>
                  <a:cxn ang="0">
                    <a:pos x="18" y="176"/>
                  </a:cxn>
                  <a:cxn ang="0">
                    <a:pos x="10" y="174"/>
                  </a:cxn>
                  <a:cxn ang="0">
                    <a:pos x="8" y="172"/>
                  </a:cxn>
                  <a:cxn ang="0">
                    <a:pos x="10" y="162"/>
                  </a:cxn>
                  <a:cxn ang="0">
                    <a:pos x="6" y="156"/>
                  </a:cxn>
                  <a:cxn ang="0">
                    <a:pos x="0" y="138"/>
                  </a:cxn>
                  <a:cxn ang="0">
                    <a:pos x="4" y="132"/>
                  </a:cxn>
                  <a:cxn ang="0">
                    <a:pos x="12" y="124"/>
                  </a:cxn>
                  <a:cxn ang="0">
                    <a:pos x="18" y="132"/>
                  </a:cxn>
                </a:cxnLst>
                <a:rect l="0" t="0" r="r" b="b"/>
                <a:pathLst>
                  <a:path w="194" h="198">
                    <a:moveTo>
                      <a:pt x="24" y="128"/>
                    </a:moveTo>
                    <a:lnTo>
                      <a:pt x="78" y="128"/>
                    </a:lnTo>
                    <a:lnTo>
                      <a:pt x="82" y="118"/>
                    </a:lnTo>
                    <a:lnTo>
                      <a:pt x="76" y="116"/>
                    </a:lnTo>
                    <a:lnTo>
                      <a:pt x="66" y="0"/>
                    </a:lnTo>
                    <a:lnTo>
                      <a:pt x="86" y="0"/>
                    </a:lnTo>
                    <a:lnTo>
                      <a:pt x="158" y="52"/>
                    </a:lnTo>
                    <a:lnTo>
                      <a:pt x="158" y="56"/>
                    </a:lnTo>
                    <a:lnTo>
                      <a:pt x="158" y="56"/>
                    </a:lnTo>
                    <a:lnTo>
                      <a:pt x="170" y="64"/>
                    </a:lnTo>
                    <a:lnTo>
                      <a:pt x="176" y="68"/>
                    </a:lnTo>
                    <a:lnTo>
                      <a:pt x="182" y="70"/>
                    </a:lnTo>
                    <a:lnTo>
                      <a:pt x="182" y="80"/>
                    </a:lnTo>
                    <a:lnTo>
                      <a:pt x="184" y="82"/>
                    </a:lnTo>
                    <a:lnTo>
                      <a:pt x="194" y="80"/>
                    </a:lnTo>
                    <a:lnTo>
                      <a:pt x="194" y="122"/>
                    </a:lnTo>
                    <a:lnTo>
                      <a:pt x="190" y="122"/>
                    </a:lnTo>
                    <a:lnTo>
                      <a:pt x="186" y="130"/>
                    </a:lnTo>
                    <a:lnTo>
                      <a:pt x="160" y="130"/>
                    </a:lnTo>
                    <a:lnTo>
                      <a:pt x="154" y="136"/>
                    </a:lnTo>
                    <a:lnTo>
                      <a:pt x="154" y="136"/>
                    </a:lnTo>
                    <a:lnTo>
                      <a:pt x="146" y="136"/>
                    </a:lnTo>
                    <a:lnTo>
                      <a:pt x="138" y="138"/>
                    </a:lnTo>
                    <a:lnTo>
                      <a:pt x="130" y="142"/>
                    </a:lnTo>
                    <a:lnTo>
                      <a:pt x="124" y="146"/>
                    </a:lnTo>
                    <a:lnTo>
                      <a:pt x="114" y="154"/>
                    </a:lnTo>
                    <a:lnTo>
                      <a:pt x="106" y="158"/>
                    </a:lnTo>
                    <a:lnTo>
                      <a:pt x="98" y="160"/>
                    </a:lnTo>
                    <a:lnTo>
                      <a:pt x="98" y="160"/>
                    </a:lnTo>
                    <a:lnTo>
                      <a:pt x="96" y="164"/>
                    </a:lnTo>
                    <a:lnTo>
                      <a:pt x="94" y="170"/>
                    </a:lnTo>
                    <a:lnTo>
                      <a:pt x="88" y="176"/>
                    </a:lnTo>
                    <a:lnTo>
                      <a:pt x="84" y="186"/>
                    </a:lnTo>
                    <a:lnTo>
                      <a:pt x="82" y="190"/>
                    </a:lnTo>
                    <a:lnTo>
                      <a:pt x="82" y="196"/>
                    </a:lnTo>
                    <a:lnTo>
                      <a:pt x="70" y="198"/>
                    </a:lnTo>
                    <a:lnTo>
                      <a:pt x="70" y="190"/>
                    </a:lnTo>
                    <a:lnTo>
                      <a:pt x="66" y="192"/>
                    </a:lnTo>
                    <a:lnTo>
                      <a:pt x="64" y="196"/>
                    </a:lnTo>
                    <a:lnTo>
                      <a:pt x="56" y="198"/>
                    </a:lnTo>
                    <a:lnTo>
                      <a:pt x="54" y="194"/>
                    </a:lnTo>
                    <a:lnTo>
                      <a:pt x="50" y="198"/>
                    </a:lnTo>
                    <a:lnTo>
                      <a:pt x="50" y="198"/>
                    </a:lnTo>
                    <a:lnTo>
                      <a:pt x="46" y="192"/>
                    </a:lnTo>
                    <a:lnTo>
                      <a:pt x="42" y="184"/>
                    </a:lnTo>
                    <a:lnTo>
                      <a:pt x="36" y="168"/>
                    </a:lnTo>
                    <a:lnTo>
                      <a:pt x="22" y="172"/>
                    </a:lnTo>
                    <a:lnTo>
                      <a:pt x="18" y="176"/>
                    </a:lnTo>
                    <a:lnTo>
                      <a:pt x="14" y="172"/>
                    </a:lnTo>
                    <a:lnTo>
                      <a:pt x="10" y="174"/>
                    </a:lnTo>
                    <a:lnTo>
                      <a:pt x="8" y="172"/>
                    </a:lnTo>
                    <a:lnTo>
                      <a:pt x="8" y="172"/>
                    </a:lnTo>
                    <a:lnTo>
                      <a:pt x="10" y="168"/>
                    </a:lnTo>
                    <a:lnTo>
                      <a:pt x="10" y="162"/>
                    </a:lnTo>
                    <a:lnTo>
                      <a:pt x="10" y="162"/>
                    </a:lnTo>
                    <a:lnTo>
                      <a:pt x="6" y="156"/>
                    </a:lnTo>
                    <a:lnTo>
                      <a:pt x="2" y="152"/>
                    </a:lnTo>
                    <a:lnTo>
                      <a:pt x="0" y="138"/>
                    </a:lnTo>
                    <a:lnTo>
                      <a:pt x="0" y="138"/>
                    </a:lnTo>
                    <a:lnTo>
                      <a:pt x="4" y="132"/>
                    </a:lnTo>
                    <a:lnTo>
                      <a:pt x="8" y="124"/>
                    </a:lnTo>
                    <a:lnTo>
                      <a:pt x="12" y="124"/>
                    </a:lnTo>
                    <a:lnTo>
                      <a:pt x="14" y="132"/>
                    </a:lnTo>
                    <a:lnTo>
                      <a:pt x="18" y="132"/>
                    </a:lnTo>
                    <a:lnTo>
                      <a:pt x="24" y="1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6" name="Freeform 1635">
                <a:extLst>
                  <a:ext uri="{FF2B5EF4-FFF2-40B4-BE49-F238E27FC236}">
                    <a16:creationId xmlns:a16="http://schemas.microsoft.com/office/drawing/2014/main" id="{8FF3FB74-A898-4D0F-ACF1-1E108347875C}"/>
                  </a:ext>
                </a:extLst>
              </p:cNvPr>
              <p:cNvSpPr>
                <a:spLocks/>
              </p:cNvSpPr>
              <p:nvPr/>
            </p:nvSpPr>
            <p:spPr bwMode="auto">
              <a:xfrm>
                <a:off x="2916" y="2734"/>
                <a:ext cx="92" cy="70"/>
              </a:xfrm>
              <a:custGeom>
                <a:avLst/>
                <a:gdLst/>
                <a:ahLst/>
                <a:cxnLst>
                  <a:cxn ang="0">
                    <a:pos x="30" y="70"/>
                  </a:cxn>
                  <a:cxn ang="0">
                    <a:pos x="30" y="70"/>
                  </a:cxn>
                  <a:cxn ang="0">
                    <a:pos x="30" y="62"/>
                  </a:cxn>
                  <a:cxn ang="0">
                    <a:pos x="28" y="56"/>
                  </a:cxn>
                  <a:cxn ang="0">
                    <a:pos x="28" y="52"/>
                  </a:cxn>
                  <a:cxn ang="0">
                    <a:pos x="28" y="52"/>
                  </a:cxn>
                  <a:cxn ang="0">
                    <a:pos x="50" y="52"/>
                  </a:cxn>
                  <a:cxn ang="0">
                    <a:pos x="64" y="52"/>
                  </a:cxn>
                  <a:cxn ang="0">
                    <a:pos x="74" y="52"/>
                  </a:cxn>
                  <a:cxn ang="0">
                    <a:pos x="80" y="46"/>
                  </a:cxn>
                  <a:cxn ang="0">
                    <a:pos x="86" y="46"/>
                  </a:cxn>
                  <a:cxn ang="0">
                    <a:pos x="92" y="40"/>
                  </a:cxn>
                  <a:cxn ang="0">
                    <a:pos x="88" y="36"/>
                  </a:cxn>
                  <a:cxn ang="0">
                    <a:pos x="88" y="34"/>
                  </a:cxn>
                  <a:cxn ang="0">
                    <a:pos x="90" y="32"/>
                  </a:cxn>
                  <a:cxn ang="0">
                    <a:pos x="88" y="30"/>
                  </a:cxn>
                  <a:cxn ang="0">
                    <a:pos x="82" y="30"/>
                  </a:cxn>
                  <a:cxn ang="0">
                    <a:pos x="78" y="28"/>
                  </a:cxn>
                  <a:cxn ang="0">
                    <a:pos x="78" y="28"/>
                  </a:cxn>
                  <a:cxn ang="0">
                    <a:pos x="76" y="22"/>
                  </a:cxn>
                  <a:cxn ang="0">
                    <a:pos x="70" y="18"/>
                  </a:cxn>
                  <a:cxn ang="0">
                    <a:pos x="66" y="12"/>
                  </a:cxn>
                  <a:cxn ang="0">
                    <a:pos x="64" y="6"/>
                  </a:cxn>
                  <a:cxn ang="0">
                    <a:pos x="64" y="0"/>
                  </a:cxn>
                  <a:cxn ang="0">
                    <a:pos x="64" y="0"/>
                  </a:cxn>
                  <a:cxn ang="0">
                    <a:pos x="60" y="0"/>
                  </a:cxn>
                  <a:cxn ang="0">
                    <a:pos x="54" y="2"/>
                  </a:cxn>
                  <a:cxn ang="0">
                    <a:pos x="42" y="10"/>
                  </a:cxn>
                  <a:cxn ang="0">
                    <a:pos x="30" y="18"/>
                  </a:cxn>
                  <a:cxn ang="0">
                    <a:pos x="24" y="22"/>
                  </a:cxn>
                  <a:cxn ang="0">
                    <a:pos x="16" y="24"/>
                  </a:cxn>
                  <a:cxn ang="0">
                    <a:pos x="16" y="24"/>
                  </a:cxn>
                  <a:cxn ang="0">
                    <a:pos x="14" y="28"/>
                  </a:cxn>
                  <a:cxn ang="0">
                    <a:pos x="12" y="34"/>
                  </a:cxn>
                  <a:cxn ang="0">
                    <a:pos x="6" y="40"/>
                  </a:cxn>
                  <a:cxn ang="0">
                    <a:pos x="2" y="50"/>
                  </a:cxn>
                  <a:cxn ang="0">
                    <a:pos x="0" y="54"/>
                  </a:cxn>
                  <a:cxn ang="0">
                    <a:pos x="0" y="60"/>
                  </a:cxn>
                  <a:cxn ang="0">
                    <a:pos x="6" y="68"/>
                  </a:cxn>
                  <a:cxn ang="0">
                    <a:pos x="6" y="68"/>
                  </a:cxn>
                  <a:cxn ang="0">
                    <a:pos x="14" y="66"/>
                  </a:cxn>
                  <a:cxn ang="0">
                    <a:pos x="20" y="66"/>
                  </a:cxn>
                  <a:cxn ang="0">
                    <a:pos x="24" y="66"/>
                  </a:cxn>
                  <a:cxn ang="0">
                    <a:pos x="24" y="64"/>
                  </a:cxn>
                  <a:cxn ang="0">
                    <a:pos x="28" y="70"/>
                  </a:cxn>
                  <a:cxn ang="0">
                    <a:pos x="30" y="70"/>
                  </a:cxn>
                </a:cxnLst>
                <a:rect l="0" t="0" r="r" b="b"/>
                <a:pathLst>
                  <a:path w="92" h="70">
                    <a:moveTo>
                      <a:pt x="30" y="70"/>
                    </a:moveTo>
                    <a:lnTo>
                      <a:pt x="30" y="70"/>
                    </a:lnTo>
                    <a:lnTo>
                      <a:pt x="30" y="62"/>
                    </a:lnTo>
                    <a:lnTo>
                      <a:pt x="28" y="56"/>
                    </a:lnTo>
                    <a:lnTo>
                      <a:pt x="28" y="52"/>
                    </a:lnTo>
                    <a:lnTo>
                      <a:pt x="28" y="52"/>
                    </a:lnTo>
                    <a:lnTo>
                      <a:pt x="50" y="52"/>
                    </a:lnTo>
                    <a:lnTo>
                      <a:pt x="64" y="52"/>
                    </a:lnTo>
                    <a:lnTo>
                      <a:pt x="74" y="52"/>
                    </a:lnTo>
                    <a:lnTo>
                      <a:pt x="80" y="46"/>
                    </a:lnTo>
                    <a:lnTo>
                      <a:pt x="86" y="46"/>
                    </a:lnTo>
                    <a:lnTo>
                      <a:pt x="92" y="40"/>
                    </a:lnTo>
                    <a:lnTo>
                      <a:pt x="88" y="36"/>
                    </a:lnTo>
                    <a:lnTo>
                      <a:pt x="88" y="34"/>
                    </a:lnTo>
                    <a:lnTo>
                      <a:pt x="90" y="32"/>
                    </a:lnTo>
                    <a:lnTo>
                      <a:pt x="88" y="30"/>
                    </a:lnTo>
                    <a:lnTo>
                      <a:pt x="82" y="30"/>
                    </a:lnTo>
                    <a:lnTo>
                      <a:pt x="78" y="28"/>
                    </a:lnTo>
                    <a:lnTo>
                      <a:pt x="78" y="28"/>
                    </a:lnTo>
                    <a:lnTo>
                      <a:pt x="76" y="22"/>
                    </a:lnTo>
                    <a:lnTo>
                      <a:pt x="70" y="18"/>
                    </a:lnTo>
                    <a:lnTo>
                      <a:pt x="66" y="12"/>
                    </a:lnTo>
                    <a:lnTo>
                      <a:pt x="64" y="6"/>
                    </a:lnTo>
                    <a:lnTo>
                      <a:pt x="64" y="0"/>
                    </a:lnTo>
                    <a:lnTo>
                      <a:pt x="64" y="0"/>
                    </a:lnTo>
                    <a:lnTo>
                      <a:pt x="60" y="0"/>
                    </a:lnTo>
                    <a:lnTo>
                      <a:pt x="54" y="2"/>
                    </a:lnTo>
                    <a:lnTo>
                      <a:pt x="42" y="10"/>
                    </a:lnTo>
                    <a:lnTo>
                      <a:pt x="30" y="18"/>
                    </a:lnTo>
                    <a:lnTo>
                      <a:pt x="24" y="22"/>
                    </a:lnTo>
                    <a:lnTo>
                      <a:pt x="16" y="24"/>
                    </a:lnTo>
                    <a:lnTo>
                      <a:pt x="16" y="24"/>
                    </a:lnTo>
                    <a:lnTo>
                      <a:pt x="14" y="28"/>
                    </a:lnTo>
                    <a:lnTo>
                      <a:pt x="12" y="34"/>
                    </a:lnTo>
                    <a:lnTo>
                      <a:pt x="6" y="40"/>
                    </a:lnTo>
                    <a:lnTo>
                      <a:pt x="2" y="50"/>
                    </a:lnTo>
                    <a:lnTo>
                      <a:pt x="0" y="54"/>
                    </a:lnTo>
                    <a:lnTo>
                      <a:pt x="0" y="60"/>
                    </a:lnTo>
                    <a:lnTo>
                      <a:pt x="6" y="68"/>
                    </a:lnTo>
                    <a:lnTo>
                      <a:pt x="6" y="68"/>
                    </a:lnTo>
                    <a:lnTo>
                      <a:pt x="14" y="66"/>
                    </a:lnTo>
                    <a:lnTo>
                      <a:pt x="20" y="66"/>
                    </a:lnTo>
                    <a:lnTo>
                      <a:pt x="24" y="66"/>
                    </a:lnTo>
                    <a:lnTo>
                      <a:pt x="24" y="64"/>
                    </a:lnTo>
                    <a:lnTo>
                      <a:pt x="28" y="70"/>
                    </a:lnTo>
                    <a:lnTo>
                      <a:pt x="30" y="7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7" name="Freeform 1636">
                <a:extLst>
                  <a:ext uri="{FF2B5EF4-FFF2-40B4-BE49-F238E27FC236}">
                    <a16:creationId xmlns:a16="http://schemas.microsoft.com/office/drawing/2014/main" id="{D0D3782B-BF20-4A95-B845-86DBBC8944C1}"/>
                  </a:ext>
                </a:extLst>
              </p:cNvPr>
              <p:cNvSpPr>
                <a:spLocks/>
              </p:cNvSpPr>
              <p:nvPr/>
            </p:nvSpPr>
            <p:spPr bwMode="auto">
              <a:xfrm>
                <a:off x="3335" y="2874"/>
                <a:ext cx="64" cy="70"/>
              </a:xfrm>
              <a:custGeom>
                <a:avLst/>
                <a:gdLst/>
                <a:ahLst/>
                <a:cxnLst>
                  <a:cxn ang="0">
                    <a:pos x="10" y="38"/>
                  </a:cxn>
                  <a:cxn ang="0">
                    <a:pos x="10" y="40"/>
                  </a:cxn>
                  <a:cxn ang="0">
                    <a:pos x="12" y="40"/>
                  </a:cxn>
                  <a:cxn ang="0">
                    <a:pos x="20" y="32"/>
                  </a:cxn>
                  <a:cxn ang="0">
                    <a:pos x="22" y="24"/>
                  </a:cxn>
                  <a:cxn ang="0">
                    <a:pos x="20" y="24"/>
                  </a:cxn>
                  <a:cxn ang="0">
                    <a:pos x="14" y="18"/>
                  </a:cxn>
                  <a:cxn ang="0">
                    <a:pos x="16" y="6"/>
                  </a:cxn>
                  <a:cxn ang="0">
                    <a:pos x="16" y="6"/>
                  </a:cxn>
                  <a:cxn ang="0">
                    <a:pos x="28" y="6"/>
                  </a:cxn>
                  <a:cxn ang="0">
                    <a:pos x="28" y="6"/>
                  </a:cxn>
                  <a:cxn ang="0">
                    <a:pos x="28" y="6"/>
                  </a:cxn>
                  <a:cxn ang="0">
                    <a:pos x="40" y="6"/>
                  </a:cxn>
                  <a:cxn ang="0">
                    <a:pos x="48" y="4"/>
                  </a:cxn>
                  <a:cxn ang="0">
                    <a:pos x="52" y="0"/>
                  </a:cxn>
                  <a:cxn ang="0">
                    <a:pos x="56" y="2"/>
                  </a:cxn>
                  <a:cxn ang="0">
                    <a:pos x="58" y="14"/>
                  </a:cxn>
                  <a:cxn ang="0">
                    <a:pos x="64" y="18"/>
                  </a:cxn>
                  <a:cxn ang="0">
                    <a:pos x="64" y="34"/>
                  </a:cxn>
                  <a:cxn ang="0">
                    <a:pos x="64" y="34"/>
                  </a:cxn>
                  <a:cxn ang="0">
                    <a:pos x="52" y="50"/>
                  </a:cxn>
                  <a:cxn ang="0">
                    <a:pos x="44" y="48"/>
                  </a:cxn>
                  <a:cxn ang="0">
                    <a:pos x="40" y="52"/>
                  </a:cxn>
                  <a:cxn ang="0">
                    <a:pos x="40" y="52"/>
                  </a:cxn>
                  <a:cxn ang="0">
                    <a:pos x="28" y="54"/>
                  </a:cxn>
                  <a:cxn ang="0">
                    <a:pos x="24" y="64"/>
                  </a:cxn>
                  <a:cxn ang="0">
                    <a:pos x="26" y="66"/>
                  </a:cxn>
                  <a:cxn ang="0">
                    <a:pos x="26" y="66"/>
                  </a:cxn>
                  <a:cxn ang="0">
                    <a:pos x="16" y="66"/>
                  </a:cxn>
                  <a:cxn ang="0">
                    <a:pos x="8" y="66"/>
                  </a:cxn>
                  <a:cxn ang="0">
                    <a:pos x="6" y="70"/>
                  </a:cxn>
                  <a:cxn ang="0">
                    <a:pos x="0" y="70"/>
                  </a:cxn>
                  <a:cxn ang="0">
                    <a:pos x="0" y="70"/>
                  </a:cxn>
                  <a:cxn ang="0">
                    <a:pos x="2" y="52"/>
                  </a:cxn>
                  <a:cxn ang="0">
                    <a:pos x="4" y="44"/>
                  </a:cxn>
                  <a:cxn ang="0">
                    <a:pos x="10" y="38"/>
                  </a:cxn>
                  <a:cxn ang="0">
                    <a:pos x="10" y="38"/>
                  </a:cxn>
                </a:cxnLst>
                <a:rect l="0" t="0" r="r" b="b"/>
                <a:pathLst>
                  <a:path w="64" h="70">
                    <a:moveTo>
                      <a:pt x="10" y="38"/>
                    </a:moveTo>
                    <a:lnTo>
                      <a:pt x="10" y="40"/>
                    </a:lnTo>
                    <a:lnTo>
                      <a:pt x="12" y="40"/>
                    </a:lnTo>
                    <a:lnTo>
                      <a:pt x="20" y="32"/>
                    </a:lnTo>
                    <a:lnTo>
                      <a:pt x="22" y="24"/>
                    </a:lnTo>
                    <a:lnTo>
                      <a:pt x="20" y="24"/>
                    </a:lnTo>
                    <a:lnTo>
                      <a:pt x="14" y="18"/>
                    </a:lnTo>
                    <a:lnTo>
                      <a:pt x="16" y="6"/>
                    </a:lnTo>
                    <a:lnTo>
                      <a:pt x="16" y="6"/>
                    </a:lnTo>
                    <a:lnTo>
                      <a:pt x="28" y="6"/>
                    </a:lnTo>
                    <a:lnTo>
                      <a:pt x="28" y="6"/>
                    </a:lnTo>
                    <a:lnTo>
                      <a:pt x="28" y="6"/>
                    </a:lnTo>
                    <a:lnTo>
                      <a:pt x="40" y="6"/>
                    </a:lnTo>
                    <a:lnTo>
                      <a:pt x="48" y="4"/>
                    </a:lnTo>
                    <a:lnTo>
                      <a:pt x="52" y="0"/>
                    </a:lnTo>
                    <a:lnTo>
                      <a:pt x="56" y="2"/>
                    </a:lnTo>
                    <a:lnTo>
                      <a:pt x="58" y="14"/>
                    </a:lnTo>
                    <a:lnTo>
                      <a:pt x="64" y="18"/>
                    </a:lnTo>
                    <a:lnTo>
                      <a:pt x="64" y="34"/>
                    </a:lnTo>
                    <a:lnTo>
                      <a:pt x="64" y="34"/>
                    </a:lnTo>
                    <a:lnTo>
                      <a:pt x="52" y="50"/>
                    </a:lnTo>
                    <a:lnTo>
                      <a:pt x="44" y="48"/>
                    </a:lnTo>
                    <a:lnTo>
                      <a:pt x="40" y="52"/>
                    </a:lnTo>
                    <a:lnTo>
                      <a:pt x="40" y="52"/>
                    </a:lnTo>
                    <a:lnTo>
                      <a:pt x="28" y="54"/>
                    </a:lnTo>
                    <a:lnTo>
                      <a:pt x="24" y="64"/>
                    </a:lnTo>
                    <a:lnTo>
                      <a:pt x="26" y="66"/>
                    </a:lnTo>
                    <a:lnTo>
                      <a:pt x="26" y="66"/>
                    </a:lnTo>
                    <a:lnTo>
                      <a:pt x="16" y="66"/>
                    </a:lnTo>
                    <a:lnTo>
                      <a:pt x="8" y="66"/>
                    </a:lnTo>
                    <a:lnTo>
                      <a:pt x="6" y="70"/>
                    </a:lnTo>
                    <a:lnTo>
                      <a:pt x="0" y="70"/>
                    </a:lnTo>
                    <a:lnTo>
                      <a:pt x="0" y="70"/>
                    </a:lnTo>
                    <a:lnTo>
                      <a:pt x="2" y="52"/>
                    </a:lnTo>
                    <a:lnTo>
                      <a:pt x="4" y="44"/>
                    </a:lnTo>
                    <a:lnTo>
                      <a:pt x="10" y="38"/>
                    </a:lnTo>
                    <a:lnTo>
                      <a:pt x="10" y="38"/>
                    </a:lnTo>
                    <a:close/>
                  </a:path>
                </a:pathLst>
              </a:custGeom>
              <a:solidFill>
                <a:schemeClr val="accent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8" name="Freeform 1637">
                <a:extLst>
                  <a:ext uri="{FF2B5EF4-FFF2-40B4-BE49-F238E27FC236}">
                    <a16:creationId xmlns:a16="http://schemas.microsoft.com/office/drawing/2014/main" id="{A5BDE2B4-CB3F-40D7-ABE7-BEAB28CC243A}"/>
                  </a:ext>
                </a:extLst>
              </p:cNvPr>
              <p:cNvSpPr>
                <a:spLocks/>
              </p:cNvSpPr>
              <p:nvPr/>
            </p:nvSpPr>
            <p:spPr bwMode="auto">
              <a:xfrm>
                <a:off x="3241" y="2624"/>
                <a:ext cx="200" cy="256"/>
              </a:xfrm>
              <a:custGeom>
                <a:avLst/>
                <a:gdLst/>
                <a:ahLst/>
                <a:cxnLst>
                  <a:cxn ang="0">
                    <a:pos x="14" y="100"/>
                  </a:cxn>
                  <a:cxn ang="0">
                    <a:pos x="6" y="138"/>
                  </a:cxn>
                  <a:cxn ang="0">
                    <a:pos x="8" y="148"/>
                  </a:cxn>
                  <a:cxn ang="0">
                    <a:pos x="10" y="162"/>
                  </a:cxn>
                  <a:cxn ang="0">
                    <a:pos x="20" y="188"/>
                  </a:cxn>
                  <a:cxn ang="0">
                    <a:pos x="44" y="208"/>
                  </a:cxn>
                  <a:cxn ang="0">
                    <a:pos x="66" y="230"/>
                  </a:cxn>
                  <a:cxn ang="0">
                    <a:pos x="70" y="238"/>
                  </a:cxn>
                  <a:cxn ang="0">
                    <a:pos x="80" y="248"/>
                  </a:cxn>
                  <a:cxn ang="0">
                    <a:pos x="92" y="246"/>
                  </a:cxn>
                  <a:cxn ang="0">
                    <a:pos x="108" y="256"/>
                  </a:cxn>
                  <a:cxn ang="0">
                    <a:pos x="110" y="256"/>
                  </a:cxn>
                  <a:cxn ang="0">
                    <a:pos x="122" y="256"/>
                  </a:cxn>
                  <a:cxn ang="0">
                    <a:pos x="132" y="256"/>
                  </a:cxn>
                  <a:cxn ang="0">
                    <a:pos x="146" y="250"/>
                  </a:cxn>
                  <a:cxn ang="0">
                    <a:pos x="168" y="244"/>
                  </a:cxn>
                  <a:cxn ang="0">
                    <a:pos x="160" y="232"/>
                  </a:cxn>
                  <a:cxn ang="0">
                    <a:pos x="152" y="220"/>
                  </a:cxn>
                  <a:cxn ang="0">
                    <a:pos x="134" y="202"/>
                  </a:cxn>
                  <a:cxn ang="0">
                    <a:pos x="136" y="196"/>
                  </a:cxn>
                  <a:cxn ang="0">
                    <a:pos x="148" y="192"/>
                  </a:cxn>
                  <a:cxn ang="0">
                    <a:pos x="150" y="168"/>
                  </a:cxn>
                  <a:cxn ang="0">
                    <a:pos x="156" y="162"/>
                  </a:cxn>
                  <a:cxn ang="0">
                    <a:pos x="176" y="122"/>
                  </a:cxn>
                  <a:cxn ang="0">
                    <a:pos x="176" y="110"/>
                  </a:cxn>
                  <a:cxn ang="0">
                    <a:pos x="182" y="82"/>
                  </a:cxn>
                  <a:cxn ang="0">
                    <a:pos x="200" y="68"/>
                  </a:cxn>
                  <a:cxn ang="0">
                    <a:pos x="196" y="66"/>
                  </a:cxn>
                  <a:cxn ang="0">
                    <a:pos x="188" y="60"/>
                  </a:cxn>
                  <a:cxn ang="0">
                    <a:pos x="184" y="36"/>
                  </a:cxn>
                  <a:cxn ang="0">
                    <a:pos x="182" y="20"/>
                  </a:cxn>
                  <a:cxn ang="0">
                    <a:pos x="180" y="16"/>
                  </a:cxn>
                  <a:cxn ang="0">
                    <a:pos x="168" y="4"/>
                  </a:cxn>
                  <a:cxn ang="0">
                    <a:pos x="160" y="4"/>
                  </a:cxn>
                  <a:cxn ang="0">
                    <a:pos x="148" y="12"/>
                  </a:cxn>
                  <a:cxn ang="0">
                    <a:pos x="140" y="18"/>
                  </a:cxn>
                  <a:cxn ang="0">
                    <a:pos x="116" y="16"/>
                  </a:cxn>
                  <a:cxn ang="0">
                    <a:pos x="114" y="12"/>
                  </a:cxn>
                  <a:cxn ang="0">
                    <a:pos x="38" y="16"/>
                  </a:cxn>
                  <a:cxn ang="0">
                    <a:pos x="26" y="42"/>
                  </a:cxn>
                </a:cxnLst>
                <a:rect l="0" t="0" r="r" b="b"/>
                <a:pathLst>
                  <a:path w="200" h="256">
                    <a:moveTo>
                      <a:pt x="26" y="100"/>
                    </a:moveTo>
                    <a:lnTo>
                      <a:pt x="14" y="100"/>
                    </a:lnTo>
                    <a:lnTo>
                      <a:pt x="0" y="140"/>
                    </a:lnTo>
                    <a:lnTo>
                      <a:pt x="6" y="138"/>
                    </a:lnTo>
                    <a:lnTo>
                      <a:pt x="6" y="138"/>
                    </a:lnTo>
                    <a:lnTo>
                      <a:pt x="8" y="148"/>
                    </a:lnTo>
                    <a:lnTo>
                      <a:pt x="12" y="158"/>
                    </a:lnTo>
                    <a:lnTo>
                      <a:pt x="10" y="162"/>
                    </a:lnTo>
                    <a:lnTo>
                      <a:pt x="22" y="178"/>
                    </a:lnTo>
                    <a:lnTo>
                      <a:pt x="20" y="188"/>
                    </a:lnTo>
                    <a:lnTo>
                      <a:pt x="20" y="188"/>
                    </a:lnTo>
                    <a:lnTo>
                      <a:pt x="44" y="208"/>
                    </a:lnTo>
                    <a:lnTo>
                      <a:pt x="56" y="218"/>
                    </a:lnTo>
                    <a:lnTo>
                      <a:pt x="66" y="230"/>
                    </a:lnTo>
                    <a:lnTo>
                      <a:pt x="66" y="230"/>
                    </a:lnTo>
                    <a:lnTo>
                      <a:pt x="70" y="238"/>
                    </a:lnTo>
                    <a:lnTo>
                      <a:pt x="76" y="246"/>
                    </a:lnTo>
                    <a:lnTo>
                      <a:pt x="80" y="248"/>
                    </a:lnTo>
                    <a:lnTo>
                      <a:pt x="84" y="246"/>
                    </a:lnTo>
                    <a:lnTo>
                      <a:pt x="92" y="246"/>
                    </a:lnTo>
                    <a:lnTo>
                      <a:pt x="94" y="244"/>
                    </a:lnTo>
                    <a:lnTo>
                      <a:pt x="108" y="256"/>
                    </a:lnTo>
                    <a:lnTo>
                      <a:pt x="110" y="256"/>
                    </a:lnTo>
                    <a:lnTo>
                      <a:pt x="110" y="256"/>
                    </a:lnTo>
                    <a:lnTo>
                      <a:pt x="122" y="256"/>
                    </a:lnTo>
                    <a:lnTo>
                      <a:pt x="122" y="256"/>
                    </a:lnTo>
                    <a:lnTo>
                      <a:pt x="122" y="256"/>
                    </a:lnTo>
                    <a:lnTo>
                      <a:pt x="132" y="256"/>
                    </a:lnTo>
                    <a:lnTo>
                      <a:pt x="138" y="254"/>
                    </a:lnTo>
                    <a:lnTo>
                      <a:pt x="146" y="250"/>
                    </a:lnTo>
                    <a:lnTo>
                      <a:pt x="152" y="244"/>
                    </a:lnTo>
                    <a:lnTo>
                      <a:pt x="168" y="244"/>
                    </a:lnTo>
                    <a:lnTo>
                      <a:pt x="168" y="234"/>
                    </a:lnTo>
                    <a:lnTo>
                      <a:pt x="160" y="232"/>
                    </a:lnTo>
                    <a:lnTo>
                      <a:pt x="160" y="232"/>
                    </a:lnTo>
                    <a:lnTo>
                      <a:pt x="152" y="220"/>
                    </a:lnTo>
                    <a:lnTo>
                      <a:pt x="144" y="206"/>
                    </a:lnTo>
                    <a:lnTo>
                      <a:pt x="134" y="202"/>
                    </a:lnTo>
                    <a:lnTo>
                      <a:pt x="136" y="200"/>
                    </a:lnTo>
                    <a:lnTo>
                      <a:pt x="136" y="196"/>
                    </a:lnTo>
                    <a:lnTo>
                      <a:pt x="144" y="196"/>
                    </a:lnTo>
                    <a:lnTo>
                      <a:pt x="148" y="192"/>
                    </a:lnTo>
                    <a:lnTo>
                      <a:pt x="150" y="168"/>
                    </a:lnTo>
                    <a:lnTo>
                      <a:pt x="150" y="168"/>
                    </a:lnTo>
                    <a:lnTo>
                      <a:pt x="152" y="166"/>
                    </a:lnTo>
                    <a:lnTo>
                      <a:pt x="156" y="162"/>
                    </a:lnTo>
                    <a:lnTo>
                      <a:pt x="164" y="148"/>
                    </a:lnTo>
                    <a:lnTo>
                      <a:pt x="176" y="122"/>
                    </a:lnTo>
                    <a:lnTo>
                      <a:pt x="176" y="122"/>
                    </a:lnTo>
                    <a:lnTo>
                      <a:pt x="176" y="110"/>
                    </a:lnTo>
                    <a:lnTo>
                      <a:pt x="176" y="110"/>
                    </a:lnTo>
                    <a:lnTo>
                      <a:pt x="182" y="82"/>
                    </a:lnTo>
                    <a:lnTo>
                      <a:pt x="198" y="74"/>
                    </a:lnTo>
                    <a:lnTo>
                      <a:pt x="200" y="68"/>
                    </a:lnTo>
                    <a:lnTo>
                      <a:pt x="198" y="66"/>
                    </a:lnTo>
                    <a:lnTo>
                      <a:pt x="196" y="66"/>
                    </a:lnTo>
                    <a:lnTo>
                      <a:pt x="188" y="60"/>
                    </a:lnTo>
                    <a:lnTo>
                      <a:pt x="188" y="60"/>
                    </a:lnTo>
                    <a:lnTo>
                      <a:pt x="186" y="48"/>
                    </a:lnTo>
                    <a:lnTo>
                      <a:pt x="184" y="36"/>
                    </a:lnTo>
                    <a:lnTo>
                      <a:pt x="184" y="24"/>
                    </a:lnTo>
                    <a:lnTo>
                      <a:pt x="182" y="20"/>
                    </a:lnTo>
                    <a:lnTo>
                      <a:pt x="180" y="16"/>
                    </a:lnTo>
                    <a:lnTo>
                      <a:pt x="180" y="16"/>
                    </a:lnTo>
                    <a:lnTo>
                      <a:pt x="172" y="8"/>
                    </a:lnTo>
                    <a:lnTo>
                      <a:pt x="168" y="4"/>
                    </a:lnTo>
                    <a:lnTo>
                      <a:pt x="164" y="0"/>
                    </a:lnTo>
                    <a:lnTo>
                      <a:pt x="160" y="4"/>
                    </a:lnTo>
                    <a:lnTo>
                      <a:pt x="156" y="4"/>
                    </a:lnTo>
                    <a:lnTo>
                      <a:pt x="148" y="12"/>
                    </a:lnTo>
                    <a:lnTo>
                      <a:pt x="146" y="18"/>
                    </a:lnTo>
                    <a:lnTo>
                      <a:pt x="140" y="18"/>
                    </a:lnTo>
                    <a:lnTo>
                      <a:pt x="136" y="16"/>
                    </a:lnTo>
                    <a:lnTo>
                      <a:pt x="116" y="16"/>
                    </a:lnTo>
                    <a:lnTo>
                      <a:pt x="116" y="12"/>
                    </a:lnTo>
                    <a:lnTo>
                      <a:pt x="114" y="12"/>
                    </a:lnTo>
                    <a:lnTo>
                      <a:pt x="112" y="16"/>
                    </a:lnTo>
                    <a:lnTo>
                      <a:pt x="38" y="16"/>
                    </a:lnTo>
                    <a:lnTo>
                      <a:pt x="38" y="42"/>
                    </a:lnTo>
                    <a:lnTo>
                      <a:pt x="26" y="42"/>
                    </a:lnTo>
                    <a:lnTo>
                      <a:pt x="26" y="10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29" name="Freeform 1638">
                <a:extLst>
                  <a:ext uri="{FF2B5EF4-FFF2-40B4-BE49-F238E27FC236}">
                    <a16:creationId xmlns:a16="http://schemas.microsoft.com/office/drawing/2014/main" id="{62230794-647A-4F43-97D4-93BD7BAB55B2}"/>
                  </a:ext>
                </a:extLst>
              </p:cNvPr>
              <p:cNvSpPr>
                <a:spLocks/>
              </p:cNvSpPr>
              <p:nvPr/>
            </p:nvSpPr>
            <p:spPr bwMode="auto">
              <a:xfrm>
                <a:off x="3471" y="2774"/>
                <a:ext cx="122" cy="174"/>
              </a:xfrm>
              <a:custGeom>
                <a:avLst/>
                <a:gdLst/>
                <a:ahLst/>
                <a:cxnLst>
                  <a:cxn ang="0">
                    <a:pos x="48" y="90"/>
                  </a:cxn>
                  <a:cxn ang="0">
                    <a:pos x="30" y="92"/>
                  </a:cxn>
                  <a:cxn ang="0">
                    <a:pos x="16" y="100"/>
                  </a:cxn>
                  <a:cxn ang="0">
                    <a:pos x="12" y="102"/>
                  </a:cxn>
                  <a:cxn ang="0">
                    <a:pos x="4" y="112"/>
                  </a:cxn>
                  <a:cxn ang="0">
                    <a:pos x="0" y="164"/>
                  </a:cxn>
                  <a:cxn ang="0">
                    <a:pos x="6" y="174"/>
                  </a:cxn>
                  <a:cxn ang="0">
                    <a:pos x="18" y="160"/>
                  </a:cxn>
                  <a:cxn ang="0">
                    <a:pos x="22" y="154"/>
                  </a:cxn>
                  <a:cxn ang="0">
                    <a:pos x="34" y="142"/>
                  </a:cxn>
                  <a:cxn ang="0">
                    <a:pos x="48" y="130"/>
                  </a:cxn>
                  <a:cxn ang="0">
                    <a:pos x="58" y="124"/>
                  </a:cxn>
                  <a:cxn ang="0">
                    <a:pos x="70" y="112"/>
                  </a:cxn>
                  <a:cxn ang="0">
                    <a:pos x="100" y="68"/>
                  </a:cxn>
                  <a:cxn ang="0">
                    <a:pos x="106" y="52"/>
                  </a:cxn>
                  <a:cxn ang="0">
                    <a:pos x="110" y="46"/>
                  </a:cxn>
                  <a:cxn ang="0">
                    <a:pos x="118" y="30"/>
                  </a:cxn>
                  <a:cxn ang="0">
                    <a:pos x="122" y="22"/>
                  </a:cxn>
                  <a:cxn ang="0">
                    <a:pos x="120" y="20"/>
                  </a:cxn>
                  <a:cxn ang="0">
                    <a:pos x="120" y="18"/>
                  </a:cxn>
                  <a:cxn ang="0">
                    <a:pos x="120" y="8"/>
                  </a:cxn>
                  <a:cxn ang="0">
                    <a:pos x="116" y="0"/>
                  </a:cxn>
                  <a:cxn ang="0">
                    <a:pos x="110" y="4"/>
                  </a:cxn>
                  <a:cxn ang="0">
                    <a:pos x="96" y="8"/>
                  </a:cxn>
                  <a:cxn ang="0">
                    <a:pos x="90" y="8"/>
                  </a:cxn>
                  <a:cxn ang="0">
                    <a:pos x="80" y="10"/>
                  </a:cxn>
                  <a:cxn ang="0">
                    <a:pos x="66" y="16"/>
                  </a:cxn>
                  <a:cxn ang="0">
                    <a:pos x="56" y="14"/>
                  </a:cxn>
                  <a:cxn ang="0">
                    <a:pos x="44" y="20"/>
                  </a:cxn>
                  <a:cxn ang="0">
                    <a:pos x="40" y="20"/>
                  </a:cxn>
                  <a:cxn ang="0">
                    <a:pos x="34" y="14"/>
                  </a:cxn>
                  <a:cxn ang="0">
                    <a:pos x="26" y="6"/>
                  </a:cxn>
                  <a:cxn ang="0">
                    <a:pos x="22" y="16"/>
                  </a:cxn>
                  <a:cxn ang="0">
                    <a:pos x="28" y="30"/>
                  </a:cxn>
                  <a:cxn ang="0">
                    <a:pos x="48" y="42"/>
                  </a:cxn>
                  <a:cxn ang="0">
                    <a:pos x="78" y="50"/>
                  </a:cxn>
                  <a:cxn ang="0">
                    <a:pos x="84" y="50"/>
                  </a:cxn>
                  <a:cxn ang="0">
                    <a:pos x="48" y="90"/>
                  </a:cxn>
                </a:cxnLst>
                <a:rect l="0" t="0" r="r" b="b"/>
                <a:pathLst>
                  <a:path w="122" h="174">
                    <a:moveTo>
                      <a:pt x="48" y="90"/>
                    </a:moveTo>
                    <a:lnTo>
                      <a:pt x="48" y="90"/>
                    </a:lnTo>
                    <a:lnTo>
                      <a:pt x="38" y="90"/>
                    </a:lnTo>
                    <a:lnTo>
                      <a:pt x="30" y="92"/>
                    </a:lnTo>
                    <a:lnTo>
                      <a:pt x="24" y="96"/>
                    </a:lnTo>
                    <a:lnTo>
                      <a:pt x="16" y="100"/>
                    </a:lnTo>
                    <a:lnTo>
                      <a:pt x="16" y="100"/>
                    </a:lnTo>
                    <a:lnTo>
                      <a:pt x="12" y="102"/>
                    </a:lnTo>
                    <a:lnTo>
                      <a:pt x="8" y="108"/>
                    </a:lnTo>
                    <a:lnTo>
                      <a:pt x="4" y="112"/>
                    </a:lnTo>
                    <a:lnTo>
                      <a:pt x="0" y="118"/>
                    </a:lnTo>
                    <a:lnTo>
                      <a:pt x="0" y="164"/>
                    </a:lnTo>
                    <a:lnTo>
                      <a:pt x="6" y="174"/>
                    </a:lnTo>
                    <a:lnTo>
                      <a:pt x="6" y="174"/>
                    </a:lnTo>
                    <a:lnTo>
                      <a:pt x="14" y="166"/>
                    </a:lnTo>
                    <a:lnTo>
                      <a:pt x="18" y="160"/>
                    </a:lnTo>
                    <a:lnTo>
                      <a:pt x="20" y="156"/>
                    </a:lnTo>
                    <a:lnTo>
                      <a:pt x="22" y="154"/>
                    </a:lnTo>
                    <a:lnTo>
                      <a:pt x="22" y="154"/>
                    </a:lnTo>
                    <a:lnTo>
                      <a:pt x="34" y="142"/>
                    </a:lnTo>
                    <a:lnTo>
                      <a:pt x="48" y="130"/>
                    </a:lnTo>
                    <a:lnTo>
                      <a:pt x="48" y="130"/>
                    </a:lnTo>
                    <a:lnTo>
                      <a:pt x="52" y="128"/>
                    </a:lnTo>
                    <a:lnTo>
                      <a:pt x="58" y="124"/>
                    </a:lnTo>
                    <a:lnTo>
                      <a:pt x="58" y="124"/>
                    </a:lnTo>
                    <a:lnTo>
                      <a:pt x="70" y="112"/>
                    </a:lnTo>
                    <a:lnTo>
                      <a:pt x="86" y="90"/>
                    </a:lnTo>
                    <a:lnTo>
                      <a:pt x="100" y="68"/>
                    </a:lnTo>
                    <a:lnTo>
                      <a:pt x="104" y="58"/>
                    </a:lnTo>
                    <a:lnTo>
                      <a:pt x="106" y="52"/>
                    </a:lnTo>
                    <a:lnTo>
                      <a:pt x="106" y="52"/>
                    </a:lnTo>
                    <a:lnTo>
                      <a:pt x="110" y="46"/>
                    </a:lnTo>
                    <a:lnTo>
                      <a:pt x="114" y="38"/>
                    </a:lnTo>
                    <a:lnTo>
                      <a:pt x="118" y="30"/>
                    </a:lnTo>
                    <a:lnTo>
                      <a:pt x="118" y="22"/>
                    </a:lnTo>
                    <a:lnTo>
                      <a:pt x="122" y="22"/>
                    </a:lnTo>
                    <a:lnTo>
                      <a:pt x="122" y="20"/>
                    </a:lnTo>
                    <a:lnTo>
                      <a:pt x="120" y="20"/>
                    </a:lnTo>
                    <a:lnTo>
                      <a:pt x="120" y="18"/>
                    </a:lnTo>
                    <a:lnTo>
                      <a:pt x="120" y="18"/>
                    </a:lnTo>
                    <a:lnTo>
                      <a:pt x="122" y="12"/>
                    </a:lnTo>
                    <a:lnTo>
                      <a:pt x="120" y="8"/>
                    </a:lnTo>
                    <a:lnTo>
                      <a:pt x="122" y="2"/>
                    </a:lnTo>
                    <a:lnTo>
                      <a:pt x="116" y="0"/>
                    </a:lnTo>
                    <a:lnTo>
                      <a:pt x="116" y="0"/>
                    </a:lnTo>
                    <a:lnTo>
                      <a:pt x="110" y="4"/>
                    </a:lnTo>
                    <a:lnTo>
                      <a:pt x="104" y="6"/>
                    </a:lnTo>
                    <a:lnTo>
                      <a:pt x="96" y="8"/>
                    </a:lnTo>
                    <a:lnTo>
                      <a:pt x="90" y="8"/>
                    </a:lnTo>
                    <a:lnTo>
                      <a:pt x="90" y="8"/>
                    </a:lnTo>
                    <a:lnTo>
                      <a:pt x="86" y="10"/>
                    </a:lnTo>
                    <a:lnTo>
                      <a:pt x="80" y="10"/>
                    </a:lnTo>
                    <a:lnTo>
                      <a:pt x="72" y="12"/>
                    </a:lnTo>
                    <a:lnTo>
                      <a:pt x="66" y="16"/>
                    </a:lnTo>
                    <a:lnTo>
                      <a:pt x="56" y="14"/>
                    </a:lnTo>
                    <a:lnTo>
                      <a:pt x="56" y="14"/>
                    </a:lnTo>
                    <a:lnTo>
                      <a:pt x="50" y="18"/>
                    </a:lnTo>
                    <a:lnTo>
                      <a:pt x="44" y="20"/>
                    </a:lnTo>
                    <a:lnTo>
                      <a:pt x="40" y="20"/>
                    </a:lnTo>
                    <a:lnTo>
                      <a:pt x="40" y="20"/>
                    </a:lnTo>
                    <a:lnTo>
                      <a:pt x="38" y="18"/>
                    </a:lnTo>
                    <a:lnTo>
                      <a:pt x="34" y="14"/>
                    </a:lnTo>
                    <a:lnTo>
                      <a:pt x="26" y="6"/>
                    </a:lnTo>
                    <a:lnTo>
                      <a:pt x="26" y="6"/>
                    </a:lnTo>
                    <a:lnTo>
                      <a:pt x="22" y="16"/>
                    </a:lnTo>
                    <a:lnTo>
                      <a:pt x="22" y="16"/>
                    </a:lnTo>
                    <a:lnTo>
                      <a:pt x="24" y="22"/>
                    </a:lnTo>
                    <a:lnTo>
                      <a:pt x="28" y="30"/>
                    </a:lnTo>
                    <a:lnTo>
                      <a:pt x="38" y="36"/>
                    </a:lnTo>
                    <a:lnTo>
                      <a:pt x="48" y="42"/>
                    </a:lnTo>
                    <a:lnTo>
                      <a:pt x="68" y="48"/>
                    </a:lnTo>
                    <a:lnTo>
                      <a:pt x="78" y="50"/>
                    </a:lnTo>
                    <a:lnTo>
                      <a:pt x="84" y="50"/>
                    </a:lnTo>
                    <a:lnTo>
                      <a:pt x="84" y="50"/>
                    </a:lnTo>
                    <a:lnTo>
                      <a:pt x="68" y="70"/>
                    </a:lnTo>
                    <a:lnTo>
                      <a:pt x="48" y="90"/>
                    </a:lnTo>
                    <a:lnTo>
                      <a:pt x="48" y="9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0" name="Freeform 1639">
                <a:extLst>
                  <a:ext uri="{FF2B5EF4-FFF2-40B4-BE49-F238E27FC236}">
                    <a16:creationId xmlns:a16="http://schemas.microsoft.com/office/drawing/2014/main" id="{8B876D74-D539-4BFA-83BB-DD7A43C9A91E}"/>
                  </a:ext>
                </a:extLst>
              </p:cNvPr>
              <p:cNvSpPr>
                <a:spLocks/>
              </p:cNvSpPr>
              <p:nvPr/>
            </p:nvSpPr>
            <p:spPr bwMode="auto">
              <a:xfrm>
                <a:off x="3375" y="2736"/>
                <a:ext cx="180" cy="146"/>
              </a:xfrm>
              <a:custGeom>
                <a:avLst/>
                <a:gdLst/>
                <a:ahLst/>
                <a:cxnLst>
                  <a:cxn ang="0">
                    <a:pos x="144" y="128"/>
                  </a:cxn>
                  <a:cxn ang="0">
                    <a:pos x="124" y="130"/>
                  </a:cxn>
                  <a:cxn ang="0">
                    <a:pos x="106" y="140"/>
                  </a:cxn>
                  <a:cxn ang="0">
                    <a:pos x="100" y="140"/>
                  </a:cxn>
                  <a:cxn ang="0">
                    <a:pos x="84" y="140"/>
                  </a:cxn>
                  <a:cxn ang="0">
                    <a:pos x="80" y="144"/>
                  </a:cxn>
                  <a:cxn ang="0">
                    <a:pos x="68" y="146"/>
                  </a:cxn>
                  <a:cxn ang="0">
                    <a:pos x="46" y="134"/>
                  </a:cxn>
                  <a:cxn ang="0">
                    <a:pos x="34" y="132"/>
                  </a:cxn>
                  <a:cxn ang="0">
                    <a:pos x="26" y="120"/>
                  </a:cxn>
                  <a:cxn ang="0">
                    <a:pos x="18" y="108"/>
                  </a:cxn>
                  <a:cxn ang="0">
                    <a:pos x="0" y="90"/>
                  </a:cxn>
                  <a:cxn ang="0">
                    <a:pos x="2" y="84"/>
                  </a:cxn>
                  <a:cxn ang="0">
                    <a:pos x="14" y="80"/>
                  </a:cxn>
                  <a:cxn ang="0">
                    <a:pos x="16" y="56"/>
                  </a:cxn>
                  <a:cxn ang="0">
                    <a:pos x="32" y="32"/>
                  </a:cxn>
                  <a:cxn ang="0">
                    <a:pos x="42" y="8"/>
                  </a:cxn>
                  <a:cxn ang="0">
                    <a:pos x="54" y="10"/>
                  </a:cxn>
                  <a:cxn ang="0">
                    <a:pos x="58" y="0"/>
                  </a:cxn>
                  <a:cxn ang="0">
                    <a:pos x="80" y="6"/>
                  </a:cxn>
                  <a:cxn ang="0">
                    <a:pos x="86" y="6"/>
                  </a:cxn>
                  <a:cxn ang="0">
                    <a:pos x="100" y="18"/>
                  </a:cxn>
                  <a:cxn ang="0">
                    <a:pos x="112" y="32"/>
                  </a:cxn>
                  <a:cxn ang="0">
                    <a:pos x="110" y="34"/>
                  </a:cxn>
                  <a:cxn ang="0">
                    <a:pos x="106" y="46"/>
                  </a:cxn>
                  <a:cxn ang="0">
                    <a:pos x="112" y="50"/>
                  </a:cxn>
                  <a:cxn ang="0">
                    <a:pos x="118" y="52"/>
                  </a:cxn>
                  <a:cxn ang="0">
                    <a:pos x="118" y="54"/>
                  </a:cxn>
                  <a:cxn ang="0">
                    <a:pos x="124" y="68"/>
                  </a:cxn>
                  <a:cxn ang="0">
                    <a:pos x="144" y="80"/>
                  </a:cxn>
                  <a:cxn ang="0">
                    <a:pos x="174" y="88"/>
                  </a:cxn>
                  <a:cxn ang="0">
                    <a:pos x="180" y="88"/>
                  </a:cxn>
                  <a:cxn ang="0">
                    <a:pos x="144" y="128"/>
                  </a:cxn>
                </a:cxnLst>
                <a:rect l="0" t="0" r="r" b="b"/>
                <a:pathLst>
                  <a:path w="180" h="146">
                    <a:moveTo>
                      <a:pt x="144" y="128"/>
                    </a:moveTo>
                    <a:lnTo>
                      <a:pt x="144" y="128"/>
                    </a:lnTo>
                    <a:lnTo>
                      <a:pt x="134" y="128"/>
                    </a:lnTo>
                    <a:lnTo>
                      <a:pt x="124" y="130"/>
                    </a:lnTo>
                    <a:lnTo>
                      <a:pt x="114" y="136"/>
                    </a:lnTo>
                    <a:lnTo>
                      <a:pt x="106" y="140"/>
                    </a:lnTo>
                    <a:lnTo>
                      <a:pt x="106" y="140"/>
                    </a:lnTo>
                    <a:lnTo>
                      <a:pt x="100" y="140"/>
                    </a:lnTo>
                    <a:lnTo>
                      <a:pt x="94" y="138"/>
                    </a:lnTo>
                    <a:lnTo>
                      <a:pt x="84" y="140"/>
                    </a:lnTo>
                    <a:lnTo>
                      <a:pt x="84" y="140"/>
                    </a:lnTo>
                    <a:lnTo>
                      <a:pt x="80" y="144"/>
                    </a:lnTo>
                    <a:lnTo>
                      <a:pt x="74" y="146"/>
                    </a:lnTo>
                    <a:lnTo>
                      <a:pt x="68" y="146"/>
                    </a:lnTo>
                    <a:lnTo>
                      <a:pt x="60" y="142"/>
                    </a:lnTo>
                    <a:lnTo>
                      <a:pt x="46" y="134"/>
                    </a:lnTo>
                    <a:lnTo>
                      <a:pt x="40" y="132"/>
                    </a:lnTo>
                    <a:lnTo>
                      <a:pt x="34" y="132"/>
                    </a:lnTo>
                    <a:lnTo>
                      <a:pt x="34" y="122"/>
                    </a:lnTo>
                    <a:lnTo>
                      <a:pt x="26" y="120"/>
                    </a:lnTo>
                    <a:lnTo>
                      <a:pt x="26" y="120"/>
                    </a:lnTo>
                    <a:lnTo>
                      <a:pt x="18" y="108"/>
                    </a:lnTo>
                    <a:lnTo>
                      <a:pt x="10" y="94"/>
                    </a:lnTo>
                    <a:lnTo>
                      <a:pt x="0" y="90"/>
                    </a:lnTo>
                    <a:lnTo>
                      <a:pt x="2" y="88"/>
                    </a:lnTo>
                    <a:lnTo>
                      <a:pt x="2" y="84"/>
                    </a:lnTo>
                    <a:lnTo>
                      <a:pt x="10" y="84"/>
                    </a:lnTo>
                    <a:lnTo>
                      <a:pt x="14" y="80"/>
                    </a:lnTo>
                    <a:lnTo>
                      <a:pt x="16" y="56"/>
                    </a:lnTo>
                    <a:lnTo>
                      <a:pt x="16" y="56"/>
                    </a:lnTo>
                    <a:lnTo>
                      <a:pt x="22" y="48"/>
                    </a:lnTo>
                    <a:lnTo>
                      <a:pt x="32" y="32"/>
                    </a:lnTo>
                    <a:lnTo>
                      <a:pt x="40" y="16"/>
                    </a:lnTo>
                    <a:lnTo>
                      <a:pt x="42" y="8"/>
                    </a:lnTo>
                    <a:lnTo>
                      <a:pt x="42" y="8"/>
                    </a:lnTo>
                    <a:lnTo>
                      <a:pt x="54" y="10"/>
                    </a:lnTo>
                    <a:lnTo>
                      <a:pt x="58" y="0"/>
                    </a:lnTo>
                    <a:lnTo>
                      <a:pt x="58" y="0"/>
                    </a:lnTo>
                    <a:lnTo>
                      <a:pt x="72" y="4"/>
                    </a:lnTo>
                    <a:lnTo>
                      <a:pt x="80" y="6"/>
                    </a:lnTo>
                    <a:lnTo>
                      <a:pt x="86" y="6"/>
                    </a:lnTo>
                    <a:lnTo>
                      <a:pt x="86" y="6"/>
                    </a:lnTo>
                    <a:lnTo>
                      <a:pt x="92" y="10"/>
                    </a:lnTo>
                    <a:lnTo>
                      <a:pt x="100" y="18"/>
                    </a:lnTo>
                    <a:lnTo>
                      <a:pt x="106" y="26"/>
                    </a:lnTo>
                    <a:lnTo>
                      <a:pt x="112" y="32"/>
                    </a:lnTo>
                    <a:lnTo>
                      <a:pt x="110" y="34"/>
                    </a:lnTo>
                    <a:lnTo>
                      <a:pt x="110" y="34"/>
                    </a:lnTo>
                    <a:lnTo>
                      <a:pt x="110" y="40"/>
                    </a:lnTo>
                    <a:lnTo>
                      <a:pt x="106" y="46"/>
                    </a:lnTo>
                    <a:lnTo>
                      <a:pt x="108" y="50"/>
                    </a:lnTo>
                    <a:lnTo>
                      <a:pt x="112" y="50"/>
                    </a:lnTo>
                    <a:lnTo>
                      <a:pt x="116" y="48"/>
                    </a:lnTo>
                    <a:lnTo>
                      <a:pt x="118" y="52"/>
                    </a:lnTo>
                    <a:lnTo>
                      <a:pt x="118" y="54"/>
                    </a:lnTo>
                    <a:lnTo>
                      <a:pt x="118" y="54"/>
                    </a:lnTo>
                    <a:lnTo>
                      <a:pt x="120" y="60"/>
                    </a:lnTo>
                    <a:lnTo>
                      <a:pt x="124" y="68"/>
                    </a:lnTo>
                    <a:lnTo>
                      <a:pt x="134" y="74"/>
                    </a:lnTo>
                    <a:lnTo>
                      <a:pt x="144" y="80"/>
                    </a:lnTo>
                    <a:lnTo>
                      <a:pt x="164" y="86"/>
                    </a:lnTo>
                    <a:lnTo>
                      <a:pt x="174" y="88"/>
                    </a:lnTo>
                    <a:lnTo>
                      <a:pt x="180" y="88"/>
                    </a:lnTo>
                    <a:lnTo>
                      <a:pt x="180" y="88"/>
                    </a:lnTo>
                    <a:lnTo>
                      <a:pt x="164" y="108"/>
                    </a:lnTo>
                    <a:lnTo>
                      <a:pt x="144" y="128"/>
                    </a:lnTo>
                    <a:lnTo>
                      <a:pt x="144" y="1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1" name="Freeform 1640">
                <a:extLst>
                  <a:ext uri="{FF2B5EF4-FFF2-40B4-BE49-F238E27FC236}">
                    <a16:creationId xmlns:a16="http://schemas.microsoft.com/office/drawing/2014/main" id="{D0F60CAE-B12F-4368-8762-34807BE044F7}"/>
                  </a:ext>
                </a:extLst>
              </p:cNvPr>
              <p:cNvSpPr>
                <a:spLocks/>
              </p:cNvSpPr>
              <p:nvPr/>
            </p:nvSpPr>
            <p:spPr bwMode="auto">
              <a:xfrm>
                <a:off x="3497" y="3084"/>
                <a:ext cx="84" cy="180"/>
              </a:xfrm>
              <a:custGeom>
                <a:avLst/>
                <a:gdLst/>
                <a:ahLst/>
                <a:cxnLst>
                  <a:cxn ang="0">
                    <a:pos x="14" y="54"/>
                  </a:cxn>
                  <a:cxn ang="0">
                    <a:pos x="14" y="52"/>
                  </a:cxn>
                  <a:cxn ang="0">
                    <a:pos x="32" y="46"/>
                  </a:cxn>
                  <a:cxn ang="0">
                    <a:pos x="36" y="50"/>
                  </a:cxn>
                  <a:cxn ang="0">
                    <a:pos x="40" y="50"/>
                  </a:cxn>
                  <a:cxn ang="0">
                    <a:pos x="38" y="44"/>
                  </a:cxn>
                  <a:cxn ang="0">
                    <a:pos x="44" y="44"/>
                  </a:cxn>
                  <a:cxn ang="0">
                    <a:pos x="44" y="44"/>
                  </a:cxn>
                  <a:cxn ang="0">
                    <a:pos x="44" y="38"/>
                  </a:cxn>
                  <a:cxn ang="0">
                    <a:pos x="48" y="34"/>
                  </a:cxn>
                  <a:cxn ang="0">
                    <a:pos x="50" y="36"/>
                  </a:cxn>
                  <a:cxn ang="0">
                    <a:pos x="56" y="32"/>
                  </a:cxn>
                  <a:cxn ang="0">
                    <a:pos x="52" y="28"/>
                  </a:cxn>
                  <a:cxn ang="0">
                    <a:pos x="56" y="18"/>
                  </a:cxn>
                  <a:cxn ang="0">
                    <a:pos x="58" y="20"/>
                  </a:cxn>
                  <a:cxn ang="0">
                    <a:pos x="62" y="14"/>
                  </a:cxn>
                  <a:cxn ang="0">
                    <a:pos x="66" y="14"/>
                  </a:cxn>
                  <a:cxn ang="0">
                    <a:pos x="66" y="4"/>
                  </a:cxn>
                  <a:cxn ang="0">
                    <a:pos x="70" y="0"/>
                  </a:cxn>
                  <a:cxn ang="0">
                    <a:pos x="70" y="0"/>
                  </a:cxn>
                  <a:cxn ang="0">
                    <a:pos x="72" y="2"/>
                  </a:cxn>
                  <a:cxn ang="0">
                    <a:pos x="76" y="8"/>
                  </a:cxn>
                  <a:cxn ang="0">
                    <a:pos x="82" y="24"/>
                  </a:cxn>
                  <a:cxn ang="0">
                    <a:pos x="84" y="38"/>
                  </a:cxn>
                  <a:cxn ang="0">
                    <a:pos x="84" y="44"/>
                  </a:cxn>
                  <a:cxn ang="0">
                    <a:pos x="84" y="48"/>
                  </a:cxn>
                  <a:cxn ang="0">
                    <a:pos x="82" y="48"/>
                  </a:cxn>
                  <a:cxn ang="0">
                    <a:pos x="80" y="42"/>
                  </a:cxn>
                  <a:cxn ang="0">
                    <a:pos x="78" y="42"/>
                  </a:cxn>
                  <a:cxn ang="0">
                    <a:pos x="78" y="42"/>
                  </a:cxn>
                  <a:cxn ang="0">
                    <a:pos x="76" y="50"/>
                  </a:cxn>
                  <a:cxn ang="0">
                    <a:pos x="78" y="58"/>
                  </a:cxn>
                  <a:cxn ang="0">
                    <a:pos x="78" y="58"/>
                  </a:cxn>
                  <a:cxn ang="0">
                    <a:pos x="76" y="64"/>
                  </a:cxn>
                  <a:cxn ang="0">
                    <a:pos x="72" y="76"/>
                  </a:cxn>
                  <a:cxn ang="0">
                    <a:pos x="64" y="110"/>
                  </a:cxn>
                  <a:cxn ang="0">
                    <a:pos x="56" y="146"/>
                  </a:cxn>
                  <a:cxn ang="0">
                    <a:pos x="50" y="162"/>
                  </a:cxn>
                  <a:cxn ang="0">
                    <a:pos x="46" y="172"/>
                  </a:cxn>
                  <a:cxn ang="0">
                    <a:pos x="46" y="172"/>
                  </a:cxn>
                  <a:cxn ang="0">
                    <a:pos x="34" y="176"/>
                  </a:cxn>
                  <a:cxn ang="0">
                    <a:pos x="22" y="180"/>
                  </a:cxn>
                  <a:cxn ang="0">
                    <a:pos x="10" y="172"/>
                  </a:cxn>
                  <a:cxn ang="0">
                    <a:pos x="10" y="172"/>
                  </a:cxn>
                  <a:cxn ang="0">
                    <a:pos x="6" y="162"/>
                  </a:cxn>
                  <a:cxn ang="0">
                    <a:pos x="4" y="150"/>
                  </a:cxn>
                  <a:cxn ang="0">
                    <a:pos x="0" y="130"/>
                  </a:cxn>
                  <a:cxn ang="0">
                    <a:pos x="0" y="130"/>
                  </a:cxn>
                  <a:cxn ang="0">
                    <a:pos x="8" y="114"/>
                  </a:cxn>
                  <a:cxn ang="0">
                    <a:pos x="14" y="98"/>
                  </a:cxn>
                  <a:cxn ang="0">
                    <a:pos x="14" y="98"/>
                  </a:cxn>
                  <a:cxn ang="0">
                    <a:pos x="10" y="84"/>
                  </a:cxn>
                  <a:cxn ang="0">
                    <a:pos x="8" y="70"/>
                  </a:cxn>
                  <a:cxn ang="0">
                    <a:pos x="8" y="70"/>
                  </a:cxn>
                  <a:cxn ang="0">
                    <a:pos x="12" y="62"/>
                  </a:cxn>
                  <a:cxn ang="0">
                    <a:pos x="14" y="56"/>
                  </a:cxn>
                  <a:cxn ang="0">
                    <a:pos x="14" y="54"/>
                  </a:cxn>
                  <a:cxn ang="0">
                    <a:pos x="14" y="54"/>
                  </a:cxn>
                </a:cxnLst>
                <a:rect l="0" t="0" r="r" b="b"/>
                <a:pathLst>
                  <a:path w="84" h="180">
                    <a:moveTo>
                      <a:pt x="14" y="54"/>
                    </a:moveTo>
                    <a:lnTo>
                      <a:pt x="14" y="52"/>
                    </a:lnTo>
                    <a:lnTo>
                      <a:pt x="32" y="46"/>
                    </a:lnTo>
                    <a:lnTo>
                      <a:pt x="36" y="50"/>
                    </a:lnTo>
                    <a:lnTo>
                      <a:pt x="40" y="50"/>
                    </a:lnTo>
                    <a:lnTo>
                      <a:pt x="38" y="44"/>
                    </a:lnTo>
                    <a:lnTo>
                      <a:pt x="44" y="44"/>
                    </a:lnTo>
                    <a:lnTo>
                      <a:pt x="44" y="44"/>
                    </a:lnTo>
                    <a:lnTo>
                      <a:pt x="44" y="38"/>
                    </a:lnTo>
                    <a:lnTo>
                      <a:pt x="48" y="34"/>
                    </a:lnTo>
                    <a:lnTo>
                      <a:pt x="50" y="36"/>
                    </a:lnTo>
                    <a:lnTo>
                      <a:pt x="56" y="32"/>
                    </a:lnTo>
                    <a:lnTo>
                      <a:pt x="52" y="28"/>
                    </a:lnTo>
                    <a:lnTo>
                      <a:pt x="56" y="18"/>
                    </a:lnTo>
                    <a:lnTo>
                      <a:pt x="58" y="20"/>
                    </a:lnTo>
                    <a:lnTo>
                      <a:pt x="62" y="14"/>
                    </a:lnTo>
                    <a:lnTo>
                      <a:pt x="66" y="14"/>
                    </a:lnTo>
                    <a:lnTo>
                      <a:pt x="66" y="4"/>
                    </a:lnTo>
                    <a:lnTo>
                      <a:pt x="70" y="0"/>
                    </a:lnTo>
                    <a:lnTo>
                      <a:pt x="70" y="0"/>
                    </a:lnTo>
                    <a:lnTo>
                      <a:pt x="72" y="2"/>
                    </a:lnTo>
                    <a:lnTo>
                      <a:pt x="76" y="8"/>
                    </a:lnTo>
                    <a:lnTo>
                      <a:pt x="82" y="24"/>
                    </a:lnTo>
                    <a:lnTo>
                      <a:pt x="84" y="38"/>
                    </a:lnTo>
                    <a:lnTo>
                      <a:pt x="84" y="44"/>
                    </a:lnTo>
                    <a:lnTo>
                      <a:pt x="84" y="48"/>
                    </a:lnTo>
                    <a:lnTo>
                      <a:pt x="82" y="48"/>
                    </a:lnTo>
                    <a:lnTo>
                      <a:pt x="80" y="42"/>
                    </a:lnTo>
                    <a:lnTo>
                      <a:pt x="78" y="42"/>
                    </a:lnTo>
                    <a:lnTo>
                      <a:pt x="78" y="42"/>
                    </a:lnTo>
                    <a:lnTo>
                      <a:pt x="76" y="50"/>
                    </a:lnTo>
                    <a:lnTo>
                      <a:pt x="78" y="58"/>
                    </a:lnTo>
                    <a:lnTo>
                      <a:pt x="78" y="58"/>
                    </a:lnTo>
                    <a:lnTo>
                      <a:pt x="76" y="64"/>
                    </a:lnTo>
                    <a:lnTo>
                      <a:pt x="72" y="76"/>
                    </a:lnTo>
                    <a:lnTo>
                      <a:pt x="64" y="110"/>
                    </a:lnTo>
                    <a:lnTo>
                      <a:pt x="56" y="146"/>
                    </a:lnTo>
                    <a:lnTo>
                      <a:pt x="50" y="162"/>
                    </a:lnTo>
                    <a:lnTo>
                      <a:pt x="46" y="172"/>
                    </a:lnTo>
                    <a:lnTo>
                      <a:pt x="46" y="172"/>
                    </a:lnTo>
                    <a:lnTo>
                      <a:pt x="34" y="176"/>
                    </a:lnTo>
                    <a:lnTo>
                      <a:pt x="22" y="180"/>
                    </a:lnTo>
                    <a:lnTo>
                      <a:pt x="10" y="172"/>
                    </a:lnTo>
                    <a:lnTo>
                      <a:pt x="10" y="172"/>
                    </a:lnTo>
                    <a:lnTo>
                      <a:pt x="6" y="162"/>
                    </a:lnTo>
                    <a:lnTo>
                      <a:pt x="4" y="150"/>
                    </a:lnTo>
                    <a:lnTo>
                      <a:pt x="0" y="130"/>
                    </a:lnTo>
                    <a:lnTo>
                      <a:pt x="0" y="130"/>
                    </a:lnTo>
                    <a:lnTo>
                      <a:pt x="8" y="114"/>
                    </a:lnTo>
                    <a:lnTo>
                      <a:pt x="14" y="98"/>
                    </a:lnTo>
                    <a:lnTo>
                      <a:pt x="14" y="98"/>
                    </a:lnTo>
                    <a:lnTo>
                      <a:pt x="10" y="84"/>
                    </a:lnTo>
                    <a:lnTo>
                      <a:pt x="8" y="70"/>
                    </a:lnTo>
                    <a:lnTo>
                      <a:pt x="8" y="70"/>
                    </a:lnTo>
                    <a:lnTo>
                      <a:pt x="12" y="62"/>
                    </a:lnTo>
                    <a:lnTo>
                      <a:pt x="14" y="56"/>
                    </a:lnTo>
                    <a:lnTo>
                      <a:pt x="14" y="54"/>
                    </a:lnTo>
                    <a:lnTo>
                      <a:pt x="14" y="5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2" name="Freeform 1641">
                <a:extLst>
                  <a:ext uri="{FF2B5EF4-FFF2-40B4-BE49-F238E27FC236}">
                    <a16:creationId xmlns:a16="http://schemas.microsoft.com/office/drawing/2014/main" id="{24504F3C-68BE-453F-AD58-A00D386A2330}"/>
                  </a:ext>
                </a:extLst>
              </p:cNvPr>
              <p:cNvSpPr>
                <a:spLocks/>
              </p:cNvSpPr>
              <p:nvPr/>
            </p:nvSpPr>
            <p:spPr bwMode="auto">
              <a:xfrm>
                <a:off x="3273" y="2502"/>
                <a:ext cx="134" cy="140"/>
              </a:xfrm>
              <a:custGeom>
                <a:avLst/>
                <a:gdLst/>
                <a:ahLst/>
                <a:cxnLst>
                  <a:cxn ang="0">
                    <a:pos x="108" y="8"/>
                  </a:cxn>
                  <a:cxn ang="0">
                    <a:pos x="102" y="8"/>
                  </a:cxn>
                  <a:cxn ang="0">
                    <a:pos x="96" y="8"/>
                  </a:cxn>
                  <a:cxn ang="0">
                    <a:pos x="88" y="0"/>
                  </a:cxn>
                  <a:cxn ang="0">
                    <a:pos x="78" y="0"/>
                  </a:cxn>
                  <a:cxn ang="0">
                    <a:pos x="74" y="2"/>
                  </a:cxn>
                  <a:cxn ang="0">
                    <a:pos x="70" y="2"/>
                  </a:cxn>
                  <a:cxn ang="0">
                    <a:pos x="54" y="12"/>
                  </a:cxn>
                  <a:cxn ang="0">
                    <a:pos x="32" y="4"/>
                  </a:cxn>
                  <a:cxn ang="0">
                    <a:pos x="8" y="2"/>
                  </a:cxn>
                  <a:cxn ang="0">
                    <a:pos x="4" y="0"/>
                  </a:cxn>
                  <a:cxn ang="0">
                    <a:pos x="4" y="18"/>
                  </a:cxn>
                  <a:cxn ang="0">
                    <a:pos x="0" y="22"/>
                  </a:cxn>
                  <a:cxn ang="0">
                    <a:pos x="4" y="30"/>
                  </a:cxn>
                  <a:cxn ang="0">
                    <a:pos x="6" y="38"/>
                  </a:cxn>
                  <a:cxn ang="0">
                    <a:pos x="80" y="138"/>
                  </a:cxn>
                  <a:cxn ang="0">
                    <a:pos x="84" y="134"/>
                  </a:cxn>
                  <a:cxn ang="0">
                    <a:pos x="104" y="138"/>
                  </a:cxn>
                  <a:cxn ang="0">
                    <a:pos x="114" y="140"/>
                  </a:cxn>
                  <a:cxn ang="0">
                    <a:pos x="124" y="126"/>
                  </a:cxn>
                  <a:cxn ang="0">
                    <a:pos x="132" y="122"/>
                  </a:cxn>
                  <a:cxn ang="0">
                    <a:pos x="134" y="110"/>
                  </a:cxn>
                  <a:cxn ang="0">
                    <a:pos x="128" y="102"/>
                  </a:cxn>
                  <a:cxn ang="0">
                    <a:pos x="110" y="66"/>
                  </a:cxn>
                  <a:cxn ang="0">
                    <a:pos x="108" y="54"/>
                  </a:cxn>
                  <a:cxn ang="0">
                    <a:pos x="102" y="48"/>
                  </a:cxn>
                  <a:cxn ang="0">
                    <a:pos x="94" y="30"/>
                  </a:cxn>
                  <a:cxn ang="0">
                    <a:pos x="96" y="24"/>
                  </a:cxn>
                  <a:cxn ang="0">
                    <a:pos x="104" y="40"/>
                  </a:cxn>
                  <a:cxn ang="0">
                    <a:pos x="118" y="54"/>
                  </a:cxn>
                  <a:cxn ang="0">
                    <a:pos x="120" y="44"/>
                  </a:cxn>
                  <a:cxn ang="0">
                    <a:pos x="124" y="32"/>
                  </a:cxn>
                  <a:cxn ang="0">
                    <a:pos x="114" y="4"/>
                  </a:cxn>
                </a:cxnLst>
                <a:rect l="0" t="0" r="r" b="b"/>
                <a:pathLst>
                  <a:path w="134" h="140">
                    <a:moveTo>
                      <a:pt x="114" y="4"/>
                    </a:moveTo>
                    <a:lnTo>
                      <a:pt x="108" y="8"/>
                    </a:lnTo>
                    <a:lnTo>
                      <a:pt x="108" y="8"/>
                    </a:lnTo>
                    <a:lnTo>
                      <a:pt x="102" y="8"/>
                    </a:lnTo>
                    <a:lnTo>
                      <a:pt x="96" y="8"/>
                    </a:lnTo>
                    <a:lnTo>
                      <a:pt x="96" y="8"/>
                    </a:lnTo>
                    <a:lnTo>
                      <a:pt x="92" y="6"/>
                    </a:lnTo>
                    <a:lnTo>
                      <a:pt x="88" y="0"/>
                    </a:lnTo>
                    <a:lnTo>
                      <a:pt x="86" y="2"/>
                    </a:lnTo>
                    <a:lnTo>
                      <a:pt x="78" y="0"/>
                    </a:lnTo>
                    <a:lnTo>
                      <a:pt x="74" y="4"/>
                    </a:lnTo>
                    <a:lnTo>
                      <a:pt x="74" y="2"/>
                    </a:lnTo>
                    <a:lnTo>
                      <a:pt x="74" y="2"/>
                    </a:lnTo>
                    <a:lnTo>
                      <a:pt x="70" y="2"/>
                    </a:lnTo>
                    <a:lnTo>
                      <a:pt x="64" y="6"/>
                    </a:lnTo>
                    <a:lnTo>
                      <a:pt x="54" y="12"/>
                    </a:lnTo>
                    <a:lnTo>
                      <a:pt x="54" y="12"/>
                    </a:lnTo>
                    <a:lnTo>
                      <a:pt x="32" y="4"/>
                    </a:lnTo>
                    <a:lnTo>
                      <a:pt x="18" y="0"/>
                    </a:lnTo>
                    <a:lnTo>
                      <a:pt x="8" y="2"/>
                    </a:lnTo>
                    <a:lnTo>
                      <a:pt x="6" y="0"/>
                    </a:lnTo>
                    <a:lnTo>
                      <a:pt x="4" y="0"/>
                    </a:lnTo>
                    <a:lnTo>
                      <a:pt x="2" y="4"/>
                    </a:lnTo>
                    <a:lnTo>
                      <a:pt x="4" y="18"/>
                    </a:lnTo>
                    <a:lnTo>
                      <a:pt x="0" y="22"/>
                    </a:lnTo>
                    <a:lnTo>
                      <a:pt x="0" y="22"/>
                    </a:lnTo>
                    <a:lnTo>
                      <a:pt x="2" y="26"/>
                    </a:lnTo>
                    <a:lnTo>
                      <a:pt x="4" y="30"/>
                    </a:lnTo>
                    <a:lnTo>
                      <a:pt x="2" y="34"/>
                    </a:lnTo>
                    <a:lnTo>
                      <a:pt x="6" y="38"/>
                    </a:lnTo>
                    <a:lnTo>
                      <a:pt x="6" y="138"/>
                    </a:lnTo>
                    <a:lnTo>
                      <a:pt x="80" y="138"/>
                    </a:lnTo>
                    <a:lnTo>
                      <a:pt x="82" y="134"/>
                    </a:lnTo>
                    <a:lnTo>
                      <a:pt x="84" y="134"/>
                    </a:lnTo>
                    <a:lnTo>
                      <a:pt x="84" y="138"/>
                    </a:lnTo>
                    <a:lnTo>
                      <a:pt x="104" y="138"/>
                    </a:lnTo>
                    <a:lnTo>
                      <a:pt x="108" y="140"/>
                    </a:lnTo>
                    <a:lnTo>
                      <a:pt x="114" y="140"/>
                    </a:lnTo>
                    <a:lnTo>
                      <a:pt x="116" y="134"/>
                    </a:lnTo>
                    <a:lnTo>
                      <a:pt x="124" y="126"/>
                    </a:lnTo>
                    <a:lnTo>
                      <a:pt x="128" y="126"/>
                    </a:lnTo>
                    <a:lnTo>
                      <a:pt x="132" y="122"/>
                    </a:lnTo>
                    <a:lnTo>
                      <a:pt x="130" y="112"/>
                    </a:lnTo>
                    <a:lnTo>
                      <a:pt x="134" y="110"/>
                    </a:lnTo>
                    <a:lnTo>
                      <a:pt x="134" y="110"/>
                    </a:lnTo>
                    <a:lnTo>
                      <a:pt x="128" y="102"/>
                    </a:lnTo>
                    <a:lnTo>
                      <a:pt x="118" y="84"/>
                    </a:lnTo>
                    <a:lnTo>
                      <a:pt x="110" y="66"/>
                    </a:lnTo>
                    <a:lnTo>
                      <a:pt x="108" y="58"/>
                    </a:lnTo>
                    <a:lnTo>
                      <a:pt x="108" y="54"/>
                    </a:lnTo>
                    <a:lnTo>
                      <a:pt x="108" y="54"/>
                    </a:lnTo>
                    <a:lnTo>
                      <a:pt x="102" y="48"/>
                    </a:lnTo>
                    <a:lnTo>
                      <a:pt x="100" y="42"/>
                    </a:lnTo>
                    <a:lnTo>
                      <a:pt x="94" y="30"/>
                    </a:lnTo>
                    <a:lnTo>
                      <a:pt x="96" y="24"/>
                    </a:lnTo>
                    <a:lnTo>
                      <a:pt x="96" y="24"/>
                    </a:lnTo>
                    <a:lnTo>
                      <a:pt x="98" y="32"/>
                    </a:lnTo>
                    <a:lnTo>
                      <a:pt x="104" y="40"/>
                    </a:lnTo>
                    <a:lnTo>
                      <a:pt x="114" y="56"/>
                    </a:lnTo>
                    <a:lnTo>
                      <a:pt x="118" y="54"/>
                    </a:lnTo>
                    <a:lnTo>
                      <a:pt x="118" y="54"/>
                    </a:lnTo>
                    <a:lnTo>
                      <a:pt x="120" y="44"/>
                    </a:lnTo>
                    <a:lnTo>
                      <a:pt x="124" y="32"/>
                    </a:lnTo>
                    <a:lnTo>
                      <a:pt x="124" y="32"/>
                    </a:lnTo>
                    <a:lnTo>
                      <a:pt x="118" y="18"/>
                    </a:lnTo>
                    <a:lnTo>
                      <a:pt x="114" y="4"/>
                    </a:lnTo>
                    <a:lnTo>
                      <a:pt x="114"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3" name="Freeform 1642">
                <a:extLst>
                  <a:ext uri="{FF2B5EF4-FFF2-40B4-BE49-F238E27FC236}">
                    <a16:creationId xmlns:a16="http://schemas.microsoft.com/office/drawing/2014/main" id="{83259221-D3E7-4562-868F-43DC02695C8B}"/>
                  </a:ext>
                </a:extLst>
              </p:cNvPr>
              <p:cNvSpPr>
                <a:spLocks/>
              </p:cNvSpPr>
              <p:nvPr/>
            </p:nvSpPr>
            <p:spPr bwMode="auto">
              <a:xfrm>
                <a:off x="3417" y="2692"/>
                <a:ext cx="78" cy="76"/>
              </a:xfrm>
              <a:custGeom>
                <a:avLst/>
                <a:gdLst/>
                <a:ahLst/>
                <a:cxnLst>
                  <a:cxn ang="0">
                    <a:pos x="24" y="0"/>
                  </a:cxn>
                  <a:cxn ang="0">
                    <a:pos x="22" y="6"/>
                  </a:cxn>
                  <a:cxn ang="0">
                    <a:pos x="6" y="14"/>
                  </a:cxn>
                  <a:cxn ang="0">
                    <a:pos x="6" y="14"/>
                  </a:cxn>
                  <a:cxn ang="0">
                    <a:pos x="2" y="32"/>
                  </a:cxn>
                  <a:cxn ang="0">
                    <a:pos x="0" y="44"/>
                  </a:cxn>
                  <a:cxn ang="0">
                    <a:pos x="0" y="52"/>
                  </a:cxn>
                  <a:cxn ang="0">
                    <a:pos x="0" y="52"/>
                  </a:cxn>
                  <a:cxn ang="0">
                    <a:pos x="12" y="54"/>
                  </a:cxn>
                  <a:cxn ang="0">
                    <a:pos x="16" y="44"/>
                  </a:cxn>
                  <a:cxn ang="0">
                    <a:pos x="16" y="44"/>
                  </a:cxn>
                  <a:cxn ang="0">
                    <a:pos x="30" y="48"/>
                  </a:cxn>
                  <a:cxn ang="0">
                    <a:pos x="38" y="50"/>
                  </a:cxn>
                  <a:cxn ang="0">
                    <a:pos x="44" y="50"/>
                  </a:cxn>
                  <a:cxn ang="0">
                    <a:pos x="44" y="50"/>
                  </a:cxn>
                  <a:cxn ang="0">
                    <a:pos x="50" y="54"/>
                  </a:cxn>
                  <a:cxn ang="0">
                    <a:pos x="58" y="62"/>
                  </a:cxn>
                  <a:cxn ang="0">
                    <a:pos x="64" y="70"/>
                  </a:cxn>
                  <a:cxn ang="0">
                    <a:pos x="70" y="76"/>
                  </a:cxn>
                  <a:cxn ang="0">
                    <a:pos x="78" y="70"/>
                  </a:cxn>
                  <a:cxn ang="0">
                    <a:pos x="78" y="70"/>
                  </a:cxn>
                  <a:cxn ang="0">
                    <a:pos x="72" y="66"/>
                  </a:cxn>
                  <a:cxn ang="0">
                    <a:pos x="66" y="60"/>
                  </a:cxn>
                  <a:cxn ang="0">
                    <a:pos x="60" y="54"/>
                  </a:cxn>
                  <a:cxn ang="0">
                    <a:pos x="56" y="48"/>
                  </a:cxn>
                  <a:cxn ang="0">
                    <a:pos x="56" y="48"/>
                  </a:cxn>
                  <a:cxn ang="0">
                    <a:pos x="50" y="46"/>
                  </a:cxn>
                  <a:cxn ang="0">
                    <a:pos x="42" y="40"/>
                  </a:cxn>
                  <a:cxn ang="0">
                    <a:pos x="36" y="34"/>
                  </a:cxn>
                  <a:cxn ang="0">
                    <a:pos x="32" y="28"/>
                  </a:cxn>
                  <a:cxn ang="0">
                    <a:pos x="32" y="28"/>
                  </a:cxn>
                  <a:cxn ang="0">
                    <a:pos x="30" y="14"/>
                  </a:cxn>
                  <a:cxn ang="0">
                    <a:pos x="26" y="6"/>
                  </a:cxn>
                  <a:cxn ang="0">
                    <a:pos x="24" y="0"/>
                  </a:cxn>
                  <a:cxn ang="0">
                    <a:pos x="24" y="0"/>
                  </a:cxn>
                </a:cxnLst>
                <a:rect l="0" t="0" r="r" b="b"/>
                <a:pathLst>
                  <a:path w="78" h="76">
                    <a:moveTo>
                      <a:pt x="24" y="0"/>
                    </a:moveTo>
                    <a:lnTo>
                      <a:pt x="22" y="6"/>
                    </a:lnTo>
                    <a:lnTo>
                      <a:pt x="6" y="14"/>
                    </a:lnTo>
                    <a:lnTo>
                      <a:pt x="6" y="14"/>
                    </a:lnTo>
                    <a:lnTo>
                      <a:pt x="2" y="32"/>
                    </a:lnTo>
                    <a:lnTo>
                      <a:pt x="0" y="44"/>
                    </a:lnTo>
                    <a:lnTo>
                      <a:pt x="0" y="52"/>
                    </a:lnTo>
                    <a:lnTo>
                      <a:pt x="0" y="52"/>
                    </a:lnTo>
                    <a:lnTo>
                      <a:pt x="12" y="54"/>
                    </a:lnTo>
                    <a:lnTo>
                      <a:pt x="16" y="44"/>
                    </a:lnTo>
                    <a:lnTo>
                      <a:pt x="16" y="44"/>
                    </a:lnTo>
                    <a:lnTo>
                      <a:pt x="30" y="48"/>
                    </a:lnTo>
                    <a:lnTo>
                      <a:pt x="38" y="50"/>
                    </a:lnTo>
                    <a:lnTo>
                      <a:pt x="44" y="50"/>
                    </a:lnTo>
                    <a:lnTo>
                      <a:pt x="44" y="50"/>
                    </a:lnTo>
                    <a:lnTo>
                      <a:pt x="50" y="54"/>
                    </a:lnTo>
                    <a:lnTo>
                      <a:pt x="58" y="62"/>
                    </a:lnTo>
                    <a:lnTo>
                      <a:pt x="64" y="70"/>
                    </a:lnTo>
                    <a:lnTo>
                      <a:pt x="70" y="76"/>
                    </a:lnTo>
                    <a:lnTo>
                      <a:pt x="78" y="70"/>
                    </a:lnTo>
                    <a:lnTo>
                      <a:pt x="78" y="70"/>
                    </a:lnTo>
                    <a:lnTo>
                      <a:pt x="72" y="66"/>
                    </a:lnTo>
                    <a:lnTo>
                      <a:pt x="66" y="60"/>
                    </a:lnTo>
                    <a:lnTo>
                      <a:pt x="60" y="54"/>
                    </a:lnTo>
                    <a:lnTo>
                      <a:pt x="56" y="48"/>
                    </a:lnTo>
                    <a:lnTo>
                      <a:pt x="56" y="48"/>
                    </a:lnTo>
                    <a:lnTo>
                      <a:pt x="50" y="46"/>
                    </a:lnTo>
                    <a:lnTo>
                      <a:pt x="42" y="40"/>
                    </a:lnTo>
                    <a:lnTo>
                      <a:pt x="36" y="34"/>
                    </a:lnTo>
                    <a:lnTo>
                      <a:pt x="32" y="28"/>
                    </a:lnTo>
                    <a:lnTo>
                      <a:pt x="32" y="28"/>
                    </a:lnTo>
                    <a:lnTo>
                      <a:pt x="30" y="14"/>
                    </a:lnTo>
                    <a:lnTo>
                      <a:pt x="26" y="6"/>
                    </a:lnTo>
                    <a:lnTo>
                      <a:pt x="24" y="0"/>
                    </a:lnTo>
                    <a:lnTo>
                      <a:pt x="2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4" name="Freeform 1643">
                <a:extLst>
                  <a:ext uri="{FF2B5EF4-FFF2-40B4-BE49-F238E27FC236}">
                    <a16:creationId xmlns:a16="http://schemas.microsoft.com/office/drawing/2014/main" id="{5A2A4AF6-A682-4DAD-9AA4-A73C14A598EC}"/>
                  </a:ext>
                </a:extLst>
              </p:cNvPr>
              <p:cNvSpPr>
                <a:spLocks/>
              </p:cNvSpPr>
              <p:nvPr/>
            </p:nvSpPr>
            <p:spPr bwMode="auto">
              <a:xfrm>
                <a:off x="3389" y="2476"/>
                <a:ext cx="18" cy="58"/>
              </a:xfrm>
              <a:custGeom>
                <a:avLst/>
                <a:gdLst/>
                <a:ahLst/>
                <a:cxnLst>
                  <a:cxn ang="0">
                    <a:pos x="0" y="34"/>
                  </a:cxn>
                  <a:cxn ang="0">
                    <a:pos x="2" y="34"/>
                  </a:cxn>
                  <a:cxn ang="0">
                    <a:pos x="0" y="30"/>
                  </a:cxn>
                  <a:cxn ang="0">
                    <a:pos x="2" y="28"/>
                  </a:cxn>
                  <a:cxn ang="0">
                    <a:pos x="2" y="26"/>
                  </a:cxn>
                  <a:cxn ang="0">
                    <a:pos x="10" y="2"/>
                  </a:cxn>
                  <a:cxn ang="0">
                    <a:pos x="14" y="4"/>
                  </a:cxn>
                  <a:cxn ang="0">
                    <a:pos x="16" y="0"/>
                  </a:cxn>
                  <a:cxn ang="0">
                    <a:pos x="18" y="2"/>
                  </a:cxn>
                  <a:cxn ang="0">
                    <a:pos x="18" y="2"/>
                  </a:cxn>
                  <a:cxn ang="0">
                    <a:pos x="14" y="16"/>
                  </a:cxn>
                  <a:cxn ang="0">
                    <a:pos x="8" y="30"/>
                  </a:cxn>
                  <a:cxn ang="0">
                    <a:pos x="8" y="30"/>
                  </a:cxn>
                  <a:cxn ang="0">
                    <a:pos x="14" y="28"/>
                  </a:cxn>
                  <a:cxn ang="0">
                    <a:pos x="14" y="28"/>
                  </a:cxn>
                  <a:cxn ang="0">
                    <a:pos x="14" y="28"/>
                  </a:cxn>
                  <a:cxn ang="0">
                    <a:pos x="14" y="34"/>
                  </a:cxn>
                  <a:cxn ang="0">
                    <a:pos x="12" y="42"/>
                  </a:cxn>
                  <a:cxn ang="0">
                    <a:pos x="8" y="58"/>
                  </a:cxn>
                  <a:cxn ang="0">
                    <a:pos x="8" y="58"/>
                  </a:cxn>
                  <a:cxn ang="0">
                    <a:pos x="0" y="34"/>
                  </a:cxn>
                </a:cxnLst>
                <a:rect l="0" t="0" r="r" b="b"/>
                <a:pathLst>
                  <a:path w="18" h="58">
                    <a:moveTo>
                      <a:pt x="0" y="34"/>
                    </a:moveTo>
                    <a:lnTo>
                      <a:pt x="2" y="34"/>
                    </a:lnTo>
                    <a:lnTo>
                      <a:pt x="0" y="30"/>
                    </a:lnTo>
                    <a:lnTo>
                      <a:pt x="2" y="28"/>
                    </a:lnTo>
                    <a:lnTo>
                      <a:pt x="2" y="26"/>
                    </a:lnTo>
                    <a:lnTo>
                      <a:pt x="10" y="2"/>
                    </a:lnTo>
                    <a:lnTo>
                      <a:pt x="14" y="4"/>
                    </a:lnTo>
                    <a:lnTo>
                      <a:pt x="16" y="0"/>
                    </a:lnTo>
                    <a:lnTo>
                      <a:pt x="18" y="2"/>
                    </a:lnTo>
                    <a:lnTo>
                      <a:pt x="18" y="2"/>
                    </a:lnTo>
                    <a:lnTo>
                      <a:pt x="14" y="16"/>
                    </a:lnTo>
                    <a:lnTo>
                      <a:pt x="8" y="30"/>
                    </a:lnTo>
                    <a:lnTo>
                      <a:pt x="8" y="30"/>
                    </a:lnTo>
                    <a:lnTo>
                      <a:pt x="14" y="28"/>
                    </a:lnTo>
                    <a:lnTo>
                      <a:pt x="14" y="28"/>
                    </a:lnTo>
                    <a:lnTo>
                      <a:pt x="14" y="28"/>
                    </a:lnTo>
                    <a:lnTo>
                      <a:pt x="14" y="34"/>
                    </a:lnTo>
                    <a:lnTo>
                      <a:pt x="12" y="42"/>
                    </a:lnTo>
                    <a:lnTo>
                      <a:pt x="8" y="58"/>
                    </a:lnTo>
                    <a:lnTo>
                      <a:pt x="8" y="58"/>
                    </a:lnTo>
                    <a:lnTo>
                      <a:pt x="0" y="3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5" name="Freeform 1644">
                <a:extLst>
                  <a:ext uri="{FF2B5EF4-FFF2-40B4-BE49-F238E27FC236}">
                    <a16:creationId xmlns:a16="http://schemas.microsoft.com/office/drawing/2014/main" id="{A1F92A3D-18D3-4BAC-9FFA-441E4372D828}"/>
                  </a:ext>
                </a:extLst>
              </p:cNvPr>
              <p:cNvSpPr>
                <a:spLocks/>
              </p:cNvSpPr>
              <p:nvPr/>
            </p:nvSpPr>
            <p:spPr bwMode="auto">
              <a:xfrm>
                <a:off x="3591" y="2582"/>
                <a:ext cx="62" cy="50"/>
              </a:xfrm>
              <a:custGeom>
                <a:avLst/>
                <a:gdLst/>
                <a:ahLst/>
                <a:cxnLst>
                  <a:cxn ang="0">
                    <a:pos x="48" y="50"/>
                  </a:cxn>
                  <a:cxn ang="0">
                    <a:pos x="12" y="44"/>
                  </a:cxn>
                  <a:cxn ang="0">
                    <a:pos x="12" y="44"/>
                  </a:cxn>
                  <a:cxn ang="0">
                    <a:pos x="4" y="32"/>
                  </a:cxn>
                  <a:cxn ang="0">
                    <a:pos x="0" y="22"/>
                  </a:cxn>
                  <a:cxn ang="0">
                    <a:pos x="4" y="20"/>
                  </a:cxn>
                  <a:cxn ang="0">
                    <a:pos x="4" y="26"/>
                  </a:cxn>
                  <a:cxn ang="0">
                    <a:pos x="4" y="26"/>
                  </a:cxn>
                  <a:cxn ang="0">
                    <a:pos x="10" y="26"/>
                  </a:cxn>
                  <a:cxn ang="0">
                    <a:pos x="16" y="30"/>
                  </a:cxn>
                  <a:cxn ang="0">
                    <a:pos x="20" y="26"/>
                  </a:cxn>
                  <a:cxn ang="0">
                    <a:pos x="34" y="28"/>
                  </a:cxn>
                  <a:cxn ang="0">
                    <a:pos x="40" y="24"/>
                  </a:cxn>
                  <a:cxn ang="0">
                    <a:pos x="40" y="22"/>
                  </a:cxn>
                  <a:cxn ang="0">
                    <a:pos x="42" y="22"/>
                  </a:cxn>
                  <a:cxn ang="0">
                    <a:pos x="42" y="22"/>
                  </a:cxn>
                  <a:cxn ang="0">
                    <a:pos x="44" y="18"/>
                  </a:cxn>
                  <a:cxn ang="0">
                    <a:pos x="50" y="12"/>
                  </a:cxn>
                  <a:cxn ang="0">
                    <a:pos x="60" y="0"/>
                  </a:cxn>
                  <a:cxn ang="0">
                    <a:pos x="60" y="6"/>
                  </a:cxn>
                  <a:cxn ang="0">
                    <a:pos x="62" y="6"/>
                  </a:cxn>
                  <a:cxn ang="0">
                    <a:pos x="62" y="18"/>
                  </a:cxn>
                  <a:cxn ang="0">
                    <a:pos x="56" y="18"/>
                  </a:cxn>
                  <a:cxn ang="0">
                    <a:pos x="60" y="28"/>
                  </a:cxn>
                  <a:cxn ang="0">
                    <a:pos x="52" y="32"/>
                  </a:cxn>
                  <a:cxn ang="0">
                    <a:pos x="50" y="48"/>
                  </a:cxn>
                  <a:cxn ang="0">
                    <a:pos x="48" y="50"/>
                  </a:cxn>
                </a:cxnLst>
                <a:rect l="0" t="0" r="r" b="b"/>
                <a:pathLst>
                  <a:path w="62" h="50">
                    <a:moveTo>
                      <a:pt x="48" y="50"/>
                    </a:moveTo>
                    <a:lnTo>
                      <a:pt x="12" y="44"/>
                    </a:lnTo>
                    <a:lnTo>
                      <a:pt x="12" y="44"/>
                    </a:lnTo>
                    <a:lnTo>
                      <a:pt x="4" y="32"/>
                    </a:lnTo>
                    <a:lnTo>
                      <a:pt x="0" y="22"/>
                    </a:lnTo>
                    <a:lnTo>
                      <a:pt x="4" y="20"/>
                    </a:lnTo>
                    <a:lnTo>
                      <a:pt x="4" y="26"/>
                    </a:lnTo>
                    <a:lnTo>
                      <a:pt x="4" y="26"/>
                    </a:lnTo>
                    <a:lnTo>
                      <a:pt x="10" y="26"/>
                    </a:lnTo>
                    <a:lnTo>
                      <a:pt x="16" y="30"/>
                    </a:lnTo>
                    <a:lnTo>
                      <a:pt x="20" y="26"/>
                    </a:lnTo>
                    <a:lnTo>
                      <a:pt x="34" y="28"/>
                    </a:lnTo>
                    <a:lnTo>
                      <a:pt x="40" y="24"/>
                    </a:lnTo>
                    <a:lnTo>
                      <a:pt x="40" y="22"/>
                    </a:lnTo>
                    <a:lnTo>
                      <a:pt x="42" y="22"/>
                    </a:lnTo>
                    <a:lnTo>
                      <a:pt x="42" y="22"/>
                    </a:lnTo>
                    <a:lnTo>
                      <a:pt x="44" y="18"/>
                    </a:lnTo>
                    <a:lnTo>
                      <a:pt x="50" y="12"/>
                    </a:lnTo>
                    <a:lnTo>
                      <a:pt x="60" y="0"/>
                    </a:lnTo>
                    <a:lnTo>
                      <a:pt x="60" y="6"/>
                    </a:lnTo>
                    <a:lnTo>
                      <a:pt x="62" y="6"/>
                    </a:lnTo>
                    <a:lnTo>
                      <a:pt x="62" y="18"/>
                    </a:lnTo>
                    <a:lnTo>
                      <a:pt x="56" y="18"/>
                    </a:lnTo>
                    <a:lnTo>
                      <a:pt x="60" y="28"/>
                    </a:lnTo>
                    <a:lnTo>
                      <a:pt x="52" y="32"/>
                    </a:lnTo>
                    <a:lnTo>
                      <a:pt x="50" y="48"/>
                    </a:lnTo>
                    <a:lnTo>
                      <a:pt x="48"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6" name="Freeform 1645">
                <a:extLst>
                  <a:ext uri="{FF2B5EF4-FFF2-40B4-BE49-F238E27FC236}">
                    <a16:creationId xmlns:a16="http://schemas.microsoft.com/office/drawing/2014/main" id="{C01F8E12-766F-42F1-AAEE-F7DC8CD08A55}"/>
                  </a:ext>
                </a:extLst>
              </p:cNvPr>
              <p:cNvSpPr>
                <a:spLocks/>
              </p:cNvSpPr>
              <p:nvPr/>
            </p:nvSpPr>
            <p:spPr bwMode="auto">
              <a:xfrm>
                <a:off x="3603" y="2600"/>
                <a:ext cx="92" cy="112"/>
              </a:xfrm>
              <a:custGeom>
                <a:avLst/>
                <a:gdLst/>
                <a:ahLst/>
                <a:cxnLst>
                  <a:cxn ang="0">
                    <a:pos x="44" y="40"/>
                  </a:cxn>
                  <a:cxn ang="0">
                    <a:pos x="36" y="66"/>
                  </a:cxn>
                  <a:cxn ang="0">
                    <a:pos x="0" y="80"/>
                  </a:cxn>
                  <a:cxn ang="0">
                    <a:pos x="12" y="112"/>
                  </a:cxn>
                  <a:cxn ang="0">
                    <a:pos x="12" y="112"/>
                  </a:cxn>
                  <a:cxn ang="0">
                    <a:pos x="22" y="108"/>
                  </a:cxn>
                  <a:cxn ang="0">
                    <a:pos x="30" y="108"/>
                  </a:cxn>
                  <a:cxn ang="0">
                    <a:pos x="34" y="108"/>
                  </a:cxn>
                  <a:cxn ang="0">
                    <a:pos x="38" y="104"/>
                  </a:cxn>
                  <a:cxn ang="0">
                    <a:pos x="38" y="100"/>
                  </a:cxn>
                  <a:cxn ang="0">
                    <a:pos x="42" y="96"/>
                  </a:cxn>
                  <a:cxn ang="0">
                    <a:pos x="52" y="94"/>
                  </a:cxn>
                  <a:cxn ang="0">
                    <a:pos x="56" y="84"/>
                  </a:cxn>
                  <a:cxn ang="0">
                    <a:pos x="56" y="84"/>
                  </a:cxn>
                  <a:cxn ang="0">
                    <a:pos x="62" y="80"/>
                  </a:cxn>
                  <a:cxn ang="0">
                    <a:pos x="68" y="80"/>
                  </a:cxn>
                  <a:cxn ang="0">
                    <a:pos x="68" y="66"/>
                  </a:cxn>
                  <a:cxn ang="0">
                    <a:pos x="68" y="66"/>
                  </a:cxn>
                  <a:cxn ang="0">
                    <a:pos x="74" y="58"/>
                  </a:cxn>
                  <a:cxn ang="0">
                    <a:pos x="76" y="60"/>
                  </a:cxn>
                  <a:cxn ang="0">
                    <a:pos x="76" y="60"/>
                  </a:cxn>
                  <a:cxn ang="0">
                    <a:pos x="76" y="60"/>
                  </a:cxn>
                  <a:cxn ang="0">
                    <a:pos x="80" y="54"/>
                  </a:cxn>
                  <a:cxn ang="0">
                    <a:pos x="86" y="46"/>
                  </a:cxn>
                  <a:cxn ang="0">
                    <a:pos x="90" y="40"/>
                  </a:cxn>
                  <a:cxn ang="0">
                    <a:pos x="92" y="34"/>
                  </a:cxn>
                  <a:cxn ang="0">
                    <a:pos x="92" y="34"/>
                  </a:cxn>
                  <a:cxn ang="0">
                    <a:pos x="88" y="30"/>
                  </a:cxn>
                  <a:cxn ang="0">
                    <a:pos x="84" y="26"/>
                  </a:cxn>
                  <a:cxn ang="0">
                    <a:pos x="80" y="18"/>
                  </a:cxn>
                  <a:cxn ang="0">
                    <a:pos x="80" y="18"/>
                  </a:cxn>
                  <a:cxn ang="0">
                    <a:pos x="72" y="16"/>
                  </a:cxn>
                  <a:cxn ang="0">
                    <a:pos x="62" y="12"/>
                  </a:cxn>
                  <a:cxn ang="0">
                    <a:pos x="54" y="6"/>
                  </a:cxn>
                  <a:cxn ang="0">
                    <a:pos x="52" y="2"/>
                  </a:cxn>
                  <a:cxn ang="0">
                    <a:pos x="50" y="0"/>
                  </a:cxn>
                  <a:cxn ang="0">
                    <a:pos x="44" y="0"/>
                  </a:cxn>
                  <a:cxn ang="0">
                    <a:pos x="48" y="10"/>
                  </a:cxn>
                  <a:cxn ang="0">
                    <a:pos x="40" y="14"/>
                  </a:cxn>
                  <a:cxn ang="0">
                    <a:pos x="38" y="30"/>
                  </a:cxn>
                  <a:cxn ang="0">
                    <a:pos x="44" y="40"/>
                  </a:cxn>
                </a:cxnLst>
                <a:rect l="0" t="0" r="r" b="b"/>
                <a:pathLst>
                  <a:path w="92" h="112">
                    <a:moveTo>
                      <a:pt x="44" y="40"/>
                    </a:moveTo>
                    <a:lnTo>
                      <a:pt x="36" y="66"/>
                    </a:lnTo>
                    <a:lnTo>
                      <a:pt x="0" y="80"/>
                    </a:lnTo>
                    <a:lnTo>
                      <a:pt x="12" y="112"/>
                    </a:lnTo>
                    <a:lnTo>
                      <a:pt x="12" y="112"/>
                    </a:lnTo>
                    <a:lnTo>
                      <a:pt x="22" y="108"/>
                    </a:lnTo>
                    <a:lnTo>
                      <a:pt x="30" y="108"/>
                    </a:lnTo>
                    <a:lnTo>
                      <a:pt x="34" y="108"/>
                    </a:lnTo>
                    <a:lnTo>
                      <a:pt x="38" y="104"/>
                    </a:lnTo>
                    <a:lnTo>
                      <a:pt x="38" y="100"/>
                    </a:lnTo>
                    <a:lnTo>
                      <a:pt x="42" y="96"/>
                    </a:lnTo>
                    <a:lnTo>
                      <a:pt x="52" y="94"/>
                    </a:lnTo>
                    <a:lnTo>
                      <a:pt x="56" y="84"/>
                    </a:lnTo>
                    <a:lnTo>
                      <a:pt x="56" y="84"/>
                    </a:lnTo>
                    <a:lnTo>
                      <a:pt x="62" y="80"/>
                    </a:lnTo>
                    <a:lnTo>
                      <a:pt x="68" y="80"/>
                    </a:lnTo>
                    <a:lnTo>
                      <a:pt x="68" y="66"/>
                    </a:lnTo>
                    <a:lnTo>
                      <a:pt x="68" y="66"/>
                    </a:lnTo>
                    <a:lnTo>
                      <a:pt x="74" y="58"/>
                    </a:lnTo>
                    <a:lnTo>
                      <a:pt x="76" y="60"/>
                    </a:lnTo>
                    <a:lnTo>
                      <a:pt x="76" y="60"/>
                    </a:lnTo>
                    <a:lnTo>
                      <a:pt x="76" y="60"/>
                    </a:lnTo>
                    <a:lnTo>
                      <a:pt x="80" y="54"/>
                    </a:lnTo>
                    <a:lnTo>
                      <a:pt x="86" y="46"/>
                    </a:lnTo>
                    <a:lnTo>
                      <a:pt x="90" y="40"/>
                    </a:lnTo>
                    <a:lnTo>
                      <a:pt x="92" y="34"/>
                    </a:lnTo>
                    <a:lnTo>
                      <a:pt x="92" y="34"/>
                    </a:lnTo>
                    <a:lnTo>
                      <a:pt x="88" y="30"/>
                    </a:lnTo>
                    <a:lnTo>
                      <a:pt x="84" y="26"/>
                    </a:lnTo>
                    <a:lnTo>
                      <a:pt x="80" y="18"/>
                    </a:lnTo>
                    <a:lnTo>
                      <a:pt x="80" y="18"/>
                    </a:lnTo>
                    <a:lnTo>
                      <a:pt x="72" y="16"/>
                    </a:lnTo>
                    <a:lnTo>
                      <a:pt x="62" y="12"/>
                    </a:lnTo>
                    <a:lnTo>
                      <a:pt x="54" y="6"/>
                    </a:lnTo>
                    <a:lnTo>
                      <a:pt x="52" y="2"/>
                    </a:lnTo>
                    <a:lnTo>
                      <a:pt x="50" y="0"/>
                    </a:lnTo>
                    <a:lnTo>
                      <a:pt x="44" y="0"/>
                    </a:lnTo>
                    <a:lnTo>
                      <a:pt x="48" y="10"/>
                    </a:lnTo>
                    <a:lnTo>
                      <a:pt x="40" y="14"/>
                    </a:lnTo>
                    <a:lnTo>
                      <a:pt x="38" y="30"/>
                    </a:lnTo>
                    <a:lnTo>
                      <a:pt x="44" y="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7" name="Freeform 1646">
                <a:extLst>
                  <a:ext uri="{FF2B5EF4-FFF2-40B4-BE49-F238E27FC236}">
                    <a16:creationId xmlns:a16="http://schemas.microsoft.com/office/drawing/2014/main" id="{F3DA9C4A-71C4-45FC-B3E8-034E110E09EC}"/>
                  </a:ext>
                </a:extLst>
              </p:cNvPr>
              <p:cNvSpPr>
                <a:spLocks/>
              </p:cNvSpPr>
              <p:nvPr/>
            </p:nvSpPr>
            <p:spPr bwMode="auto">
              <a:xfrm>
                <a:off x="3491" y="2680"/>
                <a:ext cx="124" cy="84"/>
              </a:xfrm>
              <a:custGeom>
                <a:avLst/>
                <a:gdLst/>
                <a:ahLst/>
                <a:cxnLst>
                  <a:cxn ang="0">
                    <a:pos x="112" y="0"/>
                  </a:cxn>
                  <a:cxn ang="0">
                    <a:pos x="74" y="10"/>
                  </a:cxn>
                  <a:cxn ang="0">
                    <a:pos x="44" y="46"/>
                  </a:cxn>
                  <a:cxn ang="0">
                    <a:pos x="44" y="32"/>
                  </a:cxn>
                  <a:cxn ang="0">
                    <a:pos x="22" y="22"/>
                  </a:cxn>
                  <a:cxn ang="0">
                    <a:pos x="0" y="34"/>
                  </a:cxn>
                  <a:cxn ang="0">
                    <a:pos x="0" y="34"/>
                  </a:cxn>
                  <a:cxn ang="0">
                    <a:pos x="4" y="60"/>
                  </a:cxn>
                  <a:cxn ang="0">
                    <a:pos x="6" y="76"/>
                  </a:cxn>
                  <a:cxn ang="0">
                    <a:pos x="10" y="84"/>
                  </a:cxn>
                  <a:cxn ang="0">
                    <a:pos x="10" y="84"/>
                  </a:cxn>
                  <a:cxn ang="0">
                    <a:pos x="32" y="76"/>
                  </a:cxn>
                  <a:cxn ang="0">
                    <a:pos x="44" y="74"/>
                  </a:cxn>
                  <a:cxn ang="0">
                    <a:pos x="54" y="74"/>
                  </a:cxn>
                  <a:cxn ang="0">
                    <a:pos x="54" y="74"/>
                  </a:cxn>
                  <a:cxn ang="0">
                    <a:pos x="58" y="70"/>
                  </a:cxn>
                  <a:cxn ang="0">
                    <a:pos x="62" y="68"/>
                  </a:cxn>
                  <a:cxn ang="0">
                    <a:pos x="72" y="66"/>
                  </a:cxn>
                  <a:cxn ang="0">
                    <a:pos x="72" y="66"/>
                  </a:cxn>
                  <a:cxn ang="0">
                    <a:pos x="80" y="60"/>
                  </a:cxn>
                  <a:cxn ang="0">
                    <a:pos x="92" y="54"/>
                  </a:cxn>
                  <a:cxn ang="0">
                    <a:pos x="104" y="48"/>
                  </a:cxn>
                  <a:cxn ang="0">
                    <a:pos x="114" y="46"/>
                  </a:cxn>
                  <a:cxn ang="0">
                    <a:pos x="114" y="46"/>
                  </a:cxn>
                  <a:cxn ang="0">
                    <a:pos x="114" y="42"/>
                  </a:cxn>
                  <a:cxn ang="0">
                    <a:pos x="116" y="38"/>
                  </a:cxn>
                  <a:cxn ang="0">
                    <a:pos x="124" y="32"/>
                  </a:cxn>
                  <a:cxn ang="0">
                    <a:pos x="112" y="0"/>
                  </a:cxn>
                </a:cxnLst>
                <a:rect l="0" t="0" r="r" b="b"/>
                <a:pathLst>
                  <a:path w="124" h="84">
                    <a:moveTo>
                      <a:pt x="112" y="0"/>
                    </a:moveTo>
                    <a:lnTo>
                      <a:pt x="74" y="10"/>
                    </a:lnTo>
                    <a:lnTo>
                      <a:pt x="44" y="46"/>
                    </a:lnTo>
                    <a:lnTo>
                      <a:pt x="44" y="32"/>
                    </a:lnTo>
                    <a:lnTo>
                      <a:pt x="22" y="22"/>
                    </a:lnTo>
                    <a:lnTo>
                      <a:pt x="0" y="34"/>
                    </a:lnTo>
                    <a:lnTo>
                      <a:pt x="0" y="34"/>
                    </a:lnTo>
                    <a:lnTo>
                      <a:pt x="4" y="60"/>
                    </a:lnTo>
                    <a:lnTo>
                      <a:pt x="6" y="76"/>
                    </a:lnTo>
                    <a:lnTo>
                      <a:pt x="10" y="84"/>
                    </a:lnTo>
                    <a:lnTo>
                      <a:pt x="10" y="84"/>
                    </a:lnTo>
                    <a:lnTo>
                      <a:pt x="32" y="76"/>
                    </a:lnTo>
                    <a:lnTo>
                      <a:pt x="44" y="74"/>
                    </a:lnTo>
                    <a:lnTo>
                      <a:pt x="54" y="74"/>
                    </a:lnTo>
                    <a:lnTo>
                      <a:pt x="54" y="74"/>
                    </a:lnTo>
                    <a:lnTo>
                      <a:pt x="58" y="70"/>
                    </a:lnTo>
                    <a:lnTo>
                      <a:pt x="62" y="68"/>
                    </a:lnTo>
                    <a:lnTo>
                      <a:pt x="72" y="66"/>
                    </a:lnTo>
                    <a:lnTo>
                      <a:pt x="72" y="66"/>
                    </a:lnTo>
                    <a:lnTo>
                      <a:pt x="80" y="60"/>
                    </a:lnTo>
                    <a:lnTo>
                      <a:pt x="92" y="54"/>
                    </a:lnTo>
                    <a:lnTo>
                      <a:pt x="104" y="48"/>
                    </a:lnTo>
                    <a:lnTo>
                      <a:pt x="114" y="46"/>
                    </a:lnTo>
                    <a:lnTo>
                      <a:pt x="114" y="46"/>
                    </a:lnTo>
                    <a:lnTo>
                      <a:pt x="114" y="42"/>
                    </a:lnTo>
                    <a:lnTo>
                      <a:pt x="116" y="38"/>
                    </a:lnTo>
                    <a:lnTo>
                      <a:pt x="124" y="32"/>
                    </a:lnTo>
                    <a:lnTo>
                      <a:pt x="11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8" name="Freeform 1647">
                <a:extLst>
                  <a:ext uri="{FF2B5EF4-FFF2-40B4-BE49-F238E27FC236}">
                    <a16:creationId xmlns:a16="http://schemas.microsoft.com/office/drawing/2014/main" id="{B2BA2891-A548-45C6-B2C8-C6DB358B33D1}"/>
                  </a:ext>
                </a:extLst>
              </p:cNvPr>
              <p:cNvSpPr>
                <a:spLocks/>
              </p:cNvSpPr>
              <p:nvPr/>
            </p:nvSpPr>
            <p:spPr bwMode="auto">
              <a:xfrm>
                <a:off x="3509" y="2372"/>
                <a:ext cx="228" cy="224"/>
              </a:xfrm>
              <a:custGeom>
                <a:avLst/>
                <a:gdLst/>
                <a:ahLst/>
                <a:cxnLst>
                  <a:cxn ang="0">
                    <a:pos x="212" y="210"/>
                  </a:cxn>
                  <a:cxn ang="0">
                    <a:pos x="226" y="202"/>
                  </a:cxn>
                  <a:cxn ang="0">
                    <a:pos x="222" y="180"/>
                  </a:cxn>
                  <a:cxn ang="0">
                    <a:pos x="206" y="164"/>
                  </a:cxn>
                  <a:cxn ang="0">
                    <a:pos x="206" y="148"/>
                  </a:cxn>
                  <a:cxn ang="0">
                    <a:pos x="200" y="130"/>
                  </a:cxn>
                  <a:cxn ang="0">
                    <a:pos x="198" y="118"/>
                  </a:cxn>
                  <a:cxn ang="0">
                    <a:pos x="198" y="104"/>
                  </a:cxn>
                  <a:cxn ang="0">
                    <a:pos x="196" y="90"/>
                  </a:cxn>
                  <a:cxn ang="0">
                    <a:pos x="202" y="80"/>
                  </a:cxn>
                  <a:cxn ang="0">
                    <a:pos x="204" y="52"/>
                  </a:cxn>
                  <a:cxn ang="0">
                    <a:pos x="180" y="36"/>
                  </a:cxn>
                  <a:cxn ang="0">
                    <a:pos x="166" y="32"/>
                  </a:cxn>
                  <a:cxn ang="0">
                    <a:pos x="146" y="24"/>
                  </a:cxn>
                  <a:cxn ang="0">
                    <a:pos x="124" y="38"/>
                  </a:cxn>
                  <a:cxn ang="0">
                    <a:pos x="118" y="48"/>
                  </a:cxn>
                  <a:cxn ang="0">
                    <a:pos x="90" y="52"/>
                  </a:cxn>
                  <a:cxn ang="0">
                    <a:pos x="72" y="40"/>
                  </a:cxn>
                  <a:cxn ang="0">
                    <a:pos x="58" y="36"/>
                  </a:cxn>
                  <a:cxn ang="0">
                    <a:pos x="46" y="16"/>
                  </a:cxn>
                  <a:cxn ang="0">
                    <a:pos x="44" y="2"/>
                  </a:cxn>
                  <a:cxn ang="0">
                    <a:pos x="30" y="14"/>
                  </a:cxn>
                  <a:cxn ang="0">
                    <a:pos x="6" y="0"/>
                  </a:cxn>
                  <a:cxn ang="0">
                    <a:pos x="0" y="6"/>
                  </a:cxn>
                  <a:cxn ang="0">
                    <a:pos x="2" y="32"/>
                  </a:cxn>
                  <a:cxn ang="0">
                    <a:pos x="8" y="48"/>
                  </a:cxn>
                  <a:cxn ang="0">
                    <a:pos x="26" y="64"/>
                  </a:cxn>
                  <a:cxn ang="0">
                    <a:pos x="18" y="80"/>
                  </a:cxn>
                  <a:cxn ang="0">
                    <a:pos x="16" y="86"/>
                  </a:cxn>
                  <a:cxn ang="0">
                    <a:pos x="18" y="98"/>
                  </a:cxn>
                  <a:cxn ang="0">
                    <a:pos x="22" y="106"/>
                  </a:cxn>
                  <a:cxn ang="0">
                    <a:pos x="40" y="138"/>
                  </a:cxn>
                  <a:cxn ang="0">
                    <a:pos x="52" y="152"/>
                  </a:cxn>
                  <a:cxn ang="0">
                    <a:pos x="54" y="146"/>
                  </a:cxn>
                  <a:cxn ang="0">
                    <a:pos x="60" y="152"/>
                  </a:cxn>
                  <a:cxn ang="0">
                    <a:pos x="70" y="152"/>
                  </a:cxn>
                  <a:cxn ang="0">
                    <a:pos x="76" y="166"/>
                  </a:cxn>
                  <a:cxn ang="0">
                    <a:pos x="84" y="174"/>
                  </a:cxn>
                  <a:cxn ang="0">
                    <a:pos x="102" y="196"/>
                  </a:cxn>
                  <a:cxn ang="0">
                    <a:pos x="112" y="202"/>
                  </a:cxn>
                  <a:cxn ang="0">
                    <a:pos x="126" y="204"/>
                  </a:cxn>
                  <a:cxn ang="0">
                    <a:pos x="140" y="198"/>
                  </a:cxn>
                  <a:cxn ang="0">
                    <a:pos x="158" y="216"/>
                  </a:cxn>
                  <a:cxn ang="0">
                    <a:pos x="174" y="218"/>
                  </a:cxn>
                  <a:cxn ang="0">
                    <a:pos x="180" y="218"/>
                  </a:cxn>
                  <a:cxn ang="0">
                    <a:pos x="196" y="220"/>
                  </a:cxn>
                  <a:cxn ang="0">
                    <a:pos x="208" y="224"/>
                  </a:cxn>
                </a:cxnLst>
                <a:rect l="0" t="0" r="r" b="b"/>
                <a:pathLst>
                  <a:path w="228" h="224">
                    <a:moveTo>
                      <a:pt x="208" y="224"/>
                    </a:moveTo>
                    <a:lnTo>
                      <a:pt x="212" y="210"/>
                    </a:lnTo>
                    <a:lnTo>
                      <a:pt x="212" y="210"/>
                    </a:lnTo>
                    <a:lnTo>
                      <a:pt x="214" y="208"/>
                    </a:lnTo>
                    <a:lnTo>
                      <a:pt x="218" y="204"/>
                    </a:lnTo>
                    <a:lnTo>
                      <a:pt x="226" y="202"/>
                    </a:lnTo>
                    <a:lnTo>
                      <a:pt x="228" y="196"/>
                    </a:lnTo>
                    <a:lnTo>
                      <a:pt x="224" y="194"/>
                    </a:lnTo>
                    <a:lnTo>
                      <a:pt x="222" y="180"/>
                    </a:lnTo>
                    <a:lnTo>
                      <a:pt x="210" y="172"/>
                    </a:lnTo>
                    <a:lnTo>
                      <a:pt x="210" y="172"/>
                    </a:lnTo>
                    <a:lnTo>
                      <a:pt x="206" y="164"/>
                    </a:lnTo>
                    <a:lnTo>
                      <a:pt x="200" y="158"/>
                    </a:lnTo>
                    <a:lnTo>
                      <a:pt x="200" y="158"/>
                    </a:lnTo>
                    <a:lnTo>
                      <a:pt x="206" y="148"/>
                    </a:lnTo>
                    <a:lnTo>
                      <a:pt x="210" y="136"/>
                    </a:lnTo>
                    <a:lnTo>
                      <a:pt x="206" y="130"/>
                    </a:lnTo>
                    <a:lnTo>
                      <a:pt x="200" y="130"/>
                    </a:lnTo>
                    <a:lnTo>
                      <a:pt x="198" y="126"/>
                    </a:lnTo>
                    <a:lnTo>
                      <a:pt x="198" y="126"/>
                    </a:lnTo>
                    <a:lnTo>
                      <a:pt x="198" y="118"/>
                    </a:lnTo>
                    <a:lnTo>
                      <a:pt x="196" y="108"/>
                    </a:lnTo>
                    <a:lnTo>
                      <a:pt x="196" y="108"/>
                    </a:lnTo>
                    <a:lnTo>
                      <a:pt x="198" y="104"/>
                    </a:lnTo>
                    <a:lnTo>
                      <a:pt x="198" y="98"/>
                    </a:lnTo>
                    <a:lnTo>
                      <a:pt x="196" y="96"/>
                    </a:lnTo>
                    <a:lnTo>
                      <a:pt x="196" y="90"/>
                    </a:lnTo>
                    <a:lnTo>
                      <a:pt x="200" y="88"/>
                    </a:lnTo>
                    <a:lnTo>
                      <a:pt x="200" y="88"/>
                    </a:lnTo>
                    <a:lnTo>
                      <a:pt x="202" y="80"/>
                    </a:lnTo>
                    <a:lnTo>
                      <a:pt x="204" y="70"/>
                    </a:lnTo>
                    <a:lnTo>
                      <a:pt x="204" y="60"/>
                    </a:lnTo>
                    <a:lnTo>
                      <a:pt x="204" y="52"/>
                    </a:lnTo>
                    <a:lnTo>
                      <a:pt x="198" y="52"/>
                    </a:lnTo>
                    <a:lnTo>
                      <a:pt x="184" y="42"/>
                    </a:lnTo>
                    <a:lnTo>
                      <a:pt x="180" y="36"/>
                    </a:lnTo>
                    <a:lnTo>
                      <a:pt x="180" y="36"/>
                    </a:lnTo>
                    <a:lnTo>
                      <a:pt x="174" y="36"/>
                    </a:lnTo>
                    <a:lnTo>
                      <a:pt x="166" y="32"/>
                    </a:lnTo>
                    <a:lnTo>
                      <a:pt x="160" y="28"/>
                    </a:lnTo>
                    <a:lnTo>
                      <a:pt x="154" y="24"/>
                    </a:lnTo>
                    <a:lnTo>
                      <a:pt x="146" y="24"/>
                    </a:lnTo>
                    <a:lnTo>
                      <a:pt x="144" y="28"/>
                    </a:lnTo>
                    <a:lnTo>
                      <a:pt x="134" y="28"/>
                    </a:lnTo>
                    <a:lnTo>
                      <a:pt x="124" y="38"/>
                    </a:lnTo>
                    <a:lnTo>
                      <a:pt x="116" y="38"/>
                    </a:lnTo>
                    <a:lnTo>
                      <a:pt x="118" y="48"/>
                    </a:lnTo>
                    <a:lnTo>
                      <a:pt x="118" y="48"/>
                    </a:lnTo>
                    <a:lnTo>
                      <a:pt x="104" y="48"/>
                    </a:lnTo>
                    <a:lnTo>
                      <a:pt x="90" y="52"/>
                    </a:lnTo>
                    <a:lnTo>
                      <a:pt x="90" y="52"/>
                    </a:lnTo>
                    <a:lnTo>
                      <a:pt x="80" y="48"/>
                    </a:lnTo>
                    <a:lnTo>
                      <a:pt x="74" y="44"/>
                    </a:lnTo>
                    <a:lnTo>
                      <a:pt x="72" y="40"/>
                    </a:lnTo>
                    <a:lnTo>
                      <a:pt x="72" y="40"/>
                    </a:lnTo>
                    <a:lnTo>
                      <a:pt x="64" y="38"/>
                    </a:lnTo>
                    <a:lnTo>
                      <a:pt x="58" y="36"/>
                    </a:lnTo>
                    <a:lnTo>
                      <a:pt x="56" y="20"/>
                    </a:lnTo>
                    <a:lnTo>
                      <a:pt x="52" y="20"/>
                    </a:lnTo>
                    <a:lnTo>
                      <a:pt x="46" y="16"/>
                    </a:lnTo>
                    <a:lnTo>
                      <a:pt x="50" y="12"/>
                    </a:lnTo>
                    <a:lnTo>
                      <a:pt x="48" y="4"/>
                    </a:lnTo>
                    <a:lnTo>
                      <a:pt x="44" y="2"/>
                    </a:lnTo>
                    <a:lnTo>
                      <a:pt x="36" y="6"/>
                    </a:lnTo>
                    <a:lnTo>
                      <a:pt x="30" y="14"/>
                    </a:lnTo>
                    <a:lnTo>
                      <a:pt x="30" y="14"/>
                    </a:lnTo>
                    <a:lnTo>
                      <a:pt x="14" y="14"/>
                    </a:lnTo>
                    <a:lnTo>
                      <a:pt x="14" y="14"/>
                    </a:lnTo>
                    <a:lnTo>
                      <a:pt x="6" y="0"/>
                    </a:lnTo>
                    <a:lnTo>
                      <a:pt x="2" y="4"/>
                    </a:lnTo>
                    <a:lnTo>
                      <a:pt x="0" y="6"/>
                    </a:lnTo>
                    <a:lnTo>
                      <a:pt x="0" y="6"/>
                    </a:lnTo>
                    <a:lnTo>
                      <a:pt x="2" y="12"/>
                    </a:lnTo>
                    <a:lnTo>
                      <a:pt x="2" y="18"/>
                    </a:lnTo>
                    <a:lnTo>
                      <a:pt x="2" y="32"/>
                    </a:lnTo>
                    <a:lnTo>
                      <a:pt x="8" y="38"/>
                    </a:lnTo>
                    <a:lnTo>
                      <a:pt x="8" y="48"/>
                    </a:lnTo>
                    <a:lnTo>
                      <a:pt x="8" y="48"/>
                    </a:lnTo>
                    <a:lnTo>
                      <a:pt x="14" y="56"/>
                    </a:lnTo>
                    <a:lnTo>
                      <a:pt x="18" y="62"/>
                    </a:lnTo>
                    <a:lnTo>
                      <a:pt x="26" y="64"/>
                    </a:lnTo>
                    <a:lnTo>
                      <a:pt x="22" y="70"/>
                    </a:lnTo>
                    <a:lnTo>
                      <a:pt x="24" y="74"/>
                    </a:lnTo>
                    <a:lnTo>
                      <a:pt x="18" y="80"/>
                    </a:lnTo>
                    <a:lnTo>
                      <a:pt x="18" y="82"/>
                    </a:lnTo>
                    <a:lnTo>
                      <a:pt x="16" y="86"/>
                    </a:lnTo>
                    <a:lnTo>
                      <a:pt x="16" y="86"/>
                    </a:lnTo>
                    <a:lnTo>
                      <a:pt x="14" y="90"/>
                    </a:lnTo>
                    <a:lnTo>
                      <a:pt x="14" y="96"/>
                    </a:lnTo>
                    <a:lnTo>
                      <a:pt x="18" y="98"/>
                    </a:lnTo>
                    <a:lnTo>
                      <a:pt x="18" y="98"/>
                    </a:lnTo>
                    <a:lnTo>
                      <a:pt x="20" y="102"/>
                    </a:lnTo>
                    <a:lnTo>
                      <a:pt x="22" y="106"/>
                    </a:lnTo>
                    <a:lnTo>
                      <a:pt x="38" y="118"/>
                    </a:lnTo>
                    <a:lnTo>
                      <a:pt x="42" y="128"/>
                    </a:lnTo>
                    <a:lnTo>
                      <a:pt x="40" y="138"/>
                    </a:lnTo>
                    <a:lnTo>
                      <a:pt x="44" y="140"/>
                    </a:lnTo>
                    <a:lnTo>
                      <a:pt x="46" y="146"/>
                    </a:lnTo>
                    <a:lnTo>
                      <a:pt x="52" y="152"/>
                    </a:lnTo>
                    <a:lnTo>
                      <a:pt x="54" y="150"/>
                    </a:lnTo>
                    <a:lnTo>
                      <a:pt x="54" y="150"/>
                    </a:lnTo>
                    <a:lnTo>
                      <a:pt x="54" y="146"/>
                    </a:lnTo>
                    <a:lnTo>
                      <a:pt x="56" y="146"/>
                    </a:lnTo>
                    <a:lnTo>
                      <a:pt x="58" y="146"/>
                    </a:lnTo>
                    <a:lnTo>
                      <a:pt x="60" y="152"/>
                    </a:lnTo>
                    <a:lnTo>
                      <a:pt x="64" y="154"/>
                    </a:lnTo>
                    <a:lnTo>
                      <a:pt x="68" y="152"/>
                    </a:lnTo>
                    <a:lnTo>
                      <a:pt x="70" y="152"/>
                    </a:lnTo>
                    <a:lnTo>
                      <a:pt x="72" y="160"/>
                    </a:lnTo>
                    <a:lnTo>
                      <a:pt x="74" y="160"/>
                    </a:lnTo>
                    <a:lnTo>
                      <a:pt x="76" y="166"/>
                    </a:lnTo>
                    <a:lnTo>
                      <a:pt x="76" y="166"/>
                    </a:lnTo>
                    <a:lnTo>
                      <a:pt x="80" y="170"/>
                    </a:lnTo>
                    <a:lnTo>
                      <a:pt x="84" y="174"/>
                    </a:lnTo>
                    <a:lnTo>
                      <a:pt x="88" y="184"/>
                    </a:lnTo>
                    <a:lnTo>
                      <a:pt x="98" y="190"/>
                    </a:lnTo>
                    <a:lnTo>
                      <a:pt x="102" y="196"/>
                    </a:lnTo>
                    <a:lnTo>
                      <a:pt x="112" y="198"/>
                    </a:lnTo>
                    <a:lnTo>
                      <a:pt x="110" y="200"/>
                    </a:lnTo>
                    <a:lnTo>
                      <a:pt x="112" y="202"/>
                    </a:lnTo>
                    <a:lnTo>
                      <a:pt x="112" y="202"/>
                    </a:lnTo>
                    <a:lnTo>
                      <a:pt x="118" y="202"/>
                    </a:lnTo>
                    <a:lnTo>
                      <a:pt x="126" y="204"/>
                    </a:lnTo>
                    <a:lnTo>
                      <a:pt x="126" y="204"/>
                    </a:lnTo>
                    <a:lnTo>
                      <a:pt x="136" y="200"/>
                    </a:lnTo>
                    <a:lnTo>
                      <a:pt x="140" y="198"/>
                    </a:lnTo>
                    <a:lnTo>
                      <a:pt x="146" y="196"/>
                    </a:lnTo>
                    <a:lnTo>
                      <a:pt x="152" y="198"/>
                    </a:lnTo>
                    <a:lnTo>
                      <a:pt x="158" y="216"/>
                    </a:lnTo>
                    <a:lnTo>
                      <a:pt x="158" y="216"/>
                    </a:lnTo>
                    <a:lnTo>
                      <a:pt x="168" y="216"/>
                    </a:lnTo>
                    <a:lnTo>
                      <a:pt x="174" y="218"/>
                    </a:lnTo>
                    <a:lnTo>
                      <a:pt x="178" y="220"/>
                    </a:lnTo>
                    <a:lnTo>
                      <a:pt x="180" y="218"/>
                    </a:lnTo>
                    <a:lnTo>
                      <a:pt x="180" y="218"/>
                    </a:lnTo>
                    <a:lnTo>
                      <a:pt x="186" y="220"/>
                    </a:lnTo>
                    <a:lnTo>
                      <a:pt x="194" y="222"/>
                    </a:lnTo>
                    <a:lnTo>
                      <a:pt x="196" y="220"/>
                    </a:lnTo>
                    <a:lnTo>
                      <a:pt x="196" y="220"/>
                    </a:lnTo>
                    <a:lnTo>
                      <a:pt x="202" y="222"/>
                    </a:lnTo>
                    <a:lnTo>
                      <a:pt x="208" y="224"/>
                    </a:lnTo>
                    <a:lnTo>
                      <a:pt x="208" y="22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39" name="Freeform 1648">
                <a:extLst>
                  <a:ext uri="{FF2B5EF4-FFF2-40B4-BE49-F238E27FC236}">
                    <a16:creationId xmlns:a16="http://schemas.microsoft.com/office/drawing/2014/main" id="{9B2F0705-D79A-43C0-A498-3AB8F94F88D2}"/>
                  </a:ext>
                </a:extLst>
              </p:cNvPr>
              <p:cNvSpPr>
                <a:spLocks/>
              </p:cNvSpPr>
              <p:nvPr/>
            </p:nvSpPr>
            <p:spPr bwMode="auto">
              <a:xfrm>
                <a:off x="3443" y="2410"/>
                <a:ext cx="118" cy="128"/>
              </a:xfrm>
              <a:custGeom>
                <a:avLst/>
                <a:gdLst/>
                <a:ahLst/>
                <a:cxnLst>
                  <a:cxn ang="0">
                    <a:pos x="94" y="128"/>
                  </a:cxn>
                  <a:cxn ang="0">
                    <a:pos x="94" y="128"/>
                  </a:cxn>
                  <a:cxn ang="0">
                    <a:pos x="100" y="122"/>
                  </a:cxn>
                  <a:cxn ang="0">
                    <a:pos x="102" y="116"/>
                  </a:cxn>
                  <a:cxn ang="0">
                    <a:pos x="106" y="114"/>
                  </a:cxn>
                  <a:cxn ang="0">
                    <a:pos x="112" y="116"/>
                  </a:cxn>
                  <a:cxn ang="0">
                    <a:pos x="112" y="114"/>
                  </a:cxn>
                  <a:cxn ang="0">
                    <a:pos x="116" y="116"/>
                  </a:cxn>
                  <a:cxn ang="0">
                    <a:pos x="118" y="114"/>
                  </a:cxn>
                  <a:cxn ang="0">
                    <a:pos x="112" y="108"/>
                  </a:cxn>
                  <a:cxn ang="0">
                    <a:pos x="110" y="102"/>
                  </a:cxn>
                  <a:cxn ang="0">
                    <a:pos x="106" y="100"/>
                  </a:cxn>
                  <a:cxn ang="0">
                    <a:pos x="108" y="90"/>
                  </a:cxn>
                  <a:cxn ang="0">
                    <a:pos x="104" y="80"/>
                  </a:cxn>
                  <a:cxn ang="0">
                    <a:pos x="88" y="68"/>
                  </a:cxn>
                  <a:cxn ang="0">
                    <a:pos x="88" y="68"/>
                  </a:cxn>
                  <a:cxn ang="0">
                    <a:pos x="86" y="64"/>
                  </a:cxn>
                  <a:cxn ang="0">
                    <a:pos x="84" y="60"/>
                  </a:cxn>
                  <a:cxn ang="0">
                    <a:pos x="80" y="58"/>
                  </a:cxn>
                  <a:cxn ang="0">
                    <a:pos x="80" y="58"/>
                  </a:cxn>
                  <a:cxn ang="0">
                    <a:pos x="80" y="52"/>
                  </a:cxn>
                  <a:cxn ang="0">
                    <a:pos x="82" y="48"/>
                  </a:cxn>
                  <a:cxn ang="0">
                    <a:pos x="84" y="44"/>
                  </a:cxn>
                  <a:cxn ang="0">
                    <a:pos x="84" y="42"/>
                  </a:cxn>
                  <a:cxn ang="0">
                    <a:pos x="90" y="36"/>
                  </a:cxn>
                  <a:cxn ang="0">
                    <a:pos x="88" y="32"/>
                  </a:cxn>
                  <a:cxn ang="0">
                    <a:pos x="92" y="26"/>
                  </a:cxn>
                  <a:cxn ang="0">
                    <a:pos x="84" y="24"/>
                  </a:cxn>
                  <a:cxn ang="0">
                    <a:pos x="84" y="24"/>
                  </a:cxn>
                  <a:cxn ang="0">
                    <a:pos x="80" y="18"/>
                  </a:cxn>
                  <a:cxn ang="0">
                    <a:pos x="74" y="10"/>
                  </a:cxn>
                  <a:cxn ang="0">
                    <a:pos x="74" y="4"/>
                  </a:cxn>
                  <a:cxn ang="0">
                    <a:pos x="72" y="4"/>
                  </a:cxn>
                  <a:cxn ang="0">
                    <a:pos x="68" y="4"/>
                  </a:cxn>
                  <a:cxn ang="0">
                    <a:pos x="66" y="2"/>
                  </a:cxn>
                  <a:cxn ang="0">
                    <a:pos x="66" y="2"/>
                  </a:cxn>
                  <a:cxn ang="0">
                    <a:pos x="58" y="2"/>
                  </a:cxn>
                  <a:cxn ang="0">
                    <a:pos x="52" y="0"/>
                  </a:cxn>
                  <a:cxn ang="0">
                    <a:pos x="52" y="0"/>
                  </a:cxn>
                  <a:cxn ang="0">
                    <a:pos x="48" y="4"/>
                  </a:cxn>
                  <a:cxn ang="0">
                    <a:pos x="42" y="8"/>
                  </a:cxn>
                  <a:cxn ang="0">
                    <a:pos x="38" y="14"/>
                  </a:cxn>
                  <a:cxn ang="0">
                    <a:pos x="32" y="16"/>
                  </a:cxn>
                  <a:cxn ang="0">
                    <a:pos x="32" y="16"/>
                  </a:cxn>
                  <a:cxn ang="0">
                    <a:pos x="32" y="32"/>
                  </a:cxn>
                  <a:cxn ang="0">
                    <a:pos x="30" y="42"/>
                  </a:cxn>
                  <a:cxn ang="0">
                    <a:pos x="28" y="48"/>
                  </a:cxn>
                  <a:cxn ang="0">
                    <a:pos x="0" y="66"/>
                  </a:cxn>
                  <a:cxn ang="0">
                    <a:pos x="6" y="82"/>
                  </a:cxn>
                  <a:cxn ang="0">
                    <a:pos x="6" y="82"/>
                  </a:cxn>
                  <a:cxn ang="0">
                    <a:pos x="12" y="84"/>
                  </a:cxn>
                  <a:cxn ang="0">
                    <a:pos x="18" y="86"/>
                  </a:cxn>
                  <a:cxn ang="0">
                    <a:pos x="28" y="92"/>
                  </a:cxn>
                  <a:cxn ang="0">
                    <a:pos x="38" y="100"/>
                  </a:cxn>
                  <a:cxn ang="0">
                    <a:pos x="50" y="104"/>
                  </a:cxn>
                  <a:cxn ang="0">
                    <a:pos x="52" y="110"/>
                  </a:cxn>
                  <a:cxn ang="0">
                    <a:pos x="58" y="110"/>
                  </a:cxn>
                  <a:cxn ang="0">
                    <a:pos x="60" y="120"/>
                  </a:cxn>
                  <a:cxn ang="0">
                    <a:pos x="60" y="120"/>
                  </a:cxn>
                  <a:cxn ang="0">
                    <a:pos x="66" y="124"/>
                  </a:cxn>
                  <a:cxn ang="0">
                    <a:pos x="76" y="126"/>
                  </a:cxn>
                  <a:cxn ang="0">
                    <a:pos x="94" y="128"/>
                  </a:cxn>
                  <a:cxn ang="0">
                    <a:pos x="94" y="128"/>
                  </a:cxn>
                </a:cxnLst>
                <a:rect l="0" t="0" r="r" b="b"/>
                <a:pathLst>
                  <a:path w="118" h="128">
                    <a:moveTo>
                      <a:pt x="94" y="128"/>
                    </a:moveTo>
                    <a:lnTo>
                      <a:pt x="94" y="128"/>
                    </a:lnTo>
                    <a:lnTo>
                      <a:pt x="100" y="122"/>
                    </a:lnTo>
                    <a:lnTo>
                      <a:pt x="102" y="116"/>
                    </a:lnTo>
                    <a:lnTo>
                      <a:pt x="106" y="114"/>
                    </a:lnTo>
                    <a:lnTo>
                      <a:pt x="112" y="116"/>
                    </a:lnTo>
                    <a:lnTo>
                      <a:pt x="112" y="114"/>
                    </a:lnTo>
                    <a:lnTo>
                      <a:pt x="116" y="116"/>
                    </a:lnTo>
                    <a:lnTo>
                      <a:pt x="118" y="114"/>
                    </a:lnTo>
                    <a:lnTo>
                      <a:pt x="112" y="108"/>
                    </a:lnTo>
                    <a:lnTo>
                      <a:pt x="110" y="102"/>
                    </a:lnTo>
                    <a:lnTo>
                      <a:pt x="106" y="100"/>
                    </a:lnTo>
                    <a:lnTo>
                      <a:pt x="108" y="90"/>
                    </a:lnTo>
                    <a:lnTo>
                      <a:pt x="104" y="80"/>
                    </a:lnTo>
                    <a:lnTo>
                      <a:pt x="88" y="68"/>
                    </a:lnTo>
                    <a:lnTo>
                      <a:pt x="88" y="68"/>
                    </a:lnTo>
                    <a:lnTo>
                      <a:pt x="86" y="64"/>
                    </a:lnTo>
                    <a:lnTo>
                      <a:pt x="84" y="60"/>
                    </a:lnTo>
                    <a:lnTo>
                      <a:pt x="80" y="58"/>
                    </a:lnTo>
                    <a:lnTo>
                      <a:pt x="80" y="58"/>
                    </a:lnTo>
                    <a:lnTo>
                      <a:pt x="80" y="52"/>
                    </a:lnTo>
                    <a:lnTo>
                      <a:pt x="82" y="48"/>
                    </a:lnTo>
                    <a:lnTo>
                      <a:pt x="84" y="44"/>
                    </a:lnTo>
                    <a:lnTo>
                      <a:pt x="84" y="42"/>
                    </a:lnTo>
                    <a:lnTo>
                      <a:pt x="90" y="36"/>
                    </a:lnTo>
                    <a:lnTo>
                      <a:pt x="88" y="32"/>
                    </a:lnTo>
                    <a:lnTo>
                      <a:pt x="92" y="26"/>
                    </a:lnTo>
                    <a:lnTo>
                      <a:pt x="84" y="24"/>
                    </a:lnTo>
                    <a:lnTo>
                      <a:pt x="84" y="24"/>
                    </a:lnTo>
                    <a:lnTo>
                      <a:pt x="80" y="18"/>
                    </a:lnTo>
                    <a:lnTo>
                      <a:pt x="74" y="10"/>
                    </a:lnTo>
                    <a:lnTo>
                      <a:pt x="74" y="4"/>
                    </a:lnTo>
                    <a:lnTo>
                      <a:pt x="72" y="4"/>
                    </a:lnTo>
                    <a:lnTo>
                      <a:pt x="68" y="4"/>
                    </a:lnTo>
                    <a:lnTo>
                      <a:pt x="66" y="2"/>
                    </a:lnTo>
                    <a:lnTo>
                      <a:pt x="66" y="2"/>
                    </a:lnTo>
                    <a:lnTo>
                      <a:pt x="58" y="2"/>
                    </a:lnTo>
                    <a:lnTo>
                      <a:pt x="52" y="0"/>
                    </a:lnTo>
                    <a:lnTo>
                      <a:pt x="52" y="0"/>
                    </a:lnTo>
                    <a:lnTo>
                      <a:pt x="48" y="4"/>
                    </a:lnTo>
                    <a:lnTo>
                      <a:pt x="42" y="8"/>
                    </a:lnTo>
                    <a:lnTo>
                      <a:pt x="38" y="14"/>
                    </a:lnTo>
                    <a:lnTo>
                      <a:pt x="32" y="16"/>
                    </a:lnTo>
                    <a:lnTo>
                      <a:pt x="32" y="16"/>
                    </a:lnTo>
                    <a:lnTo>
                      <a:pt x="32" y="32"/>
                    </a:lnTo>
                    <a:lnTo>
                      <a:pt x="30" y="42"/>
                    </a:lnTo>
                    <a:lnTo>
                      <a:pt x="28" y="48"/>
                    </a:lnTo>
                    <a:lnTo>
                      <a:pt x="0" y="66"/>
                    </a:lnTo>
                    <a:lnTo>
                      <a:pt x="6" y="82"/>
                    </a:lnTo>
                    <a:lnTo>
                      <a:pt x="6" y="82"/>
                    </a:lnTo>
                    <a:lnTo>
                      <a:pt x="12" y="84"/>
                    </a:lnTo>
                    <a:lnTo>
                      <a:pt x="18" y="86"/>
                    </a:lnTo>
                    <a:lnTo>
                      <a:pt x="28" y="92"/>
                    </a:lnTo>
                    <a:lnTo>
                      <a:pt x="38" y="100"/>
                    </a:lnTo>
                    <a:lnTo>
                      <a:pt x="50" y="104"/>
                    </a:lnTo>
                    <a:lnTo>
                      <a:pt x="52" y="110"/>
                    </a:lnTo>
                    <a:lnTo>
                      <a:pt x="58" y="110"/>
                    </a:lnTo>
                    <a:lnTo>
                      <a:pt x="60" y="120"/>
                    </a:lnTo>
                    <a:lnTo>
                      <a:pt x="60" y="120"/>
                    </a:lnTo>
                    <a:lnTo>
                      <a:pt x="66" y="124"/>
                    </a:lnTo>
                    <a:lnTo>
                      <a:pt x="76" y="126"/>
                    </a:lnTo>
                    <a:lnTo>
                      <a:pt x="94" y="128"/>
                    </a:lnTo>
                    <a:lnTo>
                      <a:pt x="94" y="1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0" name="Freeform 1649">
                <a:extLst>
                  <a:ext uri="{FF2B5EF4-FFF2-40B4-BE49-F238E27FC236}">
                    <a16:creationId xmlns:a16="http://schemas.microsoft.com/office/drawing/2014/main" id="{E4B22C37-E1CC-4196-A50F-2215B95A8440}"/>
                  </a:ext>
                </a:extLst>
              </p:cNvPr>
              <p:cNvSpPr>
                <a:spLocks/>
              </p:cNvSpPr>
              <p:nvPr/>
            </p:nvSpPr>
            <p:spPr bwMode="auto">
              <a:xfrm>
                <a:off x="3587" y="2582"/>
                <a:ext cx="10" cy="22"/>
              </a:xfrm>
              <a:custGeom>
                <a:avLst/>
                <a:gdLst/>
                <a:ahLst/>
                <a:cxnLst>
                  <a:cxn ang="0">
                    <a:pos x="4" y="22"/>
                  </a:cxn>
                  <a:cxn ang="0">
                    <a:pos x="8" y="20"/>
                  </a:cxn>
                  <a:cxn ang="0">
                    <a:pos x="10" y="16"/>
                  </a:cxn>
                  <a:cxn ang="0">
                    <a:pos x="10" y="16"/>
                  </a:cxn>
                  <a:cxn ang="0">
                    <a:pos x="10" y="10"/>
                  </a:cxn>
                  <a:cxn ang="0">
                    <a:pos x="10" y="2"/>
                  </a:cxn>
                  <a:cxn ang="0">
                    <a:pos x="6" y="0"/>
                  </a:cxn>
                  <a:cxn ang="0">
                    <a:pos x="0" y="10"/>
                  </a:cxn>
                  <a:cxn ang="0">
                    <a:pos x="0" y="18"/>
                  </a:cxn>
                  <a:cxn ang="0">
                    <a:pos x="4" y="22"/>
                  </a:cxn>
                </a:cxnLst>
                <a:rect l="0" t="0" r="r" b="b"/>
                <a:pathLst>
                  <a:path w="10" h="22">
                    <a:moveTo>
                      <a:pt x="4" y="22"/>
                    </a:moveTo>
                    <a:lnTo>
                      <a:pt x="8" y="20"/>
                    </a:lnTo>
                    <a:lnTo>
                      <a:pt x="10" y="16"/>
                    </a:lnTo>
                    <a:lnTo>
                      <a:pt x="10" y="16"/>
                    </a:lnTo>
                    <a:lnTo>
                      <a:pt x="10" y="10"/>
                    </a:lnTo>
                    <a:lnTo>
                      <a:pt x="10" y="2"/>
                    </a:lnTo>
                    <a:lnTo>
                      <a:pt x="6" y="0"/>
                    </a:lnTo>
                    <a:lnTo>
                      <a:pt x="0" y="10"/>
                    </a:lnTo>
                    <a:lnTo>
                      <a:pt x="0" y="18"/>
                    </a:lnTo>
                    <a:lnTo>
                      <a:pt x="4" y="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1" name="Freeform 1650">
                <a:extLst>
                  <a:ext uri="{FF2B5EF4-FFF2-40B4-BE49-F238E27FC236}">
                    <a16:creationId xmlns:a16="http://schemas.microsoft.com/office/drawing/2014/main" id="{BF083DC2-DAD1-4942-B95B-6C988672E35D}"/>
                  </a:ext>
                </a:extLst>
              </p:cNvPr>
              <p:cNvSpPr>
                <a:spLocks/>
              </p:cNvSpPr>
              <p:nvPr/>
            </p:nvSpPr>
            <p:spPr bwMode="auto">
              <a:xfrm>
                <a:off x="3397" y="2476"/>
                <a:ext cx="52" cy="62"/>
              </a:xfrm>
              <a:custGeom>
                <a:avLst/>
                <a:gdLst/>
                <a:ahLst/>
                <a:cxnLst>
                  <a:cxn ang="0">
                    <a:pos x="0" y="58"/>
                  </a:cxn>
                  <a:cxn ang="0">
                    <a:pos x="2" y="60"/>
                  </a:cxn>
                  <a:cxn ang="0">
                    <a:pos x="14" y="62"/>
                  </a:cxn>
                  <a:cxn ang="0">
                    <a:pos x="14" y="62"/>
                  </a:cxn>
                  <a:cxn ang="0">
                    <a:pos x="26" y="50"/>
                  </a:cxn>
                  <a:cxn ang="0">
                    <a:pos x="32" y="44"/>
                  </a:cxn>
                  <a:cxn ang="0">
                    <a:pos x="38" y="40"/>
                  </a:cxn>
                  <a:cxn ang="0">
                    <a:pos x="24" y="26"/>
                  </a:cxn>
                  <a:cxn ang="0">
                    <a:pos x="48" y="22"/>
                  </a:cxn>
                  <a:cxn ang="0">
                    <a:pos x="52" y="16"/>
                  </a:cxn>
                  <a:cxn ang="0">
                    <a:pos x="46" y="0"/>
                  </a:cxn>
                  <a:cxn ang="0">
                    <a:pos x="20" y="16"/>
                  </a:cxn>
                  <a:cxn ang="0">
                    <a:pos x="12" y="8"/>
                  </a:cxn>
                  <a:cxn ang="0">
                    <a:pos x="8" y="10"/>
                  </a:cxn>
                  <a:cxn ang="0">
                    <a:pos x="8" y="10"/>
                  </a:cxn>
                  <a:cxn ang="0">
                    <a:pos x="4" y="18"/>
                  </a:cxn>
                  <a:cxn ang="0">
                    <a:pos x="0" y="30"/>
                  </a:cxn>
                  <a:cxn ang="0">
                    <a:pos x="0" y="30"/>
                  </a:cxn>
                  <a:cxn ang="0">
                    <a:pos x="6" y="28"/>
                  </a:cxn>
                  <a:cxn ang="0">
                    <a:pos x="6" y="28"/>
                  </a:cxn>
                  <a:cxn ang="0">
                    <a:pos x="6" y="28"/>
                  </a:cxn>
                  <a:cxn ang="0">
                    <a:pos x="6" y="34"/>
                  </a:cxn>
                  <a:cxn ang="0">
                    <a:pos x="4" y="42"/>
                  </a:cxn>
                  <a:cxn ang="0">
                    <a:pos x="0" y="58"/>
                  </a:cxn>
                  <a:cxn ang="0">
                    <a:pos x="0" y="58"/>
                  </a:cxn>
                </a:cxnLst>
                <a:rect l="0" t="0" r="r" b="b"/>
                <a:pathLst>
                  <a:path w="52" h="62">
                    <a:moveTo>
                      <a:pt x="0" y="58"/>
                    </a:moveTo>
                    <a:lnTo>
                      <a:pt x="2" y="60"/>
                    </a:lnTo>
                    <a:lnTo>
                      <a:pt x="14" y="62"/>
                    </a:lnTo>
                    <a:lnTo>
                      <a:pt x="14" y="62"/>
                    </a:lnTo>
                    <a:lnTo>
                      <a:pt x="26" y="50"/>
                    </a:lnTo>
                    <a:lnTo>
                      <a:pt x="32" y="44"/>
                    </a:lnTo>
                    <a:lnTo>
                      <a:pt x="38" y="40"/>
                    </a:lnTo>
                    <a:lnTo>
                      <a:pt x="24" y="26"/>
                    </a:lnTo>
                    <a:lnTo>
                      <a:pt x="48" y="22"/>
                    </a:lnTo>
                    <a:lnTo>
                      <a:pt x="52" y="16"/>
                    </a:lnTo>
                    <a:lnTo>
                      <a:pt x="46" y="0"/>
                    </a:lnTo>
                    <a:lnTo>
                      <a:pt x="20" y="16"/>
                    </a:lnTo>
                    <a:lnTo>
                      <a:pt x="12" y="8"/>
                    </a:lnTo>
                    <a:lnTo>
                      <a:pt x="8" y="10"/>
                    </a:lnTo>
                    <a:lnTo>
                      <a:pt x="8" y="10"/>
                    </a:lnTo>
                    <a:lnTo>
                      <a:pt x="4" y="18"/>
                    </a:lnTo>
                    <a:lnTo>
                      <a:pt x="0" y="30"/>
                    </a:lnTo>
                    <a:lnTo>
                      <a:pt x="0" y="30"/>
                    </a:lnTo>
                    <a:lnTo>
                      <a:pt x="6" y="28"/>
                    </a:lnTo>
                    <a:lnTo>
                      <a:pt x="6" y="28"/>
                    </a:lnTo>
                    <a:lnTo>
                      <a:pt x="6" y="28"/>
                    </a:lnTo>
                    <a:lnTo>
                      <a:pt x="6" y="34"/>
                    </a:lnTo>
                    <a:lnTo>
                      <a:pt x="4" y="42"/>
                    </a:lnTo>
                    <a:lnTo>
                      <a:pt x="0" y="58"/>
                    </a:lnTo>
                    <a:lnTo>
                      <a:pt x="0" y="5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2" name="Freeform 1651">
                <a:extLst>
                  <a:ext uri="{FF2B5EF4-FFF2-40B4-BE49-F238E27FC236}">
                    <a16:creationId xmlns:a16="http://schemas.microsoft.com/office/drawing/2014/main" id="{FA99CAB7-B5EE-41F8-897E-87D9D7313063}"/>
                  </a:ext>
                </a:extLst>
              </p:cNvPr>
              <p:cNvSpPr>
                <a:spLocks/>
              </p:cNvSpPr>
              <p:nvPr/>
            </p:nvSpPr>
            <p:spPr bwMode="auto">
              <a:xfrm>
                <a:off x="3405" y="2412"/>
                <a:ext cx="82" cy="80"/>
              </a:xfrm>
              <a:custGeom>
                <a:avLst/>
                <a:gdLst/>
                <a:ahLst/>
                <a:cxnLst>
                  <a:cxn ang="0">
                    <a:pos x="82" y="4"/>
                  </a:cxn>
                  <a:cxn ang="0">
                    <a:pos x="82" y="4"/>
                  </a:cxn>
                  <a:cxn ang="0">
                    <a:pos x="80" y="0"/>
                  </a:cxn>
                  <a:cxn ang="0">
                    <a:pos x="74" y="4"/>
                  </a:cxn>
                  <a:cxn ang="0">
                    <a:pos x="74" y="4"/>
                  </a:cxn>
                  <a:cxn ang="0">
                    <a:pos x="70" y="4"/>
                  </a:cxn>
                  <a:cxn ang="0">
                    <a:pos x="64" y="4"/>
                  </a:cxn>
                  <a:cxn ang="0">
                    <a:pos x="54" y="8"/>
                  </a:cxn>
                  <a:cxn ang="0">
                    <a:pos x="42" y="10"/>
                  </a:cxn>
                  <a:cxn ang="0">
                    <a:pos x="38" y="10"/>
                  </a:cxn>
                  <a:cxn ang="0">
                    <a:pos x="34" y="6"/>
                  </a:cxn>
                  <a:cxn ang="0">
                    <a:pos x="34" y="6"/>
                  </a:cxn>
                  <a:cxn ang="0">
                    <a:pos x="28" y="10"/>
                  </a:cxn>
                  <a:cxn ang="0">
                    <a:pos x="22" y="12"/>
                  </a:cxn>
                  <a:cxn ang="0">
                    <a:pos x="18" y="12"/>
                  </a:cxn>
                  <a:cxn ang="0">
                    <a:pos x="18" y="10"/>
                  </a:cxn>
                  <a:cxn ang="0">
                    <a:pos x="16" y="8"/>
                  </a:cxn>
                  <a:cxn ang="0">
                    <a:pos x="16" y="8"/>
                  </a:cxn>
                  <a:cxn ang="0">
                    <a:pos x="12" y="16"/>
                  </a:cxn>
                  <a:cxn ang="0">
                    <a:pos x="8" y="26"/>
                  </a:cxn>
                  <a:cxn ang="0">
                    <a:pos x="6" y="26"/>
                  </a:cxn>
                  <a:cxn ang="0">
                    <a:pos x="4" y="28"/>
                  </a:cxn>
                  <a:cxn ang="0">
                    <a:pos x="4" y="28"/>
                  </a:cxn>
                  <a:cxn ang="0">
                    <a:pos x="6" y="34"/>
                  </a:cxn>
                  <a:cxn ang="0">
                    <a:pos x="6" y="42"/>
                  </a:cxn>
                  <a:cxn ang="0">
                    <a:pos x="12" y="42"/>
                  </a:cxn>
                  <a:cxn ang="0">
                    <a:pos x="12" y="42"/>
                  </a:cxn>
                  <a:cxn ang="0">
                    <a:pos x="14" y="50"/>
                  </a:cxn>
                  <a:cxn ang="0">
                    <a:pos x="14" y="50"/>
                  </a:cxn>
                  <a:cxn ang="0">
                    <a:pos x="8" y="58"/>
                  </a:cxn>
                  <a:cxn ang="0">
                    <a:pos x="2" y="66"/>
                  </a:cxn>
                  <a:cxn ang="0">
                    <a:pos x="0" y="74"/>
                  </a:cxn>
                  <a:cxn ang="0">
                    <a:pos x="4" y="72"/>
                  </a:cxn>
                  <a:cxn ang="0">
                    <a:pos x="12" y="80"/>
                  </a:cxn>
                  <a:cxn ang="0">
                    <a:pos x="12" y="80"/>
                  </a:cxn>
                  <a:cxn ang="0">
                    <a:pos x="66" y="46"/>
                  </a:cxn>
                  <a:cxn ang="0">
                    <a:pos x="66" y="46"/>
                  </a:cxn>
                  <a:cxn ang="0">
                    <a:pos x="68" y="40"/>
                  </a:cxn>
                  <a:cxn ang="0">
                    <a:pos x="70" y="30"/>
                  </a:cxn>
                  <a:cxn ang="0">
                    <a:pos x="70" y="14"/>
                  </a:cxn>
                  <a:cxn ang="0">
                    <a:pos x="76" y="12"/>
                  </a:cxn>
                  <a:cxn ang="0">
                    <a:pos x="80" y="6"/>
                  </a:cxn>
                  <a:cxn ang="0">
                    <a:pos x="82" y="4"/>
                  </a:cxn>
                </a:cxnLst>
                <a:rect l="0" t="0" r="r" b="b"/>
                <a:pathLst>
                  <a:path w="82" h="80">
                    <a:moveTo>
                      <a:pt x="82" y="4"/>
                    </a:moveTo>
                    <a:lnTo>
                      <a:pt x="82" y="4"/>
                    </a:lnTo>
                    <a:lnTo>
                      <a:pt x="80" y="0"/>
                    </a:lnTo>
                    <a:lnTo>
                      <a:pt x="74" y="4"/>
                    </a:lnTo>
                    <a:lnTo>
                      <a:pt x="74" y="4"/>
                    </a:lnTo>
                    <a:lnTo>
                      <a:pt x="70" y="4"/>
                    </a:lnTo>
                    <a:lnTo>
                      <a:pt x="64" y="4"/>
                    </a:lnTo>
                    <a:lnTo>
                      <a:pt x="54" y="8"/>
                    </a:lnTo>
                    <a:lnTo>
                      <a:pt x="42" y="10"/>
                    </a:lnTo>
                    <a:lnTo>
                      <a:pt x="38" y="10"/>
                    </a:lnTo>
                    <a:lnTo>
                      <a:pt x="34" y="6"/>
                    </a:lnTo>
                    <a:lnTo>
                      <a:pt x="34" y="6"/>
                    </a:lnTo>
                    <a:lnTo>
                      <a:pt x="28" y="10"/>
                    </a:lnTo>
                    <a:lnTo>
                      <a:pt x="22" y="12"/>
                    </a:lnTo>
                    <a:lnTo>
                      <a:pt x="18" y="12"/>
                    </a:lnTo>
                    <a:lnTo>
                      <a:pt x="18" y="10"/>
                    </a:lnTo>
                    <a:lnTo>
                      <a:pt x="16" y="8"/>
                    </a:lnTo>
                    <a:lnTo>
                      <a:pt x="16" y="8"/>
                    </a:lnTo>
                    <a:lnTo>
                      <a:pt x="12" y="16"/>
                    </a:lnTo>
                    <a:lnTo>
                      <a:pt x="8" y="26"/>
                    </a:lnTo>
                    <a:lnTo>
                      <a:pt x="6" y="26"/>
                    </a:lnTo>
                    <a:lnTo>
                      <a:pt x="4" y="28"/>
                    </a:lnTo>
                    <a:lnTo>
                      <a:pt x="4" y="28"/>
                    </a:lnTo>
                    <a:lnTo>
                      <a:pt x="6" y="34"/>
                    </a:lnTo>
                    <a:lnTo>
                      <a:pt x="6" y="42"/>
                    </a:lnTo>
                    <a:lnTo>
                      <a:pt x="12" y="42"/>
                    </a:lnTo>
                    <a:lnTo>
                      <a:pt x="12" y="42"/>
                    </a:lnTo>
                    <a:lnTo>
                      <a:pt x="14" y="50"/>
                    </a:lnTo>
                    <a:lnTo>
                      <a:pt x="14" y="50"/>
                    </a:lnTo>
                    <a:lnTo>
                      <a:pt x="8" y="58"/>
                    </a:lnTo>
                    <a:lnTo>
                      <a:pt x="2" y="66"/>
                    </a:lnTo>
                    <a:lnTo>
                      <a:pt x="0" y="74"/>
                    </a:lnTo>
                    <a:lnTo>
                      <a:pt x="4" y="72"/>
                    </a:lnTo>
                    <a:lnTo>
                      <a:pt x="12" y="80"/>
                    </a:lnTo>
                    <a:lnTo>
                      <a:pt x="12" y="80"/>
                    </a:lnTo>
                    <a:lnTo>
                      <a:pt x="66" y="46"/>
                    </a:lnTo>
                    <a:lnTo>
                      <a:pt x="66" y="46"/>
                    </a:lnTo>
                    <a:lnTo>
                      <a:pt x="68" y="40"/>
                    </a:lnTo>
                    <a:lnTo>
                      <a:pt x="70" y="30"/>
                    </a:lnTo>
                    <a:lnTo>
                      <a:pt x="70" y="14"/>
                    </a:lnTo>
                    <a:lnTo>
                      <a:pt x="76" y="12"/>
                    </a:lnTo>
                    <a:lnTo>
                      <a:pt x="80" y="6"/>
                    </a:lnTo>
                    <a:lnTo>
                      <a:pt x="82"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3" name="Freeform 1652">
                <a:extLst>
                  <a:ext uri="{FF2B5EF4-FFF2-40B4-BE49-F238E27FC236}">
                    <a16:creationId xmlns:a16="http://schemas.microsoft.com/office/drawing/2014/main" id="{FE0692BD-3794-4D85-9BB7-8BACE068FCE8}"/>
                  </a:ext>
                </a:extLst>
              </p:cNvPr>
              <p:cNvSpPr>
                <a:spLocks/>
              </p:cNvSpPr>
              <p:nvPr/>
            </p:nvSpPr>
            <p:spPr bwMode="auto">
              <a:xfrm>
                <a:off x="3399" y="2454"/>
                <a:ext cx="20" cy="26"/>
              </a:xfrm>
              <a:custGeom>
                <a:avLst/>
                <a:gdLst/>
                <a:ahLst/>
                <a:cxnLst>
                  <a:cxn ang="0">
                    <a:pos x="0" y="24"/>
                  </a:cxn>
                  <a:cxn ang="0">
                    <a:pos x="12" y="0"/>
                  </a:cxn>
                  <a:cxn ang="0">
                    <a:pos x="18" y="0"/>
                  </a:cxn>
                  <a:cxn ang="0">
                    <a:pos x="18" y="0"/>
                  </a:cxn>
                  <a:cxn ang="0">
                    <a:pos x="20" y="8"/>
                  </a:cxn>
                  <a:cxn ang="0">
                    <a:pos x="20" y="8"/>
                  </a:cxn>
                  <a:cxn ang="0">
                    <a:pos x="14" y="16"/>
                  </a:cxn>
                  <a:cxn ang="0">
                    <a:pos x="8" y="24"/>
                  </a:cxn>
                  <a:cxn ang="0">
                    <a:pos x="6" y="22"/>
                  </a:cxn>
                  <a:cxn ang="0">
                    <a:pos x="4" y="26"/>
                  </a:cxn>
                  <a:cxn ang="0">
                    <a:pos x="0" y="24"/>
                  </a:cxn>
                </a:cxnLst>
                <a:rect l="0" t="0" r="r" b="b"/>
                <a:pathLst>
                  <a:path w="20" h="26">
                    <a:moveTo>
                      <a:pt x="0" y="24"/>
                    </a:moveTo>
                    <a:lnTo>
                      <a:pt x="12" y="0"/>
                    </a:lnTo>
                    <a:lnTo>
                      <a:pt x="18" y="0"/>
                    </a:lnTo>
                    <a:lnTo>
                      <a:pt x="18" y="0"/>
                    </a:lnTo>
                    <a:lnTo>
                      <a:pt x="20" y="8"/>
                    </a:lnTo>
                    <a:lnTo>
                      <a:pt x="20" y="8"/>
                    </a:lnTo>
                    <a:lnTo>
                      <a:pt x="14" y="16"/>
                    </a:lnTo>
                    <a:lnTo>
                      <a:pt x="8" y="24"/>
                    </a:lnTo>
                    <a:lnTo>
                      <a:pt x="6" y="22"/>
                    </a:lnTo>
                    <a:lnTo>
                      <a:pt x="4" y="26"/>
                    </a:lnTo>
                    <a:lnTo>
                      <a:pt x="0" y="2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4" name="Freeform 1653">
                <a:extLst>
                  <a:ext uri="{FF2B5EF4-FFF2-40B4-BE49-F238E27FC236}">
                    <a16:creationId xmlns:a16="http://schemas.microsoft.com/office/drawing/2014/main" id="{FA8E4DAA-3C0F-49CF-A830-C533B11DAB34}"/>
                  </a:ext>
                </a:extLst>
              </p:cNvPr>
              <p:cNvSpPr>
                <a:spLocks/>
              </p:cNvSpPr>
              <p:nvPr/>
            </p:nvSpPr>
            <p:spPr bwMode="auto">
              <a:xfrm>
                <a:off x="3393" y="2492"/>
                <a:ext cx="254" cy="234"/>
              </a:xfrm>
              <a:custGeom>
                <a:avLst/>
                <a:gdLst/>
                <a:ahLst/>
                <a:cxnLst>
                  <a:cxn ang="0">
                    <a:pos x="210" y="134"/>
                  </a:cxn>
                  <a:cxn ang="0">
                    <a:pos x="186" y="94"/>
                  </a:cxn>
                  <a:cxn ang="0">
                    <a:pos x="178" y="74"/>
                  </a:cxn>
                  <a:cxn ang="0">
                    <a:pos x="176" y="70"/>
                  </a:cxn>
                  <a:cxn ang="0">
                    <a:pos x="166" y="54"/>
                  </a:cxn>
                  <a:cxn ang="0">
                    <a:pos x="154" y="50"/>
                  </a:cxn>
                  <a:cxn ang="0">
                    <a:pos x="142" y="46"/>
                  </a:cxn>
                  <a:cxn ang="0">
                    <a:pos x="120" y="44"/>
                  </a:cxn>
                  <a:cxn ang="0">
                    <a:pos x="110" y="38"/>
                  </a:cxn>
                  <a:cxn ang="0">
                    <a:pos x="102" y="28"/>
                  </a:cxn>
                  <a:cxn ang="0">
                    <a:pos x="100" y="22"/>
                  </a:cxn>
                  <a:cxn ang="0">
                    <a:pos x="78" y="10"/>
                  </a:cxn>
                  <a:cxn ang="0">
                    <a:pos x="62" y="2"/>
                  </a:cxn>
                  <a:cxn ang="0">
                    <a:pos x="52" y="6"/>
                  </a:cxn>
                  <a:cxn ang="0">
                    <a:pos x="42" y="24"/>
                  </a:cxn>
                  <a:cxn ang="0">
                    <a:pos x="36" y="28"/>
                  </a:cxn>
                  <a:cxn ang="0">
                    <a:pos x="18" y="46"/>
                  </a:cxn>
                  <a:cxn ang="0">
                    <a:pos x="4" y="42"/>
                  </a:cxn>
                  <a:cxn ang="0">
                    <a:pos x="4" y="52"/>
                  </a:cxn>
                  <a:cxn ang="0">
                    <a:pos x="2" y="60"/>
                  </a:cxn>
                  <a:cxn ang="0">
                    <a:pos x="8" y="62"/>
                  </a:cxn>
                  <a:cxn ang="0">
                    <a:pos x="32" y="110"/>
                  </a:cxn>
                  <a:cxn ang="0">
                    <a:pos x="44" y="126"/>
                  </a:cxn>
                  <a:cxn ang="0">
                    <a:pos x="54" y="142"/>
                  </a:cxn>
                  <a:cxn ang="0">
                    <a:pos x="58" y="166"/>
                  </a:cxn>
                  <a:cxn ang="0">
                    <a:pos x="70" y="174"/>
                  </a:cxn>
                  <a:cxn ang="0">
                    <a:pos x="84" y="198"/>
                  </a:cxn>
                  <a:cxn ang="0">
                    <a:pos x="98" y="222"/>
                  </a:cxn>
                  <a:cxn ang="0">
                    <a:pos x="142" y="220"/>
                  </a:cxn>
                  <a:cxn ang="0">
                    <a:pos x="172" y="198"/>
                  </a:cxn>
                  <a:cxn ang="0">
                    <a:pos x="208" y="188"/>
                  </a:cxn>
                  <a:cxn ang="0">
                    <a:pos x="254" y="148"/>
                  </a:cxn>
                  <a:cxn ang="0">
                    <a:pos x="246" y="140"/>
                  </a:cxn>
                </a:cxnLst>
                <a:rect l="0" t="0" r="r" b="b"/>
                <a:pathLst>
                  <a:path w="254" h="234">
                    <a:moveTo>
                      <a:pt x="246" y="140"/>
                    </a:moveTo>
                    <a:lnTo>
                      <a:pt x="210" y="134"/>
                    </a:lnTo>
                    <a:lnTo>
                      <a:pt x="210" y="134"/>
                    </a:lnTo>
                    <a:lnTo>
                      <a:pt x="186" y="94"/>
                    </a:lnTo>
                    <a:lnTo>
                      <a:pt x="186" y="84"/>
                    </a:lnTo>
                    <a:lnTo>
                      <a:pt x="178" y="74"/>
                    </a:lnTo>
                    <a:lnTo>
                      <a:pt x="176" y="70"/>
                    </a:lnTo>
                    <a:lnTo>
                      <a:pt x="176" y="70"/>
                    </a:lnTo>
                    <a:lnTo>
                      <a:pt x="170" y="64"/>
                    </a:lnTo>
                    <a:lnTo>
                      <a:pt x="166" y="54"/>
                    </a:lnTo>
                    <a:lnTo>
                      <a:pt x="158" y="54"/>
                    </a:lnTo>
                    <a:lnTo>
                      <a:pt x="154" y="50"/>
                    </a:lnTo>
                    <a:lnTo>
                      <a:pt x="154" y="50"/>
                    </a:lnTo>
                    <a:lnTo>
                      <a:pt x="142" y="46"/>
                    </a:lnTo>
                    <a:lnTo>
                      <a:pt x="130" y="46"/>
                    </a:lnTo>
                    <a:lnTo>
                      <a:pt x="120" y="44"/>
                    </a:lnTo>
                    <a:lnTo>
                      <a:pt x="114" y="42"/>
                    </a:lnTo>
                    <a:lnTo>
                      <a:pt x="110" y="38"/>
                    </a:lnTo>
                    <a:lnTo>
                      <a:pt x="108" y="28"/>
                    </a:lnTo>
                    <a:lnTo>
                      <a:pt x="102" y="28"/>
                    </a:lnTo>
                    <a:lnTo>
                      <a:pt x="100" y="22"/>
                    </a:lnTo>
                    <a:lnTo>
                      <a:pt x="100" y="22"/>
                    </a:lnTo>
                    <a:lnTo>
                      <a:pt x="88" y="18"/>
                    </a:lnTo>
                    <a:lnTo>
                      <a:pt x="78" y="10"/>
                    </a:lnTo>
                    <a:lnTo>
                      <a:pt x="68" y="4"/>
                    </a:lnTo>
                    <a:lnTo>
                      <a:pt x="62" y="2"/>
                    </a:lnTo>
                    <a:lnTo>
                      <a:pt x="56" y="0"/>
                    </a:lnTo>
                    <a:lnTo>
                      <a:pt x="52" y="6"/>
                    </a:lnTo>
                    <a:lnTo>
                      <a:pt x="28" y="10"/>
                    </a:lnTo>
                    <a:lnTo>
                      <a:pt x="42" y="24"/>
                    </a:lnTo>
                    <a:lnTo>
                      <a:pt x="42" y="24"/>
                    </a:lnTo>
                    <a:lnTo>
                      <a:pt x="36" y="28"/>
                    </a:lnTo>
                    <a:lnTo>
                      <a:pt x="30" y="34"/>
                    </a:lnTo>
                    <a:lnTo>
                      <a:pt x="18" y="46"/>
                    </a:lnTo>
                    <a:lnTo>
                      <a:pt x="6" y="44"/>
                    </a:lnTo>
                    <a:lnTo>
                      <a:pt x="4" y="42"/>
                    </a:lnTo>
                    <a:lnTo>
                      <a:pt x="4" y="42"/>
                    </a:lnTo>
                    <a:lnTo>
                      <a:pt x="4" y="52"/>
                    </a:lnTo>
                    <a:lnTo>
                      <a:pt x="0" y="62"/>
                    </a:lnTo>
                    <a:lnTo>
                      <a:pt x="2" y="60"/>
                    </a:lnTo>
                    <a:lnTo>
                      <a:pt x="8" y="62"/>
                    </a:lnTo>
                    <a:lnTo>
                      <a:pt x="8" y="62"/>
                    </a:lnTo>
                    <a:lnTo>
                      <a:pt x="20" y="86"/>
                    </a:lnTo>
                    <a:lnTo>
                      <a:pt x="32" y="110"/>
                    </a:lnTo>
                    <a:lnTo>
                      <a:pt x="32" y="110"/>
                    </a:lnTo>
                    <a:lnTo>
                      <a:pt x="44" y="126"/>
                    </a:lnTo>
                    <a:lnTo>
                      <a:pt x="50" y="134"/>
                    </a:lnTo>
                    <a:lnTo>
                      <a:pt x="54" y="142"/>
                    </a:lnTo>
                    <a:lnTo>
                      <a:pt x="54" y="142"/>
                    </a:lnTo>
                    <a:lnTo>
                      <a:pt x="58" y="166"/>
                    </a:lnTo>
                    <a:lnTo>
                      <a:pt x="58" y="166"/>
                    </a:lnTo>
                    <a:lnTo>
                      <a:pt x="70" y="174"/>
                    </a:lnTo>
                    <a:lnTo>
                      <a:pt x="70" y="174"/>
                    </a:lnTo>
                    <a:lnTo>
                      <a:pt x="84" y="198"/>
                    </a:lnTo>
                    <a:lnTo>
                      <a:pt x="94" y="214"/>
                    </a:lnTo>
                    <a:lnTo>
                      <a:pt x="98" y="222"/>
                    </a:lnTo>
                    <a:lnTo>
                      <a:pt x="120" y="210"/>
                    </a:lnTo>
                    <a:lnTo>
                      <a:pt x="142" y="220"/>
                    </a:lnTo>
                    <a:lnTo>
                      <a:pt x="142" y="234"/>
                    </a:lnTo>
                    <a:lnTo>
                      <a:pt x="172" y="198"/>
                    </a:lnTo>
                    <a:lnTo>
                      <a:pt x="172" y="198"/>
                    </a:lnTo>
                    <a:lnTo>
                      <a:pt x="208" y="188"/>
                    </a:lnTo>
                    <a:lnTo>
                      <a:pt x="246" y="174"/>
                    </a:lnTo>
                    <a:lnTo>
                      <a:pt x="254" y="148"/>
                    </a:lnTo>
                    <a:lnTo>
                      <a:pt x="248" y="138"/>
                    </a:lnTo>
                    <a:lnTo>
                      <a:pt x="246" y="14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5" name="Freeform 1654">
                <a:extLst>
                  <a:ext uri="{FF2B5EF4-FFF2-40B4-BE49-F238E27FC236}">
                    <a16:creationId xmlns:a16="http://schemas.microsoft.com/office/drawing/2014/main" id="{472C7A89-8A4C-4692-B0F1-0FE75DD82DF5}"/>
                  </a:ext>
                </a:extLst>
              </p:cNvPr>
              <p:cNvSpPr>
                <a:spLocks/>
              </p:cNvSpPr>
              <p:nvPr/>
            </p:nvSpPr>
            <p:spPr bwMode="auto">
              <a:xfrm>
                <a:off x="3641" y="2570"/>
                <a:ext cx="12" cy="6"/>
              </a:xfrm>
              <a:custGeom>
                <a:avLst/>
                <a:gdLst/>
                <a:ahLst/>
                <a:cxnLst>
                  <a:cxn ang="0">
                    <a:pos x="12" y="0"/>
                  </a:cxn>
                  <a:cxn ang="0">
                    <a:pos x="6" y="0"/>
                  </a:cxn>
                  <a:cxn ang="0">
                    <a:pos x="0" y="6"/>
                  </a:cxn>
                  <a:cxn ang="0">
                    <a:pos x="0" y="6"/>
                  </a:cxn>
                  <a:cxn ang="0">
                    <a:pos x="6" y="4"/>
                  </a:cxn>
                  <a:cxn ang="0">
                    <a:pos x="12" y="0"/>
                  </a:cxn>
                  <a:cxn ang="0">
                    <a:pos x="12" y="0"/>
                  </a:cxn>
                </a:cxnLst>
                <a:rect l="0" t="0" r="r" b="b"/>
                <a:pathLst>
                  <a:path w="12" h="6">
                    <a:moveTo>
                      <a:pt x="12" y="0"/>
                    </a:moveTo>
                    <a:lnTo>
                      <a:pt x="6" y="0"/>
                    </a:lnTo>
                    <a:lnTo>
                      <a:pt x="0" y="6"/>
                    </a:lnTo>
                    <a:lnTo>
                      <a:pt x="0" y="6"/>
                    </a:lnTo>
                    <a:lnTo>
                      <a:pt x="6" y="4"/>
                    </a:lnTo>
                    <a:lnTo>
                      <a:pt x="12" y="0"/>
                    </a:lnTo>
                    <a:lnTo>
                      <a:pt x="1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6" name="Freeform 1655">
                <a:extLst>
                  <a:ext uri="{FF2B5EF4-FFF2-40B4-BE49-F238E27FC236}">
                    <a16:creationId xmlns:a16="http://schemas.microsoft.com/office/drawing/2014/main" id="{C90F6E0C-228E-45D8-BF68-AED2FF86D584}"/>
                  </a:ext>
                </a:extLst>
              </p:cNvPr>
              <p:cNvSpPr>
                <a:spLocks/>
              </p:cNvSpPr>
              <p:nvPr/>
            </p:nvSpPr>
            <p:spPr bwMode="auto">
              <a:xfrm>
                <a:off x="3387" y="2502"/>
                <a:ext cx="4" cy="8"/>
              </a:xfrm>
              <a:custGeom>
                <a:avLst/>
                <a:gdLst/>
                <a:ahLst/>
                <a:cxnLst>
                  <a:cxn ang="0">
                    <a:pos x="2" y="8"/>
                  </a:cxn>
                  <a:cxn ang="0">
                    <a:pos x="4" y="8"/>
                  </a:cxn>
                  <a:cxn ang="0">
                    <a:pos x="2" y="4"/>
                  </a:cxn>
                  <a:cxn ang="0">
                    <a:pos x="4" y="2"/>
                  </a:cxn>
                  <a:cxn ang="0">
                    <a:pos x="4" y="0"/>
                  </a:cxn>
                  <a:cxn ang="0">
                    <a:pos x="0" y="4"/>
                  </a:cxn>
                  <a:cxn ang="0">
                    <a:pos x="2" y="8"/>
                  </a:cxn>
                </a:cxnLst>
                <a:rect l="0" t="0" r="r" b="b"/>
                <a:pathLst>
                  <a:path w="4" h="8">
                    <a:moveTo>
                      <a:pt x="2" y="8"/>
                    </a:moveTo>
                    <a:lnTo>
                      <a:pt x="4" y="8"/>
                    </a:lnTo>
                    <a:lnTo>
                      <a:pt x="2" y="4"/>
                    </a:lnTo>
                    <a:lnTo>
                      <a:pt x="4" y="2"/>
                    </a:lnTo>
                    <a:lnTo>
                      <a:pt x="4" y="0"/>
                    </a:lnTo>
                    <a:lnTo>
                      <a:pt x="0" y="4"/>
                    </a:lnTo>
                    <a:lnTo>
                      <a:pt x="2"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7" name="Freeform 1656">
                <a:extLst>
                  <a:ext uri="{FF2B5EF4-FFF2-40B4-BE49-F238E27FC236}">
                    <a16:creationId xmlns:a16="http://schemas.microsoft.com/office/drawing/2014/main" id="{0714EAFA-0F11-45C5-850D-B85C3982E8DF}"/>
                  </a:ext>
                </a:extLst>
              </p:cNvPr>
              <p:cNvSpPr>
                <a:spLocks/>
              </p:cNvSpPr>
              <p:nvPr/>
            </p:nvSpPr>
            <p:spPr bwMode="auto">
              <a:xfrm>
                <a:off x="3537" y="2524"/>
                <a:ext cx="22" cy="22"/>
              </a:xfrm>
              <a:custGeom>
                <a:avLst/>
                <a:gdLst/>
                <a:ahLst/>
                <a:cxnLst>
                  <a:cxn ang="0">
                    <a:pos x="22" y="22"/>
                  </a:cxn>
                  <a:cxn ang="0">
                    <a:pos x="18" y="12"/>
                  </a:cxn>
                  <a:cxn ang="0">
                    <a:pos x="14" y="12"/>
                  </a:cxn>
                  <a:cxn ang="0">
                    <a:pos x="20" y="6"/>
                  </a:cxn>
                  <a:cxn ang="0">
                    <a:pos x="18" y="2"/>
                  </a:cxn>
                  <a:cxn ang="0">
                    <a:pos x="12" y="0"/>
                  </a:cxn>
                  <a:cxn ang="0">
                    <a:pos x="8" y="2"/>
                  </a:cxn>
                  <a:cxn ang="0">
                    <a:pos x="8" y="2"/>
                  </a:cxn>
                  <a:cxn ang="0">
                    <a:pos x="6" y="8"/>
                  </a:cxn>
                  <a:cxn ang="0">
                    <a:pos x="0" y="14"/>
                  </a:cxn>
                  <a:cxn ang="0">
                    <a:pos x="10" y="18"/>
                  </a:cxn>
                  <a:cxn ang="0">
                    <a:pos x="14" y="22"/>
                  </a:cxn>
                  <a:cxn ang="0">
                    <a:pos x="22" y="22"/>
                  </a:cxn>
                </a:cxnLst>
                <a:rect l="0" t="0" r="r" b="b"/>
                <a:pathLst>
                  <a:path w="22" h="22">
                    <a:moveTo>
                      <a:pt x="22" y="22"/>
                    </a:moveTo>
                    <a:lnTo>
                      <a:pt x="18" y="12"/>
                    </a:lnTo>
                    <a:lnTo>
                      <a:pt x="14" y="12"/>
                    </a:lnTo>
                    <a:lnTo>
                      <a:pt x="20" y="6"/>
                    </a:lnTo>
                    <a:lnTo>
                      <a:pt x="18" y="2"/>
                    </a:lnTo>
                    <a:lnTo>
                      <a:pt x="12" y="0"/>
                    </a:lnTo>
                    <a:lnTo>
                      <a:pt x="8" y="2"/>
                    </a:lnTo>
                    <a:lnTo>
                      <a:pt x="8" y="2"/>
                    </a:lnTo>
                    <a:lnTo>
                      <a:pt x="6" y="8"/>
                    </a:lnTo>
                    <a:lnTo>
                      <a:pt x="0" y="14"/>
                    </a:lnTo>
                    <a:lnTo>
                      <a:pt x="10" y="18"/>
                    </a:lnTo>
                    <a:lnTo>
                      <a:pt x="14" y="22"/>
                    </a:lnTo>
                    <a:lnTo>
                      <a:pt x="22" y="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8" name="Freeform 1657">
                <a:extLst>
                  <a:ext uri="{FF2B5EF4-FFF2-40B4-BE49-F238E27FC236}">
                    <a16:creationId xmlns:a16="http://schemas.microsoft.com/office/drawing/2014/main" id="{20642685-7841-4979-8BD0-7F6089161FB3}"/>
                  </a:ext>
                </a:extLst>
              </p:cNvPr>
              <p:cNvSpPr>
                <a:spLocks/>
              </p:cNvSpPr>
              <p:nvPr/>
            </p:nvSpPr>
            <p:spPr bwMode="auto">
              <a:xfrm>
                <a:off x="3651" y="2580"/>
                <a:ext cx="4" cy="8"/>
              </a:xfrm>
              <a:custGeom>
                <a:avLst/>
                <a:gdLst/>
                <a:ahLst/>
                <a:cxnLst>
                  <a:cxn ang="0">
                    <a:pos x="2" y="8"/>
                  </a:cxn>
                  <a:cxn ang="0">
                    <a:pos x="0" y="8"/>
                  </a:cxn>
                  <a:cxn ang="0">
                    <a:pos x="0" y="2"/>
                  </a:cxn>
                  <a:cxn ang="0">
                    <a:pos x="2" y="0"/>
                  </a:cxn>
                  <a:cxn ang="0">
                    <a:pos x="4" y="0"/>
                  </a:cxn>
                  <a:cxn ang="0">
                    <a:pos x="2" y="8"/>
                  </a:cxn>
                </a:cxnLst>
                <a:rect l="0" t="0" r="r" b="b"/>
                <a:pathLst>
                  <a:path w="4" h="8">
                    <a:moveTo>
                      <a:pt x="2" y="8"/>
                    </a:moveTo>
                    <a:lnTo>
                      <a:pt x="0" y="8"/>
                    </a:lnTo>
                    <a:lnTo>
                      <a:pt x="0" y="2"/>
                    </a:lnTo>
                    <a:lnTo>
                      <a:pt x="2" y="0"/>
                    </a:lnTo>
                    <a:lnTo>
                      <a:pt x="4" y="0"/>
                    </a:lnTo>
                    <a:lnTo>
                      <a:pt x="2"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49" name="Freeform 1658">
                <a:extLst>
                  <a:ext uri="{FF2B5EF4-FFF2-40B4-BE49-F238E27FC236}">
                    <a16:creationId xmlns:a16="http://schemas.microsoft.com/office/drawing/2014/main" id="{6A57E52F-6D06-4C3E-857D-3D7EF71F1960}"/>
                  </a:ext>
                </a:extLst>
              </p:cNvPr>
              <p:cNvSpPr>
                <a:spLocks/>
              </p:cNvSpPr>
              <p:nvPr/>
            </p:nvSpPr>
            <p:spPr bwMode="auto">
              <a:xfrm>
                <a:off x="3621" y="2608"/>
                <a:ext cx="4" cy="2"/>
              </a:xfrm>
              <a:custGeom>
                <a:avLst/>
                <a:gdLst/>
                <a:ahLst/>
                <a:cxnLst>
                  <a:cxn ang="0">
                    <a:pos x="0" y="2"/>
                  </a:cxn>
                  <a:cxn ang="0">
                    <a:pos x="4" y="0"/>
                  </a:cxn>
                  <a:cxn ang="0">
                    <a:pos x="2" y="0"/>
                  </a:cxn>
                  <a:cxn ang="0">
                    <a:pos x="0" y="2"/>
                  </a:cxn>
                </a:cxnLst>
                <a:rect l="0" t="0" r="r" b="b"/>
                <a:pathLst>
                  <a:path w="4" h="2">
                    <a:moveTo>
                      <a:pt x="0" y="2"/>
                    </a:moveTo>
                    <a:lnTo>
                      <a:pt x="4" y="0"/>
                    </a:lnTo>
                    <a:lnTo>
                      <a:pt x="2" y="0"/>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0" name="Freeform 1659">
                <a:extLst>
                  <a:ext uri="{FF2B5EF4-FFF2-40B4-BE49-F238E27FC236}">
                    <a16:creationId xmlns:a16="http://schemas.microsoft.com/office/drawing/2014/main" id="{575F63C0-BB3B-4EB5-8016-CD780EE25BA6}"/>
                  </a:ext>
                </a:extLst>
              </p:cNvPr>
              <p:cNvSpPr>
                <a:spLocks/>
              </p:cNvSpPr>
              <p:nvPr/>
            </p:nvSpPr>
            <p:spPr bwMode="auto">
              <a:xfrm>
                <a:off x="3537" y="2072"/>
                <a:ext cx="486" cy="278"/>
              </a:xfrm>
              <a:custGeom>
                <a:avLst/>
                <a:gdLst/>
                <a:ahLst/>
                <a:cxnLst>
                  <a:cxn ang="0">
                    <a:pos x="292" y="4"/>
                  </a:cxn>
                  <a:cxn ang="0">
                    <a:pos x="294" y="28"/>
                  </a:cxn>
                  <a:cxn ang="0">
                    <a:pos x="324" y="30"/>
                  </a:cxn>
                  <a:cxn ang="0">
                    <a:pos x="322" y="42"/>
                  </a:cxn>
                  <a:cxn ang="0">
                    <a:pos x="354" y="28"/>
                  </a:cxn>
                  <a:cxn ang="0">
                    <a:pos x="358" y="32"/>
                  </a:cxn>
                  <a:cxn ang="0">
                    <a:pos x="394" y="82"/>
                  </a:cxn>
                  <a:cxn ang="0">
                    <a:pos x="418" y="100"/>
                  </a:cxn>
                  <a:cxn ang="0">
                    <a:pos x="442" y="94"/>
                  </a:cxn>
                  <a:cxn ang="0">
                    <a:pos x="486" y="132"/>
                  </a:cxn>
                  <a:cxn ang="0">
                    <a:pos x="472" y="148"/>
                  </a:cxn>
                  <a:cxn ang="0">
                    <a:pos x="460" y="176"/>
                  </a:cxn>
                  <a:cxn ang="0">
                    <a:pos x="442" y="170"/>
                  </a:cxn>
                  <a:cxn ang="0">
                    <a:pos x="428" y="196"/>
                  </a:cxn>
                  <a:cxn ang="0">
                    <a:pos x="400" y="212"/>
                  </a:cxn>
                  <a:cxn ang="0">
                    <a:pos x="410" y="244"/>
                  </a:cxn>
                  <a:cxn ang="0">
                    <a:pos x="392" y="248"/>
                  </a:cxn>
                  <a:cxn ang="0">
                    <a:pos x="340" y="246"/>
                  </a:cxn>
                  <a:cxn ang="0">
                    <a:pos x="320" y="254"/>
                  </a:cxn>
                  <a:cxn ang="0">
                    <a:pos x="294" y="250"/>
                  </a:cxn>
                  <a:cxn ang="0">
                    <a:pos x="286" y="260"/>
                  </a:cxn>
                  <a:cxn ang="0">
                    <a:pos x="266" y="278"/>
                  </a:cxn>
                  <a:cxn ang="0">
                    <a:pos x="248" y="274"/>
                  </a:cxn>
                  <a:cxn ang="0">
                    <a:pos x="234" y="256"/>
                  </a:cxn>
                  <a:cxn ang="0">
                    <a:pos x="232" y="246"/>
                  </a:cxn>
                  <a:cxn ang="0">
                    <a:pos x="186" y="236"/>
                  </a:cxn>
                  <a:cxn ang="0">
                    <a:pos x="112" y="210"/>
                  </a:cxn>
                  <a:cxn ang="0">
                    <a:pos x="98" y="260"/>
                  </a:cxn>
                  <a:cxn ang="0">
                    <a:pos x="74" y="262"/>
                  </a:cxn>
                  <a:cxn ang="0">
                    <a:pos x="74" y="250"/>
                  </a:cxn>
                  <a:cxn ang="0">
                    <a:pos x="58" y="242"/>
                  </a:cxn>
                  <a:cxn ang="0">
                    <a:pos x="46" y="222"/>
                  </a:cxn>
                  <a:cxn ang="0">
                    <a:pos x="52" y="216"/>
                  </a:cxn>
                  <a:cxn ang="0">
                    <a:pos x="66" y="206"/>
                  </a:cxn>
                  <a:cxn ang="0">
                    <a:pos x="84" y="204"/>
                  </a:cxn>
                  <a:cxn ang="0">
                    <a:pos x="96" y="204"/>
                  </a:cxn>
                  <a:cxn ang="0">
                    <a:pos x="92" y="192"/>
                  </a:cxn>
                  <a:cxn ang="0">
                    <a:pos x="74" y="170"/>
                  </a:cxn>
                  <a:cxn ang="0">
                    <a:pos x="46" y="176"/>
                  </a:cxn>
                  <a:cxn ang="0">
                    <a:pos x="18" y="180"/>
                  </a:cxn>
                  <a:cxn ang="0">
                    <a:pos x="18" y="156"/>
                  </a:cxn>
                  <a:cxn ang="0">
                    <a:pos x="2" y="134"/>
                  </a:cxn>
                  <a:cxn ang="0">
                    <a:pos x="8" y="116"/>
                  </a:cxn>
                  <a:cxn ang="0">
                    <a:pos x="24" y="102"/>
                  </a:cxn>
                  <a:cxn ang="0">
                    <a:pos x="64" y="78"/>
                  </a:cxn>
                  <a:cxn ang="0">
                    <a:pos x="96" y="102"/>
                  </a:cxn>
                  <a:cxn ang="0">
                    <a:pos x="110" y="102"/>
                  </a:cxn>
                  <a:cxn ang="0">
                    <a:pos x="136" y="94"/>
                  </a:cxn>
                  <a:cxn ang="0">
                    <a:pos x="162" y="98"/>
                  </a:cxn>
                  <a:cxn ang="0">
                    <a:pos x="180" y="86"/>
                  </a:cxn>
                  <a:cxn ang="0">
                    <a:pos x="164" y="78"/>
                  </a:cxn>
                  <a:cxn ang="0">
                    <a:pos x="170" y="58"/>
                  </a:cxn>
                  <a:cxn ang="0">
                    <a:pos x="180" y="40"/>
                  </a:cxn>
                  <a:cxn ang="0">
                    <a:pos x="182" y="34"/>
                  </a:cxn>
                  <a:cxn ang="0">
                    <a:pos x="210" y="28"/>
                  </a:cxn>
                  <a:cxn ang="0">
                    <a:pos x="260" y="10"/>
                  </a:cxn>
                </a:cxnLst>
                <a:rect l="0" t="0" r="r" b="b"/>
                <a:pathLst>
                  <a:path w="486" h="278">
                    <a:moveTo>
                      <a:pt x="260" y="10"/>
                    </a:moveTo>
                    <a:lnTo>
                      <a:pt x="260" y="4"/>
                    </a:lnTo>
                    <a:lnTo>
                      <a:pt x="268" y="0"/>
                    </a:lnTo>
                    <a:lnTo>
                      <a:pt x="292" y="4"/>
                    </a:lnTo>
                    <a:lnTo>
                      <a:pt x="296" y="16"/>
                    </a:lnTo>
                    <a:lnTo>
                      <a:pt x="294" y="24"/>
                    </a:lnTo>
                    <a:lnTo>
                      <a:pt x="294" y="28"/>
                    </a:lnTo>
                    <a:lnTo>
                      <a:pt x="294" y="28"/>
                    </a:lnTo>
                    <a:lnTo>
                      <a:pt x="300" y="26"/>
                    </a:lnTo>
                    <a:lnTo>
                      <a:pt x="308" y="28"/>
                    </a:lnTo>
                    <a:lnTo>
                      <a:pt x="320" y="32"/>
                    </a:lnTo>
                    <a:lnTo>
                      <a:pt x="324" y="30"/>
                    </a:lnTo>
                    <a:lnTo>
                      <a:pt x="326" y="34"/>
                    </a:lnTo>
                    <a:lnTo>
                      <a:pt x="320" y="38"/>
                    </a:lnTo>
                    <a:lnTo>
                      <a:pt x="322" y="42"/>
                    </a:lnTo>
                    <a:lnTo>
                      <a:pt x="322" y="42"/>
                    </a:lnTo>
                    <a:lnTo>
                      <a:pt x="326" y="42"/>
                    </a:lnTo>
                    <a:lnTo>
                      <a:pt x="332" y="42"/>
                    </a:lnTo>
                    <a:lnTo>
                      <a:pt x="344" y="36"/>
                    </a:lnTo>
                    <a:lnTo>
                      <a:pt x="354" y="28"/>
                    </a:lnTo>
                    <a:lnTo>
                      <a:pt x="362" y="22"/>
                    </a:lnTo>
                    <a:lnTo>
                      <a:pt x="362" y="26"/>
                    </a:lnTo>
                    <a:lnTo>
                      <a:pt x="358" y="32"/>
                    </a:lnTo>
                    <a:lnTo>
                      <a:pt x="358" y="32"/>
                    </a:lnTo>
                    <a:lnTo>
                      <a:pt x="366" y="36"/>
                    </a:lnTo>
                    <a:lnTo>
                      <a:pt x="372" y="44"/>
                    </a:lnTo>
                    <a:lnTo>
                      <a:pt x="384" y="62"/>
                    </a:lnTo>
                    <a:lnTo>
                      <a:pt x="394" y="82"/>
                    </a:lnTo>
                    <a:lnTo>
                      <a:pt x="402" y="98"/>
                    </a:lnTo>
                    <a:lnTo>
                      <a:pt x="410" y="88"/>
                    </a:lnTo>
                    <a:lnTo>
                      <a:pt x="416" y="92"/>
                    </a:lnTo>
                    <a:lnTo>
                      <a:pt x="418" y="100"/>
                    </a:lnTo>
                    <a:lnTo>
                      <a:pt x="418" y="100"/>
                    </a:lnTo>
                    <a:lnTo>
                      <a:pt x="430" y="100"/>
                    </a:lnTo>
                    <a:lnTo>
                      <a:pt x="438" y="98"/>
                    </a:lnTo>
                    <a:lnTo>
                      <a:pt x="442" y="94"/>
                    </a:lnTo>
                    <a:lnTo>
                      <a:pt x="464" y="122"/>
                    </a:lnTo>
                    <a:lnTo>
                      <a:pt x="476" y="124"/>
                    </a:lnTo>
                    <a:lnTo>
                      <a:pt x="480" y="120"/>
                    </a:lnTo>
                    <a:lnTo>
                      <a:pt x="486" y="132"/>
                    </a:lnTo>
                    <a:lnTo>
                      <a:pt x="486" y="132"/>
                    </a:lnTo>
                    <a:lnTo>
                      <a:pt x="484" y="140"/>
                    </a:lnTo>
                    <a:lnTo>
                      <a:pt x="478" y="146"/>
                    </a:lnTo>
                    <a:lnTo>
                      <a:pt x="472" y="148"/>
                    </a:lnTo>
                    <a:lnTo>
                      <a:pt x="472" y="148"/>
                    </a:lnTo>
                    <a:lnTo>
                      <a:pt x="468" y="160"/>
                    </a:lnTo>
                    <a:lnTo>
                      <a:pt x="468" y="172"/>
                    </a:lnTo>
                    <a:lnTo>
                      <a:pt x="460" y="176"/>
                    </a:lnTo>
                    <a:lnTo>
                      <a:pt x="456" y="172"/>
                    </a:lnTo>
                    <a:lnTo>
                      <a:pt x="448" y="174"/>
                    </a:lnTo>
                    <a:lnTo>
                      <a:pt x="448" y="174"/>
                    </a:lnTo>
                    <a:lnTo>
                      <a:pt x="442" y="170"/>
                    </a:lnTo>
                    <a:lnTo>
                      <a:pt x="436" y="170"/>
                    </a:lnTo>
                    <a:lnTo>
                      <a:pt x="436" y="170"/>
                    </a:lnTo>
                    <a:lnTo>
                      <a:pt x="430" y="188"/>
                    </a:lnTo>
                    <a:lnTo>
                      <a:pt x="428" y="196"/>
                    </a:lnTo>
                    <a:lnTo>
                      <a:pt x="430" y="206"/>
                    </a:lnTo>
                    <a:lnTo>
                      <a:pt x="430" y="206"/>
                    </a:lnTo>
                    <a:lnTo>
                      <a:pt x="414" y="208"/>
                    </a:lnTo>
                    <a:lnTo>
                      <a:pt x="400" y="212"/>
                    </a:lnTo>
                    <a:lnTo>
                      <a:pt x="400" y="212"/>
                    </a:lnTo>
                    <a:lnTo>
                      <a:pt x="404" y="218"/>
                    </a:lnTo>
                    <a:lnTo>
                      <a:pt x="406" y="228"/>
                    </a:lnTo>
                    <a:lnTo>
                      <a:pt x="410" y="244"/>
                    </a:lnTo>
                    <a:lnTo>
                      <a:pt x="406" y="246"/>
                    </a:lnTo>
                    <a:lnTo>
                      <a:pt x="404" y="256"/>
                    </a:lnTo>
                    <a:lnTo>
                      <a:pt x="394" y="254"/>
                    </a:lnTo>
                    <a:lnTo>
                      <a:pt x="392" y="248"/>
                    </a:lnTo>
                    <a:lnTo>
                      <a:pt x="392" y="248"/>
                    </a:lnTo>
                    <a:lnTo>
                      <a:pt x="374" y="246"/>
                    </a:lnTo>
                    <a:lnTo>
                      <a:pt x="356" y="246"/>
                    </a:lnTo>
                    <a:lnTo>
                      <a:pt x="340" y="246"/>
                    </a:lnTo>
                    <a:lnTo>
                      <a:pt x="334" y="244"/>
                    </a:lnTo>
                    <a:lnTo>
                      <a:pt x="330" y="240"/>
                    </a:lnTo>
                    <a:lnTo>
                      <a:pt x="322" y="244"/>
                    </a:lnTo>
                    <a:lnTo>
                      <a:pt x="320" y="254"/>
                    </a:lnTo>
                    <a:lnTo>
                      <a:pt x="320" y="254"/>
                    </a:lnTo>
                    <a:lnTo>
                      <a:pt x="306" y="248"/>
                    </a:lnTo>
                    <a:lnTo>
                      <a:pt x="300" y="248"/>
                    </a:lnTo>
                    <a:lnTo>
                      <a:pt x="294" y="250"/>
                    </a:lnTo>
                    <a:lnTo>
                      <a:pt x="294" y="250"/>
                    </a:lnTo>
                    <a:lnTo>
                      <a:pt x="292" y="256"/>
                    </a:lnTo>
                    <a:lnTo>
                      <a:pt x="288" y="260"/>
                    </a:lnTo>
                    <a:lnTo>
                      <a:pt x="286" y="260"/>
                    </a:lnTo>
                    <a:lnTo>
                      <a:pt x="282" y="266"/>
                    </a:lnTo>
                    <a:lnTo>
                      <a:pt x="282" y="266"/>
                    </a:lnTo>
                    <a:lnTo>
                      <a:pt x="274" y="270"/>
                    </a:lnTo>
                    <a:lnTo>
                      <a:pt x="266" y="278"/>
                    </a:lnTo>
                    <a:lnTo>
                      <a:pt x="266" y="278"/>
                    </a:lnTo>
                    <a:lnTo>
                      <a:pt x="260" y="276"/>
                    </a:lnTo>
                    <a:lnTo>
                      <a:pt x="254" y="274"/>
                    </a:lnTo>
                    <a:lnTo>
                      <a:pt x="248" y="274"/>
                    </a:lnTo>
                    <a:lnTo>
                      <a:pt x="244" y="276"/>
                    </a:lnTo>
                    <a:lnTo>
                      <a:pt x="242" y="264"/>
                    </a:lnTo>
                    <a:lnTo>
                      <a:pt x="234" y="264"/>
                    </a:lnTo>
                    <a:lnTo>
                      <a:pt x="234" y="256"/>
                    </a:lnTo>
                    <a:lnTo>
                      <a:pt x="236" y="256"/>
                    </a:lnTo>
                    <a:lnTo>
                      <a:pt x="236" y="246"/>
                    </a:lnTo>
                    <a:lnTo>
                      <a:pt x="232" y="246"/>
                    </a:lnTo>
                    <a:lnTo>
                      <a:pt x="232" y="246"/>
                    </a:lnTo>
                    <a:lnTo>
                      <a:pt x="228" y="238"/>
                    </a:lnTo>
                    <a:lnTo>
                      <a:pt x="220" y="232"/>
                    </a:lnTo>
                    <a:lnTo>
                      <a:pt x="186" y="236"/>
                    </a:lnTo>
                    <a:lnTo>
                      <a:pt x="186" y="236"/>
                    </a:lnTo>
                    <a:lnTo>
                      <a:pt x="166" y="214"/>
                    </a:lnTo>
                    <a:lnTo>
                      <a:pt x="154" y="204"/>
                    </a:lnTo>
                    <a:lnTo>
                      <a:pt x="144" y="198"/>
                    </a:lnTo>
                    <a:lnTo>
                      <a:pt x="112" y="210"/>
                    </a:lnTo>
                    <a:lnTo>
                      <a:pt x="114" y="274"/>
                    </a:lnTo>
                    <a:lnTo>
                      <a:pt x="110" y="274"/>
                    </a:lnTo>
                    <a:lnTo>
                      <a:pt x="104" y="272"/>
                    </a:lnTo>
                    <a:lnTo>
                      <a:pt x="98" y="260"/>
                    </a:lnTo>
                    <a:lnTo>
                      <a:pt x="92" y="256"/>
                    </a:lnTo>
                    <a:lnTo>
                      <a:pt x="92" y="256"/>
                    </a:lnTo>
                    <a:lnTo>
                      <a:pt x="80" y="258"/>
                    </a:lnTo>
                    <a:lnTo>
                      <a:pt x="74" y="262"/>
                    </a:lnTo>
                    <a:lnTo>
                      <a:pt x="70" y="266"/>
                    </a:lnTo>
                    <a:lnTo>
                      <a:pt x="70" y="256"/>
                    </a:lnTo>
                    <a:lnTo>
                      <a:pt x="72" y="254"/>
                    </a:lnTo>
                    <a:lnTo>
                      <a:pt x="74" y="250"/>
                    </a:lnTo>
                    <a:lnTo>
                      <a:pt x="64" y="246"/>
                    </a:lnTo>
                    <a:lnTo>
                      <a:pt x="62" y="242"/>
                    </a:lnTo>
                    <a:lnTo>
                      <a:pt x="58" y="242"/>
                    </a:lnTo>
                    <a:lnTo>
                      <a:pt x="58" y="242"/>
                    </a:lnTo>
                    <a:lnTo>
                      <a:pt x="58" y="238"/>
                    </a:lnTo>
                    <a:lnTo>
                      <a:pt x="56" y="232"/>
                    </a:lnTo>
                    <a:lnTo>
                      <a:pt x="50" y="224"/>
                    </a:lnTo>
                    <a:lnTo>
                      <a:pt x="46" y="222"/>
                    </a:lnTo>
                    <a:lnTo>
                      <a:pt x="44" y="218"/>
                    </a:lnTo>
                    <a:lnTo>
                      <a:pt x="44" y="218"/>
                    </a:lnTo>
                    <a:lnTo>
                      <a:pt x="46" y="216"/>
                    </a:lnTo>
                    <a:lnTo>
                      <a:pt x="52" y="216"/>
                    </a:lnTo>
                    <a:lnTo>
                      <a:pt x="60" y="218"/>
                    </a:lnTo>
                    <a:lnTo>
                      <a:pt x="58" y="210"/>
                    </a:lnTo>
                    <a:lnTo>
                      <a:pt x="58" y="206"/>
                    </a:lnTo>
                    <a:lnTo>
                      <a:pt x="66" y="206"/>
                    </a:lnTo>
                    <a:lnTo>
                      <a:pt x="72" y="202"/>
                    </a:lnTo>
                    <a:lnTo>
                      <a:pt x="78" y="206"/>
                    </a:lnTo>
                    <a:lnTo>
                      <a:pt x="84" y="204"/>
                    </a:lnTo>
                    <a:lnTo>
                      <a:pt x="84" y="204"/>
                    </a:lnTo>
                    <a:lnTo>
                      <a:pt x="90" y="206"/>
                    </a:lnTo>
                    <a:lnTo>
                      <a:pt x="98" y="208"/>
                    </a:lnTo>
                    <a:lnTo>
                      <a:pt x="98" y="206"/>
                    </a:lnTo>
                    <a:lnTo>
                      <a:pt x="96" y="204"/>
                    </a:lnTo>
                    <a:lnTo>
                      <a:pt x="100" y="204"/>
                    </a:lnTo>
                    <a:lnTo>
                      <a:pt x="100" y="204"/>
                    </a:lnTo>
                    <a:lnTo>
                      <a:pt x="96" y="198"/>
                    </a:lnTo>
                    <a:lnTo>
                      <a:pt x="92" y="192"/>
                    </a:lnTo>
                    <a:lnTo>
                      <a:pt x="90" y="192"/>
                    </a:lnTo>
                    <a:lnTo>
                      <a:pt x="90" y="192"/>
                    </a:lnTo>
                    <a:lnTo>
                      <a:pt x="82" y="182"/>
                    </a:lnTo>
                    <a:lnTo>
                      <a:pt x="74" y="170"/>
                    </a:lnTo>
                    <a:lnTo>
                      <a:pt x="64" y="172"/>
                    </a:lnTo>
                    <a:lnTo>
                      <a:pt x="64" y="170"/>
                    </a:lnTo>
                    <a:lnTo>
                      <a:pt x="54" y="168"/>
                    </a:lnTo>
                    <a:lnTo>
                      <a:pt x="46" y="176"/>
                    </a:lnTo>
                    <a:lnTo>
                      <a:pt x="24" y="180"/>
                    </a:lnTo>
                    <a:lnTo>
                      <a:pt x="30" y="184"/>
                    </a:lnTo>
                    <a:lnTo>
                      <a:pt x="26" y="186"/>
                    </a:lnTo>
                    <a:lnTo>
                      <a:pt x="18" y="180"/>
                    </a:lnTo>
                    <a:lnTo>
                      <a:pt x="20" y="178"/>
                    </a:lnTo>
                    <a:lnTo>
                      <a:pt x="26" y="176"/>
                    </a:lnTo>
                    <a:lnTo>
                      <a:pt x="24" y="164"/>
                    </a:lnTo>
                    <a:lnTo>
                      <a:pt x="18" y="156"/>
                    </a:lnTo>
                    <a:lnTo>
                      <a:pt x="10" y="158"/>
                    </a:lnTo>
                    <a:lnTo>
                      <a:pt x="6" y="148"/>
                    </a:lnTo>
                    <a:lnTo>
                      <a:pt x="0" y="146"/>
                    </a:lnTo>
                    <a:lnTo>
                      <a:pt x="2" y="134"/>
                    </a:lnTo>
                    <a:lnTo>
                      <a:pt x="6" y="132"/>
                    </a:lnTo>
                    <a:lnTo>
                      <a:pt x="4" y="126"/>
                    </a:lnTo>
                    <a:lnTo>
                      <a:pt x="4" y="126"/>
                    </a:lnTo>
                    <a:lnTo>
                      <a:pt x="8" y="116"/>
                    </a:lnTo>
                    <a:lnTo>
                      <a:pt x="12" y="104"/>
                    </a:lnTo>
                    <a:lnTo>
                      <a:pt x="22" y="118"/>
                    </a:lnTo>
                    <a:lnTo>
                      <a:pt x="28" y="114"/>
                    </a:lnTo>
                    <a:lnTo>
                      <a:pt x="24" y="102"/>
                    </a:lnTo>
                    <a:lnTo>
                      <a:pt x="34" y="98"/>
                    </a:lnTo>
                    <a:lnTo>
                      <a:pt x="34" y="92"/>
                    </a:lnTo>
                    <a:lnTo>
                      <a:pt x="62" y="84"/>
                    </a:lnTo>
                    <a:lnTo>
                      <a:pt x="64" y="78"/>
                    </a:lnTo>
                    <a:lnTo>
                      <a:pt x="70" y="78"/>
                    </a:lnTo>
                    <a:lnTo>
                      <a:pt x="72" y="84"/>
                    </a:lnTo>
                    <a:lnTo>
                      <a:pt x="92" y="92"/>
                    </a:lnTo>
                    <a:lnTo>
                      <a:pt x="96" y="102"/>
                    </a:lnTo>
                    <a:lnTo>
                      <a:pt x="98" y="102"/>
                    </a:lnTo>
                    <a:lnTo>
                      <a:pt x="96" y="96"/>
                    </a:lnTo>
                    <a:lnTo>
                      <a:pt x="100" y="94"/>
                    </a:lnTo>
                    <a:lnTo>
                      <a:pt x="110" y="102"/>
                    </a:lnTo>
                    <a:lnTo>
                      <a:pt x="122" y="94"/>
                    </a:lnTo>
                    <a:lnTo>
                      <a:pt x="130" y="96"/>
                    </a:lnTo>
                    <a:lnTo>
                      <a:pt x="130" y="96"/>
                    </a:lnTo>
                    <a:lnTo>
                      <a:pt x="136" y="94"/>
                    </a:lnTo>
                    <a:lnTo>
                      <a:pt x="140" y="92"/>
                    </a:lnTo>
                    <a:lnTo>
                      <a:pt x="146" y="102"/>
                    </a:lnTo>
                    <a:lnTo>
                      <a:pt x="154" y="104"/>
                    </a:lnTo>
                    <a:lnTo>
                      <a:pt x="162" y="98"/>
                    </a:lnTo>
                    <a:lnTo>
                      <a:pt x="172" y="100"/>
                    </a:lnTo>
                    <a:lnTo>
                      <a:pt x="178" y="98"/>
                    </a:lnTo>
                    <a:lnTo>
                      <a:pt x="182" y="88"/>
                    </a:lnTo>
                    <a:lnTo>
                      <a:pt x="180" y="86"/>
                    </a:lnTo>
                    <a:lnTo>
                      <a:pt x="180" y="86"/>
                    </a:lnTo>
                    <a:lnTo>
                      <a:pt x="174" y="86"/>
                    </a:lnTo>
                    <a:lnTo>
                      <a:pt x="170" y="82"/>
                    </a:lnTo>
                    <a:lnTo>
                      <a:pt x="164" y="78"/>
                    </a:lnTo>
                    <a:lnTo>
                      <a:pt x="162" y="74"/>
                    </a:lnTo>
                    <a:lnTo>
                      <a:pt x="172" y="68"/>
                    </a:lnTo>
                    <a:lnTo>
                      <a:pt x="174" y="64"/>
                    </a:lnTo>
                    <a:lnTo>
                      <a:pt x="170" y="58"/>
                    </a:lnTo>
                    <a:lnTo>
                      <a:pt x="188" y="50"/>
                    </a:lnTo>
                    <a:lnTo>
                      <a:pt x="176" y="46"/>
                    </a:lnTo>
                    <a:lnTo>
                      <a:pt x="176" y="42"/>
                    </a:lnTo>
                    <a:lnTo>
                      <a:pt x="180" y="40"/>
                    </a:lnTo>
                    <a:lnTo>
                      <a:pt x="174" y="40"/>
                    </a:lnTo>
                    <a:lnTo>
                      <a:pt x="176" y="34"/>
                    </a:lnTo>
                    <a:lnTo>
                      <a:pt x="176" y="34"/>
                    </a:lnTo>
                    <a:lnTo>
                      <a:pt x="182" y="34"/>
                    </a:lnTo>
                    <a:lnTo>
                      <a:pt x="190" y="32"/>
                    </a:lnTo>
                    <a:lnTo>
                      <a:pt x="198" y="30"/>
                    </a:lnTo>
                    <a:lnTo>
                      <a:pt x="204" y="26"/>
                    </a:lnTo>
                    <a:lnTo>
                      <a:pt x="210" y="28"/>
                    </a:lnTo>
                    <a:lnTo>
                      <a:pt x="210" y="28"/>
                    </a:lnTo>
                    <a:lnTo>
                      <a:pt x="222" y="20"/>
                    </a:lnTo>
                    <a:lnTo>
                      <a:pt x="234" y="16"/>
                    </a:lnTo>
                    <a:lnTo>
                      <a:pt x="260" y="10"/>
                    </a:lnTo>
                    <a:lnTo>
                      <a:pt x="260"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1" name="Freeform 1660">
                <a:extLst>
                  <a:ext uri="{FF2B5EF4-FFF2-40B4-BE49-F238E27FC236}">
                    <a16:creationId xmlns:a16="http://schemas.microsoft.com/office/drawing/2014/main" id="{D8A780E1-1E32-4D22-9280-324E63CC5C89}"/>
                  </a:ext>
                </a:extLst>
              </p:cNvPr>
              <p:cNvSpPr>
                <a:spLocks/>
              </p:cNvSpPr>
              <p:nvPr/>
            </p:nvSpPr>
            <p:spPr bwMode="auto">
              <a:xfrm>
                <a:off x="3517" y="2336"/>
                <a:ext cx="66" cy="56"/>
              </a:xfrm>
              <a:custGeom>
                <a:avLst/>
                <a:gdLst/>
                <a:ahLst/>
                <a:cxnLst>
                  <a:cxn ang="0">
                    <a:pos x="48" y="56"/>
                  </a:cxn>
                  <a:cxn ang="0">
                    <a:pos x="48" y="46"/>
                  </a:cxn>
                  <a:cxn ang="0">
                    <a:pos x="50" y="44"/>
                  </a:cxn>
                  <a:cxn ang="0">
                    <a:pos x="52" y="48"/>
                  </a:cxn>
                  <a:cxn ang="0">
                    <a:pos x="52" y="48"/>
                  </a:cxn>
                  <a:cxn ang="0">
                    <a:pos x="54" y="40"/>
                  </a:cxn>
                  <a:cxn ang="0">
                    <a:pos x="56" y="30"/>
                  </a:cxn>
                  <a:cxn ang="0">
                    <a:pos x="60" y="26"/>
                  </a:cxn>
                  <a:cxn ang="0">
                    <a:pos x="64" y="26"/>
                  </a:cxn>
                  <a:cxn ang="0">
                    <a:pos x="66" y="28"/>
                  </a:cxn>
                  <a:cxn ang="0">
                    <a:pos x="64" y="24"/>
                  </a:cxn>
                  <a:cxn ang="0">
                    <a:pos x="60" y="22"/>
                  </a:cxn>
                  <a:cxn ang="0">
                    <a:pos x="56" y="22"/>
                  </a:cxn>
                  <a:cxn ang="0">
                    <a:pos x="56" y="22"/>
                  </a:cxn>
                  <a:cxn ang="0">
                    <a:pos x="50" y="10"/>
                  </a:cxn>
                  <a:cxn ang="0">
                    <a:pos x="46" y="6"/>
                  </a:cxn>
                  <a:cxn ang="0">
                    <a:pos x="42" y="2"/>
                  </a:cxn>
                  <a:cxn ang="0">
                    <a:pos x="34" y="12"/>
                  </a:cxn>
                  <a:cxn ang="0">
                    <a:pos x="28" y="10"/>
                  </a:cxn>
                  <a:cxn ang="0">
                    <a:pos x="26" y="6"/>
                  </a:cxn>
                  <a:cxn ang="0">
                    <a:pos x="18" y="0"/>
                  </a:cxn>
                  <a:cxn ang="0">
                    <a:pos x="16" y="4"/>
                  </a:cxn>
                  <a:cxn ang="0">
                    <a:pos x="16" y="4"/>
                  </a:cxn>
                  <a:cxn ang="0">
                    <a:pos x="18" y="8"/>
                  </a:cxn>
                  <a:cxn ang="0">
                    <a:pos x="20" y="12"/>
                  </a:cxn>
                  <a:cxn ang="0">
                    <a:pos x="20" y="12"/>
                  </a:cxn>
                  <a:cxn ang="0">
                    <a:pos x="20" y="12"/>
                  </a:cxn>
                  <a:cxn ang="0">
                    <a:pos x="12" y="10"/>
                  </a:cxn>
                  <a:cxn ang="0">
                    <a:pos x="6" y="8"/>
                  </a:cxn>
                  <a:cxn ang="0">
                    <a:pos x="0" y="10"/>
                  </a:cxn>
                  <a:cxn ang="0">
                    <a:pos x="4" y="14"/>
                  </a:cxn>
                  <a:cxn ang="0">
                    <a:pos x="6" y="16"/>
                  </a:cxn>
                  <a:cxn ang="0">
                    <a:pos x="6" y="22"/>
                  </a:cxn>
                  <a:cxn ang="0">
                    <a:pos x="12" y="28"/>
                  </a:cxn>
                  <a:cxn ang="0">
                    <a:pos x="12" y="32"/>
                  </a:cxn>
                  <a:cxn ang="0">
                    <a:pos x="10" y="32"/>
                  </a:cxn>
                  <a:cxn ang="0">
                    <a:pos x="10" y="34"/>
                  </a:cxn>
                  <a:cxn ang="0">
                    <a:pos x="16" y="38"/>
                  </a:cxn>
                  <a:cxn ang="0">
                    <a:pos x="18" y="38"/>
                  </a:cxn>
                  <a:cxn ang="0">
                    <a:pos x="18" y="42"/>
                  </a:cxn>
                  <a:cxn ang="0">
                    <a:pos x="18" y="44"/>
                  </a:cxn>
                  <a:cxn ang="0">
                    <a:pos x="18" y="46"/>
                  </a:cxn>
                  <a:cxn ang="0">
                    <a:pos x="16" y="46"/>
                  </a:cxn>
                  <a:cxn ang="0">
                    <a:pos x="20" y="50"/>
                  </a:cxn>
                  <a:cxn ang="0">
                    <a:pos x="22" y="50"/>
                  </a:cxn>
                  <a:cxn ang="0">
                    <a:pos x="28" y="42"/>
                  </a:cxn>
                  <a:cxn ang="0">
                    <a:pos x="36" y="38"/>
                  </a:cxn>
                  <a:cxn ang="0">
                    <a:pos x="40" y="40"/>
                  </a:cxn>
                  <a:cxn ang="0">
                    <a:pos x="42" y="48"/>
                  </a:cxn>
                  <a:cxn ang="0">
                    <a:pos x="38" y="52"/>
                  </a:cxn>
                  <a:cxn ang="0">
                    <a:pos x="44" y="56"/>
                  </a:cxn>
                  <a:cxn ang="0">
                    <a:pos x="48" y="56"/>
                  </a:cxn>
                </a:cxnLst>
                <a:rect l="0" t="0" r="r" b="b"/>
                <a:pathLst>
                  <a:path w="66" h="56">
                    <a:moveTo>
                      <a:pt x="48" y="56"/>
                    </a:moveTo>
                    <a:lnTo>
                      <a:pt x="48" y="46"/>
                    </a:lnTo>
                    <a:lnTo>
                      <a:pt x="50" y="44"/>
                    </a:lnTo>
                    <a:lnTo>
                      <a:pt x="52" y="48"/>
                    </a:lnTo>
                    <a:lnTo>
                      <a:pt x="52" y="48"/>
                    </a:lnTo>
                    <a:lnTo>
                      <a:pt x="54" y="40"/>
                    </a:lnTo>
                    <a:lnTo>
                      <a:pt x="56" y="30"/>
                    </a:lnTo>
                    <a:lnTo>
                      <a:pt x="60" y="26"/>
                    </a:lnTo>
                    <a:lnTo>
                      <a:pt x="64" y="26"/>
                    </a:lnTo>
                    <a:lnTo>
                      <a:pt x="66" y="28"/>
                    </a:lnTo>
                    <a:lnTo>
                      <a:pt x="64" y="24"/>
                    </a:lnTo>
                    <a:lnTo>
                      <a:pt x="60" y="22"/>
                    </a:lnTo>
                    <a:lnTo>
                      <a:pt x="56" y="22"/>
                    </a:lnTo>
                    <a:lnTo>
                      <a:pt x="56" y="22"/>
                    </a:lnTo>
                    <a:lnTo>
                      <a:pt x="50" y="10"/>
                    </a:lnTo>
                    <a:lnTo>
                      <a:pt x="46" y="6"/>
                    </a:lnTo>
                    <a:lnTo>
                      <a:pt x="42" y="2"/>
                    </a:lnTo>
                    <a:lnTo>
                      <a:pt x="34" y="12"/>
                    </a:lnTo>
                    <a:lnTo>
                      <a:pt x="28" y="10"/>
                    </a:lnTo>
                    <a:lnTo>
                      <a:pt x="26" y="6"/>
                    </a:lnTo>
                    <a:lnTo>
                      <a:pt x="18" y="0"/>
                    </a:lnTo>
                    <a:lnTo>
                      <a:pt x="16" y="4"/>
                    </a:lnTo>
                    <a:lnTo>
                      <a:pt x="16" y="4"/>
                    </a:lnTo>
                    <a:lnTo>
                      <a:pt x="18" y="8"/>
                    </a:lnTo>
                    <a:lnTo>
                      <a:pt x="20" y="12"/>
                    </a:lnTo>
                    <a:lnTo>
                      <a:pt x="20" y="12"/>
                    </a:lnTo>
                    <a:lnTo>
                      <a:pt x="20" y="12"/>
                    </a:lnTo>
                    <a:lnTo>
                      <a:pt x="12" y="10"/>
                    </a:lnTo>
                    <a:lnTo>
                      <a:pt x="6" y="8"/>
                    </a:lnTo>
                    <a:lnTo>
                      <a:pt x="0" y="10"/>
                    </a:lnTo>
                    <a:lnTo>
                      <a:pt x="4" y="14"/>
                    </a:lnTo>
                    <a:lnTo>
                      <a:pt x="6" y="16"/>
                    </a:lnTo>
                    <a:lnTo>
                      <a:pt x="6" y="22"/>
                    </a:lnTo>
                    <a:lnTo>
                      <a:pt x="12" y="28"/>
                    </a:lnTo>
                    <a:lnTo>
                      <a:pt x="12" y="32"/>
                    </a:lnTo>
                    <a:lnTo>
                      <a:pt x="10" y="32"/>
                    </a:lnTo>
                    <a:lnTo>
                      <a:pt x="10" y="34"/>
                    </a:lnTo>
                    <a:lnTo>
                      <a:pt x="16" y="38"/>
                    </a:lnTo>
                    <a:lnTo>
                      <a:pt x="18" y="38"/>
                    </a:lnTo>
                    <a:lnTo>
                      <a:pt x="18" y="42"/>
                    </a:lnTo>
                    <a:lnTo>
                      <a:pt x="18" y="44"/>
                    </a:lnTo>
                    <a:lnTo>
                      <a:pt x="18" y="46"/>
                    </a:lnTo>
                    <a:lnTo>
                      <a:pt x="16" y="46"/>
                    </a:lnTo>
                    <a:lnTo>
                      <a:pt x="20" y="50"/>
                    </a:lnTo>
                    <a:lnTo>
                      <a:pt x="22" y="50"/>
                    </a:lnTo>
                    <a:lnTo>
                      <a:pt x="28" y="42"/>
                    </a:lnTo>
                    <a:lnTo>
                      <a:pt x="36" y="38"/>
                    </a:lnTo>
                    <a:lnTo>
                      <a:pt x="40" y="40"/>
                    </a:lnTo>
                    <a:lnTo>
                      <a:pt x="42" y="48"/>
                    </a:lnTo>
                    <a:lnTo>
                      <a:pt x="38" y="52"/>
                    </a:lnTo>
                    <a:lnTo>
                      <a:pt x="44" y="56"/>
                    </a:lnTo>
                    <a:lnTo>
                      <a:pt x="48" y="5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2" name="Freeform 1661">
                <a:extLst>
                  <a:ext uri="{FF2B5EF4-FFF2-40B4-BE49-F238E27FC236}">
                    <a16:creationId xmlns:a16="http://schemas.microsoft.com/office/drawing/2014/main" id="{094D4822-6CF9-48D1-BC3E-CF9A8C0167D9}"/>
                  </a:ext>
                </a:extLst>
              </p:cNvPr>
              <p:cNvSpPr>
                <a:spLocks/>
              </p:cNvSpPr>
              <p:nvPr/>
            </p:nvSpPr>
            <p:spPr bwMode="auto">
              <a:xfrm>
                <a:off x="4031" y="2144"/>
                <a:ext cx="380" cy="198"/>
              </a:xfrm>
              <a:custGeom>
                <a:avLst/>
                <a:gdLst/>
                <a:ahLst/>
                <a:cxnLst>
                  <a:cxn ang="0">
                    <a:pos x="334" y="60"/>
                  </a:cxn>
                  <a:cxn ang="0">
                    <a:pos x="334" y="66"/>
                  </a:cxn>
                  <a:cxn ang="0">
                    <a:pos x="332" y="82"/>
                  </a:cxn>
                  <a:cxn ang="0">
                    <a:pos x="334" y="90"/>
                  </a:cxn>
                  <a:cxn ang="0">
                    <a:pos x="352" y="90"/>
                  </a:cxn>
                  <a:cxn ang="0">
                    <a:pos x="364" y="82"/>
                  </a:cxn>
                  <a:cxn ang="0">
                    <a:pos x="368" y="86"/>
                  </a:cxn>
                  <a:cxn ang="0">
                    <a:pos x="376" y="96"/>
                  </a:cxn>
                  <a:cxn ang="0">
                    <a:pos x="380" y="104"/>
                  </a:cxn>
                  <a:cxn ang="0">
                    <a:pos x="348" y="110"/>
                  </a:cxn>
                  <a:cxn ang="0">
                    <a:pos x="340" y="120"/>
                  </a:cxn>
                  <a:cxn ang="0">
                    <a:pos x="328" y="128"/>
                  </a:cxn>
                  <a:cxn ang="0">
                    <a:pos x="324" y="128"/>
                  </a:cxn>
                  <a:cxn ang="0">
                    <a:pos x="308" y="142"/>
                  </a:cxn>
                  <a:cxn ang="0">
                    <a:pos x="302" y="142"/>
                  </a:cxn>
                  <a:cxn ang="0">
                    <a:pos x="290" y="138"/>
                  </a:cxn>
                  <a:cxn ang="0">
                    <a:pos x="284" y="150"/>
                  </a:cxn>
                  <a:cxn ang="0">
                    <a:pos x="290" y="160"/>
                  </a:cxn>
                  <a:cxn ang="0">
                    <a:pos x="280" y="172"/>
                  </a:cxn>
                  <a:cxn ang="0">
                    <a:pos x="264" y="182"/>
                  </a:cxn>
                  <a:cxn ang="0">
                    <a:pos x="244" y="184"/>
                  </a:cxn>
                  <a:cxn ang="0">
                    <a:pos x="224" y="188"/>
                  </a:cxn>
                  <a:cxn ang="0">
                    <a:pos x="222" y="190"/>
                  </a:cxn>
                  <a:cxn ang="0">
                    <a:pos x="204" y="198"/>
                  </a:cxn>
                  <a:cxn ang="0">
                    <a:pos x="198" y="196"/>
                  </a:cxn>
                  <a:cxn ang="0">
                    <a:pos x="182" y="190"/>
                  </a:cxn>
                  <a:cxn ang="0">
                    <a:pos x="176" y="188"/>
                  </a:cxn>
                  <a:cxn ang="0">
                    <a:pos x="162" y="178"/>
                  </a:cxn>
                  <a:cxn ang="0">
                    <a:pos x="156" y="176"/>
                  </a:cxn>
                  <a:cxn ang="0">
                    <a:pos x="122" y="180"/>
                  </a:cxn>
                  <a:cxn ang="0">
                    <a:pos x="108" y="176"/>
                  </a:cxn>
                  <a:cxn ang="0">
                    <a:pos x="96" y="164"/>
                  </a:cxn>
                  <a:cxn ang="0">
                    <a:pos x="62" y="138"/>
                  </a:cxn>
                  <a:cxn ang="0">
                    <a:pos x="56" y="138"/>
                  </a:cxn>
                  <a:cxn ang="0">
                    <a:pos x="34" y="132"/>
                  </a:cxn>
                  <a:cxn ang="0">
                    <a:pos x="36" y="128"/>
                  </a:cxn>
                  <a:cxn ang="0">
                    <a:pos x="36" y="108"/>
                  </a:cxn>
                  <a:cxn ang="0">
                    <a:pos x="28" y="86"/>
                  </a:cxn>
                  <a:cxn ang="0">
                    <a:pos x="16" y="86"/>
                  </a:cxn>
                  <a:cxn ang="0">
                    <a:pos x="14" y="84"/>
                  </a:cxn>
                  <a:cxn ang="0">
                    <a:pos x="8" y="76"/>
                  </a:cxn>
                  <a:cxn ang="0">
                    <a:pos x="0" y="64"/>
                  </a:cxn>
                  <a:cxn ang="0">
                    <a:pos x="2" y="60"/>
                  </a:cxn>
                  <a:cxn ang="0">
                    <a:pos x="22" y="46"/>
                  </a:cxn>
                  <a:cxn ang="0">
                    <a:pos x="78" y="34"/>
                  </a:cxn>
                  <a:cxn ang="0">
                    <a:pos x="86" y="44"/>
                  </a:cxn>
                  <a:cxn ang="0">
                    <a:pos x="116" y="44"/>
                  </a:cxn>
                  <a:cxn ang="0">
                    <a:pos x="122" y="34"/>
                  </a:cxn>
                  <a:cxn ang="0">
                    <a:pos x="122" y="14"/>
                  </a:cxn>
                  <a:cxn ang="0">
                    <a:pos x="170" y="14"/>
                  </a:cxn>
                  <a:cxn ang="0">
                    <a:pos x="172" y="28"/>
                  </a:cxn>
                  <a:cxn ang="0">
                    <a:pos x="190" y="38"/>
                  </a:cxn>
                  <a:cxn ang="0">
                    <a:pos x="208" y="30"/>
                  </a:cxn>
                  <a:cxn ang="0">
                    <a:pos x="224" y="38"/>
                  </a:cxn>
                  <a:cxn ang="0">
                    <a:pos x="250" y="54"/>
                  </a:cxn>
                  <a:cxn ang="0">
                    <a:pos x="274" y="60"/>
                  </a:cxn>
                  <a:cxn ang="0">
                    <a:pos x="292" y="56"/>
                  </a:cxn>
                  <a:cxn ang="0">
                    <a:pos x="312" y="48"/>
                  </a:cxn>
                  <a:cxn ang="0">
                    <a:pos x="334" y="46"/>
                  </a:cxn>
                </a:cxnLst>
                <a:rect l="0" t="0" r="r" b="b"/>
                <a:pathLst>
                  <a:path w="380" h="198">
                    <a:moveTo>
                      <a:pt x="342" y="44"/>
                    </a:moveTo>
                    <a:lnTo>
                      <a:pt x="334" y="60"/>
                    </a:lnTo>
                    <a:lnTo>
                      <a:pt x="334" y="60"/>
                    </a:lnTo>
                    <a:lnTo>
                      <a:pt x="334" y="66"/>
                    </a:lnTo>
                    <a:lnTo>
                      <a:pt x="334" y="74"/>
                    </a:lnTo>
                    <a:lnTo>
                      <a:pt x="332" y="82"/>
                    </a:lnTo>
                    <a:lnTo>
                      <a:pt x="334" y="90"/>
                    </a:lnTo>
                    <a:lnTo>
                      <a:pt x="334" y="90"/>
                    </a:lnTo>
                    <a:lnTo>
                      <a:pt x="344" y="90"/>
                    </a:lnTo>
                    <a:lnTo>
                      <a:pt x="352" y="90"/>
                    </a:lnTo>
                    <a:lnTo>
                      <a:pt x="358" y="88"/>
                    </a:lnTo>
                    <a:lnTo>
                      <a:pt x="364" y="82"/>
                    </a:lnTo>
                    <a:lnTo>
                      <a:pt x="364" y="82"/>
                    </a:lnTo>
                    <a:lnTo>
                      <a:pt x="368" y="86"/>
                    </a:lnTo>
                    <a:lnTo>
                      <a:pt x="372" y="90"/>
                    </a:lnTo>
                    <a:lnTo>
                      <a:pt x="376" y="96"/>
                    </a:lnTo>
                    <a:lnTo>
                      <a:pt x="376" y="102"/>
                    </a:lnTo>
                    <a:lnTo>
                      <a:pt x="380" y="104"/>
                    </a:lnTo>
                    <a:lnTo>
                      <a:pt x="380" y="106"/>
                    </a:lnTo>
                    <a:lnTo>
                      <a:pt x="348" y="110"/>
                    </a:lnTo>
                    <a:lnTo>
                      <a:pt x="348" y="110"/>
                    </a:lnTo>
                    <a:lnTo>
                      <a:pt x="340" y="120"/>
                    </a:lnTo>
                    <a:lnTo>
                      <a:pt x="334" y="126"/>
                    </a:lnTo>
                    <a:lnTo>
                      <a:pt x="328" y="128"/>
                    </a:lnTo>
                    <a:lnTo>
                      <a:pt x="324" y="128"/>
                    </a:lnTo>
                    <a:lnTo>
                      <a:pt x="324" y="128"/>
                    </a:lnTo>
                    <a:lnTo>
                      <a:pt x="316" y="136"/>
                    </a:lnTo>
                    <a:lnTo>
                      <a:pt x="308" y="142"/>
                    </a:lnTo>
                    <a:lnTo>
                      <a:pt x="308" y="142"/>
                    </a:lnTo>
                    <a:lnTo>
                      <a:pt x="302" y="142"/>
                    </a:lnTo>
                    <a:lnTo>
                      <a:pt x="294" y="138"/>
                    </a:lnTo>
                    <a:lnTo>
                      <a:pt x="290" y="138"/>
                    </a:lnTo>
                    <a:lnTo>
                      <a:pt x="284" y="150"/>
                    </a:lnTo>
                    <a:lnTo>
                      <a:pt x="284" y="150"/>
                    </a:lnTo>
                    <a:lnTo>
                      <a:pt x="288" y="156"/>
                    </a:lnTo>
                    <a:lnTo>
                      <a:pt x="290" y="160"/>
                    </a:lnTo>
                    <a:lnTo>
                      <a:pt x="290" y="160"/>
                    </a:lnTo>
                    <a:lnTo>
                      <a:pt x="280" y="172"/>
                    </a:lnTo>
                    <a:lnTo>
                      <a:pt x="272" y="178"/>
                    </a:lnTo>
                    <a:lnTo>
                      <a:pt x="264" y="182"/>
                    </a:lnTo>
                    <a:lnTo>
                      <a:pt x="258" y="184"/>
                    </a:lnTo>
                    <a:lnTo>
                      <a:pt x="244" y="184"/>
                    </a:lnTo>
                    <a:lnTo>
                      <a:pt x="234" y="186"/>
                    </a:lnTo>
                    <a:lnTo>
                      <a:pt x="224" y="188"/>
                    </a:lnTo>
                    <a:lnTo>
                      <a:pt x="224" y="188"/>
                    </a:lnTo>
                    <a:lnTo>
                      <a:pt x="222" y="190"/>
                    </a:lnTo>
                    <a:lnTo>
                      <a:pt x="216" y="194"/>
                    </a:lnTo>
                    <a:lnTo>
                      <a:pt x="204" y="198"/>
                    </a:lnTo>
                    <a:lnTo>
                      <a:pt x="204" y="198"/>
                    </a:lnTo>
                    <a:lnTo>
                      <a:pt x="198" y="196"/>
                    </a:lnTo>
                    <a:lnTo>
                      <a:pt x="190" y="192"/>
                    </a:lnTo>
                    <a:lnTo>
                      <a:pt x="182" y="190"/>
                    </a:lnTo>
                    <a:lnTo>
                      <a:pt x="176" y="188"/>
                    </a:lnTo>
                    <a:lnTo>
                      <a:pt x="176" y="188"/>
                    </a:lnTo>
                    <a:lnTo>
                      <a:pt x="166" y="182"/>
                    </a:lnTo>
                    <a:lnTo>
                      <a:pt x="162" y="178"/>
                    </a:lnTo>
                    <a:lnTo>
                      <a:pt x="156" y="176"/>
                    </a:lnTo>
                    <a:lnTo>
                      <a:pt x="156" y="176"/>
                    </a:lnTo>
                    <a:lnTo>
                      <a:pt x="132" y="178"/>
                    </a:lnTo>
                    <a:lnTo>
                      <a:pt x="122" y="180"/>
                    </a:lnTo>
                    <a:lnTo>
                      <a:pt x="114" y="180"/>
                    </a:lnTo>
                    <a:lnTo>
                      <a:pt x="108" y="176"/>
                    </a:lnTo>
                    <a:lnTo>
                      <a:pt x="102" y="172"/>
                    </a:lnTo>
                    <a:lnTo>
                      <a:pt x="96" y="164"/>
                    </a:lnTo>
                    <a:lnTo>
                      <a:pt x="90" y="150"/>
                    </a:lnTo>
                    <a:lnTo>
                      <a:pt x="62" y="138"/>
                    </a:lnTo>
                    <a:lnTo>
                      <a:pt x="62" y="138"/>
                    </a:lnTo>
                    <a:lnTo>
                      <a:pt x="56" y="138"/>
                    </a:lnTo>
                    <a:lnTo>
                      <a:pt x="48" y="138"/>
                    </a:lnTo>
                    <a:lnTo>
                      <a:pt x="34" y="132"/>
                    </a:lnTo>
                    <a:lnTo>
                      <a:pt x="34" y="132"/>
                    </a:lnTo>
                    <a:lnTo>
                      <a:pt x="36" y="128"/>
                    </a:lnTo>
                    <a:lnTo>
                      <a:pt x="36" y="122"/>
                    </a:lnTo>
                    <a:lnTo>
                      <a:pt x="36" y="108"/>
                    </a:lnTo>
                    <a:lnTo>
                      <a:pt x="32" y="96"/>
                    </a:lnTo>
                    <a:lnTo>
                      <a:pt x="28" y="86"/>
                    </a:lnTo>
                    <a:lnTo>
                      <a:pt x="18" y="84"/>
                    </a:lnTo>
                    <a:lnTo>
                      <a:pt x="16" y="86"/>
                    </a:lnTo>
                    <a:lnTo>
                      <a:pt x="16" y="86"/>
                    </a:lnTo>
                    <a:lnTo>
                      <a:pt x="14" y="84"/>
                    </a:lnTo>
                    <a:lnTo>
                      <a:pt x="10" y="80"/>
                    </a:lnTo>
                    <a:lnTo>
                      <a:pt x="8" y="76"/>
                    </a:lnTo>
                    <a:lnTo>
                      <a:pt x="4" y="74"/>
                    </a:lnTo>
                    <a:lnTo>
                      <a:pt x="0" y="64"/>
                    </a:lnTo>
                    <a:lnTo>
                      <a:pt x="0" y="64"/>
                    </a:lnTo>
                    <a:lnTo>
                      <a:pt x="2" y="60"/>
                    </a:lnTo>
                    <a:lnTo>
                      <a:pt x="8" y="54"/>
                    </a:lnTo>
                    <a:lnTo>
                      <a:pt x="22" y="46"/>
                    </a:lnTo>
                    <a:lnTo>
                      <a:pt x="48" y="32"/>
                    </a:lnTo>
                    <a:lnTo>
                      <a:pt x="78" y="34"/>
                    </a:lnTo>
                    <a:lnTo>
                      <a:pt x="86" y="44"/>
                    </a:lnTo>
                    <a:lnTo>
                      <a:pt x="86" y="44"/>
                    </a:lnTo>
                    <a:lnTo>
                      <a:pt x="104" y="44"/>
                    </a:lnTo>
                    <a:lnTo>
                      <a:pt x="116" y="44"/>
                    </a:lnTo>
                    <a:lnTo>
                      <a:pt x="122" y="42"/>
                    </a:lnTo>
                    <a:lnTo>
                      <a:pt x="122" y="34"/>
                    </a:lnTo>
                    <a:lnTo>
                      <a:pt x="124" y="30"/>
                    </a:lnTo>
                    <a:lnTo>
                      <a:pt x="122" y="14"/>
                    </a:lnTo>
                    <a:lnTo>
                      <a:pt x="138" y="0"/>
                    </a:lnTo>
                    <a:lnTo>
                      <a:pt x="170" y="14"/>
                    </a:lnTo>
                    <a:lnTo>
                      <a:pt x="172" y="28"/>
                    </a:lnTo>
                    <a:lnTo>
                      <a:pt x="172" y="28"/>
                    </a:lnTo>
                    <a:lnTo>
                      <a:pt x="180" y="34"/>
                    </a:lnTo>
                    <a:lnTo>
                      <a:pt x="190" y="38"/>
                    </a:lnTo>
                    <a:lnTo>
                      <a:pt x="208" y="30"/>
                    </a:lnTo>
                    <a:lnTo>
                      <a:pt x="208" y="30"/>
                    </a:lnTo>
                    <a:lnTo>
                      <a:pt x="214" y="32"/>
                    </a:lnTo>
                    <a:lnTo>
                      <a:pt x="224" y="38"/>
                    </a:lnTo>
                    <a:lnTo>
                      <a:pt x="236" y="46"/>
                    </a:lnTo>
                    <a:lnTo>
                      <a:pt x="250" y="54"/>
                    </a:lnTo>
                    <a:lnTo>
                      <a:pt x="266" y="58"/>
                    </a:lnTo>
                    <a:lnTo>
                      <a:pt x="274" y="60"/>
                    </a:lnTo>
                    <a:lnTo>
                      <a:pt x="284" y="58"/>
                    </a:lnTo>
                    <a:lnTo>
                      <a:pt x="292" y="56"/>
                    </a:lnTo>
                    <a:lnTo>
                      <a:pt x="302" y="54"/>
                    </a:lnTo>
                    <a:lnTo>
                      <a:pt x="312" y="48"/>
                    </a:lnTo>
                    <a:lnTo>
                      <a:pt x="320" y="40"/>
                    </a:lnTo>
                    <a:lnTo>
                      <a:pt x="334" y="46"/>
                    </a:lnTo>
                    <a:lnTo>
                      <a:pt x="342" y="4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3" name="Freeform 1662">
                <a:extLst>
                  <a:ext uri="{FF2B5EF4-FFF2-40B4-BE49-F238E27FC236}">
                    <a16:creationId xmlns:a16="http://schemas.microsoft.com/office/drawing/2014/main" id="{794954A3-CAFA-4C4D-B43D-0E8FA5B384F6}"/>
                  </a:ext>
                </a:extLst>
              </p:cNvPr>
              <p:cNvSpPr>
                <a:spLocks/>
              </p:cNvSpPr>
              <p:nvPr/>
            </p:nvSpPr>
            <p:spPr bwMode="auto">
              <a:xfrm>
                <a:off x="3499" y="2346"/>
                <a:ext cx="38" cy="40"/>
              </a:xfrm>
              <a:custGeom>
                <a:avLst/>
                <a:gdLst/>
                <a:ahLst/>
                <a:cxnLst>
                  <a:cxn ang="0">
                    <a:pos x="16" y="28"/>
                  </a:cxn>
                  <a:cxn ang="0">
                    <a:pos x="18" y="26"/>
                  </a:cxn>
                  <a:cxn ang="0">
                    <a:pos x="24" y="30"/>
                  </a:cxn>
                  <a:cxn ang="0">
                    <a:pos x="28" y="30"/>
                  </a:cxn>
                  <a:cxn ang="0">
                    <a:pos x="28" y="30"/>
                  </a:cxn>
                  <a:cxn ang="0">
                    <a:pos x="30" y="34"/>
                  </a:cxn>
                  <a:cxn ang="0">
                    <a:pos x="30" y="40"/>
                  </a:cxn>
                  <a:cxn ang="0">
                    <a:pos x="30" y="40"/>
                  </a:cxn>
                  <a:cxn ang="0">
                    <a:pos x="34" y="40"/>
                  </a:cxn>
                  <a:cxn ang="0">
                    <a:pos x="38" y="40"/>
                  </a:cxn>
                  <a:cxn ang="0">
                    <a:pos x="34" y="36"/>
                  </a:cxn>
                  <a:cxn ang="0">
                    <a:pos x="36" y="36"/>
                  </a:cxn>
                  <a:cxn ang="0">
                    <a:pos x="36" y="34"/>
                  </a:cxn>
                  <a:cxn ang="0">
                    <a:pos x="36" y="32"/>
                  </a:cxn>
                  <a:cxn ang="0">
                    <a:pos x="36" y="28"/>
                  </a:cxn>
                  <a:cxn ang="0">
                    <a:pos x="34" y="28"/>
                  </a:cxn>
                  <a:cxn ang="0">
                    <a:pos x="28" y="24"/>
                  </a:cxn>
                  <a:cxn ang="0">
                    <a:pos x="28" y="22"/>
                  </a:cxn>
                  <a:cxn ang="0">
                    <a:pos x="30" y="22"/>
                  </a:cxn>
                  <a:cxn ang="0">
                    <a:pos x="30" y="18"/>
                  </a:cxn>
                  <a:cxn ang="0">
                    <a:pos x="24" y="12"/>
                  </a:cxn>
                  <a:cxn ang="0">
                    <a:pos x="24" y="6"/>
                  </a:cxn>
                  <a:cxn ang="0">
                    <a:pos x="22" y="4"/>
                  </a:cxn>
                  <a:cxn ang="0">
                    <a:pos x="18" y="0"/>
                  </a:cxn>
                  <a:cxn ang="0">
                    <a:pos x="0" y="2"/>
                  </a:cxn>
                  <a:cxn ang="0">
                    <a:pos x="0" y="2"/>
                  </a:cxn>
                  <a:cxn ang="0">
                    <a:pos x="2" y="6"/>
                  </a:cxn>
                  <a:cxn ang="0">
                    <a:pos x="4" y="8"/>
                  </a:cxn>
                  <a:cxn ang="0">
                    <a:pos x="4" y="16"/>
                  </a:cxn>
                  <a:cxn ang="0">
                    <a:pos x="4" y="16"/>
                  </a:cxn>
                  <a:cxn ang="0">
                    <a:pos x="6" y="20"/>
                  </a:cxn>
                  <a:cxn ang="0">
                    <a:pos x="10" y="22"/>
                  </a:cxn>
                  <a:cxn ang="0">
                    <a:pos x="14" y="24"/>
                  </a:cxn>
                  <a:cxn ang="0">
                    <a:pos x="16" y="28"/>
                  </a:cxn>
                  <a:cxn ang="0">
                    <a:pos x="16" y="28"/>
                  </a:cxn>
                </a:cxnLst>
                <a:rect l="0" t="0" r="r" b="b"/>
                <a:pathLst>
                  <a:path w="38" h="40">
                    <a:moveTo>
                      <a:pt x="16" y="28"/>
                    </a:moveTo>
                    <a:lnTo>
                      <a:pt x="18" y="26"/>
                    </a:lnTo>
                    <a:lnTo>
                      <a:pt x="24" y="30"/>
                    </a:lnTo>
                    <a:lnTo>
                      <a:pt x="28" y="30"/>
                    </a:lnTo>
                    <a:lnTo>
                      <a:pt x="28" y="30"/>
                    </a:lnTo>
                    <a:lnTo>
                      <a:pt x="30" y="34"/>
                    </a:lnTo>
                    <a:lnTo>
                      <a:pt x="30" y="40"/>
                    </a:lnTo>
                    <a:lnTo>
                      <a:pt x="30" y="40"/>
                    </a:lnTo>
                    <a:lnTo>
                      <a:pt x="34" y="40"/>
                    </a:lnTo>
                    <a:lnTo>
                      <a:pt x="38" y="40"/>
                    </a:lnTo>
                    <a:lnTo>
                      <a:pt x="34" y="36"/>
                    </a:lnTo>
                    <a:lnTo>
                      <a:pt x="36" y="36"/>
                    </a:lnTo>
                    <a:lnTo>
                      <a:pt x="36" y="34"/>
                    </a:lnTo>
                    <a:lnTo>
                      <a:pt x="36" y="32"/>
                    </a:lnTo>
                    <a:lnTo>
                      <a:pt x="36" y="28"/>
                    </a:lnTo>
                    <a:lnTo>
                      <a:pt x="34" y="28"/>
                    </a:lnTo>
                    <a:lnTo>
                      <a:pt x="28" y="24"/>
                    </a:lnTo>
                    <a:lnTo>
                      <a:pt x="28" y="22"/>
                    </a:lnTo>
                    <a:lnTo>
                      <a:pt x="30" y="22"/>
                    </a:lnTo>
                    <a:lnTo>
                      <a:pt x="30" y="18"/>
                    </a:lnTo>
                    <a:lnTo>
                      <a:pt x="24" y="12"/>
                    </a:lnTo>
                    <a:lnTo>
                      <a:pt x="24" y="6"/>
                    </a:lnTo>
                    <a:lnTo>
                      <a:pt x="22" y="4"/>
                    </a:lnTo>
                    <a:lnTo>
                      <a:pt x="18" y="0"/>
                    </a:lnTo>
                    <a:lnTo>
                      <a:pt x="0" y="2"/>
                    </a:lnTo>
                    <a:lnTo>
                      <a:pt x="0" y="2"/>
                    </a:lnTo>
                    <a:lnTo>
                      <a:pt x="2" y="6"/>
                    </a:lnTo>
                    <a:lnTo>
                      <a:pt x="4" y="8"/>
                    </a:lnTo>
                    <a:lnTo>
                      <a:pt x="4" y="16"/>
                    </a:lnTo>
                    <a:lnTo>
                      <a:pt x="4" y="16"/>
                    </a:lnTo>
                    <a:lnTo>
                      <a:pt x="6" y="20"/>
                    </a:lnTo>
                    <a:lnTo>
                      <a:pt x="10" y="22"/>
                    </a:lnTo>
                    <a:lnTo>
                      <a:pt x="14" y="24"/>
                    </a:lnTo>
                    <a:lnTo>
                      <a:pt x="16" y="28"/>
                    </a:lnTo>
                    <a:lnTo>
                      <a:pt x="16" y="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4" name="Freeform 1663">
                <a:extLst>
                  <a:ext uri="{FF2B5EF4-FFF2-40B4-BE49-F238E27FC236}">
                    <a16:creationId xmlns:a16="http://schemas.microsoft.com/office/drawing/2014/main" id="{4CEE9128-808C-45C9-9192-4E2160F0B2FF}"/>
                  </a:ext>
                </a:extLst>
              </p:cNvPr>
              <p:cNvSpPr>
                <a:spLocks/>
              </p:cNvSpPr>
              <p:nvPr/>
            </p:nvSpPr>
            <p:spPr bwMode="auto">
              <a:xfrm>
                <a:off x="3515" y="2372"/>
                <a:ext cx="14" cy="14"/>
              </a:xfrm>
              <a:custGeom>
                <a:avLst/>
                <a:gdLst/>
                <a:ahLst/>
                <a:cxnLst>
                  <a:cxn ang="0">
                    <a:pos x="0" y="2"/>
                  </a:cxn>
                  <a:cxn ang="0">
                    <a:pos x="2" y="0"/>
                  </a:cxn>
                  <a:cxn ang="0">
                    <a:pos x="8" y="4"/>
                  </a:cxn>
                  <a:cxn ang="0">
                    <a:pos x="12" y="4"/>
                  </a:cxn>
                  <a:cxn ang="0">
                    <a:pos x="12" y="4"/>
                  </a:cxn>
                  <a:cxn ang="0">
                    <a:pos x="14" y="8"/>
                  </a:cxn>
                  <a:cxn ang="0">
                    <a:pos x="14" y="14"/>
                  </a:cxn>
                  <a:cxn ang="0">
                    <a:pos x="8" y="14"/>
                  </a:cxn>
                  <a:cxn ang="0">
                    <a:pos x="0" y="2"/>
                  </a:cxn>
                </a:cxnLst>
                <a:rect l="0" t="0" r="r" b="b"/>
                <a:pathLst>
                  <a:path w="14" h="14">
                    <a:moveTo>
                      <a:pt x="0" y="2"/>
                    </a:moveTo>
                    <a:lnTo>
                      <a:pt x="2" y="0"/>
                    </a:lnTo>
                    <a:lnTo>
                      <a:pt x="8" y="4"/>
                    </a:lnTo>
                    <a:lnTo>
                      <a:pt x="12" y="4"/>
                    </a:lnTo>
                    <a:lnTo>
                      <a:pt x="12" y="4"/>
                    </a:lnTo>
                    <a:lnTo>
                      <a:pt x="14" y="8"/>
                    </a:lnTo>
                    <a:lnTo>
                      <a:pt x="14" y="14"/>
                    </a:lnTo>
                    <a:lnTo>
                      <a:pt x="8" y="14"/>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5" name="Freeform 1664">
                <a:extLst>
                  <a:ext uri="{FF2B5EF4-FFF2-40B4-BE49-F238E27FC236}">
                    <a16:creationId xmlns:a16="http://schemas.microsoft.com/office/drawing/2014/main" id="{F1EB470A-F862-4136-842F-BB4652BE16C1}"/>
                  </a:ext>
                </a:extLst>
              </p:cNvPr>
              <p:cNvSpPr>
                <a:spLocks/>
              </p:cNvSpPr>
              <p:nvPr/>
            </p:nvSpPr>
            <p:spPr bwMode="auto">
              <a:xfrm>
                <a:off x="5117" y="1596"/>
                <a:ext cx="20" cy="28"/>
              </a:xfrm>
              <a:custGeom>
                <a:avLst/>
                <a:gdLst/>
                <a:ahLst/>
                <a:cxnLst>
                  <a:cxn ang="0">
                    <a:pos x="20" y="22"/>
                  </a:cxn>
                  <a:cxn ang="0">
                    <a:pos x="4" y="28"/>
                  </a:cxn>
                  <a:cxn ang="0">
                    <a:pos x="0" y="20"/>
                  </a:cxn>
                  <a:cxn ang="0">
                    <a:pos x="0" y="20"/>
                  </a:cxn>
                  <a:cxn ang="0">
                    <a:pos x="8" y="8"/>
                  </a:cxn>
                  <a:cxn ang="0">
                    <a:pos x="14" y="4"/>
                  </a:cxn>
                  <a:cxn ang="0">
                    <a:pos x="20" y="0"/>
                  </a:cxn>
                  <a:cxn ang="0">
                    <a:pos x="20" y="22"/>
                  </a:cxn>
                </a:cxnLst>
                <a:rect l="0" t="0" r="r" b="b"/>
                <a:pathLst>
                  <a:path w="20" h="28">
                    <a:moveTo>
                      <a:pt x="20" y="22"/>
                    </a:moveTo>
                    <a:lnTo>
                      <a:pt x="4" y="28"/>
                    </a:lnTo>
                    <a:lnTo>
                      <a:pt x="0" y="20"/>
                    </a:lnTo>
                    <a:lnTo>
                      <a:pt x="0" y="20"/>
                    </a:lnTo>
                    <a:lnTo>
                      <a:pt x="8" y="8"/>
                    </a:lnTo>
                    <a:lnTo>
                      <a:pt x="14" y="4"/>
                    </a:lnTo>
                    <a:lnTo>
                      <a:pt x="20" y="0"/>
                    </a:lnTo>
                    <a:lnTo>
                      <a:pt x="20" y="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6" name="Freeform 1665">
                <a:extLst>
                  <a:ext uri="{FF2B5EF4-FFF2-40B4-BE49-F238E27FC236}">
                    <a16:creationId xmlns:a16="http://schemas.microsoft.com/office/drawing/2014/main" id="{1C8CE70C-5293-4033-A9B4-048ED2A47193}"/>
                  </a:ext>
                </a:extLst>
              </p:cNvPr>
              <p:cNvSpPr>
                <a:spLocks/>
              </p:cNvSpPr>
              <p:nvPr/>
            </p:nvSpPr>
            <p:spPr bwMode="auto">
              <a:xfrm>
                <a:off x="4677" y="2098"/>
                <a:ext cx="38" cy="168"/>
              </a:xfrm>
              <a:custGeom>
                <a:avLst/>
                <a:gdLst/>
                <a:ahLst/>
                <a:cxnLst>
                  <a:cxn ang="0">
                    <a:pos x="16" y="4"/>
                  </a:cxn>
                  <a:cxn ang="0">
                    <a:pos x="16" y="4"/>
                  </a:cxn>
                  <a:cxn ang="0">
                    <a:pos x="24" y="64"/>
                  </a:cxn>
                  <a:cxn ang="0">
                    <a:pos x="30" y="96"/>
                  </a:cxn>
                  <a:cxn ang="0">
                    <a:pos x="34" y="108"/>
                  </a:cxn>
                  <a:cxn ang="0">
                    <a:pos x="38" y="114"/>
                  </a:cxn>
                  <a:cxn ang="0">
                    <a:pos x="34" y="116"/>
                  </a:cxn>
                  <a:cxn ang="0">
                    <a:pos x="26" y="104"/>
                  </a:cxn>
                  <a:cxn ang="0">
                    <a:pos x="18" y="106"/>
                  </a:cxn>
                  <a:cxn ang="0">
                    <a:pos x="12" y="126"/>
                  </a:cxn>
                  <a:cxn ang="0">
                    <a:pos x="24" y="160"/>
                  </a:cxn>
                  <a:cxn ang="0">
                    <a:pos x="18" y="164"/>
                  </a:cxn>
                  <a:cxn ang="0">
                    <a:pos x="10" y="156"/>
                  </a:cxn>
                  <a:cxn ang="0">
                    <a:pos x="6" y="168"/>
                  </a:cxn>
                  <a:cxn ang="0">
                    <a:pos x="0" y="162"/>
                  </a:cxn>
                  <a:cxn ang="0">
                    <a:pos x="0" y="162"/>
                  </a:cxn>
                  <a:cxn ang="0">
                    <a:pos x="2" y="148"/>
                  </a:cxn>
                  <a:cxn ang="0">
                    <a:pos x="4" y="132"/>
                  </a:cxn>
                  <a:cxn ang="0">
                    <a:pos x="6" y="92"/>
                  </a:cxn>
                  <a:cxn ang="0">
                    <a:pos x="4" y="52"/>
                  </a:cxn>
                  <a:cxn ang="0">
                    <a:pos x="2" y="22"/>
                  </a:cxn>
                  <a:cxn ang="0">
                    <a:pos x="10" y="18"/>
                  </a:cxn>
                  <a:cxn ang="0">
                    <a:pos x="8" y="0"/>
                  </a:cxn>
                  <a:cxn ang="0">
                    <a:pos x="16" y="4"/>
                  </a:cxn>
                </a:cxnLst>
                <a:rect l="0" t="0" r="r" b="b"/>
                <a:pathLst>
                  <a:path w="38" h="168">
                    <a:moveTo>
                      <a:pt x="16" y="4"/>
                    </a:moveTo>
                    <a:lnTo>
                      <a:pt x="16" y="4"/>
                    </a:lnTo>
                    <a:lnTo>
                      <a:pt x="24" y="64"/>
                    </a:lnTo>
                    <a:lnTo>
                      <a:pt x="30" y="96"/>
                    </a:lnTo>
                    <a:lnTo>
                      <a:pt x="34" y="108"/>
                    </a:lnTo>
                    <a:lnTo>
                      <a:pt x="38" y="114"/>
                    </a:lnTo>
                    <a:lnTo>
                      <a:pt x="34" y="116"/>
                    </a:lnTo>
                    <a:lnTo>
                      <a:pt x="26" y="104"/>
                    </a:lnTo>
                    <a:lnTo>
                      <a:pt x="18" y="106"/>
                    </a:lnTo>
                    <a:lnTo>
                      <a:pt x="12" y="126"/>
                    </a:lnTo>
                    <a:lnTo>
                      <a:pt x="24" y="160"/>
                    </a:lnTo>
                    <a:lnTo>
                      <a:pt x="18" y="164"/>
                    </a:lnTo>
                    <a:lnTo>
                      <a:pt x="10" y="156"/>
                    </a:lnTo>
                    <a:lnTo>
                      <a:pt x="6" y="168"/>
                    </a:lnTo>
                    <a:lnTo>
                      <a:pt x="0" y="162"/>
                    </a:lnTo>
                    <a:lnTo>
                      <a:pt x="0" y="162"/>
                    </a:lnTo>
                    <a:lnTo>
                      <a:pt x="2" y="148"/>
                    </a:lnTo>
                    <a:lnTo>
                      <a:pt x="4" y="132"/>
                    </a:lnTo>
                    <a:lnTo>
                      <a:pt x="6" y="92"/>
                    </a:lnTo>
                    <a:lnTo>
                      <a:pt x="4" y="52"/>
                    </a:lnTo>
                    <a:lnTo>
                      <a:pt x="2" y="22"/>
                    </a:lnTo>
                    <a:lnTo>
                      <a:pt x="10" y="18"/>
                    </a:lnTo>
                    <a:lnTo>
                      <a:pt x="8" y="0"/>
                    </a:lnTo>
                    <a:lnTo>
                      <a:pt x="16"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7" name="Freeform 1666">
                <a:extLst>
                  <a:ext uri="{FF2B5EF4-FFF2-40B4-BE49-F238E27FC236}">
                    <a16:creationId xmlns:a16="http://schemas.microsoft.com/office/drawing/2014/main" id="{88FEF8A2-D05F-41E2-946B-79556103A0C5}"/>
                  </a:ext>
                </a:extLst>
              </p:cNvPr>
              <p:cNvSpPr>
                <a:spLocks/>
              </p:cNvSpPr>
              <p:nvPr/>
            </p:nvSpPr>
            <p:spPr bwMode="auto">
              <a:xfrm>
                <a:off x="4841" y="2174"/>
                <a:ext cx="14" cy="12"/>
              </a:xfrm>
              <a:custGeom>
                <a:avLst/>
                <a:gdLst/>
                <a:ahLst/>
                <a:cxnLst>
                  <a:cxn ang="0">
                    <a:pos x="8" y="0"/>
                  </a:cxn>
                  <a:cxn ang="0">
                    <a:pos x="0" y="8"/>
                  </a:cxn>
                  <a:cxn ang="0">
                    <a:pos x="0" y="12"/>
                  </a:cxn>
                  <a:cxn ang="0">
                    <a:pos x="10" y="12"/>
                  </a:cxn>
                  <a:cxn ang="0">
                    <a:pos x="14" y="4"/>
                  </a:cxn>
                  <a:cxn ang="0">
                    <a:pos x="8" y="0"/>
                  </a:cxn>
                </a:cxnLst>
                <a:rect l="0" t="0" r="r" b="b"/>
                <a:pathLst>
                  <a:path w="14" h="12">
                    <a:moveTo>
                      <a:pt x="8" y="0"/>
                    </a:moveTo>
                    <a:lnTo>
                      <a:pt x="0" y="8"/>
                    </a:lnTo>
                    <a:lnTo>
                      <a:pt x="0" y="12"/>
                    </a:lnTo>
                    <a:lnTo>
                      <a:pt x="10" y="12"/>
                    </a:lnTo>
                    <a:lnTo>
                      <a:pt x="14" y="4"/>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8" name="Freeform 1667">
                <a:extLst>
                  <a:ext uri="{FF2B5EF4-FFF2-40B4-BE49-F238E27FC236}">
                    <a16:creationId xmlns:a16="http://schemas.microsoft.com/office/drawing/2014/main" id="{95F30398-6544-422F-B4D0-C52552F13860}"/>
                  </a:ext>
                </a:extLst>
              </p:cNvPr>
              <p:cNvSpPr>
                <a:spLocks/>
              </p:cNvSpPr>
              <p:nvPr/>
            </p:nvSpPr>
            <p:spPr bwMode="auto">
              <a:xfrm>
                <a:off x="4831" y="2192"/>
                <a:ext cx="8" cy="10"/>
              </a:xfrm>
              <a:custGeom>
                <a:avLst/>
                <a:gdLst/>
                <a:ahLst/>
                <a:cxnLst>
                  <a:cxn ang="0">
                    <a:pos x="8" y="0"/>
                  </a:cxn>
                  <a:cxn ang="0">
                    <a:pos x="0" y="10"/>
                  </a:cxn>
                  <a:cxn ang="0">
                    <a:pos x="8" y="10"/>
                  </a:cxn>
                  <a:cxn ang="0">
                    <a:pos x="8" y="0"/>
                  </a:cxn>
                </a:cxnLst>
                <a:rect l="0" t="0" r="r" b="b"/>
                <a:pathLst>
                  <a:path w="8" h="10">
                    <a:moveTo>
                      <a:pt x="8" y="0"/>
                    </a:moveTo>
                    <a:lnTo>
                      <a:pt x="0" y="10"/>
                    </a:lnTo>
                    <a:lnTo>
                      <a:pt x="8" y="10"/>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59" name="Freeform 1668">
                <a:extLst>
                  <a:ext uri="{FF2B5EF4-FFF2-40B4-BE49-F238E27FC236}">
                    <a16:creationId xmlns:a16="http://schemas.microsoft.com/office/drawing/2014/main" id="{5AC3FA80-9A4A-41E1-AA6F-3E7430034819}"/>
                  </a:ext>
                </a:extLst>
              </p:cNvPr>
              <p:cNvSpPr>
                <a:spLocks/>
              </p:cNvSpPr>
              <p:nvPr/>
            </p:nvSpPr>
            <p:spPr bwMode="auto">
              <a:xfrm>
                <a:off x="4821" y="2210"/>
                <a:ext cx="8" cy="10"/>
              </a:xfrm>
              <a:custGeom>
                <a:avLst/>
                <a:gdLst/>
                <a:ahLst/>
                <a:cxnLst>
                  <a:cxn ang="0">
                    <a:pos x="6" y="0"/>
                  </a:cxn>
                  <a:cxn ang="0">
                    <a:pos x="0" y="10"/>
                  </a:cxn>
                  <a:cxn ang="0">
                    <a:pos x="8" y="6"/>
                  </a:cxn>
                  <a:cxn ang="0">
                    <a:pos x="6" y="0"/>
                  </a:cxn>
                </a:cxnLst>
                <a:rect l="0" t="0" r="r" b="b"/>
                <a:pathLst>
                  <a:path w="8" h="10">
                    <a:moveTo>
                      <a:pt x="6" y="0"/>
                    </a:moveTo>
                    <a:lnTo>
                      <a:pt x="0" y="10"/>
                    </a:lnTo>
                    <a:lnTo>
                      <a:pt x="8" y="6"/>
                    </a:lnTo>
                    <a:lnTo>
                      <a:pt x="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0" name="Freeform 1669">
                <a:extLst>
                  <a:ext uri="{FF2B5EF4-FFF2-40B4-BE49-F238E27FC236}">
                    <a16:creationId xmlns:a16="http://schemas.microsoft.com/office/drawing/2014/main" id="{BDDE9032-F791-4A05-A22C-1198BB6BA7EF}"/>
                  </a:ext>
                </a:extLst>
              </p:cNvPr>
              <p:cNvSpPr>
                <a:spLocks/>
              </p:cNvSpPr>
              <p:nvPr/>
            </p:nvSpPr>
            <p:spPr bwMode="auto">
              <a:xfrm>
                <a:off x="4799" y="2236"/>
                <a:ext cx="12" cy="14"/>
              </a:xfrm>
              <a:custGeom>
                <a:avLst/>
                <a:gdLst/>
                <a:ahLst/>
                <a:cxnLst>
                  <a:cxn ang="0">
                    <a:pos x="12" y="0"/>
                  </a:cxn>
                  <a:cxn ang="0">
                    <a:pos x="10" y="10"/>
                  </a:cxn>
                  <a:cxn ang="0">
                    <a:pos x="0" y="14"/>
                  </a:cxn>
                  <a:cxn ang="0">
                    <a:pos x="12" y="0"/>
                  </a:cxn>
                </a:cxnLst>
                <a:rect l="0" t="0" r="r" b="b"/>
                <a:pathLst>
                  <a:path w="12" h="14">
                    <a:moveTo>
                      <a:pt x="12" y="0"/>
                    </a:moveTo>
                    <a:lnTo>
                      <a:pt x="10" y="10"/>
                    </a:lnTo>
                    <a:lnTo>
                      <a:pt x="0" y="14"/>
                    </a:lnTo>
                    <a:lnTo>
                      <a:pt x="1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1" name="Freeform 1670">
                <a:extLst>
                  <a:ext uri="{FF2B5EF4-FFF2-40B4-BE49-F238E27FC236}">
                    <a16:creationId xmlns:a16="http://schemas.microsoft.com/office/drawing/2014/main" id="{25F2E048-9CF4-4365-B1F0-637CC924378C}"/>
                  </a:ext>
                </a:extLst>
              </p:cNvPr>
              <p:cNvSpPr>
                <a:spLocks/>
              </p:cNvSpPr>
              <p:nvPr/>
            </p:nvSpPr>
            <p:spPr bwMode="auto">
              <a:xfrm>
                <a:off x="4773" y="2260"/>
                <a:ext cx="16" cy="12"/>
              </a:xfrm>
              <a:custGeom>
                <a:avLst/>
                <a:gdLst/>
                <a:ahLst/>
                <a:cxnLst>
                  <a:cxn ang="0">
                    <a:pos x="16" y="2"/>
                  </a:cxn>
                  <a:cxn ang="0">
                    <a:pos x="8" y="10"/>
                  </a:cxn>
                  <a:cxn ang="0">
                    <a:pos x="0" y="12"/>
                  </a:cxn>
                  <a:cxn ang="0">
                    <a:pos x="0" y="10"/>
                  </a:cxn>
                  <a:cxn ang="0">
                    <a:pos x="10" y="0"/>
                  </a:cxn>
                  <a:cxn ang="0">
                    <a:pos x="16" y="2"/>
                  </a:cxn>
                </a:cxnLst>
                <a:rect l="0" t="0" r="r" b="b"/>
                <a:pathLst>
                  <a:path w="16" h="12">
                    <a:moveTo>
                      <a:pt x="16" y="2"/>
                    </a:moveTo>
                    <a:lnTo>
                      <a:pt x="8" y="10"/>
                    </a:lnTo>
                    <a:lnTo>
                      <a:pt x="0" y="12"/>
                    </a:lnTo>
                    <a:lnTo>
                      <a:pt x="0" y="10"/>
                    </a:lnTo>
                    <a:lnTo>
                      <a:pt x="10" y="0"/>
                    </a:lnTo>
                    <a:lnTo>
                      <a:pt x="16"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2" name="Freeform 1671">
                <a:extLst>
                  <a:ext uri="{FF2B5EF4-FFF2-40B4-BE49-F238E27FC236}">
                    <a16:creationId xmlns:a16="http://schemas.microsoft.com/office/drawing/2014/main" id="{2984EB93-C26B-4338-ADC3-24FF45F1F939}"/>
                  </a:ext>
                </a:extLst>
              </p:cNvPr>
              <p:cNvSpPr>
                <a:spLocks/>
              </p:cNvSpPr>
              <p:nvPr/>
            </p:nvSpPr>
            <p:spPr bwMode="auto">
              <a:xfrm>
                <a:off x="4741" y="2274"/>
                <a:ext cx="24" cy="18"/>
              </a:xfrm>
              <a:custGeom>
                <a:avLst/>
                <a:gdLst/>
                <a:ahLst/>
                <a:cxnLst>
                  <a:cxn ang="0">
                    <a:pos x="24" y="2"/>
                  </a:cxn>
                  <a:cxn ang="0">
                    <a:pos x="2" y="18"/>
                  </a:cxn>
                  <a:cxn ang="0">
                    <a:pos x="0" y="18"/>
                  </a:cxn>
                  <a:cxn ang="0">
                    <a:pos x="0" y="18"/>
                  </a:cxn>
                  <a:cxn ang="0">
                    <a:pos x="4" y="12"/>
                  </a:cxn>
                  <a:cxn ang="0">
                    <a:pos x="10" y="6"/>
                  </a:cxn>
                  <a:cxn ang="0">
                    <a:pos x="16" y="2"/>
                  </a:cxn>
                  <a:cxn ang="0">
                    <a:pos x="22" y="0"/>
                  </a:cxn>
                  <a:cxn ang="0">
                    <a:pos x="24" y="2"/>
                  </a:cxn>
                </a:cxnLst>
                <a:rect l="0" t="0" r="r" b="b"/>
                <a:pathLst>
                  <a:path w="24" h="18">
                    <a:moveTo>
                      <a:pt x="24" y="2"/>
                    </a:moveTo>
                    <a:lnTo>
                      <a:pt x="2" y="18"/>
                    </a:lnTo>
                    <a:lnTo>
                      <a:pt x="0" y="18"/>
                    </a:lnTo>
                    <a:lnTo>
                      <a:pt x="0" y="18"/>
                    </a:lnTo>
                    <a:lnTo>
                      <a:pt x="4" y="12"/>
                    </a:lnTo>
                    <a:lnTo>
                      <a:pt x="10" y="6"/>
                    </a:lnTo>
                    <a:lnTo>
                      <a:pt x="16" y="2"/>
                    </a:lnTo>
                    <a:lnTo>
                      <a:pt x="22" y="0"/>
                    </a:lnTo>
                    <a:lnTo>
                      <a:pt x="2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3" name="Freeform 1672">
                <a:extLst>
                  <a:ext uri="{FF2B5EF4-FFF2-40B4-BE49-F238E27FC236}">
                    <a16:creationId xmlns:a16="http://schemas.microsoft.com/office/drawing/2014/main" id="{65C5176E-DCC6-418B-884B-C4FE8B88D0C2}"/>
                  </a:ext>
                </a:extLst>
              </p:cNvPr>
              <p:cNvSpPr>
                <a:spLocks/>
              </p:cNvSpPr>
              <p:nvPr/>
            </p:nvSpPr>
            <p:spPr bwMode="auto">
              <a:xfrm>
                <a:off x="5039" y="2122"/>
                <a:ext cx="14" cy="8"/>
              </a:xfrm>
              <a:custGeom>
                <a:avLst/>
                <a:gdLst/>
                <a:ahLst/>
                <a:cxnLst>
                  <a:cxn ang="0">
                    <a:pos x="0" y="2"/>
                  </a:cxn>
                  <a:cxn ang="0">
                    <a:pos x="8" y="0"/>
                  </a:cxn>
                  <a:cxn ang="0">
                    <a:pos x="14" y="8"/>
                  </a:cxn>
                  <a:cxn ang="0">
                    <a:pos x="6" y="8"/>
                  </a:cxn>
                  <a:cxn ang="0">
                    <a:pos x="0" y="2"/>
                  </a:cxn>
                </a:cxnLst>
                <a:rect l="0" t="0" r="r" b="b"/>
                <a:pathLst>
                  <a:path w="14" h="8">
                    <a:moveTo>
                      <a:pt x="0" y="2"/>
                    </a:moveTo>
                    <a:lnTo>
                      <a:pt x="8" y="0"/>
                    </a:lnTo>
                    <a:lnTo>
                      <a:pt x="14" y="8"/>
                    </a:lnTo>
                    <a:lnTo>
                      <a:pt x="6" y="8"/>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4" name="Freeform 1673">
                <a:extLst>
                  <a:ext uri="{FF2B5EF4-FFF2-40B4-BE49-F238E27FC236}">
                    <a16:creationId xmlns:a16="http://schemas.microsoft.com/office/drawing/2014/main" id="{523CD5B6-C27C-420A-B5F1-BA000D87AF4E}"/>
                  </a:ext>
                </a:extLst>
              </p:cNvPr>
              <p:cNvSpPr>
                <a:spLocks/>
              </p:cNvSpPr>
              <p:nvPr/>
            </p:nvSpPr>
            <p:spPr bwMode="auto">
              <a:xfrm>
                <a:off x="5097" y="2140"/>
                <a:ext cx="10" cy="12"/>
              </a:xfrm>
              <a:custGeom>
                <a:avLst/>
                <a:gdLst/>
                <a:ahLst/>
                <a:cxnLst>
                  <a:cxn ang="0">
                    <a:pos x="10" y="0"/>
                  </a:cxn>
                  <a:cxn ang="0">
                    <a:pos x="10" y="8"/>
                  </a:cxn>
                  <a:cxn ang="0">
                    <a:pos x="0" y="12"/>
                  </a:cxn>
                  <a:cxn ang="0">
                    <a:pos x="0" y="6"/>
                  </a:cxn>
                  <a:cxn ang="0">
                    <a:pos x="10" y="0"/>
                  </a:cxn>
                </a:cxnLst>
                <a:rect l="0" t="0" r="r" b="b"/>
                <a:pathLst>
                  <a:path w="10" h="12">
                    <a:moveTo>
                      <a:pt x="10" y="0"/>
                    </a:moveTo>
                    <a:lnTo>
                      <a:pt x="10" y="8"/>
                    </a:lnTo>
                    <a:lnTo>
                      <a:pt x="0" y="12"/>
                    </a:lnTo>
                    <a:lnTo>
                      <a:pt x="0" y="6"/>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5" name="Freeform 1674">
                <a:extLst>
                  <a:ext uri="{FF2B5EF4-FFF2-40B4-BE49-F238E27FC236}">
                    <a16:creationId xmlns:a16="http://schemas.microsoft.com/office/drawing/2014/main" id="{8794FE49-A939-452A-A0B4-C4BA153BAF05}"/>
                  </a:ext>
                </a:extLst>
              </p:cNvPr>
              <p:cNvSpPr>
                <a:spLocks/>
              </p:cNvSpPr>
              <p:nvPr/>
            </p:nvSpPr>
            <p:spPr bwMode="auto">
              <a:xfrm>
                <a:off x="5125" y="2146"/>
                <a:ext cx="12" cy="8"/>
              </a:xfrm>
              <a:custGeom>
                <a:avLst/>
                <a:gdLst/>
                <a:ahLst/>
                <a:cxnLst>
                  <a:cxn ang="0">
                    <a:pos x="4" y="0"/>
                  </a:cxn>
                  <a:cxn ang="0">
                    <a:pos x="12" y="2"/>
                  </a:cxn>
                  <a:cxn ang="0">
                    <a:pos x="6" y="8"/>
                  </a:cxn>
                  <a:cxn ang="0">
                    <a:pos x="0" y="4"/>
                  </a:cxn>
                  <a:cxn ang="0">
                    <a:pos x="4" y="0"/>
                  </a:cxn>
                </a:cxnLst>
                <a:rect l="0" t="0" r="r" b="b"/>
                <a:pathLst>
                  <a:path w="12" h="8">
                    <a:moveTo>
                      <a:pt x="4" y="0"/>
                    </a:moveTo>
                    <a:lnTo>
                      <a:pt x="12" y="2"/>
                    </a:lnTo>
                    <a:lnTo>
                      <a:pt x="6" y="8"/>
                    </a:lnTo>
                    <a:lnTo>
                      <a:pt x="0" y="4"/>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6" name="Freeform 1675">
                <a:extLst>
                  <a:ext uri="{FF2B5EF4-FFF2-40B4-BE49-F238E27FC236}">
                    <a16:creationId xmlns:a16="http://schemas.microsoft.com/office/drawing/2014/main" id="{627D112A-CB61-43F9-B7C3-DD3EBE21C35A}"/>
                  </a:ext>
                </a:extLst>
              </p:cNvPr>
              <p:cNvSpPr>
                <a:spLocks/>
              </p:cNvSpPr>
              <p:nvPr/>
            </p:nvSpPr>
            <p:spPr bwMode="auto">
              <a:xfrm>
                <a:off x="4315" y="1464"/>
                <a:ext cx="22" cy="20"/>
              </a:xfrm>
              <a:custGeom>
                <a:avLst/>
                <a:gdLst/>
                <a:ahLst/>
                <a:cxnLst>
                  <a:cxn ang="0">
                    <a:pos x="22" y="4"/>
                  </a:cxn>
                  <a:cxn ang="0">
                    <a:pos x="22" y="10"/>
                  </a:cxn>
                  <a:cxn ang="0">
                    <a:pos x="16" y="20"/>
                  </a:cxn>
                  <a:cxn ang="0">
                    <a:pos x="0" y="10"/>
                  </a:cxn>
                  <a:cxn ang="0">
                    <a:pos x="6" y="8"/>
                  </a:cxn>
                  <a:cxn ang="0">
                    <a:pos x="6" y="0"/>
                  </a:cxn>
                  <a:cxn ang="0">
                    <a:pos x="6" y="0"/>
                  </a:cxn>
                  <a:cxn ang="0">
                    <a:pos x="14" y="0"/>
                  </a:cxn>
                  <a:cxn ang="0">
                    <a:pos x="20" y="2"/>
                  </a:cxn>
                  <a:cxn ang="0">
                    <a:pos x="22" y="4"/>
                  </a:cxn>
                  <a:cxn ang="0">
                    <a:pos x="22" y="4"/>
                  </a:cxn>
                </a:cxnLst>
                <a:rect l="0" t="0" r="r" b="b"/>
                <a:pathLst>
                  <a:path w="22" h="20">
                    <a:moveTo>
                      <a:pt x="22" y="4"/>
                    </a:moveTo>
                    <a:lnTo>
                      <a:pt x="22" y="10"/>
                    </a:lnTo>
                    <a:lnTo>
                      <a:pt x="16" y="20"/>
                    </a:lnTo>
                    <a:lnTo>
                      <a:pt x="0" y="10"/>
                    </a:lnTo>
                    <a:lnTo>
                      <a:pt x="6" y="8"/>
                    </a:lnTo>
                    <a:lnTo>
                      <a:pt x="6" y="0"/>
                    </a:lnTo>
                    <a:lnTo>
                      <a:pt x="6" y="0"/>
                    </a:lnTo>
                    <a:lnTo>
                      <a:pt x="14" y="0"/>
                    </a:lnTo>
                    <a:lnTo>
                      <a:pt x="20" y="2"/>
                    </a:lnTo>
                    <a:lnTo>
                      <a:pt x="22" y="4"/>
                    </a:lnTo>
                    <a:lnTo>
                      <a:pt x="22"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7" name="Freeform 1676">
                <a:extLst>
                  <a:ext uri="{FF2B5EF4-FFF2-40B4-BE49-F238E27FC236}">
                    <a16:creationId xmlns:a16="http://schemas.microsoft.com/office/drawing/2014/main" id="{DA04B0D6-6D18-4916-BA5F-E61F80BBF3CA}"/>
                  </a:ext>
                </a:extLst>
              </p:cNvPr>
              <p:cNvSpPr>
                <a:spLocks/>
              </p:cNvSpPr>
              <p:nvPr/>
            </p:nvSpPr>
            <p:spPr bwMode="auto">
              <a:xfrm>
                <a:off x="4603" y="1398"/>
                <a:ext cx="6" cy="26"/>
              </a:xfrm>
              <a:custGeom>
                <a:avLst/>
                <a:gdLst/>
                <a:ahLst/>
                <a:cxnLst>
                  <a:cxn ang="0">
                    <a:pos x="2" y="26"/>
                  </a:cxn>
                  <a:cxn ang="0">
                    <a:pos x="0" y="22"/>
                  </a:cxn>
                  <a:cxn ang="0">
                    <a:pos x="0" y="0"/>
                  </a:cxn>
                  <a:cxn ang="0">
                    <a:pos x="6" y="12"/>
                  </a:cxn>
                  <a:cxn ang="0">
                    <a:pos x="2" y="26"/>
                  </a:cxn>
                </a:cxnLst>
                <a:rect l="0" t="0" r="r" b="b"/>
                <a:pathLst>
                  <a:path w="6" h="26">
                    <a:moveTo>
                      <a:pt x="2" y="26"/>
                    </a:moveTo>
                    <a:lnTo>
                      <a:pt x="0" y="22"/>
                    </a:lnTo>
                    <a:lnTo>
                      <a:pt x="0" y="0"/>
                    </a:lnTo>
                    <a:lnTo>
                      <a:pt x="6" y="12"/>
                    </a:lnTo>
                    <a:lnTo>
                      <a:pt x="2"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8" name="Freeform 1677">
                <a:extLst>
                  <a:ext uri="{FF2B5EF4-FFF2-40B4-BE49-F238E27FC236}">
                    <a16:creationId xmlns:a16="http://schemas.microsoft.com/office/drawing/2014/main" id="{7C0C4AD7-0665-463D-A495-AD9E6DC67C75}"/>
                  </a:ext>
                </a:extLst>
              </p:cNvPr>
              <p:cNvSpPr>
                <a:spLocks/>
              </p:cNvSpPr>
              <p:nvPr/>
            </p:nvSpPr>
            <p:spPr bwMode="auto">
              <a:xfrm>
                <a:off x="4615" y="1384"/>
                <a:ext cx="78" cy="72"/>
              </a:xfrm>
              <a:custGeom>
                <a:avLst/>
                <a:gdLst/>
                <a:ahLst/>
                <a:cxnLst>
                  <a:cxn ang="0">
                    <a:pos x="42" y="26"/>
                  </a:cxn>
                  <a:cxn ang="0">
                    <a:pos x="50" y="18"/>
                  </a:cxn>
                  <a:cxn ang="0">
                    <a:pos x="48" y="6"/>
                  </a:cxn>
                  <a:cxn ang="0">
                    <a:pos x="58" y="6"/>
                  </a:cxn>
                  <a:cxn ang="0">
                    <a:pos x="68" y="22"/>
                  </a:cxn>
                  <a:cxn ang="0">
                    <a:pos x="66" y="50"/>
                  </a:cxn>
                  <a:cxn ang="0">
                    <a:pos x="78" y="60"/>
                  </a:cxn>
                  <a:cxn ang="0">
                    <a:pos x="66" y="64"/>
                  </a:cxn>
                  <a:cxn ang="0">
                    <a:pos x="60" y="54"/>
                  </a:cxn>
                  <a:cxn ang="0">
                    <a:pos x="34" y="60"/>
                  </a:cxn>
                  <a:cxn ang="0">
                    <a:pos x="30" y="72"/>
                  </a:cxn>
                  <a:cxn ang="0">
                    <a:pos x="14" y="66"/>
                  </a:cxn>
                  <a:cxn ang="0">
                    <a:pos x="0" y="40"/>
                  </a:cxn>
                  <a:cxn ang="0">
                    <a:pos x="8" y="16"/>
                  </a:cxn>
                  <a:cxn ang="0">
                    <a:pos x="6" y="8"/>
                  </a:cxn>
                  <a:cxn ang="0">
                    <a:pos x="26" y="0"/>
                  </a:cxn>
                  <a:cxn ang="0">
                    <a:pos x="42" y="26"/>
                  </a:cxn>
                </a:cxnLst>
                <a:rect l="0" t="0" r="r" b="b"/>
                <a:pathLst>
                  <a:path w="78" h="72">
                    <a:moveTo>
                      <a:pt x="42" y="26"/>
                    </a:moveTo>
                    <a:lnTo>
                      <a:pt x="50" y="18"/>
                    </a:lnTo>
                    <a:lnTo>
                      <a:pt x="48" y="6"/>
                    </a:lnTo>
                    <a:lnTo>
                      <a:pt x="58" y="6"/>
                    </a:lnTo>
                    <a:lnTo>
                      <a:pt x="68" y="22"/>
                    </a:lnTo>
                    <a:lnTo>
                      <a:pt x="66" y="50"/>
                    </a:lnTo>
                    <a:lnTo>
                      <a:pt x="78" y="60"/>
                    </a:lnTo>
                    <a:lnTo>
                      <a:pt x="66" y="64"/>
                    </a:lnTo>
                    <a:lnTo>
                      <a:pt x="60" y="54"/>
                    </a:lnTo>
                    <a:lnTo>
                      <a:pt x="34" y="60"/>
                    </a:lnTo>
                    <a:lnTo>
                      <a:pt x="30" y="72"/>
                    </a:lnTo>
                    <a:lnTo>
                      <a:pt x="14" y="66"/>
                    </a:lnTo>
                    <a:lnTo>
                      <a:pt x="0" y="40"/>
                    </a:lnTo>
                    <a:lnTo>
                      <a:pt x="8" y="16"/>
                    </a:lnTo>
                    <a:lnTo>
                      <a:pt x="6" y="8"/>
                    </a:lnTo>
                    <a:lnTo>
                      <a:pt x="26" y="0"/>
                    </a:lnTo>
                    <a:lnTo>
                      <a:pt x="42"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69" name="Freeform 1678">
                <a:extLst>
                  <a:ext uri="{FF2B5EF4-FFF2-40B4-BE49-F238E27FC236}">
                    <a16:creationId xmlns:a16="http://schemas.microsoft.com/office/drawing/2014/main" id="{CFF4A12A-B938-4C99-AA6B-65E23420E12B}"/>
                  </a:ext>
                </a:extLst>
              </p:cNvPr>
              <p:cNvSpPr>
                <a:spLocks/>
              </p:cNvSpPr>
              <p:nvPr/>
            </p:nvSpPr>
            <p:spPr bwMode="auto">
              <a:xfrm>
                <a:off x="4679" y="1382"/>
                <a:ext cx="48" cy="54"/>
              </a:xfrm>
              <a:custGeom>
                <a:avLst/>
                <a:gdLst/>
                <a:ahLst/>
                <a:cxnLst>
                  <a:cxn ang="0">
                    <a:pos x="0" y="0"/>
                  </a:cxn>
                  <a:cxn ang="0">
                    <a:pos x="0" y="0"/>
                  </a:cxn>
                  <a:cxn ang="0">
                    <a:pos x="12" y="6"/>
                  </a:cxn>
                  <a:cxn ang="0">
                    <a:pos x="26" y="14"/>
                  </a:cxn>
                  <a:cxn ang="0">
                    <a:pos x="40" y="24"/>
                  </a:cxn>
                  <a:cxn ang="0">
                    <a:pos x="48" y="34"/>
                  </a:cxn>
                  <a:cxn ang="0">
                    <a:pos x="36" y="54"/>
                  </a:cxn>
                  <a:cxn ang="0">
                    <a:pos x="20" y="54"/>
                  </a:cxn>
                  <a:cxn ang="0">
                    <a:pos x="12" y="38"/>
                  </a:cxn>
                  <a:cxn ang="0">
                    <a:pos x="16" y="20"/>
                  </a:cxn>
                  <a:cxn ang="0">
                    <a:pos x="0" y="0"/>
                  </a:cxn>
                </a:cxnLst>
                <a:rect l="0" t="0" r="r" b="b"/>
                <a:pathLst>
                  <a:path w="48" h="54">
                    <a:moveTo>
                      <a:pt x="0" y="0"/>
                    </a:moveTo>
                    <a:lnTo>
                      <a:pt x="0" y="0"/>
                    </a:lnTo>
                    <a:lnTo>
                      <a:pt x="12" y="6"/>
                    </a:lnTo>
                    <a:lnTo>
                      <a:pt x="26" y="14"/>
                    </a:lnTo>
                    <a:lnTo>
                      <a:pt x="40" y="24"/>
                    </a:lnTo>
                    <a:lnTo>
                      <a:pt x="48" y="34"/>
                    </a:lnTo>
                    <a:lnTo>
                      <a:pt x="36" y="54"/>
                    </a:lnTo>
                    <a:lnTo>
                      <a:pt x="20" y="54"/>
                    </a:lnTo>
                    <a:lnTo>
                      <a:pt x="12" y="38"/>
                    </a:lnTo>
                    <a:lnTo>
                      <a:pt x="16" y="2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0" name="Freeform 1679">
                <a:extLst>
                  <a:ext uri="{FF2B5EF4-FFF2-40B4-BE49-F238E27FC236}">
                    <a16:creationId xmlns:a16="http://schemas.microsoft.com/office/drawing/2014/main" id="{B13AE0E1-9418-4079-A422-15F69E5D5850}"/>
                  </a:ext>
                </a:extLst>
              </p:cNvPr>
              <p:cNvSpPr>
                <a:spLocks/>
              </p:cNvSpPr>
              <p:nvPr/>
            </p:nvSpPr>
            <p:spPr bwMode="auto">
              <a:xfrm>
                <a:off x="4733" y="1418"/>
                <a:ext cx="56" cy="36"/>
              </a:xfrm>
              <a:custGeom>
                <a:avLst/>
                <a:gdLst/>
                <a:ahLst/>
                <a:cxnLst>
                  <a:cxn ang="0">
                    <a:pos x="56" y="18"/>
                  </a:cxn>
                  <a:cxn ang="0">
                    <a:pos x="34" y="36"/>
                  </a:cxn>
                  <a:cxn ang="0">
                    <a:pos x="8" y="20"/>
                  </a:cxn>
                  <a:cxn ang="0">
                    <a:pos x="0" y="0"/>
                  </a:cxn>
                  <a:cxn ang="0">
                    <a:pos x="0" y="0"/>
                  </a:cxn>
                  <a:cxn ang="0">
                    <a:pos x="14" y="2"/>
                  </a:cxn>
                  <a:cxn ang="0">
                    <a:pos x="30" y="6"/>
                  </a:cxn>
                  <a:cxn ang="0">
                    <a:pos x="44" y="12"/>
                  </a:cxn>
                  <a:cxn ang="0">
                    <a:pos x="56" y="18"/>
                  </a:cxn>
                  <a:cxn ang="0">
                    <a:pos x="56" y="18"/>
                  </a:cxn>
                </a:cxnLst>
                <a:rect l="0" t="0" r="r" b="b"/>
                <a:pathLst>
                  <a:path w="56" h="36">
                    <a:moveTo>
                      <a:pt x="56" y="18"/>
                    </a:moveTo>
                    <a:lnTo>
                      <a:pt x="34" y="36"/>
                    </a:lnTo>
                    <a:lnTo>
                      <a:pt x="8" y="20"/>
                    </a:lnTo>
                    <a:lnTo>
                      <a:pt x="0" y="0"/>
                    </a:lnTo>
                    <a:lnTo>
                      <a:pt x="0" y="0"/>
                    </a:lnTo>
                    <a:lnTo>
                      <a:pt x="14" y="2"/>
                    </a:lnTo>
                    <a:lnTo>
                      <a:pt x="30" y="6"/>
                    </a:lnTo>
                    <a:lnTo>
                      <a:pt x="44" y="12"/>
                    </a:lnTo>
                    <a:lnTo>
                      <a:pt x="56" y="18"/>
                    </a:lnTo>
                    <a:lnTo>
                      <a:pt x="56"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1" name="Freeform 1680">
                <a:extLst>
                  <a:ext uri="{FF2B5EF4-FFF2-40B4-BE49-F238E27FC236}">
                    <a16:creationId xmlns:a16="http://schemas.microsoft.com/office/drawing/2014/main" id="{1C94AD00-9C80-4002-89C1-AEF1FC39C339}"/>
                  </a:ext>
                </a:extLst>
              </p:cNvPr>
              <p:cNvSpPr>
                <a:spLocks/>
              </p:cNvSpPr>
              <p:nvPr/>
            </p:nvSpPr>
            <p:spPr bwMode="auto">
              <a:xfrm>
                <a:off x="4657" y="1468"/>
                <a:ext cx="12" cy="22"/>
              </a:xfrm>
              <a:custGeom>
                <a:avLst/>
                <a:gdLst/>
                <a:ahLst/>
                <a:cxnLst>
                  <a:cxn ang="0">
                    <a:pos x="12" y="12"/>
                  </a:cxn>
                  <a:cxn ang="0">
                    <a:pos x="12" y="4"/>
                  </a:cxn>
                  <a:cxn ang="0">
                    <a:pos x="6" y="0"/>
                  </a:cxn>
                  <a:cxn ang="0">
                    <a:pos x="0" y="6"/>
                  </a:cxn>
                  <a:cxn ang="0">
                    <a:pos x="4" y="22"/>
                  </a:cxn>
                  <a:cxn ang="0">
                    <a:pos x="12" y="12"/>
                  </a:cxn>
                </a:cxnLst>
                <a:rect l="0" t="0" r="r" b="b"/>
                <a:pathLst>
                  <a:path w="12" h="22">
                    <a:moveTo>
                      <a:pt x="12" y="12"/>
                    </a:moveTo>
                    <a:lnTo>
                      <a:pt x="12" y="4"/>
                    </a:lnTo>
                    <a:lnTo>
                      <a:pt x="6" y="0"/>
                    </a:lnTo>
                    <a:lnTo>
                      <a:pt x="0" y="6"/>
                    </a:lnTo>
                    <a:lnTo>
                      <a:pt x="4" y="22"/>
                    </a:lnTo>
                    <a:lnTo>
                      <a:pt x="12" y="1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2" name="Freeform 1681">
                <a:extLst>
                  <a:ext uri="{FF2B5EF4-FFF2-40B4-BE49-F238E27FC236}">
                    <a16:creationId xmlns:a16="http://schemas.microsoft.com/office/drawing/2014/main" id="{EBD8B21F-49AC-422A-B025-E95EBFF0EE9F}"/>
                  </a:ext>
                </a:extLst>
              </p:cNvPr>
              <p:cNvSpPr>
                <a:spLocks/>
              </p:cNvSpPr>
              <p:nvPr/>
            </p:nvSpPr>
            <p:spPr bwMode="auto">
              <a:xfrm>
                <a:off x="4653" y="1496"/>
                <a:ext cx="46" cy="28"/>
              </a:xfrm>
              <a:custGeom>
                <a:avLst/>
                <a:gdLst/>
                <a:ahLst/>
                <a:cxnLst>
                  <a:cxn ang="0">
                    <a:pos x="34" y="0"/>
                  </a:cxn>
                  <a:cxn ang="0">
                    <a:pos x="46" y="28"/>
                  </a:cxn>
                  <a:cxn ang="0">
                    <a:pos x="2" y="22"/>
                  </a:cxn>
                  <a:cxn ang="0">
                    <a:pos x="0" y="18"/>
                  </a:cxn>
                  <a:cxn ang="0">
                    <a:pos x="34" y="0"/>
                  </a:cxn>
                </a:cxnLst>
                <a:rect l="0" t="0" r="r" b="b"/>
                <a:pathLst>
                  <a:path w="46" h="28">
                    <a:moveTo>
                      <a:pt x="34" y="0"/>
                    </a:moveTo>
                    <a:lnTo>
                      <a:pt x="46" y="28"/>
                    </a:lnTo>
                    <a:lnTo>
                      <a:pt x="2" y="22"/>
                    </a:lnTo>
                    <a:lnTo>
                      <a:pt x="0" y="18"/>
                    </a:lnTo>
                    <a:lnTo>
                      <a:pt x="3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3" name="Freeform 1682">
                <a:extLst>
                  <a:ext uri="{FF2B5EF4-FFF2-40B4-BE49-F238E27FC236}">
                    <a16:creationId xmlns:a16="http://schemas.microsoft.com/office/drawing/2014/main" id="{798E7823-744B-4D40-9617-814C51347A0F}"/>
                  </a:ext>
                </a:extLst>
              </p:cNvPr>
              <p:cNvSpPr>
                <a:spLocks/>
              </p:cNvSpPr>
              <p:nvPr/>
            </p:nvSpPr>
            <p:spPr bwMode="auto">
              <a:xfrm>
                <a:off x="4631" y="1586"/>
                <a:ext cx="14" cy="12"/>
              </a:xfrm>
              <a:custGeom>
                <a:avLst/>
                <a:gdLst/>
                <a:ahLst/>
                <a:cxnLst>
                  <a:cxn ang="0">
                    <a:pos x="2" y="4"/>
                  </a:cxn>
                  <a:cxn ang="0">
                    <a:pos x="10" y="0"/>
                  </a:cxn>
                  <a:cxn ang="0">
                    <a:pos x="14" y="6"/>
                  </a:cxn>
                  <a:cxn ang="0">
                    <a:pos x="8" y="12"/>
                  </a:cxn>
                  <a:cxn ang="0">
                    <a:pos x="8" y="12"/>
                  </a:cxn>
                  <a:cxn ang="0">
                    <a:pos x="4" y="12"/>
                  </a:cxn>
                  <a:cxn ang="0">
                    <a:pos x="0" y="12"/>
                  </a:cxn>
                  <a:cxn ang="0">
                    <a:pos x="2" y="4"/>
                  </a:cxn>
                </a:cxnLst>
                <a:rect l="0" t="0" r="r" b="b"/>
                <a:pathLst>
                  <a:path w="14" h="12">
                    <a:moveTo>
                      <a:pt x="2" y="4"/>
                    </a:moveTo>
                    <a:lnTo>
                      <a:pt x="10" y="0"/>
                    </a:lnTo>
                    <a:lnTo>
                      <a:pt x="14" y="6"/>
                    </a:lnTo>
                    <a:lnTo>
                      <a:pt x="8" y="12"/>
                    </a:lnTo>
                    <a:lnTo>
                      <a:pt x="8" y="12"/>
                    </a:lnTo>
                    <a:lnTo>
                      <a:pt x="4" y="12"/>
                    </a:lnTo>
                    <a:lnTo>
                      <a:pt x="0" y="12"/>
                    </a:lnTo>
                    <a:lnTo>
                      <a:pt x="2"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4" name="Freeform 1683">
                <a:extLst>
                  <a:ext uri="{FF2B5EF4-FFF2-40B4-BE49-F238E27FC236}">
                    <a16:creationId xmlns:a16="http://schemas.microsoft.com/office/drawing/2014/main" id="{982DFDA2-2073-4FC0-8462-E62094FF07B8}"/>
                  </a:ext>
                </a:extLst>
              </p:cNvPr>
              <p:cNvSpPr>
                <a:spLocks/>
              </p:cNvSpPr>
              <p:nvPr/>
            </p:nvSpPr>
            <p:spPr bwMode="auto">
              <a:xfrm>
                <a:off x="4647" y="1546"/>
                <a:ext cx="18" cy="12"/>
              </a:xfrm>
              <a:custGeom>
                <a:avLst/>
                <a:gdLst/>
                <a:ahLst/>
                <a:cxnLst>
                  <a:cxn ang="0">
                    <a:pos x="18" y="0"/>
                  </a:cxn>
                  <a:cxn ang="0">
                    <a:pos x="12" y="10"/>
                  </a:cxn>
                  <a:cxn ang="0">
                    <a:pos x="8" y="8"/>
                  </a:cxn>
                  <a:cxn ang="0">
                    <a:pos x="2" y="12"/>
                  </a:cxn>
                  <a:cxn ang="0">
                    <a:pos x="0" y="10"/>
                  </a:cxn>
                  <a:cxn ang="0">
                    <a:pos x="4" y="2"/>
                  </a:cxn>
                  <a:cxn ang="0">
                    <a:pos x="2" y="0"/>
                  </a:cxn>
                  <a:cxn ang="0">
                    <a:pos x="2" y="0"/>
                  </a:cxn>
                  <a:cxn ang="0">
                    <a:pos x="18" y="0"/>
                  </a:cxn>
                  <a:cxn ang="0">
                    <a:pos x="18" y="0"/>
                  </a:cxn>
                </a:cxnLst>
                <a:rect l="0" t="0" r="r" b="b"/>
                <a:pathLst>
                  <a:path w="18" h="12">
                    <a:moveTo>
                      <a:pt x="18" y="0"/>
                    </a:moveTo>
                    <a:lnTo>
                      <a:pt x="12" y="10"/>
                    </a:lnTo>
                    <a:lnTo>
                      <a:pt x="8" y="8"/>
                    </a:lnTo>
                    <a:lnTo>
                      <a:pt x="2" y="12"/>
                    </a:lnTo>
                    <a:lnTo>
                      <a:pt x="0" y="10"/>
                    </a:lnTo>
                    <a:lnTo>
                      <a:pt x="4" y="2"/>
                    </a:lnTo>
                    <a:lnTo>
                      <a:pt x="2" y="0"/>
                    </a:lnTo>
                    <a:lnTo>
                      <a:pt x="2" y="0"/>
                    </a:lnTo>
                    <a:lnTo>
                      <a:pt x="18" y="0"/>
                    </a:lnTo>
                    <a:lnTo>
                      <a:pt x="1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5" name="Freeform 1684">
                <a:extLst>
                  <a:ext uri="{FF2B5EF4-FFF2-40B4-BE49-F238E27FC236}">
                    <a16:creationId xmlns:a16="http://schemas.microsoft.com/office/drawing/2014/main" id="{3501CD9A-D4D3-44EC-A745-3D6FBEE66584}"/>
                  </a:ext>
                </a:extLst>
              </p:cNvPr>
              <p:cNvSpPr>
                <a:spLocks/>
              </p:cNvSpPr>
              <p:nvPr/>
            </p:nvSpPr>
            <p:spPr bwMode="auto">
              <a:xfrm>
                <a:off x="4991" y="1648"/>
                <a:ext cx="18" cy="16"/>
              </a:xfrm>
              <a:custGeom>
                <a:avLst/>
                <a:gdLst/>
                <a:ahLst/>
                <a:cxnLst>
                  <a:cxn ang="0">
                    <a:pos x="2" y="0"/>
                  </a:cxn>
                  <a:cxn ang="0">
                    <a:pos x="8" y="0"/>
                  </a:cxn>
                  <a:cxn ang="0">
                    <a:pos x="18" y="8"/>
                  </a:cxn>
                  <a:cxn ang="0">
                    <a:pos x="16" y="16"/>
                  </a:cxn>
                  <a:cxn ang="0">
                    <a:pos x="8" y="14"/>
                  </a:cxn>
                  <a:cxn ang="0">
                    <a:pos x="0" y="4"/>
                  </a:cxn>
                  <a:cxn ang="0">
                    <a:pos x="2" y="0"/>
                  </a:cxn>
                </a:cxnLst>
                <a:rect l="0" t="0" r="r" b="b"/>
                <a:pathLst>
                  <a:path w="18" h="16">
                    <a:moveTo>
                      <a:pt x="2" y="0"/>
                    </a:moveTo>
                    <a:lnTo>
                      <a:pt x="8" y="0"/>
                    </a:lnTo>
                    <a:lnTo>
                      <a:pt x="18" y="8"/>
                    </a:lnTo>
                    <a:lnTo>
                      <a:pt x="16" y="16"/>
                    </a:lnTo>
                    <a:lnTo>
                      <a:pt x="8" y="14"/>
                    </a:lnTo>
                    <a:lnTo>
                      <a:pt x="0" y="4"/>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6" name="Freeform 1685">
                <a:extLst>
                  <a:ext uri="{FF2B5EF4-FFF2-40B4-BE49-F238E27FC236}">
                    <a16:creationId xmlns:a16="http://schemas.microsoft.com/office/drawing/2014/main" id="{6A47B12D-D8E4-4024-A8E8-E3BA138BCF7E}"/>
                  </a:ext>
                </a:extLst>
              </p:cNvPr>
              <p:cNvSpPr>
                <a:spLocks/>
              </p:cNvSpPr>
              <p:nvPr/>
            </p:nvSpPr>
            <p:spPr bwMode="auto">
              <a:xfrm>
                <a:off x="3557" y="1674"/>
                <a:ext cx="26" cy="30"/>
              </a:xfrm>
              <a:custGeom>
                <a:avLst/>
                <a:gdLst/>
                <a:ahLst/>
                <a:cxnLst>
                  <a:cxn ang="0">
                    <a:pos x="6" y="2"/>
                  </a:cxn>
                  <a:cxn ang="0">
                    <a:pos x="12" y="0"/>
                  </a:cxn>
                  <a:cxn ang="0">
                    <a:pos x="22" y="8"/>
                  </a:cxn>
                  <a:cxn ang="0">
                    <a:pos x="26" y="16"/>
                  </a:cxn>
                  <a:cxn ang="0">
                    <a:pos x="26" y="16"/>
                  </a:cxn>
                  <a:cxn ang="0">
                    <a:pos x="16" y="24"/>
                  </a:cxn>
                  <a:cxn ang="0">
                    <a:pos x="12" y="28"/>
                  </a:cxn>
                  <a:cxn ang="0">
                    <a:pos x="6" y="30"/>
                  </a:cxn>
                  <a:cxn ang="0">
                    <a:pos x="0" y="24"/>
                  </a:cxn>
                  <a:cxn ang="0">
                    <a:pos x="0" y="24"/>
                  </a:cxn>
                  <a:cxn ang="0">
                    <a:pos x="0" y="14"/>
                  </a:cxn>
                  <a:cxn ang="0">
                    <a:pos x="6" y="2"/>
                  </a:cxn>
                  <a:cxn ang="0">
                    <a:pos x="6" y="2"/>
                  </a:cxn>
                </a:cxnLst>
                <a:rect l="0" t="0" r="r" b="b"/>
                <a:pathLst>
                  <a:path w="26" h="30">
                    <a:moveTo>
                      <a:pt x="6" y="2"/>
                    </a:moveTo>
                    <a:lnTo>
                      <a:pt x="12" y="0"/>
                    </a:lnTo>
                    <a:lnTo>
                      <a:pt x="22" y="8"/>
                    </a:lnTo>
                    <a:lnTo>
                      <a:pt x="26" y="16"/>
                    </a:lnTo>
                    <a:lnTo>
                      <a:pt x="26" y="16"/>
                    </a:lnTo>
                    <a:lnTo>
                      <a:pt x="16" y="24"/>
                    </a:lnTo>
                    <a:lnTo>
                      <a:pt x="12" y="28"/>
                    </a:lnTo>
                    <a:lnTo>
                      <a:pt x="6" y="30"/>
                    </a:lnTo>
                    <a:lnTo>
                      <a:pt x="0" y="24"/>
                    </a:lnTo>
                    <a:lnTo>
                      <a:pt x="0" y="24"/>
                    </a:lnTo>
                    <a:lnTo>
                      <a:pt x="0" y="14"/>
                    </a:lnTo>
                    <a:lnTo>
                      <a:pt x="6" y="2"/>
                    </a:lnTo>
                    <a:lnTo>
                      <a:pt x="6"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7" name="Freeform 1686">
                <a:extLst>
                  <a:ext uri="{FF2B5EF4-FFF2-40B4-BE49-F238E27FC236}">
                    <a16:creationId xmlns:a16="http://schemas.microsoft.com/office/drawing/2014/main" id="{61371369-3E22-4725-B5AE-8CD895F4D27F}"/>
                  </a:ext>
                </a:extLst>
              </p:cNvPr>
              <p:cNvSpPr>
                <a:spLocks/>
              </p:cNvSpPr>
              <p:nvPr/>
            </p:nvSpPr>
            <p:spPr bwMode="auto">
              <a:xfrm>
                <a:off x="3597" y="1520"/>
                <a:ext cx="74" cy="118"/>
              </a:xfrm>
              <a:custGeom>
                <a:avLst/>
                <a:gdLst/>
                <a:ahLst/>
                <a:cxnLst>
                  <a:cxn ang="0">
                    <a:pos x="42" y="0"/>
                  </a:cxn>
                  <a:cxn ang="0">
                    <a:pos x="60" y="10"/>
                  </a:cxn>
                  <a:cxn ang="0">
                    <a:pos x="56" y="24"/>
                  </a:cxn>
                  <a:cxn ang="0">
                    <a:pos x="48" y="28"/>
                  </a:cxn>
                  <a:cxn ang="0">
                    <a:pos x="52" y="30"/>
                  </a:cxn>
                  <a:cxn ang="0">
                    <a:pos x="52" y="30"/>
                  </a:cxn>
                  <a:cxn ang="0">
                    <a:pos x="48" y="44"/>
                  </a:cxn>
                  <a:cxn ang="0">
                    <a:pos x="48" y="62"/>
                  </a:cxn>
                  <a:cxn ang="0">
                    <a:pos x="50" y="78"/>
                  </a:cxn>
                  <a:cxn ang="0">
                    <a:pos x="54" y="92"/>
                  </a:cxn>
                  <a:cxn ang="0">
                    <a:pos x="74" y="110"/>
                  </a:cxn>
                  <a:cxn ang="0">
                    <a:pos x="74" y="110"/>
                  </a:cxn>
                  <a:cxn ang="0">
                    <a:pos x="66" y="118"/>
                  </a:cxn>
                  <a:cxn ang="0">
                    <a:pos x="44" y="116"/>
                  </a:cxn>
                  <a:cxn ang="0">
                    <a:pos x="38" y="110"/>
                  </a:cxn>
                  <a:cxn ang="0">
                    <a:pos x="26" y="108"/>
                  </a:cxn>
                  <a:cxn ang="0">
                    <a:pos x="34" y="96"/>
                  </a:cxn>
                  <a:cxn ang="0">
                    <a:pos x="24" y="88"/>
                  </a:cxn>
                  <a:cxn ang="0">
                    <a:pos x="24" y="78"/>
                  </a:cxn>
                  <a:cxn ang="0">
                    <a:pos x="14" y="74"/>
                  </a:cxn>
                  <a:cxn ang="0">
                    <a:pos x="6" y="82"/>
                  </a:cxn>
                  <a:cxn ang="0">
                    <a:pos x="2" y="78"/>
                  </a:cxn>
                  <a:cxn ang="0">
                    <a:pos x="0" y="58"/>
                  </a:cxn>
                  <a:cxn ang="0">
                    <a:pos x="10" y="58"/>
                  </a:cxn>
                  <a:cxn ang="0">
                    <a:pos x="14" y="36"/>
                  </a:cxn>
                  <a:cxn ang="0">
                    <a:pos x="12" y="26"/>
                  </a:cxn>
                  <a:cxn ang="0">
                    <a:pos x="20" y="12"/>
                  </a:cxn>
                  <a:cxn ang="0">
                    <a:pos x="42" y="0"/>
                  </a:cxn>
                </a:cxnLst>
                <a:rect l="0" t="0" r="r" b="b"/>
                <a:pathLst>
                  <a:path w="74" h="118">
                    <a:moveTo>
                      <a:pt x="42" y="0"/>
                    </a:moveTo>
                    <a:lnTo>
                      <a:pt x="60" y="10"/>
                    </a:lnTo>
                    <a:lnTo>
                      <a:pt x="56" y="24"/>
                    </a:lnTo>
                    <a:lnTo>
                      <a:pt x="48" y="28"/>
                    </a:lnTo>
                    <a:lnTo>
                      <a:pt x="52" y="30"/>
                    </a:lnTo>
                    <a:lnTo>
                      <a:pt x="52" y="30"/>
                    </a:lnTo>
                    <a:lnTo>
                      <a:pt x="48" y="44"/>
                    </a:lnTo>
                    <a:lnTo>
                      <a:pt x="48" y="62"/>
                    </a:lnTo>
                    <a:lnTo>
                      <a:pt x="50" y="78"/>
                    </a:lnTo>
                    <a:lnTo>
                      <a:pt x="54" y="92"/>
                    </a:lnTo>
                    <a:lnTo>
                      <a:pt x="74" y="110"/>
                    </a:lnTo>
                    <a:lnTo>
                      <a:pt x="74" y="110"/>
                    </a:lnTo>
                    <a:lnTo>
                      <a:pt x="66" y="118"/>
                    </a:lnTo>
                    <a:lnTo>
                      <a:pt x="44" y="116"/>
                    </a:lnTo>
                    <a:lnTo>
                      <a:pt x="38" y="110"/>
                    </a:lnTo>
                    <a:lnTo>
                      <a:pt x="26" y="108"/>
                    </a:lnTo>
                    <a:lnTo>
                      <a:pt x="34" y="96"/>
                    </a:lnTo>
                    <a:lnTo>
                      <a:pt x="24" y="88"/>
                    </a:lnTo>
                    <a:lnTo>
                      <a:pt x="24" y="78"/>
                    </a:lnTo>
                    <a:lnTo>
                      <a:pt x="14" y="74"/>
                    </a:lnTo>
                    <a:lnTo>
                      <a:pt x="6" y="82"/>
                    </a:lnTo>
                    <a:lnTo>
                      <a:pt x="2" y="78"/>
                    </a:lnTo>
                    <a:lnTo>
                      <a:pt x="0" y="58"/>
                    </a:lnTo>
                    <a:lnTo>
                      <a:pt x="10" y="58"/>
                    </a:lnTo>
                    <a:lnTo>
                      <a:pt x="14" y="36"/>
                    </a:lnTo>
                    <a:lnTo>
                      <a:pt x="12" y="26"/>
                    </a:lnTo>
                    <a:lnTo>
                      <a:pt x="20" y="12"/>
                    </a:lnTo>
                    <a:lnTo>
                      <a:pt x="4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8" name="Freeform 1687">
                <a:extLst>
                  <a:ext uri="{FF2B5EF4-FFF2-40B4-BE49-F238E27FC236}">
                    <a16:creationId xmlns:a16="http://schemas.microsoft.com/office/drawing/2014/main" id="{0A565781-7522-471F-BD69-39F84EFA80A4}"/>
                  </a:ext>
                </a:extLst>
              </p:cNvPr>
              <p:cNvSpPr>
                <a:spLocks/>
              </p:cNvSpPr>
              <p:nvPr/>
            </p:nvSpPr>
            <p:spPr bwMode="auto">
              <a:xfrm>
                <a:off x="3623" y="1338"/>
                <a:ext cx="184" cy="186"/>
              </a:xfrm>
              <a:custGeom>
                <a:avLst/>
                <a:gdLst/>
                <a:ahLst/>
                <a:cxnLst>
                  <a:cxn ang="0">
                    <a:pos x="0" y="162"/>
                  </a:cxn>
                  <a:cxn ang="0">
                    <a:pos x="24" y="140"/>
                  </a:cxn>
                  <a:cxn ang="0">
                    <a:pos x="18" y="134"/>
                  </a:cxn>
                  <a:cxn ang="0">
                    <a:pos x="28" y="132"/>
                  </a:cxn>
                  <a:cxn ang="0">
                    <a:pos x="22" y="128"/>
                  </a:cxn>
                  <a:cxn ang="0">
                    <a:pos x="22" y="128"/>
                  </a:cxn>
                  <a:cxn ang="0">
                    <a:pos x="22" y="96"/>
                  </a:cxn>
                  <a:cxn ang="0">
                    <a:pos x="28" y="102"/>
                  </a:cxn>
                  <a:cxn ang="0">
                    <a:pos x="46" y="90"/>
                  </a:cxn>
                  <a:cxn ang="0">
                    <a:pos x="50" y="76"/>
                  </a:cxn>
                  <a:cxn ang="0">
                    <a:pos x="58" y="72"/>
                  </a:cxn>
                  <a:cxn ang="0">
                    <a:pos x="60" y="64"/>
                  </a:cxn>
                  <a:cxn ang="0">
                    <a:pos x="60" y="64"/>
                  </a:cxn>
                  <a:cxn ang="0">
                    <a:pos x="66" y="58"/>
                  </a:cxn>
                  <a:cxn ang="0">
                    <a:pos x="74" y="52"/>
                  </a:cxn>
                  <a:cxn ang="0">
                    <a:pos x="92" y="44"/>
                  </a:cxn>
                  <a:cxn ang="0">
                    <a:pos x="110" y="38"/>
                  </a:cxn>
                  <a:cxn ang="0">
                    <a:pos x="128" y="36"/>
                  </a:cxn>
                  <a:cxn ang="0">
                    <a:pos x="128" y="36"/>
                  </a:cxn>
                  <a:cxn ang="0">
                    <a:pos x="134" y="26"/>
                  </a:cxn>
                  <a:cxn ang="0">
                    <a:pos x="144" y="16"/>
                  </a:cxn>
                  <a:cxn ang="0">
                    <a:pos x="154" y="6"/>
                  </a:cxn>
                  <a:cxn ang="0">
                    <a:pos x="164" y="0"/>
                  </a:cxn>
                  <a:cxn ang="0">
                    <a:pos x="182" y="8"/>
                  </a:cxn>
                  <a:cxn ang="0">
                    <a:pos x="184" y="18"/>
                  </a:cxn>
                  <a:cxn ang="0">
                    <a:pos x="170" y="42"/>
                  </a:cxn>
                  <a:cxn ang="0">
                    <a:pos x="170" y="42"/>
                  </a:cxn>
                  <a:cxn ang="0">
                    <a:pos x="144" y="56"/>
                  </a:cxn>
                  <a:cxn ang="0">
                    <a:pos x="132" y="64"/>
                  </a:cxn>
                  <a:cxn ang="0">
                    <a:pos x="122" y="72"/>
                  </a:cxn>
                  <a:cxn ang="0">
                    <a:pos x="118" y="68"/>
                  </a:cxn>
                  <a:cxn ang="0">
                    <a:pos x="118" y="68"/>
                  </a:cxn>
                  <a:cxn ang="0">
                    <a:pos x="118" y="72"/>
                  </a:cxn>
                  <a:cxn ang="0">
                    <a:pos x="116" y="76"/>
                  </a:cxn>
                  <a:cxn ang="0">
                    <a:pos x="108" y="84"/>
                  </a:cxn>
                  <a:cxn ang="0">
                    <a:pos x="92" y="100"/>
                  </a:cxn>
                  <a:cxn ang="0">
                    <a:pos x="82" y="100"/>
                  </a:cxn>
                  <a:cxn ang="0">
                    <a:pos x="78" y="116"/>
                  </a:cxn>
                  <a:cxn ang="0">
                    <a:pos x="68" y="116"/>
                  </a:cxn>
                  <a:cxn ang="0">
                    <a:pos x="74" y="128"/>
                  </a:cxn>
                  <a:cxn ang="0">
                    <a:pos x="62" y="134"/>
                  </a:cxn>
                  <a:cxn ang="0">
                    <a:pos x="54" y="146"/>
                  </a:cxn>
                  <a:cxn ang="0">
                    <a:pos x="46" y="140"/>
                  </a:cxn>
                  <a:cxn ang="0">
                    <a:pos x="42" y="150"/>
                  </a:cxn>
                  <a:cxn ang="0">
                    <a:pos x="48" y="164"/>
                  </a:cxn>
                  <a:cxn ang="0">
                    <a:pos x="48" y="164"/>
                  </a:cxn>
                  <a:cxn ang="0">
                    <a:pos x="44" y="176"/>
                  </a:cxn>
                  <a:cxn ang="0">
                    <a:pos x="36" y="186"/>
                  </a:cxn>
                  <a:cxn ang="0">
                    <a:pos x="18" y="178"/>
                  </a:cxn>
                  <a:cxn ang="0">
                    <a:pos x="4" y="182"/>
                  </a:cxn>
                  <a:cxn ang="0">
                    <a:pos x="8" y="172"/>
                  </a:cxn>
                  <a:cxn ang="0">
                    <a:pos x="16" y="166"/>
                  </a:cxn>
                  <a:cxn ang="0">
                    <a:pos x="0" y="162"/>
                  </a:cxn>
                </a:cxnLst>
                <a:rect l="0" t="0" r="r" b="b"/>
                <a:pathLst>
                  <a:path w="184" h="186">
                    <a:moveTo>
                      <a:pt x="0" y="162"/>
                    </a:moveTo>
                    <a:lnTo>
                      <a:pt x="24" y="140"/>
                    </a:lnTo>
                    <a:lnTo>
                      <a:pt x="18" y="134"/>
                    </a:lnTo>
                    <a:lnTo>
                      <a:pt x="28" y="132"/>
                    </a:lnTo>
                    <a:lnTo>
                      <a:pt x="22" y="128"/>
                    </a:lnTo>
                    <a:lnTo>
                      <a:pt x="22" y="128"/>
                    </a:lnTo>
                    <a:lnTo>
                      <a:pt x="22" y="96"/>
                    </a:lnTo>
                    <a:lnTo>
                      <a:pt x="28" y="102"/>
                    </a:lnTo>
                    <a:lnTo>
                      <a:pt x="46" y="90"/>
                    </a:lnTo>
                    <a:lnTo>
                      <a:pt x="50" y="76"/>
                    </a:lnTo>
                    <a:lnTo>
                      <a:pt x="58" y="72"/>
                    </a:lnTo>
                    <a:lnTo>
                      <a:pt x="60" y="64"/>
                    </a:lnTo>
                    <a:lnTo>
                      <a:pt x="60" y="64"/>
                    </a:lnTo>
                    <a:lnTo>
                      <a:pt x="66" y="58"/>
                    </a:lnTo>
                    <a:lnTo>
                      <a:pt x="74" y="52"/>
                    </a:lnTo>
                    <a:lnTo>
                      <a:pt x="92" y="44"/>
                    </a:lnTo>
                    <a:lnTo>
                      <a:pt x="110" y="38"/>
                    </a:lnTo>
                    <a:lnTo>
                      <a:pt x="128" y="36"/>
                    </a:lnTo>
                    <a:lnTo>
                      <a:pt x="128" y="36"/>
                    </a:lnTo>
                    <a:lnTo>
                      <a:pt x="134" y="26"/>
                    </a:lnTo>
                    <a:lnTo>
                      <a:pt x="144" y="16"/>
                    </a:lnTo>
                    <a:lnTo>
                      <a:pt x="154" y="6"/>
                    </a:lnTo>
                    <a:lnTo>
                      <a:pt x="164" y="0"/>
                    </a:lnTo>
                    <a:lnTo>
                      <a:pt x="182" y="8"/>
                    </a:lnTo>
                    <a:lnTo>
                      <a:pt x="184" y="18"/>
                    </a:lnTo>
                    <a:lnTo>
                      <a:pt x="170" y="42"/>
                    </a:lnTo>
                    <a:lnTo>
                      <a:pt x="170" y="42"/>
                    </a:lnTo>
                    <a:lnTo>
                      <a:pt x="144" y="56"/>
                    </a:lnTo>
                    <a:lnTo>
                      <a:pt x="132" y="64"/>
                    </a:lnTo>
                    <a:lnTo>
                      <a:pt x="122" y="72"/>
                    </a:lnTo>
                    <a:lnTo>
                      <a:pt x="118" y="68"/>
                    </a:lnTo>
                    <a:lnTo>
                      <a:pt x="118" y="68"/>
                    </a:lnTo>
                    <a:lnTo>
                      <a:pt x="118" y="72"/>
                    </a:lnTo>
                    <a:lnTo>
                      <a:pt x="116" y="76"/>
                    </a:lnTo>
                    <a:lnTo>
                      <a:pt x="108" y="84"/>
                    </a:lnTo>
                    <a:lnTo>
                      <a:pt x="92" y="100"/>
                    </a:lnTo>
                    <a:lnTo>
                      <a:pt x="82" y="100"/>
                    </a:lnTo>
                    <a:lnTo>
                      <a:pt x="78" y="116"/>
                    </a:lnTo>
                    <a:lnTo>
                      <a:pt x="68" y="116"/>
                    </a:lnTo>
                    <a:lnTo>
                      <a:pt x="74" y="128"/>
                    </a:lnTo>
                    <a:lnTo>
                      <a:pt x="62" y="134"/>
                    </a:lnTo>
                    <a:lnTo>
                      <a:pt x="54" y="146"/>
                    </a:lnTo>
                    <a:lnTo>
                      <a:pt x="46" y="140"/>
                    </a:lnTo>
                    <a:lnTo>
                      <a:pt x="42" y="150"/>
                    </a:lnTo>
                    <a:lnTo>
                      <a:pt x="48" y="164"/>
                    </a:lnTo>
                    <a:lnTo>
                      <a:pt x="48" y="164"/>
                    </a:lnTo>
                    <a:lnTo>
                      <a:pt x="44" y="176"/>
                    </a:lnTo>
                    <a:lnTo>
                      <a:pt x="36" y="186"/>
                    </a:lnTo>
                    <a:lnTo>
                      <a:pt x="18" y="178"/>
                    </a:lnTo>
                    <a:lnTo>
                      <a:pt x="4" y="182"/>
                    </a:lnTo>
                    <a:lnTo>
                      <a:pt x="8" y="172"/>
                    </a:lnTo>
                    <a:lnTo>
                      <a:pt x="16" y="166"/>
                    </a:lnTo>
                    <a:lnTo>
                      <a:pt x="0" y="16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79" name="Freeform 1688">
                <a:extLst>
                  <a:ext uri="{FF2B5EF4-FFF2-40B4-BE49-F238E27FC236}">
                    <a16:creationId xmlns:a16="http://schemas.microsoft.com/office/drawing/2014/main" id="{DE70ED0B-38F4-48C6-B96C-ABEEE4E1AC00}"/>
                  </a:ext>
                </a:extLst>
              </p:cNvPr>
              <p:cNvSpPr>
                <a:spLocks/>
              </p:cNvSpPr>
              <p:nvPr/>
            </p:nvSpPr>
            <p:spPr bwMode="auto">
              <a:xfrm>
                <a:off x="3607" y="1606"/>
                <a:ext cx="10" cy="18"/>
              </a:xfrm>
              <a:custGeom>
                <a:avLst/>
                <a:gdLst/>
                <a:ahLst/>
                <a:cxnLst>
                  <a:cxn ang="0">
                    <a:pos x="0" y="2"/>
                  </a:cxn>
                  <a:cxn ang="0">
                    <a:pos x="8" y="0"/>
                  </a:cxn>
                  <a:cxn ang="0">
                    <a:pos x="8" y="0"/>
                  </a:cxn>
                  <a:cxn ang="0">
                    <a:pos x="8" y="4"/>
                  </a:cxn>
                  <a:cxn ang="0">
                    <a:pos x="10" y="8"/>
                  </a:cxn>
                  <a:cxn ang="0">
                    <a:pos x="10" y="18"/>
                  </a:cxn>
                  <a:cxn ang="0">
                    <a:pos x="0" y="2"/>
                  </a:cxn>
                </a:cxnLst>
                <a:rect l="0" t="0" r="r" b="b"/>
                <a:pathLst>
                  <a:path w="10" h="18">
                    <a:moveTo>
                      <a:pt x="0" y="2"/>
                    </a:moveTo>
                    <a:lnTo>
                      <a:pt x="8" y="0"/>
                    </a:lnTo>
                    <a:lnTo>
                      <a:pt x="8" y="0"/>
                    </a:lnTo>
                    <a:lnTo>
                      <a:pt x="8" y="4"/>
                    </a:lnTo>
                    <a:lnTo>
                      <a:pt x="10" y="8"/>
                    </a:lnTo>
                    <a:lnTo>
                      <a:pt x="10" y="18"/>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0" name="Freeform 1689">
                <a:extLst>
                  <a:ext uri="{FF2B5EF4-FFF2-40B4-BE49-F238E27FC236}">
                    <a16:creationId xmlns:a16="http://schemas.microsoft.com/office/drawing/2014/main" id="{FFD6ABF3-3143-4E51-A311-B580531FD386}"/>
                  </a:ext>
                </a:extLst>
              </p:cNvPr>
              <p:cNvSpPr>
                <a:spLocks/>
              </p:cNvSpPr>
              <p:nvPr/>
            </p:nvSpPr>
            <p:spPr bwMode="auto">
              <a:xfrm>
                <a:off x="3675" y="1640"/>
                <a:ext cx="24" cy="28"/>
              </a:xfrm>
              <a:custGeom>
                <a:avLst/>
                <a:gdLst/>
                <a:ahLst/>
                <a:cxnLst>
                  <a:cxn ang="0">
                    <a:pos x="0" y="8"/>
                  </a:cxn>
                  <a:cxn ang="0">
                    <a:pos x="6" y="0"/>
                  </a:cxn>
                  <a:cxn ang="0">
                    <a:pos x="24" y="24"/>
                  </a:cxn>
                  <a:cxn ang="0">
                    <a:pos x="16" y="28"/>
                  </a:cxn>
                  <a:cxn ang="0">
                    <a:pos x="0" y="8"/>
                  </a:cxn>
                </a:cxnLst>
                <a:rect l="0" t="0" r="r" b="b"/>
                <a:pathLst>
                  <a:path w="24" h="28">
                    <a:moveTo>
                      <a:pt x="0" y="8"/>
                    </a:moveTo>
                    <a:lnTo>
                      <a:pt x="6" y="0"/>
                    </a:lnTo>
                    <a:lnTo>
                      <a:pt x="24" y="24"/>
                    </a:lnTo>
                    <a:lnTo>
                      <a:pt x="16" y="28"/>
                    </a:lnTo>
                    <a:lnTo>
                      <a:pt x="0"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1" name="Freeform 1690">
                <a:extLst>
                  <a:ext uri="{FF2B5EF4-FFF2-40B4-BE49-F238E27FC236}">
                    <a16:creationId xmlns:a16="http://schemas.microsoft.com/office/drawing/2014/main" id="{AB767F18-3910-49DB-B485-FC2240C2B4D2}"/>
                  </a:ext>
                </a:extLst>
              </p:cNvPr>
              <p:cNvSpPr>
                <a:spLocks/>
              </p:cNvSpPr>
              <p:nvPr/>
            </p:nvSpPr>
            <p:spPr bwMode="auto">
              <a:xfrm>
                <a:off x="3819" y="1516"/>
                <a:ext cx="18" cy="18"/>
              </a:xfrm>
              <a:custGeom>
                <a:avLst/>
                <a:gdLst/>
                <a:ahLst/>
                <a:cxnLst>
                  <a:cxn ang="0">
                    <a:pos x="0" y="18"/>
                  </a:cxn>
                  <a:cxn ang="0">
                    <a:pos x="0" y="18"/>
                  </a:cxn>
                  <a:cxn ang="0">
                    <a:pos x="2" y="8"/>
                  </a:cxn>
                  <a:cxn ang="0">
                    <a:pos x="4" y="0"/>
                  </a:cxn>
                  <a:cxn ang="0">
                    <a:pos x="14" y="2"/>
                  </a:cxn>
                  <a:cxn ang="0">
                    <a:pos x="18" y="10"/>
                  </a:cxn>
                  <a:cxn ang="0">
                    <a:pos x="0" y="18"/>
                  </a:cxn>
                </a:cxnLst>
                <a:rect l="0" t="0" r="r" b="b"/>
                <a:pathLst>
                  <a:path w="18" h="18">
                    <a:moveTo>
                      <a:pt x="0" y="18"/>
                    </a:moveTo>
                    <a:lnTo>
                      <a:pt x="0" y="18"/>
                    </a:lnTo>
                    <a:lnTo>
                      <a:pt x="2" y="8"/>
                    </a:lnTo>
                    <a:lnTo>
                      <a:pt x="4" y="0"/>
                    </a:lnTo>
                    <a:lnTo>
                      <a:pt x="14" y="2"/>
                    </a:lnTo>
                    <a:lnTo>
                      <a:pt x="18" y="10"/>
                    </a:lnTo>
                    <a:lnTo>
                      <a:pt x="0"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2" name="Freeform 1691">
                <a:extLst>
                  <a:ext uri="{FF2B5EF4-FFF2-40B4-BE49-F238E27FC236}">
                    <a16:creationId xmlns:a16="http://schemas.microsoft.com/office/drawing/2014/main" id="{C90E2CEA-2B64-49A1-BA6E-097811C859B9}"/>
                  </a:ext>
                </a:extLst>
              </p:cNvPr>
              <p:cNvSpPr>
                <a:spLocks/>
              </p:cNvSpPr>
              <p:nvPr/>
            </p:nvSpPr>
            <p:spPr bwMode="auto">
              <a:xfrm>
                <a:off x="3923" y="1534"/>
                <a:ext cx="10" cy="14"/>
              </a:xfrm>
              <a:custGeom>
                <a:avLst/>
                <a:gdLst/>
                <a:ahLst/>
                <a:cxnLst>
                  <a:cxn ang="0">
                    <a:pos x="6" y="0"/>
                  </a:cxn>
                  <a:cxn ang="0">
                    <a:pos x="6" y="0"/>
                  </a:cxn>
                  <a:cxn ang="0">
                    <a:pos x="8" y="6"/>
                  </a:cxn>
                  <a:cxn ang="0">
                    <a:pos x="10" y="14"/>
                  </a:cxn>
                  <a:cxn ang="0">
                    <a:pos x="0" y="8"/>
                  </a:cxn>
                  <a:cxn ang="0">
                    <a:pos x="6" y="0"/>
                  </a:cxn>
                </a:cxnLst>
                <a:rect l="0" t="0" r="r" b="b"/>
                <a:pathLst>
                  <a:path w="10" h="14">
                    <a:moveTo>
                      <a:pt x="6" y="0"/>
                    </a:moveTo>
                    <a:lnTo>
                      <a:pt x="6" y="0"/>
                    </a:lnTo>
                    <a:lnTo>
                      <a:pt x="8" y="6"/>
                    </a:lnTo>
                    <a:lnTo>
                      <a:pt x="10" y="14"/>
                    </a:lnTo>
                    <a:lnTo>
                      <a:pt x="0" y="8"/>
                    </a:lnTo>
                    <a:lnTo>
                      <a:pt x="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3" name="Freeform 1692">
                <a:extLst>
                  <a:ext uri="{FF2B5EF4-FFF2-40B4-BE49-F238E27FC236}">
                    <a16:creationId xmlns:a16="http://schemas.microsoft.com/office/drawing/2014/main" id="{1BAF6273-1C50-4674-9A2B-6BDB7058E8E1}"/>
                  </a:ext>
                </a:extLst>
              </p:cNvPr>
              <p:cNvSpPr>
                <a:spLocks/>
              </p:cNvSpPr>
              <p:nvPr/>
            </p:nvSpPr>
            <p:spPr bwMode="auto">
              <a:xfrm>
                <a:off x="3901" y="1552"/>
                <a:ext cx="16" cy="16"/>
              </a:xfrm>
              <a:custGeom>
                <a:avLst/>
                <a:gdLst/>
                <a:ahLst/>
                <a:cxnLst>
                  <a:cxn ang="0">
                    <a:pos x="8" y="0"/>
                  </a:cxn>
                  <a:cxn ang="0">
                    <a:pos x="16" y="6"/>
                  </a:cxn>
                  <a:cxn ang="0">
                    <a:pos x="12" y="12"/>
                  </a:cxn>
                  <a:cxn ang="0">
                    <a:pos x="2" y="16"/>
                  </a:cxn>
                  <a:cxn ang="0">
                    <a:pos x="0" y="12"/>
                  </a:cxn>
                  <a:cxn ang="0">
                    <a:pos x="0" y="12"/>
                  </a:cxn>
                  <a:cxn ang="0">
                    <a:pos x="4" y="6"/>
                  </a:cxn>
                  <a:cxn ang="0">
                    <a:pos x="8" y="0"/>
                  </a:cxn>
                  <a:cxn ang="0">
                    <a:pos x="8" y="0"/>
                  </a:cxn>
                </a:cxnLst>
                <a:rect l="0" t="0" r="r" b="b"/>
                <a:pathLst>
                  <a:path w="16" h="16">
                    <a:moveTo>
                      <a:pt x="8" y="0"/>
                    </a:moveTo>
                    <a:lnTo>
                      <a:pt x="16" y="6"/>
                    </a:lnTo>
                    <a:lnTo>
                      <a:pt x="12" y="12"/>
                    </a:lnTo>
                    <a:lnTo>
                      <a:pt x="2" y="16"/>
                    </a:lnTo>
                    <a:lnTo>
                      <a:pt x="0" y="12"/>
                    </a:lnTo>
                    <a:lnTo>
                      <a:pt x="0" y="12"/>
                    </a:lnTo>
                    <a:lnTo>
                      <a:pt x="4" y="6"/>
                    </a:lnTo>
                    <a:lnTo>
                      <a:pt x="8" y="0"/>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4" name="Freeform 1693">
                <a:extLst>
                  <a:ext uri="{FF2B5EF4-FFF2-40B4-BE49-F238E27FC236}">
                    <a16:creationId xmlns:a16="http://schemas.microsoft.com/office/drawing/2014/main" id="{B95E1710-6AF2-4865-854D-08E6257E67D2}"/>
                  </a:ext>
                </a:extLst>
              </p:cNvPr>
              <p:cNvSpPr>
                <a:spLocks/>
              </p:cNvSpPr>
              <p:nvPr/>
            </p:nvSpPr>
            <p:spPr bwMode="auto">
              <a:xfrm>
                <a:off x="4967" y="2076"/>
                <a:ext cx="12" cy="14"/>
              </a:xfrm>
              <a:custGeom>
                <a:avLst/>
                <a:gdLst/>
                <a:ahLst/>
                <a:cxnLst>
                  <a:cxn ang="0">
                    <a:pos x="2" y="0"/>
                  </a:cxn>
                  <a:cxn ang="0">
                    <a:pos x="4" y="0"/>
                  </a:cxn>
                  <a:cxn ang="0">
                    <a:pos x="4" y="0"/>
                  </a:cxn>
                  <a:cxn ang="0">
                    <a:pos x="12" y="14"/>
                  </a:cxn>
                  <a:cxn ang="0">
                    <a:pos x="4" y="10"/>
                  </a:cxn>
                  <a:cxn ang="0">
                    <a:pos x="0" y="0"/>
                  </a:cxn>
                  <a:cxn ang="0">
                    <a:pos x="2" y="0"/>
                  </a:cxn>
                </a:cxnLst>
                <a:rect l="0" t="0" r="r" b="b"/>
                <a:pathLst>
                  <a:path w="12" h="14">
                    <a:moveTo>
                      <a:pt x="2" y="0"/>
                    </a:moveTo>
                    <a:lnTo>
                      <a:pt x="4" y="0"/>
                    </a:lnTo>
                    <a:lnTo>
                      <a:pt x="4" y="0"/>
                    </a:lnTo>
                    <a:lnTo>
                      <a:pt x="12" y="14"/>
                    </a:lnTo>
                    <a:lnTo>
                      <a:pt x="4" y="10"/>
                    </a:lnTo>
                    <a:lnTo>
                      <a:pt x="0" y="0"/>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5" name="Freeform 1694">
                <a:extLst>
                  <a:ext uri="{FF2B5EF4-FFF2-40B4-BE49-F238E27FC236}">
                    <a16:creationId xmlns:a16="http://schemas.microsoft.com/office/drawing/2014/main" id="{27FA1CA5-DE08-4873-8E83-4B76DE0AA769}"/>
                  </a:ext>
                </a:extLst>
              </p:cNvPr>
              <p:cNvSpPr>
                <a:spLocks/>
              </p:cNvSpPr>
              <p:nvPr/>
            </p:nvSpPr>
            <p:spPr bwMode="auto">
              <a:xfrm>
                <a:off x="5237" y="1860"/>
                <a:ext cx="36" cy="22"/>
              </a:xfrm>
              <a:custGeom>
                <a:avLst/>
                <a:gdLst/>
                <a:ahLst/>
                <a:cxnLst>
                  <a:cxn ang="0">
                    <a:pos x="24" y="22"/>
                  </a:cxn>
                  <a:cxn ang="0">
                    <a:pos x="12" y="12"/>
                  </a:cxn>
                  <a:cxn ang="0">
                    <a:pos x="2" y="12"/>
                  </a:cxn>
                  <a:cxn ang="0">
                    <a:pos x="0" y="0"/>
                  </a:cxn>
                  <a:cxn ang="0">
                    <a:pos x="0" y="0"/>
                  </a:cxn>
                  <a:cxn ang="0">
                    <a:pos x="10" y="0"/>
                  </a:cxn>
                  <a:cxn ang="0">
                    <a:pos x="20" y="4"/>
                  </a:cxn>
                  <a:cxn ang="0">
                    <a:pos x="28" y="8"/>
                  </a:cxn>
                  <a:cxn ang="0">
                    <a:pos x="36" y="14"/>
                  </a:cxn>
                  <a:cxn ang="0">
                    <a:pos x="24" y="22"/>
                  </a:cxn>
                </a:cxnLst>
                <a:rect l="0" t="0" r="r" b="b"/>
                <a:pathLst>
                  <a:path w="36" h="22">
                    <a:moveTo>
                      <a:pt x="24" y="22"/>
                    </a:moveTo>
                    <a:lnTo>
                      <a:pt x="12" y="12"/>
                    </a:lnTo>
                    <a:lnTo>
                      <a:pt x="2" y="12"/>
                    </a:lnTo>
                    <a:lnTo>
                      <a:pt x="0" y="0"/>
                    </a:lnTo>
                    <a:lnTo>
                      <a:pt x="0" y="0"/>
                    </a:lnTo>
                    <a:lnTo>
                      <a:pt x="10" y="0"/>
                    </a:lnTo>
                    <a:lnTo>
                      <a:pt x="20" y="4"/>
                    </a:lnTo>
                    <a:lnTo>
                      <a:pt x="28" y="8"/>
                    </a:lnTo>
                    <a:lnTo>
                      <a:pt x="36" y="14"/>
                    </a:lnTo>
                    <a:lnTo>
                      <a:pt x="24" y="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6" name="Freeform 1695">
                <a:extLst>
                  <a:ext uri="{FF2B5EF4-FFF2-40B4-BE49-F238E27FC236}">
                    <a16:creationId xmlns:a16="http://schemas.microsoft.com/office/drawing/2014/main" id="{CB771645-16A6-4320-9DE2-914E2682FFCA}"/>
                  </a:ext>
                </a:extLst>
              </p:cNvPr>
              <p:cNvSpPr>
                <a:spLocks/>
              </p:cNvSpPr>
              <p:nvPr/>
            </p:nvSpPr>
            <p:spPr bwMode="auto">
              <a:xfrm>
                <a:off x="3303" y="1300"/>
                <a:ext cx="1956" cy="1048"/>
              </a:xfrm>
              <a:custGeom>
                <a:avLst/>
                <a:gdLst/>
                <a:ahLst/>
                <a:cxnLst>
                  <a:cxn ang="0">
                    <a:pos x="1946" y="496"/>
                  </a:cxn>
                  <a:cxn ang="0">
                    <a:pos x="1832" y="490"/>
                  </a:cxn>
                  <a:cxn ang="0">
                    <a:pos x="1718" y="664"/>
                  </a:cxn>
                  <a:cxn ang="0">
                    <a:pos x="1626" y="714"/>
                  </a:cxn>
                  <a:cxn ang="0">
                    <a:pos x="1594" y="822"/>
                  </a:cxn>
                  <a:cxn ang="0">
                    <a:pos x="1558" y="726"/>
                  </a:cxn>
                  <a:cxn ang="0">
                    <a:pos x="1644" y="604"/>
                  </a:cxn>
                  <a:cxn ang="0">
                    <a:pos x="1598" y="612"/>
                  </a:cxn>
                  <a:cxn ang="0">
                    <a:pos x="1500" y="682"/>
                  </a:cxn>
                  <a:cxn ang="0">
                    <a:pos x="1296" y="788"/>
                  </a:cxn>
                  <a:cxn ang="0">
                    <a:pos x="1370" y="834"/>
                  </a:cxn>
                  <a:cxn ang="0">
                    <a:pos x="1262" y="1014"/>
                  </a:cxn>
                  <a:cxn ang="0">
                    <a:pos x="1258" y="978"/>
                  </a:cxn>
                  <a:cxn ang="0">
                    <a:pos x="1240" y="910"/>
                  </a:cxn>
                  <a:cxn ang="0">
                    <a:pos x="1088" y="896"/>
                  </a:cxn>
                  <a:cxn ang="0">
                    <a:pos x="978" y="898"/>
                  </a:cxn>
                  <a:cxn ang="0">
                    <a:pos x="850" y="858"/>
                  </a:cxn>
                  <a:cxn ang="0">
                    <a:pos x="734" y="898"/>
                  </a:cxn>
                  <a:cxn ang="0">
                    <a:pos x="672" y="870"/>
                  </a:cxn>
                  <a:cxn ang="0">
                    <a:pos x="592" y="804"/>
                  </a:cxn>
                  <a:cxn ang="0">
                    <a:pos x="558" y="802"/>
                  </a:cxn>
                  <a:cxn ang="0">
                    <a:pos x="494" y="782"/>
                  </a:cxn>
                  <a:cxn ang="0">
                    <a:pos x="408" y="812"/>
                  </a:cxn>
                  <a:cxn ang="0">
                    <a:pos x="404" y="854"/>
                  </a:cxn>
                  <a:cxn ang="0">
                    <a:pos x="370" y="866"/>
                  </a:cxn>
                  <a:cxn ang="0">
                    <a:pos x="298" y="850"/>
                  </a:cxn>
                  <a:cxn ang="0">
                    <a:pos x="240" y="904"/>
                  </a:cxn>
                  <a:cxn ang="0">
                    <a:pos x="256" y="966"/>
                  </a:cxn>
                  <a:cxn ang="0">
                    <a:pos x="246" y="1006"/>
                  </a:cxn>
                  <a:cxn ang="0">
                    <a:pos x="202" y="1024"/>
                  </a:cxn>
                  <a:cxn ang="0">
                    <a:pos x="124" y="986"/>
                  </a:cxn>
                  <a:cxn ang="0">
                    <a:pos x="148" y="944"/>
                  </a:cxn>
                  <a:cxn ang="0">
                    <a:pos x="156" y="896"/>
                  </a:cxn>
                  <a:cxn ang="0">
                    <a:pos x="82" y="838"/>
                  </a:cxn>
                  <a:cxn ang="0">
                    <a:pos x="54" y="796"/>
                  </a:cxn>
                  <a:cxn ang="0">
                    <a:pos x="14" y="744"/>
                  </a:cxn>
                  <a:cxn ang="0">
                    <a:pos x="34" y="658"/>
                  </a:cxn>
                  <a:cxn ang="0">
                    <a:pos x="52" y="582"/>
                  </a:cxn>
                  <a:cxn ang="0">
                    <a:pos x="36" y="442"/>
                  </a:cxn>
                  <a:cxn ang="0">
                    <a:pos x="72" y="366"/>
                  </a:cxn>
                  <a:cxn ang="0">
                    <a:pos x="88" y="470"/>
                  </a:cxn>
                  <a:cxn ang="0">
                    <a:pos x="134" y="558"/>
                  </a:cxn>
                  <a:cxn ang="0">
                    <a:pos x="202" y="452"/>
                  </a:cxn>
                  <a:cxn ang="0">
                    <a:pos x="296" y="412"/>
                  </a:cxn>
                  <a:cxn ang="0">
                    <a:pos x="384" y="412"/>
                  </a:cxn>
                  <a:cxn ang="0">
                    <a:pos x="492" y="374"/>
                  </a:cxn>
                  <a:cxn ang="0">
                    <a:pos x="508" y="238"/>
                  </a:cxn>
                  <a:cxn ang="0">
                    <a:pos x="544" y="392"/>
                  </a:cxn>
                  <a:cxn ang="0">
                    <a:pos x="558" y="466"/>
                  </a:cxn>
                  <a:cxn ang="0">
                    <a:pos x="614" y="420"/>
                  </a:cxn>
                  <a:cxn ang="0">
                    <a:pos x="578" y="280"/>
                  </a:cxn>
                  <a:cxn ang="0">
                    <a:pos x="626" y="264"/>
                  </a:cxn>
                  <a:cxn ang="0">
                    <a:pos x="662" y="268"/>
                  </a:cxn>
                  <a:cxn ang="0">
                    <a:pos x="702" y="158"/>
                  </a:cxn>
                  <a:cxn ang="0">
                    <a:pos x="832" y="98"/>
                  </a:cxn>
                  <a:cxn ang="0">
                    <a:pos x="960" y="50"/>
                  </a:cxn>
                  <a:cxn ang="0">
                    <a:pos x="1032" y="140"/>
                  </a:cxn>
                  <a:cxn ang="0">
                    <a:pos x="1012" y="188"/>
                  </a:cxn>
                  <a:cxn ang="0">
                    <a:pos x="1194" y="216"/>
                  </a:cxn>
                  <a:cxn ang="0">
                    <a:pos x="1266" y="278"/>
                  </a:cxn>
                  <a:cxn ang="0">
                    <a:pos x="1368" y="242"/>
                  </a:cxn>
                  <a:cxn ang="0">
                    <a:pos x="1692" y="384"/>
                  </a:cxn>
                </a:cxnLst>
                <a:rect l="0" t="0" r="r" b="b"/>
                <a:pathLst>
                  <a:path w="1956" h="1048">
                    <a:moveTo>
                      <a:pt x="1878" y="434"/>
                    </a:moveTo>
                    <a:lnTo>
                      <a:pt x="1874" y="440"/>
                    </a:lnTo>
                    <a:lnTo>
                      <a:pt x="1880" y="448"/>
                    </a:lnTo>
                    <a:lnTo>
                      <a:pt x="1898" y="440"/>
                    </a:lnTo>
                    <a:lnTo>
                      <a:pt x="1892" y="462"/>
                    </a:lnTo>
                    <a:lnTo>
                      <a:pt x="1904" y="484"/>
                    </a:lnTo>
                    <a:lnTo>
                      <a:pt x="1916" y="458"/>
                    </a:lnTo>
                    <a:lnTo>
                      <a:pt x="1930" y="464"/>
                    </a:lnTo>
                    <a:lnTo>
                      <a:pt x="1944" y="486"/>
                    </a:lnTo>
                    <a:lnTo>
                      <a:pt x="1956" y="490"/>
                    </a:lnTo>
                    <a:lnTo>
                      <a:pt x="1946" y="496"/>
                    </a:lnTo>
                    <a:lnTo>
                      <a:pt x="1938" y="510"/>
                    </a:lnTo>
                    <a:lnTo>
                      <a:pt x="1918" y="512"/>
                    </a:lnTo>
                    <a:lnTo>
                      <a:pt x="1914" y="532"/>
                    </a:lnTo>
                    <a:lnTo>
                      <a:pt x="1924" y="542"/>
                    </a:lnTo>
                    <a:lnTo>
                      <a:pt x="1916" y="548"/>
                    </a:lnTo>
                    <a:lnTo>
                      <a:pt x="1888" y="532"/>
                    </a:lnTo>
                    <a:lnTo>
                      <a:pt x="1880" y="512"/>
                    </a:lnTo>
                    <a:lnTo>
                      <a:pt x="1874" y="506"/>
                    </a:lnTo>
                    <a:lnTo>
                      <a:pt x="1850" y="508"/>
                    </a:lnTo>
                    <a:lnTo>
                      <a:pt x="1850" y="482"/>
                    </a:lnTo>
                    <a:lnTo>
                      <a:pt x="1832" y="490"/>
                    </a:lnTo>
                    <a:lnTo>
                      <a:pt x="1840" y="508"/>
                    </a:lnTo>
                    <a:lnTo>
                      <a:pt x="1816" y="536"/>
                    </a:lnTo>
                    <a:lnTo>
                      <a:pt x="1802" y="532"/>
                    </a:lnTo>
                    <a:lnTo>
                      <a:pt x="1802" y="544"/>
                    </a:lnTo>
                    <a:lnTo>
                      <a:pt x="1826" y="580"/>
                    </a:lnTo>
                    <a:lnTo>
                      <a:pt x="1822" y="582"/>
                    </a:lnTo>
                    <a:lnTo>
                      <a:pt x="1828" y="590"/>
                    </a:lnTo>
                    <a:lnTo>
                      <a:pt x="1822" y="602"/>
                    </a:lnTo>
                    <a:lnTo>
                      <a:pt x="1800" y="594"/>
                    </a:lnTo>
                    <a:lnTo>
                      <a:pt x="1720" y="652"/>
                    </a:lnTo>
                    <a:lnTo>
                      <a:pt x="1718" y="664"/>
                    </a:lnTo>
                    <a:lnTo>
                      <a:pt x="1706" y="650"/>
                    </a:lnTo>
                    <a:lnTo>
                      <a:pt x="1692" y="648"/>
                    </a:lnTo>
                    <a:lnTo>
                      <a:pt x="1668" y="668"/>
                    </a:lnTo>
                    <a:lnTo>
                      <a:pt x="1668" y="650"/>
                    </a:lnTo>
                    <a:lnTo>
                      <a:pt x="1654" y="668"/>
                    </a:lnTo>
                    <a:lnTo>
                      <a:pt x="1636" y="666"/>
                    </a:lnTo>
                    <a:lnTo>
                      <a:pt x="1636" y="666"/>
                    </a:lnTo>
                    <a:lnTo>
                      <a:pt x="1634" y="678"/>
                    </a:lnTo>
                    <a:lnTo>
                      <a:pt x="1628" y="692"/>
                    </a:lnTo>
                    <a:lnTo>
                      <a:pt x="1618" y="714"/>
                    </a:lnTo>
                    <a:lnTo>
                      <a:pt x="1626" y="714"/>
                    </a:lnTo>
                    <a:lnTo>
                      <a:pt x="1632" y="718"/>
                    </a:lnTo>
                    <a:lnTo>
                      <a:pt x="1626" y="744"/>
                    </a:lnTo>
                    <a:lnTo>
                      <a:pt x="1632" y="746"/>
                    </a:lnTo>
                    <a:lnTo>
                      <a:pt x="1630" y="760"/>
                    </a:lnTo>
                    <a:lnTo>
                      <a:pt x="1620" y="752"/>
                    </a:lnTo>
                    <a:lnTo>
                      <a:pt x="1614" y="772"/>
                    </a:lnTo>
                    <a:lnTo>
                      <a:pt x="1618" y="790"/>
                    </a:lnTo>
                    <a:lnTo>
                      <a:pt x="1612" y="794"/>
                    </a:lnTo>
                    <a:lnTo>
                      <a:pt x="1604" y="792"/>
                    </a:lnTo>
                    <a:lnTo>
                      <a:pt x="1592" y="804"/>
                    </a:lnTo>
                    <a:lnTo>
                      <a:pt x="1594" y="822"/>
                    </a:lnTo>
                    <a:lnTo>
                      <a:pt x="1590" y="822"/>
                    </a:lnTo>
                    <a:lnTo>
                      <a:pt x="1576" y="836"/>
                    </a:lnTo>
                    <a:lnTo>
                      <a:pt x="1572" y="850"/>
                    </a:lnTo>
                    <a:lnTo>
                      <a:pt x="1556" y="870"/>
                    </a:lnTo>
                    <a:lnTo>
                      <a:pt x="1552" y="866"/>
                    </a:lnTo>
                    <a:lnTo>
                      <a:pt x="1542" y="762"/>
                    </a:lnTo>
                    <a:lnTo>
                      <a:pt x="1542" y="762"/>
                    </a:lnTo>
                    <a:lnTo>
                      <a:pt x="1542" y="752"/>
                    </a:lnTo>
                    <a:lnTo>
                      <a:pt x="1546" y="742"/>
                    </a:lnTo>
                    <a:lnTo>
                      <a:pt x="1552" y="732"/>
                    </a:lnTo>
                    <a:lnTo>
                      <a:pt x="1558" y="726"/>
                    </a:lnTo>
                    <a:lnTo>
                      <a:pt x="1556" y="718"/>
                    </a:lnTo>
                    <a:lnTo>
                      <a:pt x="1574" y="712"/>
                    </a:lnTo>
                    <a:lnTo>
                      <a:pt x="1574" y="712"/>
                    </a:lnTo>
                    <a:lnTo>
                      <a:pt x="1594" y="684"/>
                    </a:lnTo>
                    <a:lnTo>
                      <a:pt x="1604" y="670"/>
                    </a:lnTo>
                    <a:lnTo>
                      <a:pt x="1616" y="658"/>
                    </a:lnTo>
                    <a:lnTo>
                      <a:pt x="1618" y="652"/>
                    </a:lnTo>
                    <a:lnTo>
                      <a:pt x="1638" y="640"/>
                    </a:lnTo>
                    <a:lnTo>
                      <a:pt x="1636" y="634"/>
                    </a:lnTo>
                    <a:lnTo>
                      <a:pt x="1640" y="630"/>
                    </a:lnTo>
                    <a:lnTo>
                      <a:pt x="1644" y="604"/>
                    </a:lnTo>
                    <a:lnTo>
                      <a:pt x="1654" y="596"/>
                    </a:lnTo>
                    <a:lnTo>
                      <a:pt x="1646" y="592"/>
                    </a:lnTo>
                    <a:lnTo>
                      <a:pt x="1634" y="598"/>
                    </a:lnTo>
                    <a:lnTo>
                      <a:pt x="1630" y="612"/>
                    </a:lnTo>
                    <a:lnTo>
                      <a:pt x="1630" y="612"/>
                    </a:lnTo>
                    <a:lnTo>
                      <a:pt x="1612" y="628"/>
                    </a:lnTo>
                    <a:lnTo>
                      <a:pt x="1600" y="636"/>
                    </a:lnTo>
                    <a:lnTo>
                      <a:pt x="1596" y="638"/>
                    </a:lnTo>
                    <a:lnTo>
                      <a:pt x="1592" y="638"/>
                    </a:lnTo>
                    <a:lnTo>
                      <a:pt x="1598" y="612"/>
                    </a:lnTo>
                    <a:lnTo>
                      <a:pt x="1598" y="612"/>
                    </a:lnTo>
                    <a:lnTo>
                      <a:pt x="1590" y="612"/>
                    </a:lnTo>
                    <a:lnTo>
                      <a:pt x="1580" y="612"/>
                    </a:lnTo>
                    <a:lnTo>
                      <a:pt x="1560" y="618"/>
                    </a:lnTo>
                    <a:lnTo>
                      <a:pt x="1524" y="668"/>
                    </a:lnTo>
                    <a:lnTo>
                      <a:pt x="1524" y="676"/>
                    </a:lnTo>
                    <a:lnTo>
                      <a:pt x="1534" y="680"/>
                    </a:lnTo>
                    <a:lnTo>
                      <a:pt x="1532" y="686"/>
                    </a:lnTo>
                    <a:lnTo>
                      <a:pt x="1492" y="692"/>
                    </a:lnTo>
                    <a:lnTo>
                      <a:pt x="1488" y="686"/>
                    </a:lnTo>
                    <a:lnTo>
                      <a:pt x="1500" y="682"/>
                    </a:lnTo>
                    <a:lnTo>
                      <a:pt x="1500" y="682"/>
                    </a:lnTo>
                    <a:lnTo>
                      <a:pt x="1494" y="676"/>
                    </a:lnTo>
                    <a:lnTo>
                      <a:pt x="1484" y="674"/>
                    </a:lnTo>
                    <a:lnTo>
                      <a:pt x="1474" y="672"/>
                    </a:lnTo>
                    <a:lnTo>
                      <a:pt x="1466" y="670"/>
                    </a:lnTo>
                    <a:lnTo>
                      <a:pt x="1444" y="682"/>
                    </a:lnTo>
                    <a:lnTo>
                      <a:pt x="1432" y="678"/>
                    </a:lnTo>
                    <a:lnTo>
                      <a:pt x="1428" y="684"/>
                    </a:lnTo>
                    <a:lnTo>
                      <a:pt x="1420" y="678"/>
                    </a:lnTo>
                    <a:lnTo>
                      <a:pt x="1382" y="686"/>
                    </a:lnTo>
                    <a:lnTo>
                      <a:pt x="1292" y="778"/>
                    </a:lnTo>
                    <a:lnTo>
                      <a:pt x="1296" y="788"/>
                    </a:lnTo>
                    <a:lnTo>
                      <a:pt x="1316" y="792"/>
                    </a:lnTo>
                    <a:lnTo>
                      <a:pt x="1316" y="810"/>
                    </a:lnTo>
                    <a:lnTo>
                      <a:pt x="1340" y="814"/>
                    </a:lnTo>
                    <a:lnTo>
                      <a:pt x="1340" y="798"/>
                    </a:lnTo>
                    <a:lnTo>
                      <a:pt x="1352" y="798"/>
                    </a:lnTo>
                    <a:lnTo>
                      <a:pt x="1370" y="820"/>
                    </a:lnTo>
                    <a:lnTo>
                      <a:pt x="1368" y="826"/>
                    </a:lnTo>
                    <a:lnTo>
                      <a:pt x="1354" y="822"/>
                    </a:lnTo>
                    <a:lnTo>
                      <a:pt x="1356" y="830"/>
                    </a:lnTo>
                    <a:lnTo>
                      <a:pt x="1370" y="834"/>
                    </a:lnTo>
                    <a:lnTo>
                      <a:pt x="1370" y="834"/>
                    </a:lnTo>
                    <a:lnTo>
                      <a:pt x="1364" y="842"/>
                    </a:lnTo>
                    <a:lnTo>
                      <a:pt x="1362" y="852"/>
                    </a:lnTo>
                    <a:lnTo>
                      <a:pt x="1358" y="874"/>
                    </a:lnTo>
                    <a:lnTo>
                      <a:pt x="1356" y="900"/>
                    </a:lnTo>
                    <a:lnTo>
                      <a:pt x="1358" y="918"/>
                    </a:lnTo>
                    <a:lnTo>
                      <a:pt x="1296" y="1010"/>
                    </a:lnTo>
                    <a:lnTo>
                      <a:pt x="1296" y="1010"/>
                    </a:lnTo>
                    <a:lnTo>
                      <a:pt x="1274" y="1024"/>
                    </a:lnTo>
                    <a:lnTo>
                      <a:pt x="1264" y="1020"/>
                    </a:lnTo>
                    <a:lnTo>
                      <a:pt x="1262" y="1014"/>
                    </a:lnTo>
                    <a:lnTo>
                      <a:pt x="1262" y="1014"/>
                    </a:lnTo>
                    <a:lnTo>
                      <a:pt x="1252" y="1022"/>
                    </a:lnTo>
                    <a:lnTo>
                      <a:pt x="1242" y="1034"/>
                    </a:lnTo>
                    <a:lnTo>
                      <a:pt x="1242" y="1034"/>
                    </a:lnTo>
                    <a:lnTo>
                      <a:pt x="1242" y="1022"/>
                    </a:lnTo>
                    <a:lnTo>
                      <a:pt x="1250" y="1012"/>
                    </a:lnTo>
                    <a:lnTo>
                      <a:pt x="1250" y="1012"/>
                    </a:lnTo>
                    <a:lnTo>
                      <a:pt x="1250" y="1000"/>
                    </a:lnTo>
                    <a:lnTo>
                      <a:pt x="1248" y="994"/>
                    </a:lnTo>
                    <a:lnTo>
                      <a:pt x="1246" y="988"/>
                    </a:lnTo>
                    <a:lnTo>
                      <a:pt x="1258" y="978"/>
                    </a:lnTo>
                    <a:lnTo>
                      <a:pt x="1258" y="978"/>
                    </a:lnTo>
                    <a:lnTo>
                      <a:pt x="1264" y="980"/>
                    </a:lnTo>
                    <a:lnTo>
                      <a:pt x="1270" y="982"/>
                    </a:lnTo>
                    <a:lnTo>
                      <a:pt x="1272" y="980"/>
                    </a:lnTo>
                    <a:lnTo>
                      <a:pt x="1272" y="980"/>
                    </a:lnTo>
                    <a:lnTo>
                      <a:pt x="1280" y="956"/>
                    </a:lnTo>
                    <a:lnTo>
                      <a:pt x="1286" y="942"/>
                    </a:lnTo>
                    <a:lnTo>
                      <a:pt x="1288" y="936"/>
                    </a:lnTo>
                    <a:lnTo>
                      <a:pt x="1292" y="934"/>
                    </a:lnTo>
                    <a:lnTo>
                      <a:pt x="1292" y="918"/>
                    </a:lnTo>
                    <a:lnTo>
                      <a:pt x="1248" y="932"/>
                    </a:lnTo>
                    <a:lnTo>
                      <a:pt x="1240" y="910"/>
                    </a:lnTo>
                    <a:lnTo>
                      <a:pt x="1204" y="894"/>
                    </a:lnTo>
                    <a:lnTo>
                      <a:pt x="1182" y="826"/>
                    </a:lnTo>
                    <a:lnTo>
                      <a:pt x="1158" y="816"/>
                    </a:lnTo>
                    <a:lnTo>
                      <a:pt x="1126" y="822"/>
                    </a:lnTo>
                    <a:lnTo>
                      <a:pt x="1114" y="834"/>
                    </a:lnTo>
                    <a:lnTo>
                      <a:pt x="1114" y="838"/>
                    </a:lnTo>
                    <a:lnTo>
                      <a:pt x="1122" y="838"/>
                    </a:lnTo>
                    <a:lnTo>
                      <a:pt x="1122" y="848"/>
                    </a:lnTo>
                    <a:lnTo>
                      <a:pt x="1114" y="856"/>
                    </a:lnTo>
                    <a:lnTo>
                      <a:pt x="1104" y="886"/>
                    </a:lnTo>
                    <a:lnTo>
                      <a:pt x="1088" y="896"/>
                    </a:lnTo>
                    <a:lnTo>
                      <a:pt x="1070" y="888"/>
                    </a:lnTo>
                    <a:lnTo>
                      <a:pt x="1062" y="890"/>
                    </a:lnTo>
                    <a:lnTo>
                      <a:pt x="1048" y="884"/>
                    </a:lnTo>
                    <a:lnTo>
                      <a:pt x="1048" y="884"/>
                    </a:lnTo>
                    <a:lnTo>
                      <a:pt x="1040" y="892"/>
                    </a:lnTo>
                    <a:lnTo>
                      <a:pt x="1030" y="898"/>
                    </a:lnTo>
                    <a:lnTo>
                      <a:pt x="1020" y="900"/>
                    </a:lnTo>
                    <a:lnTo>
                      <a:pt x="1012" y="902"/>
                    </a:lnTo>
                    <a:lnTo>
                      <a:pt x="1002" y="904"/>
                    </a:lnTo>
                    <a:lnTo>
                      <a:pt x="994" y="902"/>
                    </a:lnTo>
                    <a:lnTo>
                      <a:pt x="978" y="898"/>
                    </a:lnTo>
                    <a:lnTo>
                      <a:pt x="964" y="890"/>
                    </a:lnTo>
                    <a:lnTo>
                      <a:pt x="952" y="882"/>
                    </a:lnTo>
                    <a:lnTo>
                      <a:pt x="942" y="876"/>
                    </a:lnTo>
                    <a:lnTo>
                      <a:pt x="936" y="874"/>
                    </a:lnTo>
                    <a:lnTo>
                      <a:pt x="918" y="882"/>
                    </a:lnTo>
                    <a:lnTo>
                      <a:pt x="918" y="882"/>
                    </a:lnTo>
                    <a:lnTo>
                      <a:pt x="908" y="878"/>
                    </a:lnTo>
                    <a:lnTo>
                      <a:pt x="900" y="872"/>
                    </a:lnTo>
                    <a:lnTo>
                      <a:pt x="898" y="858"/>
                    </a:lnTo>
                    <a:lnTo>
                      <a:pt x="866" y="844"/>
                    </a:lnTo>
                    <a:lnTo>
                      <a:pt x="850" y="858"/>
                    </a:lnTo>
                    <a:lnTo>
                      <a:pt x="852" y="874"/>
                    </a:lnTo>
                    <a:lnTo>
                      <a:pt x="850" y="878"/>
                    </a:lnTo>
                    <a:lnTo>
                      <a:pt x="850" y="886"/>
                    </a:lnTo>
                    <a:lnTo>
                      <a:pt x="850" y="886"/>
                    </a:lnTo>
                    <a:lnTo>
                      <a:pt x="844" y="888"/>
                    </a:lnTo>
                    <a:lnTo>
                      <a:pt x="832" y="888"/>
                    </a:lnTo>
                    <a:lnTo>
                      <a:pt x="814" y="888"/>
                    </a:lnTo>
                    <a:lnTo>
                      <a:pt x="806" y="878"/>
                    </a:lnTo>
                    <a:lnTo>
                      <a:pt x="776" y="876"/>
                    </a:lnTo>
                    <a:lnTo>
                      <a:pt x="734" y="898"/>
                    </a:lnTo>
                    <a:lnTo>
                      <a:pt x="734" y="898"/>
                    </a:lnTo>
                    <a:lnTo>
                      <a:pt x="730" y="904"/>
                    </a:lnTo>
                    <a:lnTo>
                      <a:pt x="728" y="908"/>
                    </a:lnTo>
                    <a:lnTo>
                      <a:pt x="724" y="912"/>
                    </a:lnTo>
                    <a:lnTo>
                      <a:pt x="718" y="910"/>
                    </a:lnTo>
                    <a:lnTo>
                      <a:pt x="720" y="902"/>
                    </a:lnTo>
                    <a:lnTo>
                      <a:pt x="714" y="892"/>
                    </a:lnTo>
                    <a:lnTo>
                      <a:pt x="710" y="896"/>
                    </a:lnTo>
                    <a:lnTo>
                      <a:pt x="698" y="894"/>
                    </a:lnTo>
                    <a:lnTo>
                      <a:pt x="676" y="866"/>
                    </a:lnTo>
                    <a:lnTo>
                      <a:pt x="676" y="866"/>
                    </a:lnTo>
                    <a:lnTo>
                      <a:pt x="672" y="870"/>
                    </a:lnTo>
                    <a:lnTo>
                      <a:pt x="664" y="872"/>
                    </a:lnTo>
                    <a:lnTo>
                      <a:pt x="652" y="872"/>
                    </a:lnTo>
                    <a:lnTo>
                      <a:pt x="650" y="864"/>
                    </a:lnTo>
                    <a:lnTo>
                      <a:pt x="644" y="860"/>
                    </a:lnTo>
                    <a:lnTo>
                      <a:pt x="636" y="870"/>
                    </a:lnTo>
                    <a:lnTo>
                      <a:pt x="636" y="870"/>
                    </a:lnTo>
                    <a:lnTo>
                      <a:pt x="628" y="854"/>
                    </a:lnTo>
                    <a:lnTo>
                      <a:pt x="618" y="834"/>
                    </a:lnTo>
                    <a:lnTo>
                      <a:pt x="606" y="816"/>
                    </a:lnTo>
                    <a:lnTo>
                      <a:pt x="600" y="808"/>
                    </a:lnTo>
                    <a:lnTo>
                      <a:pt x="592" y="804"/>
                    </a:lnTo>
                    <a:lnTo>
                      <a:pt x="596" y="798"/>
                    </a:lnTo>
                    <a:lnTo>
                      <a:pt x="596" y="794"/>
                    </a:lnTo>
                    <a:lnTo>
                      <a:pt x="596" y="794"/>
                    </a:lnTo>
                    <a:lnTo>
                      <a:pt x="588" y="800"/>
                    </a:lnTo>
                    <a:lnTo>
                      <a:pt x="578" y="808"/>
                    </a:lnTo>
                    <a:lnTo>
                      <a:pt x="566" y="814"/>
                    </a:lnTo>
                    <a:lnTo>
                      <a:pt x="560" y="814"/>
                    </a:lnTo>
                    <a:lnTo>
                      <a:pt x="556" y="814"/>
                    </a:lnTo>
                    <a:lnTo>
                      <a:pt x="554" y="810"/>
                    </a:lnTo>
                    <a:lnTo>
                      <a:pt x="560" y="806"/>
                    </a:lnTo>
                    <a:lnTo>
                      <a:pt x="558" y="802"/>
                    </a:lnTo>
                    <a:lnTo>
                      <a:pt x="554" y="804"/>
                    </a:lnTo>
                    <a:lnTo>
                      <a:pt x="554" y="804"/>
                    </a:lnTo>
                    <a:lnTo>
                      <a:pt x="542" y="800"/>
                    </a:lnTo>
                    <a:lnTo>
                      <a:pt x="534" y="798"/>
                    </a:lnTo>
                    <a:lnTo>
                      <a:pt x="528" y="800"/>
                    </a:lnTo>
                    <a:lnTo>
                      <a:pt x="528" y="796"/>
                    </a:lnTo>
                    <a:lnTo>
                      <a:pt x="530" y="788"/>
                    </a:lnTo>
                    <a:lnTo>
                      <a:pt x="526" y="776"/>
                    </a:lnTo>
                    <a:lnTo>
                      <a:pt x="502" y="772"/>
                    </a:lnTo>
                    <a:lnTo>
                      <a:pt x="494" y="776"/>
                    </a:lnTo>
                    <a:lnTo>
                      <a:pt x="494" y="782"/>
                    </a:lnTo>
                    <a:lnTo>
                      <a:pt x="494" y="782"/>
                    </a:lnTo>
                    <a:lnTo>
                      <a:pt x="468" y="788"/>
                    </a:lnTo>
                    <a:lnTo>
                      <a:pt x="456" y="792"/>
                    </a:lnTo>
                    <a:lnTo>
                      <a:pt x="444" y="800"/>
                    </a:lnTo>
                    <a:lnTo>
                      <a:pt x="438" y="798"/>
                    </a:lnTo>
                    <a:lnTo>
                      <a:pt x="438" y="798"/>
                    </a:lnTo>
                    <a:lnTo>
                      <a:pt x="432" y="802"/>
                    </a:lnTo>
                    <a:lnTo>
                      <a:pt x="424" y="804"/>
                    </a:lnTo>
                    <a:lnTo>
                      <a:pt x="416" y="806"/>
                    </a:lnTo>
                    <a:lnTo>
                      <a:pt x="410" y="806"/>
                    </a:lnTo>
                    <a:lnTo>
                      <a:pt x="408" y="812"/>
                    </a:lnTo>
                    <a:lnTo>
                      <a:pt x="414" y="812"/>
                    </a:lnTo>
                    <a:lnTo>
                      <a:pt x="410" y="814"/>
                    </a:lnTo>
                    <a:lnTo>
                      <a:pt x="410" y="818"/>
                    </a:lnTo>
                    <a:lnTo>
                      <a:pt x="422" y="822"/>
                    </a:lnTo>
                    <a:lnTo>
                      <a:pt x="404" y="830"/>
                    </a:lnTo>
                    <a:lnTo>
                      <a:pt x="408" y="836"/>
                    </a:lnTo>
                    <a:lnTo>
                      <a:pt x="406" y="840"/>
                    </a:lnTo>
                    <a:lnTo>
                      <a:pt x="396" y="846"/>
                    </a:lnTo>
                    <a:lnTo>
                      <a:pt x="396" y="846"/>
                    </a:lnTo>
                    <a:lnTo>
                      <a:pt x="398" y="850"/>
                    </a:lnTo>
                    <a:lnTo>
                      <a:pt x="404" y="854"/>
                    </a:lnTo>
                    <a:lnTo>
                      <a:pt x="408" y="858"/>
                    </a:lnTo>
                    <a:lnTo>
                      <a:pt x="414" y="858"/>
                    </a:lnTo>
                    <a:lnTo>
                      <a:pt x="416" y="860"/>
                    </a:lnTo>
                    <a:lnTo>
                      <a:pt x="412" y="870"/>
                    </a:lnTo>
                    <a:lnTo>
                      <a:pt x="406" y="872"/>
                    </a:lnTo>
                    <a:lnTo>
                      <a:pt x="396" y="870"/>
                    </a:lnTo>
                    <a:lnTo>
                      <a:pt x="388" y="876"/>
                    </a:lnTo>
                    <a:lnTo>
                      <a:pt x="380" y="874"/>
                    </a:lnTo>
                    <a:lnTo>
                      <a:pt x="374" y="864"/>
                    </a:lnTo>
                    <a:lnTo>
                      <a:pt x="374" y="864"/>
                    </a:lnTo>
                    <a:lnTo>
                      <a:pt x="370" y="866"/>
                    </a:lnTo>
                    <a:lnTo>
                      <a:pt x="364" y="868"/>
                    </a:lnTo>
                    <a:lnTo>
                      <a:pt x="356" y="866"/>
                    </a:lnTo>
                    <a:lnTo>
                      <a:pt x="344" y="874"/>
                    </a:lnTo>
                    <a:lnTo>
                      <a:pt x="334" y="866"/>
                    </a:lnTo>
                    <a:lnTo>
                      <a:pt x="330" y="868"/>
                    </a:lnTo>
                    <a:lnTo>
                      <a:pt x="332" y="874"/>
                    </a:lnTo>
                    <a:lnTo>
                      <a:pt x="330" y="874"/>
                    </a:lnTo>
                    <a:lnTo>
                      <a:pt x="326" y="864"/>
                    </a:lnTo>
                    <a:lnTo>
                      <a:pt x="306" y="856"/>
                    </a:lnTo>
                    <a:lnTo>
                      <a:pt x="304" y="850"/>
                    </a:lnTo>
                    <a:lnTo>
                      <a:pt x="298" y="850"/>
                    </a:lnTo>
                    <a:lnTo>
                      <a:pt x="296" y="856"/>
                    </a:lnTo>
                    <a:lnTo>
                      <a:pt x="268" y="864"/>
                    </a:lnTo>
                    <a:lnTo>
                      <a:pt x="268" y="870"/>
                    </a:lnTo>
                    <a:lnTo>
                      <a:pt x="258" y="874"/>
                    </a:lnTo>
                    <a:lnTo>
                      <a:pt x="262" y="886"/>
                    </a:lnTo>
                    <a:lnTo>
                      <a:pt x="256" y="890"/>
                    </a:lnTo>
                    <a:lnTo>
                      <a:pt x="246" y="876"/>
                    </a:lnTo>
                    <a:lnTo>
                      <a:pt x="246" y="876"/>
                    </a:lnTo>
                    <a:lnTo>
                      <a:pt x="242" y="888"/>
                    </a:lnTo>
                    <a:lnTo>
                      <a:pt x="238" y="898"/>
                    </a:lnTo>
                    <a:lnTo>
                      <a:pt x="240" y="904"/>
                    </a:lnTo>
                    <a:lnTo>
                      <a:pt x="236" y="906"/>
                    </a:lnTo>
                    <a:lnTo>
                      <a:pt x="234" y="918"/>
                    </a:lnTo>
                    <a:lnTo>
                      <a:pt x="240" y="920"/>
                    </a:lnTo>
                    <a:lnTo>
                      <a:pt x="244" y="930"/>
                    </a:lnTo>
                    <a:lnTo>
                      <a:pt x="252" y="928"/>
                    </a:lnTo>
                    <a:lnTo>
                      <a:pt x="258" y="936"/>
                    </a:lnTo>
                    <a:lnTo>
                      <a:pt x="260" y="948"/>
                    </a:lnTo>
                    <a:lnTo>
                      <a:pt x="254" y="948"/>
                    </a:lnTo>
                    <a:lnTo>
                      <a:pt x="252" y="952"/>
                    </a:lnTo>
                    <a:lnTo>
                      <a:pt x="260" y="958"/>
                    </a:lnTo>
                    <a:lnTo>
                      <a:pt x="256" y="966"/>
                    </a:lnTo>
                    <a:lnTo>
                      <a:pt x="252" y="966"/>
                    </a:lnTo>
                    <a:lnTo>
                      <a:pt x="250" y="958"/>
                    </a:lnTo>
                    <a:lnTo>
                      <a:pt x="246" y="958"/>
                    </a:lnTo>
                    <a:lnTo>
                      <a:pt x="248" y="960"/>
                    </a:lnTo>
                    <a:lnTo>
                      <a:pt x="246" y="968"/>
                    </a:lnTo>
                    <a:lnTo>
                      <a:pt x="244" y="968"/>
                    </a:lnTo>
                    <a:lnTo>
                      <a:pt x="244" y="968"/>
                    </a:lnTo>
                    <a:lnTo>
                      <a:pt x="244" y="974"/>
                    </a:lnTo>
                    <a:lnTo>
                      <a:pt x="242" y="980"/>
                    </a:lnTo>
                    <a:lnTo>
                      <a:pt x="236" y="990"/>
                    </a:lnTo>
                    <a:lnTo>
                      <a:pt x="246" y="1006"/>
                    </a:lnTo>
                    <a:lnTo>
                      <a:pt x="248" y="1002"/>
                    </a:lnTo>
                    <a:lnTo>
                      <a:pt x="246" y="1016"/>
                    </a:lnTo>
                    <a:lnTo>
                      <a:pt x="256" y="1038"/>
                    </a:lnTo>
                    <a:lnTo>
                      <a:pt x="248" y="1048"/>
                    </a:lnTo>
                    <a:lnTo>
                      <a:pt x="242" y="1046"/>
                    </a:lnTo>
                    <a:lnTo>
                      <a:pt x="240" y="1042"/>
                    </a:lnTo>
                    <a:lnTo>
                      <a:pt x="240" y="1042"/>
                    </a:lnTo>
                    <a:lnTo>
                      <a:pt x="224" y="1030"/>
                    </a:lnTo>
                    <a:lnTo>
                      <a:pt x="224" y="1024"/>
                    </a:lnTo>
                    <a:lnTo>
                      <a:pt x="218" y="1022"/>
                    </a:lnTo>
                    <a:lnTo>
                      <a:pt x="202" y="1024"/>
                    </a:lnTo>
                    <a:lnTo>
                      <a:pt x="190" y="1014"/>
                    </a:lnTo>
                    <a:lnTo>
                      <a:pt x="190" y="1014"/>
                    </a:lnTo>
                    <a:lnTo>
                      <a:pt x="180" y="1012"/>
                    </a:lnTo>
                    <a:lnTo>
                      <a:pt x="170" y="1010"/>
                    </a:lnTo>
                    <a:lnTo>
                      <a:pt x="162" y="1008"/>
                    </a:lnTo>
                    <a:lnTo>
                      <a:pt x="158" y="1008"/>
                    </a:lnTo>
                    <a:lnTo>
                      <a:pt x="154" y="1008"/>
                    </a:lnTo>
                    <a:lnTo>
                      <a:pt x="154" y="1008"/>
                    </a:lnTo>
                    <a:lnTo>
                      <a:pt x="144" y="1000"/>
                    </a:lnTo>
                    <a:lnTo>
                      <a:pt x="134" y="994"/>
                    </a:lnTo>
                    <a:lnTo>
                      <a:pt x="124" y="986"/>
                    </a:lnTo>
                    <a:lnTo>
                      <a:pt x="120" y="982"/>
                    </a:lnTo>
                    <a:lnTo>
                      <a:pt x="116" y="978"/>
                    </a:lnTo>
                    <a:lnTo>
                      <a:pt x="118" y="974"/>
                    </a:lnTo>
                    <a:lnTo>
                      <a:pt x="126" y="974"/>
                    </a:lnTo>
                    <a:lnTo>
                      <a:pt x="132" y="964"/>
                    </a:lnTo>
                    <a:lnTo>
                      <a:pt x="138" y="962"/>
                    </a:lnTo>
                    <a:lnTo>
                      <a:pt x="130" y="954"/>
                    </a:lnTo>
                    <a:lnTo>
                      <a:pt x="130" y="950"/>
                    </a:lnTo>
                    <a:lnTo>
                      <a:pt x="138" y="950"/>
                    </a:lnTo>
                    <a:lnTo>
                      <a:pt x="138" y="948"/>
                    </a:lnTo>
                    <a:lnTo>
                      <a:pt x="148" y="944"/>
                    </a:lnTo>
                    <a:lnTo>
                      <a:pt x="146" y="940"/>
                    </a:lnTo>
                    <a:lnTo>
                      <a:pt x="134" y="942"/>
                    </a:lnTo>
                    <a:lnTo>
                      <a:pt x="134" y="936"/>
                    </a:lnTo>
                    <a:lnTo>
                      <a:pt x="142" y="926"/>
                    </a:lnTo>
                    <a:lnTo>
                      <a:pt x="152" y="928"/>
                    </a:lnTo>
                    <a:lnTo>
                      <a:pt x="154" y="920"/>
                    </a:lnTo>
                    <a:lnTo>
                      <a:pt x="152" y="912"/>
                    </a:lnTo>
                    <a:lnTo>
                      <a:pt x="156" y="908"/>
                    </a:lnTo>
                    <a:lnTo>
                      <a:pt x="152" y="906"/>
                    </a:lnTo>
                    <a:lnTo>
                      <a:pt x="158" y="900"/>
                    </a:lnTo>
                    <a:lnTo>
                      <a:pt x="156" y="896"/>
                    </a:lnTo>
                    <a:lnTo>
                      <a:pt x="158" y="894"/>
                    </a:lnTo>
                    <a:lnTo>
                      <a:pt x="136" y="884"/>
                    </a:lnTo>
                    <a:lnTo>
                      <a:pt x="132" y="886"/>
                    </a:lnTo>
                    <a:lnTo>
                      <a:pt x="124" y="876"/>
                    </a:lnTo>
                    <a:lnTo>
                      <a:pt x="116" y="880"/>
                    </a:lnTo>
                    <a:lnTo>
                      <a:pt x="102" y="876"/>
                    </a:lnTo>
                    <a:lnTo>
                      <a:pt x="96" y="860"/>
                    </a:lnTo>
                    <a:lnTo>
                      <a:pt x="86" y="858"/>
                    </a:lnTo>
                    <a:lnTo>
                      <a:pt x="86" y="852"/>
                    </a:lnTo>
                    <a:lnTo>
                      <a:pt x="88" y="848"/>
                    </a:lnTo>
                    <a:lnTo>
                      <a:pt x="82" y="838"/>
                    </a:lnTo>
                    <a:lnTo>
                      <a:pt x="58" y="842"/>
                    </a:lnTo>
                    <a:lnTo>
                      <a:pt x="52" y="822"/>
                    </a:lnTo>
                    <a:lnTo>
                      <a:pt x="54" y="818"/>
                    </a:lnTo>
                    <a:lnTo>
                      <a:pt x="62" y="820"/>
                    </a:lnTo>
                    <a:lnTo>
                      <a:pt x="70" y="814"/>
                    </a:lnTo>
                    <a:lnTo>
                      <a:pt x="70" y="812"/>
                    </a:lnTo>
                    <a:lnTo>
                      <a:pt x="64" y="806"/>
                    </a:lnTo>
                    <a:lnTo>
                      <a:pt x="58" y="806"/>
                    </a:lnTo>
                    <a:lnTo>
                      <a:pt x="58" y="806"/>
                    </a:lnTo>
                    <a:lnTo>
                      <a:pt x="58" y="802"/>
                    </a:lnTo>
                    <a:lnTo>
                      <a:pt x="54" y="796"/>
                    </a:lnTo>
                    <a:lnTo>
                      <a:pt x="46" y="786"/>
                    </a:lnTo>
                    <a:lnTo>
                      <a:pt x="46" y="786"/>
                    </a:lnTo>
                    <a:lnTo>
                      <a:pt x="48" y="776"/>
                    </a:lnTo>
                    <a:lnTo>
                      <a:pt x="48" y="766"/>
                    </a:lnTo>
                    <a:lnTo>
                      <a:pt x="40" y="762"/>
                    </a:lnTo>
                    <a:lnTo>
                      <a:pt x="30" y="764"/>
                    </a:lnTo>
                    <a:lnTo>
                      <a:pt x="30" y="760"/>
                    </a:lnTo>
                    <a:lnTo>
                      <a:pt x="30" y="760"/>
                    </a:lnTo>
                    <a:lnTo>
                      <a:pt x="22" y="756"/>
                    </a:lnTo>
                    <a:lnTo>
                      <a:pt x="16" y="754"/>
                    </a:lnTo>
                    <a:lnTo>
                      <a:pt x="14" y="744"/>
                    </a:lnTo>
                    <a:lnTo>
                      <a:pt x="8" y="736"/>
                    </a:lnTo>
                    <a:lnTo>
                      <a:pt x="10" y="728"/>
                    </a:lnTo>
                    <a:lnTo>
                      <a:pt x="6" y="722"/>
                    </a:lnTo>
                    <a:lnTo>
                      <a:pt x="8" y="714"/>
                    </a:lnTo>
                    <a:lnTo>
                      <a:pt x="0" y="688"/>
                    </a:lnTo>
                    <a:lnTo>
                      <a:pt x="10" y="684"/>
                    </a:lnTo>
                    <a:lnTo>
                      <a:pt x="14" y="678"/>
                    </a:lnTo>
                    <a:lnTo>
                      <a:pt x="12" y="674"/>
                    </a:lnTo>
                    <a:lnTo>
                      <a:pt x="12" y="668"/>
                    </a:lnTo>
                    <a:lnTo>
                      <a:pt x="38" y="664"/>
                    </a:lnTo>
                    <a:lnTo>
                      <a:pt x="34" y="658"/>
                    </a:lnTo>
                    <a:lnTo>
                      <a:pt x="18" y="654"/>
                    </a:lnTo>
                    <a:lnTo>
                      <a:pt x="18" y="648"/>
                    </a:lnTo>
                    <a:lnTo>
                      <a:pt x="18" y="650"/>
                    </a:lnTo>
                    <a:lnTo>
                      <a:pt x="20" y="644"/>
                    </a:lnTo>
                    <a:lnTo>
                      <a:pt x="8" y="648"/>
                    </a:lnTo>
                    <a:lnTo>
                      <a:pt x="8" y="648"/>
                    </a:lnTo>
                    <a:lnTo>
                      <a:pt x="20" y="636"/>
                    </a:lnTo>
                    <a:lnTo>
                      <a:pt x="32" y="622"/>
                    </a:lnTo>
                    <a:lnTo>
                      <a:pt x="44" y="606"/>
                    </a:lnTo>
                    <a:lnTo>
                      <a:pt x="52" y="590"/>
                    </a:lnTo>
                    <a:lnTo>
                      <a:pt x="52" y="582"/>
                    </a:lnTo>
                    <a:lnTo>
                      <a:pt x="38" y="562"/>
                    </a:lnTo>
                    <a:lnTo>
                      <a:pt x="44" y="546"/>
                    </a:lnTo>
                    <a:lnTo>
                      <a:pt x="44" y="546"/>
                    </a:lnTo>
                    <a:lnTo>
                      <a:pt x="38" y="538"/>
                    </a:lnTo>
                    <a:lnTo>
                      <a:pt x="36" y="530"/>
                    </a:lnTo>
                    <a:lnTo>
                      <a:pt x="34" y="528"/>
                    </a:lnTo>
                    <a:lnTo>
                      <a:pt x="34" y="528"/>
                    </a:lnTo>
                    <a:lnTo>
                      <a:pt x="34" y="514"/>
                    </a:lnTo>
                    <a:lnTo>
                      <a:pt x="38" y="500"/>
                    </a:lnTo>
                    <a:lnTo>
                      <a:pt x="26" y="464"/>
                    </a:lnTo>
                    <a:lnTo>
                      <a:pt x="36" y="442"/>
                    </a:lnTo>
                    <a:lnTo>
                      <a:pt x="18" y="406"/>
                    </a:lnTo>
                    <a:lnTo>
                      <a:pt x="18" y="406"/>
                    </a:lnTo>
                    <a:lnTo>
                      <a:pt x="26" y="390"/>
                    </a:lnTo>
                    <a:lnTo>
                      <a:pt x="30" y="382"/>
                    </a:lnTo>
                    <a:lnTo>
                      <a:pt x="36" y="378"/>
                    </a:lnTo>
                    <a:lnTo>
                      <a:pt x="38" y="370"/>
                    </a:lnTo>
                    <a:lnTo>
                      <a:pt x="46" y="364"/>
                    </a:lnTo>
                    <a:lnTo>
                      <a:pt x="56" y="370"/>
                    </a:lnTo>
                    <a:lnTo>
                      <a:pt x="60" y="364"/>
                    </a:lnTo>
                    <a:lnTo>
                      <a:pt x="58" y="358"/>
                    </a:lnTo>
                    <a:lnTo>
                      <a:pt x="72" y="366"/>
                    </a:lnTo>
                    <a:lnTo>
                      <a:pt x="70" y="372"/>
                    </a:lnTo>
                    <a:lnTo>
                      <a:pt x="62" y="366"/>
                    </a:lnTo>
                    <a:lnTo>
                      <a:pt x="60" y="372"/>
                    </a:lnTo>
                    <a:lnTo>
                      <a:pt x="72" y="378"/>
                    </a:lnTo>
                    <a:lnTo>
                      <a:pt x="70" y="382"/>
                    </a:lnTo>
                    <a:lnTo>
                      <a:pt x="106" y="386"/>
                    </a:lnTo>
                    <a:lnTo>
                      <a:pt x="168" y="440"/>
                    </a:lnTo>
                    <a:lnTo>
                      <a:pt x="170" y="468"/>
                    </a:lnTo>
                    <a:lnTo>
                      <a:pt x="142" y="490"/>
                    </a:lnTo>
                    <a:lnTo>
                      <a:pt x="90" y="476"/>
                    </a:lnTo>
                    <a:lnTo>
                      <a:pt x="88" y="470"/>
                    </a:lnTo>
                    <a:lnTo>
                      <a:pt x="66" y="456"/>
                    </a:lnTo>
                    <a:lnTo>
                      <a:pt x="64" y="460"/>
                    </a:lnTo>
                    <a:lnTo>
                      <a:pt x="64" y="460"/>
                    </a:lnTo>
                    <a:lnTo>
                      <a:pt x="64" y="464"/>
                    </a:lnTo>
                    <a:lnTo>
                      <a:pt x="68" y="470"/>
                    </a:lnTo>
                    <a:lnTo>
                      <a:pt x="76" y="480"/>
                    </a:lnTo>
                    <a:lnTo>
                      <a:pt x="94" y="498"/>
                    </a:lnTo>
                    <a:lnTo>
                      <a:pt x="88" y="514"/>
                    </a:lnTo>
                    <a:lnTo>
                      <a:pt x="94" y="540"/>
                    </a:lnTo>
                    <a:lnTo>
                      <a:pt x="128" y="560"/>
                    </a:lnTo>
                    <a:lnTo>
                      <a:pt x="134" y="558"/>
                    </a:lnTo>
                    <a:lnTo>
                      <a:pt x="116" y="534"/>
                    </a:lnTo>
                    <a:lnTo>
                      <a:pt x="120" y="520"/>
                    </a:lnTo>
                    <a:lnTo>
                      <a:pt x="166" y="540"/>
                    </a:lnTo>
                    <a:lnTo>
                      <a:pt x="166" y="540"/>
                    </a:lnTo>
                    <a:lnTo>
                      <a:pt x="158" y="524"/>
                    </a:lnTo>
                    <a:lnTo>
                      <a:pt x="154" y="512"/>
                    </a:lnTo>
                    <a:lnTo>
                      <a:pt x="154" y="506"/>
                    </a:lnTo>
                    <a:lnTo>
                      <a:pt x="184" y="476"/>
                    </a:lnTo>
                    <a:lnTo>
                      <a:pt x="206" y="492"/>
                    </a:lnTo>
                    <a:lnTo>
                      <a:pt x="210" y="462"/>
                    </a:lnTo>
                    <a:lnTo>
                      <a:pt x="202" y="452"/>
                    </a:lnTo>
                    <a:lnTo>
                      <a:pt x="206" y="416"/>
                    </a:lnTo>
                    <a:lnTo>
                      <a:pt x="196" y="404"/>
                    </a:lnTo>
                    <a:lnTo>
                      <a:pt x="224" y="412"/>
                    </a:lnTo>
                    <a:lnTo>
                      <a:pt x="236" y="434"/>
                    </a:lnTo>
                    <a:lnTo>
                      <a:pt x="216" y="444"/>
                    </a:lnTo>
                    <a:lnTo>
                      <a:pt x="228" y="466"/>
                    </a:lnTo>
                    <a:lnTo>
                      <a:pt x="234" y="466"/>
                    </a:lnTo>
                    <a:lnTo>
                      <a:pt x="236" y="472"/>
                    </a:lnTo>
                    <a:lnTo>
                      <a:pt x="248" y="460"/>
                    </a:lnTo>
                    <a:lnTo>
                      <a:pt x="252" y="442"/>
                    </a:lnTo>
                    <a:lnTo>
                      <a:pt x="296" y="412"/>
                    </a:lnTo>
                    <a:lnTo>
                      <a:pt x="306" y="416"/>
                    </a:lnTo>
                    <a:lnTo>
                      <a:pt x="316" y="398"/>
                    </a:lnTo>
                    <a:lnTo>
                      <a:pt x="330" y="394"/>
                    </a:lnTo>
                    <a:lnTo>
                      <a:pt x="324" y="400"/>
                    </a:lnTo>
                    <a:lnTo>
                      <a:pt x="324" y="416"/>
                    </a:lnTo>
                    <a:lnTo>
                      <a:pt x="334" y="422"/>
                    </a:lnTo>
                    <a:lnTo>
                      <a:pt x="336" y="414"/>
                    </a:lnTo>
                    <a:lnTo>
                      <a:pt x="364" y="410"/>
                    </a:lnTo>
                    <a:lnTo>
                      <a:pt x="374" y="396"/>
                    </a:lnTo>
                    <a:lnTo>
                      <a:pt x="384" y="392"/>
                    </a:lnTo>
                    <a:lnTo>
                      <a:pt x="384" y="412"/>
                    </a:lnTo>
                    <a:lnTo>
                      <a:pt x="406" y="396"/>
                    </a:lnTo>
                    <a:lnTo>
                      <a:pt x="400" y="370"/>
                    </a:lnTo>
                    <a:lnTo>
                      <a:pt x="406" y="364"/>
                    </a:lnTo>
                    <a:lnTo>
                      <a:pt x="406" y="364"/>
                    </a:lnTo>
                    <a:lnTo>
                      <a:pt x="444" y="374"/>
                    </a:lnTo>
                    <a:lnTo>
                      <a:pt x="444" y="374"/>
                    </a:lnTo>
                    <a:lnTo>
                      <a:pt x="458" y="384"/>
                    </a:lnTo>
                    <a:lnTo>
                      <a:pt x="470" y="396"/>
                    </a:lnTo>
                    <a:lnTo>
                      <a:pt x="494" y="420"/>
                    </a:lnTo>
                    <a:lnTo>
                      <a:pt x="504" y="398"/>
                    </a:lnTo>
                    <a:lnTo>
                      <a:pt x="492" y="374"/>
                    </a:lnTo>
                    <a:lnTo>
                      <a:pt x="478" y="370"/>
                    </a:lnTo>
                    <a:lnTo>
                      <a:pt x="478" y="370"/>
                    </a:lnTo>
                    <a:lnTo>
                      <a:pt x="480" y="356"/>
                    </a:lnTo>
                    <a:lnTo>
                      <a:pt x="480" y="338"/>
                    </a:lnTo>
                    <a:lnTo>
                      <a:pt x="480" y="322"/>
                    </a:lnTo>
                    <a:lnTo>
                      <a:pt x="478" y="306"/>
                    </a:lnTo>
                    <a:lnTo>
                      <a:pt x="496" y="286"/>
                    </a:lnTo>
                    <a:lnTo>
                      <a:pt x="496" y="286"/>
                    </a:lnTo>
                    <a:lnTo>
                      <a:pt x="500" y="262"/>
                    </a:lnTo>
                    <a:lnTo>
                      <a:pt x="504" y="248"/>
                    </a:lnTo>
                    <a:lnTo>
                      <a:pt x="508" y="238"/>
                    </a:lnTo>
                    <a:lnTo>
                      <a:pt x="546" y="246"/>
                    </a:lnTo>
                    <a:lnTo>
                      <a:pt x="546" y="246"/>
                    </a:lnTo>
                    <a:lnTo>
                      <a:pt x="548" y="258"/>
                    </a:lnTo>
                    <a:lnTo>
                      <a:pt x="546" y="272"/>
                    </a:lnTo>
                    <a:lnTo>
                      <a:pt x="542" y="286"/>
                    </a:lnTo>
                    <a:lnTo>
                      <a:pt x="536" y="298"/>
                    </a:lnTo>
                    <a:lnTo>
                      <a:pt x="536" y="298"/>
                    </a:lnTo>
                    <a:lnTo>
                      <a:pt x="540" y="320"/>
                    </a:lnTo>
                    <a:lnTo>
                      <a:pt x="544" y="344"/>
                    </a:lnTo>
                    <a:lnTo>
                      <a:pt x="546" y="368"/>
                    </a:lnTo>
                    <a:lnTo>
                      <a:pt x="544" y="392"/>
                    </a:lnTo>
                    <a:lnTo>
                      <a:pt x="556" y="406"/>
                    </a:lnTo>
                    <a:lnTo>
                      <a:pt x="556" y="406"/>
                    </a:lnTo>
                    <a:lnTo>
                      <a:pt x="548" y="434"/>
                    </a:lnTo>
                    <a:lnTo>
                      <a:pt x="544" y="450"/>
                    </a:lnTo>
                    <a:lnTo>
                      <a:pt x="538" y="462"/>
                    </a:lnTo>
                    <a:lnTo>
                      <a:pt x="512" y="470"/>
                    </a:lnTo>
                    <a:lnTo>
                      <a:pt x="516" y="480"/>
                    </a:lnTo>
                    <a:lnTo>
                      <a:pt x="540" y="486"/>
                    </a:lnTo>
                    <a:lnTo>
                      <a:pt x="542" y="484"/>
                    </a:lnTo>
                    <a:lnTo>
                      <a:pt x="544" y="474"/>
                    </a:lnTo>
                    <a:lnTo>
                      <a:pt x="558" y="466"/>
                    </a:lnTo>
                    <a:lnTo>
                      <a:pt x="558" y="466"/>
                    </a:lnTo>
                    <a:lnTo>
                      <a:pt x="558" y="458"/>
                    </a:lnTo>
                    <a:lnTo>
                      <a:pt x="562" y="450"/>
                    </a:lnTo>
                    <a:lnTo>
                      <a:pt x="566" y="444"/>
                    </a:lnTo>
                    <a:lnTo>
                      <a:pt x="572" y="438"/>
                    </a:lnTo>
                    <a:lnTo>
                      <a:pt x="570" y="402"/>
                    </a:lnTo>
                    <a:lnTo>
                      <a:pt x="602" y="412"/>
                    </a:lnTo>
                    <a:lnTo>
                      <a:pt x="602" y="438"/>
                    </a:lnTo>
                    <a:lnTo>
                      <a:pt x="622" y="442"/>
                    </a:lnTo>
                    <a:lnTo>
                      <a:pt x="622" y="442"/>
                    </a:lnTo>
                    <a:lnTo>
                      <a:pt x="614" y="420"/>
                    </a:lnTo>
                    <a:lnTo>
                      <a:pt x="608" y="398"/>
                    </a:lnTo>
                    <a:lnTo>
                      <a:pt x="588" y="386"/>
                    </a:lnTo>
                    <a:lnTo>
                      <a:pt x="576" y="390"/>
                    </a:lnTo>
                    <a:lnTo>
                      <a:pt x="560" y="386"/>
                    </a:lnTo>
                    <a:lnTo>
                      <a:pt x="566" y="330"/>
                    </a:lnTo>
                    <a:lnTo>
                      <a:pt x="552" y="296"/>
                    </a:lnTo>
                    <a:lnTo>
                      <a:pt x="572" y="242"/>
                    </a:lnTo>
                    <a:lnTo>
                      <a:pt x="582" y="254"/>
                    </a:lnTo>
                    <a:lnTo>
                      <a:pt x="582" y="254"/>
                    </a:lnTo>
                    <a:lnTo>
                      <a:pt x="580" y="266"/>
                    </a:lnTo>
                    <a:lnTo>
                      <a:pt x="578" y="280"/>
                    </a:lnTo>
                    <a:lnTo>
                      <a:pt x="578" y="292"/>
                    </a:lnTo>
                    <a:lnTo>
                      <a:pt x="580" y="304"/>
                    </a:lnTo>
                    <a:lnTo>
                      <a:pt x="614" y="314"/>
                    </a:lnTo>
                    <a:lnTo>
                      <a:pt x="612" y="306"/>
                    </a:lnTo>
                    <a:lnTo>
                      <a:pt x="592" y="296"/>
                    </a:lnTo>
                    <a:lnTo>
                      <a:pt x="588" y="282"/>
                    </a:lnTo>
                    <a:lnTo>
                      <a:pt x="592" y="278"/>
                    </a:lnTo>
                    <a:lnTo>
                      <a:pt x="598" y="290"/>
                    </a:lnTo>
                    <a:lnTo>
                      <a:pt x="610" y="284"/>
                    </a:lnTo>
                    <a:lnTo>
                      <a:pt x="604" y="276"/>
                    </a:lnTo>
                    <a:lnTo>
                      <a:pt x="626" y="264"/>
                    </a:lnTo>
                    <a:lnTo>
                      <a:pt x="654" y="288"/>
                    </a:lnTo>
                    <a:lnTo>
                      <a:pt x="674" y="292"/>
                    </a:lnTo>
                    <a:lnTo>
                      <a:pt x="662" y="310"/>
                    </a:lnTo>
                    <a:lnTo>
                      <a:pt x="662" y="346"/>
                    </a:lnTo>
                    <a:lnTo>
                      <a:pt x="674" y="354"/>
                    </a:lnTo>
                    <a:lnTo>
                      <a:pt x="680" y="332"/>
                    </a:lnTo>
                    <a:lnTo>
                      <a:pt x="674" y="308"/>
                    </a:lnTo>
                    <a:lnTo>
                      <a:pt x="680" y="294"/>
                    </a:lnTo>
                    <a:lnTo>
                      <a:pt x="676" y="284"/>
                    </a:lnTo>
                    <a:lnTo>
                      <a:pt x="662" y="274"/>
                    </a:lnTo>
                    <a:lnTo>
                      <a:pt x="662" y="268"/>
                    </a:lnTo>
                    <a:lnTo>
                      <a:pt x="646" y="260"/>
                    </a:lnTo>
                    <a:lnTo>
                      <a:pt x="646" y="260"/>
                    </a:lnTo>
                    <a:lnTo>
                      <a:pt x="644" y="248"/>
                    </a:lnTo>
                    <a:lnTo>
                      <a:pt x="640" y="236"/>
                    </a:lnTo>
                    <a:lnTo>
                      <a:pt x="640" y="222"/>
                    </a:lnTo>
                    <a:lnTo>
                      <a:pt x="642" y="210"/>
                    </a:lnTo>
                    <a:lnTo>
                      <a:pt x="714" y="194"/>
                    </a:lnTo>
                    <a:lnTo>
                      <a:pt x="714" y="194"/>
                    </a:lnTo>
                    <a:lnTo>
                      <a:pt x="708" y="178"/>
                    </a:lnTo>
                    <a:lnTo>
                      <a:pt x="704" y="168"/>
                    </a:lnTo>
                    <a:lnTo>
                      <a:pt x="702" y="158"/>
                    </a:lnTo>
                    <a:lnTo>
                      <a:pt x="720" y="144"/>
                    </a:lnTo>
                    <a:lnTo>
                      <a:pt x="718" y="136"/>
                    </a:lnTo>
                    <a:lnTo>
                      <a:pt x="718" y="136"/>
                    </a:lnTo>
                    <a:lnTo>
                      <a:pt x="734" y="124"/>
                    </a:lnTo>
                    <a:lnTo>
                      <a:pt x="754" y="114"/>
                    </a:lnTo>
                    <a:lnTo>
                      <a:pt x="776" y="104"/>
                    </a:lnTo>
                    <a:lnTo>
                      <a:pt x="796" y="98"/>
                    </a:lnTo>
                    <a:lnTo>
                      <a:pt x="788" y="88"/>
                    </a:lnTo>
                    <a:lnTo>
                      <a:pt x="828" y="86"/>
                    </a:lnTo>
                    <a:lnTo>
                      <a:pt x="822" y="98"/>
                    </a:lnTo>
                    <a:lnTo>
                      <a:pt x="832" y="98"/>
                    </a:lnTo>
                    <a:lnTo>
                      <a:pt x="858" y="76"/>
                    </a:lnTo>
                    <a:lnTo>
                      <a:pt x="870" y="90"/>
                    </a:lnTo>
                    <a:lnTo>
                      <a:pt x="872" y="78"/>
                    </a:lnTo>
                    <a:lnTo>
                      <a:pt x="860" y="64"/>
                    </a:lnTo>
                    <a:lnTo>
                      <a:pt x="888" y="62"/>
                    </a:lnTo>
                    <a:lnTo>
                      <a:pt x="884" y="46"/>
                    </a:lnTo>
                    <a:lnTo>
                      <a:pt x="910" y="0"/>
                    </a:lnTo>
                    <a:lnTo>
                      <a:pt x="942" y="4"/>
                    </a:lnTo>
                    <a:lnTo>
                      <a:pt x="942" y="34"/>
                    </a:lnTo>
                    <a:lnTo>
                      <a:pt x="962" y="38"/>
                    </a:lnTo>
                    <a:lnTo>
                      <a:pt x="960" y="50"/>
                    </a:lnTo>
                    <a:lnTo>
                      <a:pt x="948" y="66"/>
                    </a:lnTo>
                    <a:lnTo>
                      <a:pt x="962" y="66"/>
                    </a:lnTo>
                    <a:lnTo>
                      <a:pt x="972" y="50"/>
                    </a:lnTo>
                    <a:lnTo>
                      <a:pt x="1008" y="52"/>
                    </a:lnTo>
                    <a:lnTo>
                      <a:pt x="1008" y="52"/>
                    </a:lnTo>
                    <a:lnTo>
                      <a:pt x="1018" y="60"/>
                    </a:lnTo>
                    <a:lnTo>
                      <a:pt x="1028" y="74"/>
                    </a:lnTo>
                    <a:lnTo>
                      <a:pt x="1036" y="88"/>
                    </a:lnTo>
                    <a:lnTo>
                      <a:pt x="1038" y="94"/>
                    </a:lnTo>
                    <a:lnTo>
                      <a:pt x="1040" y="100"/>
                    </a:lnTo>
                    <a:lnTo>
                      <a:pt x="1032" y="140"/>
                    </a:lnTo>
                    <a:lnTo>
                      <a:pt x="1032" y="140"/>
                    </a:lnTo>
                    <a:lnTo>
                      <a:pt x="1014" y="152"/>
                    </a:lnTo>
                    <a:lnTo>
                      <a:pt x="998" y="170"/>
                    </a:lnTo>
                    <a:lnTo>
                      <a:pt x="984" y="190"/>
                    </a:lnTo>
                    <a:lnTo>
                      <a:pt x="972" y="208"/>
                    </a:lnTo>
                    <a:lnTo>
                      <a:pt x="960" y="208"/>
                    </a:lnTo>
                    <a:lnTo>
                      <a:pt x="950" y="236"/>
                    </a:lnTo>
                    <a:lnTo>
                      <a:pt x="950" y="236"/>
                    </a:lnTo>
                    <a:lnTo>
                      <a:pt x="990" y="216"/>
                    </a:lnTo>
                    <a:lnTo>
                      <a:pt x="994" y="190"/>
                    </a:lnTo>
                    <a:lnTo>
                      <a:pt x="1012" y="188"/>
                    </a:lnTo>
                    <a:lnTo>
                      <a:pt x="1010" y="198"/>
                    </a:lnTo>
                    <a:lnTo>
                      <a:pt x="1034" y="206"/>
                    </a:lnTo>
                    <a:lnTo>
                      <a:pt x="1032" y="216"/>
                    </a:lnTo>
                    <a:lnTo>
                      <a:pt x="1050" y="228"/>
                    </a:lnTo>
                    <a:lnTo>
                      <a:pt x="1062" y="204"/>
                    </a:lnTo>
                    <a:lnTo>
                      <a:pt x="1102" y="214"/>
                    </a:lnTo>
                    <a:lnTo>
                      <a:pt x="1114" y="236"/>
                    </a:lnTo>
                    <a:lnTo>
                      <a:pt x="1156" y="228"/>
                    </a:lnTo>
                    <a:lnTo>
                      <a:pt x="1154" y="200"/>
                    </a:lnTo>
                    <a:lnTo>
                      <a:pt x="1160" y="196"/>
                    </a:lnTo>
                    <a:lnTo>
                      <a:pt x="1194" y="216"/>
                    </a:lnTo>
                    <a:lnTo>
                      <a:pt x="1212" y="214"/>
                    </a:lnTo>
                    <a:lnTo>
                      <a:pt x="1228" y="236"/>
                    </a:lnTo>
                    <a:lnTo>
                      <a:pt x="1230" y="262"/>
                    </a:lnTo>
                    <a:lnTo>
                      <a:pt x="1218" y="282"/>
                    </a:lnTo>
                    <a:lnTo>
                      <a:pt x="1218" y="282"/>
                    </a:lnTo>
                    <a:lnTo>
                      <a:pt x="1224" y="294"/>
                    </a:lnTo>
                    <a:lnTo>
                      <a:pt x="1230" y="308"/>
                    </a:lnTo>
                    <a:lnTo>
                      <a:pt x="1240" y="322"/>
                    </a:lnTo>
                    <a:lnTo>
                      <a:pt x="1244" y="326"/>
                    </a:lnTo>
                    <a:lnTo>
                      <a:pt x="1250" y="330"/>
                    </a:lnTo>
                    <a:lnTo>
                      <a:pt x="1266" y="278"/>
                    </a:lnTo>
                    <a:lnTo>
                      <a:pt x="1278" y="302"/>
                    </a:lnTo>
                    <a:lnTo>
                      <a:pt x="1302" y="292"/>
                    </a:lnTo>
                    <a:lnTo>
                      <a:pt x="1330" y="312"/>
                    </a:lnTo>
                    <a:lnTo>
                      <a:pt x="1330" y="312"/>
                    </a:lnTo>
                    <a:lnTo>
                      <a:pt x="1336" y="308"/>
                    </a:lnTo>
                    <a:lnTo>
                      <a:pt x="1342" y="302"/>
                    </a:lnTo>
                    <a:lnTo>
                      <a:pt x="1354" y="286"/>
                    </a:lnTo>
                    <a:lnTo>
                      <a:pt x="1362" y="268"/>
                    </a:lnTo>
                    <a:lnTo>
                      <a:pt x="1368" y="252"/>
                    </a:lnTo>
                    <a:lnTo>
                      <a:pt x="1368" y="252"/>
                    </a:lnTo>
                    <a:lnTo>
                      <a:pt x="1368" y="242"/>
                    </a:lnTo>
                    <a:lnTo>
                      <a:pt x="1472" y="270"/>
                    </a:lnTo>
                    <a:lnTo>
                      <a:pt x="1462" y="290"/>
                    </a:lnTo>
                    <a:lnTo>
                      <a:pt x="1494" y="300"/>
                    </a:lnTo>
                    <a:lnTo>
                      <a:pt x="1504" y="326"/>
                    </a:lnTo>
                    <a:lnTo>
                      <a:pt x="1580" y="320"/>
                    </a:lnTo>
                    <a:lnTo>
                      <a:pt x="1590" y="364"/>
                    </a:lnTo>
                    <a:lnTo>
                      <a:pt x="1608" y="378"/>
                    </a:lnTo>
                    <a:lnTo>
                      <a:pt x="1608" y="378"/>
                    </a:lnTo>
                    <a:lnTo>
                      <a:pt x="1648" y="370"/>
                    </a:lnTo>
                    <a:lnTo>
                      <a:pt x="1686" y="364"/>
                    </a:lnTo>
                    <a:lnTo>
                      <a:pt x="1692" y="384"/>
                    </a:lnTo>
                    <a:lnTo>
                      <a:pt x="1714" y="402"/>
                    </a:lnTo>
                    <a:lnTo>
                      <a:pt x="1726" y="390"/>
                    </a:lnTo>
                    <a:lnTo>
                      <a:pt x="1720" y="354"/>
                    </a:lnTo>
                    <a:lnTo>
                      <a:pt x="1720" y="354"/>
                    </a:lnTo>
                    <a:lnTo>
                      <a:pt x="1784" y="360"/>
                    </a:lnTo>
                    <a:lnTo>
                      <a:pt x="1784" y="360"/>
                    </a:lnTo>
                    <a:lnTo>
                      <a:pt x="1802" y="372"/>
                    </a:lnTo>
                    <a:lnTo>
                      <a:pt x="1830" y="394"/>
                    </a:lnTo>
                    <a:lnTo>
                      <a:pt x="1878" y="434"/>
                    </a:lnTo>
                    <a:lnTo>
                      <a:pt x="1878" y="43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7" name="Freeform 1696">
                <a:extLst>
                  <a:ext uri="{FF2B5EF4-FFF2-40B4-BE49-F238E27FC236}">
                    <a16:creationId xmlns:a16="http://schemas.microsoft.com/office/drawing/2014/main" id="{C0810F4E-CB96-4141-8544-71D1890B1F34}"/>
                  </a:ext>
                </a:extLst>
              </p:cNvPr>
              <p:cNvSpPr>
                <a:spLocks/>
              </p:cNvSpPr>
              <p:nvPr/>
            </p:nvSpPr>
            <p:spPr bwMode="auto">
              <a:xfrm>
                <a:off x="3457" y="2308"/>
                <a:ext cx="80" cy="40"/>
              </a:xfrm>
              <a:custGeom>
                <a:avLst/>
                <a:gdLst/>
                <a:ahLst/>
                <a:cxnLst>
                  <a:cxn ang="0">
                    <a:pos x="0" y="0"/>
                  </a:cxn>
                  <a:cxn ang="0">
                    <a:pos x="0" y="0"/>
                  </a:cxn>
                  <a:cxn ang="0">
                    <a:pos x="4" y="0"/>
                  </a:cxn>
                  <a:cxn ang="0">
                    <a:pos x="8" y="0"/>
                  </a:cxn>
                  <a:cxn ang="0">
                    <a:pos x="16" y="2"/>
                  </a:cxn>
                  <a:cxn ang="0">
                    <a:pos x="26" y="4"/>
                  </a:cxn>
                  <a:cxn ang="0">
                    <a:pos x="36" y="6"/>
                  </a:cxn>
                  <a:cxn ang="0">
                    <a:pos x="48" y="16"/>
                  </a:cxn>
                  <a:cxn ang="0">
                    <a:pos x="64" y="14"/>
                  </a:cxn>
                  <a:cxn ang="0">
                    <a:pos x="70" y="16"/>
                  </a:cxn>
                  <a:cxn ang="0">
                    <a:pos x="70" y="22"/>
                  </a:cxn>
                  <a:cxn ang="0">
                    <a:pos x="78" y="28"/>
                  </a:cxn>
                  <a:cxn ang="0">
                    <a:pos x="76" y="32"/>
                  </a:cxn>
                  <a:cxn ang="0">
                    <a:pos x="76" y="32"/>
                  </a:cxn>
                  <a:cxn ang="0">
                    <a:pos x="78" y="36"/>
                  </a:cxn>
                  <a:cxn ang="0">
                    <a:pos x="80" y="40"/>
                  </a:cxn>
                  <a:cxn ang="0">
                    <a:pos x="80" y="40"/>
                  </a:cxn>
                  <a:cxn ang="0">
                    <a:pos x="80" y="40"/>
                  </a:cxn>
                  <a:cxn ang="0">
                    <a:pos x="72" y="38"/>
                  </a:cxn>
                  <a:cxn ang="0">
                    <a:pos x="66" y="36"/>
                  </a:cxn>
                  <a:cxn ang="0">
                    <a:pos x="66" y="36"/>
                  </a:cxn>
                  <a:cxn ang="0">
                    <a:pos x="54" y="38"/>
                  </a:cxn>
                  <a:cxn ang="0">
                    <a:pos x="42" y="40"/>
                  </a:cxn>
                  <a:cxn ang="0">
                    <a:pos x="36" y="34"/>
                  </a:cxn>
                  <a:cxn ang="0">
                    <a:pos x="36" y="34"/>
                  </a:cxn>
                  <a:cxn ang="0">
                    <a:pos x="28" y="36"/>
                  </a:cxn>
                  <a:cxn ang="0">
                    <a:pos x="22" y="36"/>
                  </a:cxn>
                  <a:cxn ang="0">
                    <a:pos x="20" y="34"/>
                  </a:cxn>
                  <a:cxn ang="0">
                    <a:pos x="22" y="32"/>
                  </a:cxn>
                  <a:cxn ang="0">
                    <a:pos x="22" y="32"/>
                  </a:cxn>
                  <a:cxn ang="0">
                    <a:pos x="22" y="24"/>
                  </a:cxn>
                  <a:cxn ang="0">
                    <a:pos x="22" y="20"/>
                  </a:cxn>
                  <a:cxn ang="0">
                    <a:pos x="18" y="14"/>
                  </a:cxn>
                  <a:cxn ang="0">
                    <a:pos x="14" y="10"/>
                  </a:cxn>
                  <a:cxn ang="0">
                    <a:pos x="6" y="4"/>
                  </a:cxn>
                  <a:cxn ang="0">
                    <a:pos x="0" y="0"/>
                  </a:cxn>
                  <a:cxn ang="0">
                    <a:pos x="0" y="0"/>
                  </a:cxn>
                </a:cxnLst>
                <a:rect l="0" t="0" r="r" b="b"/>
                <a:pathLst>
                  <a:path w="80" h="40">
                    <a:moveTo>
                      <a:pt x="0" y="0"/>
                    </a:moveTo>
                    <a:lnTo>
                      <a:pt x="0" y="0"/>
                    </a:lnTo>
                    <a:lnTo>
                      <a:pt x="4" y="0"/>
                    </a:lnTo>
                    <a:lnTo>
                      <a:pt x="8" y="0"/>
                    </a:lnTo>
                    <a:lnTo>
                      <a:pt x="16" y="2"/>
                    </a:lnTo>
                    <a:lnTo>
                      <a:pt x="26" y="4"/>
                    </a:lnTo>
                    <a:lnTo>
                      <a:pt x="36" y="6"/>
                    </a:lnTo>
                    <a:lnTo>
                      <a:pt x="48" y="16"/>
                    </a:lnTo>
                    <a:lnTo>
                      <a:pt x="64" y="14"/>
                    </a:lnTo>
                    <a:lnTo>
                      <a:pt x="70" y="16"/>
                    </a:lnTo>
                    <a:lnTo>
                      <a:pt x="70" y="22"/>
                    </a:lnTo>
                    <a:lnTo>
                      <a:pt x="78" y="28"/>
                    </a:lnTo>
                    <a:lnTo>
                      <a:pt x="76" y="32"/>
                    </a:lnTo>
                    <a:lnTo>
                      <a:pt x="76" y="32"/>
                    </a:lnTo>
                    <a:lnTo>
                      <a:pt x="78" y="36"/>
                    </a:lnTo>
                    <a:lnTo>
                      <a:pt x="80" y="40"/>
                    </a:lnTo>
                    <a:lnTo>
                      <a:pt x="80" y="40"/>
                    </a:lnTo>
                    <a:lnTo>
                      <a:pt x="80" y="40"/>
                    </a:lnTo>
                    <a:lnTo>
                      <a:pt x="72" y="38"/>
                    </a:lnTo>
                    <a:lnTo>
                      <a:pt x="66" y="36"/>
                    </a:lnTo>
                    <a:lnTo>
                      <a:pt x="66" y="36"/>
                    </a:lnTo>
                    <a:lnTo>
                      <a:pt x="54" y="38"/>
                    </a:lnTo>
                    <a:lnTo>
                      <a:pt x="42" y="40"/>
                    </a:lnTo>
                    <a:lnTo>
                      <a:pt x="36" y="34"/>
                    </a:lnTo>
                    <a:lnTo>
                      <a:pt x="36" y="34"/>
                    </a:lnTo>
                    <a:lnTo>
                      <a:pt x="28" y="36"/>
                    </a:lnTo>
                    <a:lnTo>
                      <a:pt x="22" y="36"/>
                    </a:lnTo>
                    <a:lnTo>
                      <a:pt x="20" y="34"/>
                    </a:lnTo>
                    <a:lnTo>
                      <a:pt x="22" y="32"/>
                    </a:lnTo>
                    <a:lnTo>
                      <a:pt x="22" y="32"/>
                    </a:lnTo>
                    <a:lnTo>
                      <a:pt x="22" y="24"/>
                    </a:lnTo>
                    <a:lnTo>
                      <a:pt x="22" y="20"/>
                    </a:lnTo>
                    <a:lnTo>
                      <a:pt x="18" y="14"/>
                    </a:lnTo>
                    <a:lnTo>
                      <a:pt x="14" y="10"/>
                    </a:lnTo>
                    <a:lnTo>
                      <a:pt x="6" y="4"/>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8" name="Freeform 1697">
                <a:extLst>
                  <a:ext uri="{FF2B5EF4-FFF2-40B4-BE49-F238E27FC236}">
                    <a16:creationId xmlns:a16="http://schemas.microsoft.com/office/drawing/2014/main" id="{247E3238-D625-4F3A-A18A-5B8AC4828955}"/>
                  </a:ext>
                </a:extLst>
              </p:cNvPr>
              <p:cNvSpPr>
                <a:spLocks/>
              </p:cNvSpPr>
              <p:nvPr/>
            </p:nvSpPr>
            <p:spPr bwMode="auto">
              <a:xfrm>
                <a:off x="3257" y="2054"/>
                <a:ext cx="116" cy="106"/>
              </a:xfrm>
              <a:custGeom>
                <a:avLst/>
                <a:gdLst/>
                <a:ahLst/>
                <a:cxnLst>
                  <a:cxn ang="0">
                    <a:pos x="4" y="92"/>
                  </a:cxn>
                  <a:cxn ang="0">
                    <a:pos x="8" y="78"/>
                  </a:cxn>
                  <a:cxn ang="0">
                    <a:pos x="8" y="72"/>
                  </a:cxn>
                  <a:cxn ang="0">
                    <a:pos x="4" y="50"/>
                  </a:cxn>
                  <a:cxn ang="0">
                    <a:pos x="18" y="46"/>
                  </a:cxn>
                  <a:cxn ang="0">
                    <a:pos x="30" y="44"/>
                  </a:cxn>
                  <a:cxn ang="0">
                    <a:pos x="28" y="40"/>
                  </a:cxn>
                  <a:cxn ang="0">
                    <a:pos x="32" y="28"/>
                  </a:cxn>
                  <a:cxn ang="0">
                    <a:pos x="42" y="20"/>
                  </a:cxn>
                  <a:cxn ang="0">
                    <a:pos x="40" y="14"/>
                  </a:cxn>
                  <a:cxn ang="0">
                    <a:pos x="46" y="8"/>
                  </a:cxn>
                  <a:cxn ang="0">
                    <a:pos x="58" y="2"/>
                  </a:cxn>
                  <a:cxn ang="0">
                    <a:pos x="62" y="0"/>
                  </a:cxn>
                  <a:cxn ang="0">
                    <a:pos x="76" y="6"/>
                  </a:cxn>
                  <a:cxn ang="0">
                    <a:pos x="86" y="8"/>
                  </a:cxn>
                  <a:cxn ang="0">
                    <a:pos x="94" y="12"/>
                  </a:cxn>
                  <a:cxn ang="0">
                    <a:pos x="92" y="32"/>
                  </a:cxn>
                  <a:cxn ang="0">
                    <a:pos x="100" y="42"/>
                  </a:cxn>
                  <a:cxn ang="0">
                    <a:pos x="104" y="52"/>
                  </a:cxn>
                  <a:cxn ang="0">
                    <a:pos x="116" y="58"/>
                  </a:cxn>
                  <a:cxn ang="0">
                    <a:pos x="108" y="66"/>
                  </a:cxn>
                  <a:cxn ang="0">
                    <a:pos x="98" y="68"/>
                  </a:cxn>
                  <a:cxn ang="0">
                    <a:pos x="94" y="90"/>
                  </a:cxn>
                  <a:cxn ang="0">
                    <a:pos x="90" y="104"/>
                  </a:cxn>
                  <a:cxn ang="0">
                    <a:pos x="84" y="104"/>
                  </a:cxn>
                  <a:cxn ang="0">
                    <a:pos x="70" y="100"/>
                  </a:cxn>
                  <a:cxn ang="0">
                    <a:pos x="60" y="100"/>
                  </a:cxn>
                  <a:cxn ang="0">
                    <a:pos x="52" y="100"/>
                  </a:cxn>
                  <a:cxn ang="0">
                    <a:pos x="44" y="96"/>
                  </a:cxn>
                  <a:cxn ang="0">
                    <a:pos x="36" y="94"/>
                  </a:cxn>
                  <a:cxn ang="0">
                    <a:pos x="14" y="94"/>
                  </a:cxn>
                  <a:cxn ang="0">
                    <a:pos x="10" y="98"/>
                  </a:cxn>
                  <a:cxn ang="0">
                    <a:pos x="4" y="100"/>
                  </a:cxn>
                </a:cxnLst>
                <a:rect l="0" t="0" r="r" b="b"/>
                <a:pathLst>
                  <a:path w="116" h="106">
                    <a:moveTo>
                      <a:pt x="4" y="100"/>
                    </a:moveTo>
                    <a:lnTo>
                      <a:pt x="4" y="92"/>
                    </a:lnTo>
                    <a:lnTo>
                      <a:pt x="0" y="86"/>
                    </a:lnTo>
                    <a:lnTo>
                      <a:pt x="8" y="78"/>
                    </a:lnTo>
                    <a:lnTo>
                      <a:pt x="8" y="78"/>
                    </a:lnTo>
                    <a:lnTo>
                      <a:pt x="8" y="72"/>
                    </a:lnTo>
                    <a:lnTo>
                      <a:pt x="6" y="64"/>
                    </a:lnTo>
                    <a:lnTo>
                      <a:pt x="4" y="50"/>
                    </a:lnTo>
                    <a:lnTo>
                      <a:pt x="20" y="48"/>
                    </a:lnTo>
                    <a:lnTo>
                      <a:pt x="18" y="46"/>
                    </a:lnTo>
                    <a:lnTo>
                      <a:pt x="24" y="42"/>
                    </a:lnTo>
                    <a:lnTo>
                      <a:pt x="30" y="44"/>
                    </a:lnTo>
                    <a:lnTo>
                      <a:pt x="28" y="40"/>
                    </a:lnTo>
                    <a:lnTo>
                      <a:pt x="28" y="40"/>
                    </a:lnTo>
                    <a:lnTo>
                      <a:pt x="30" y="34"/>
                    </a:lnTo>
                    <a:lnTo>
                      <a:pt x="32" y="28"/>
                    </a:lnTo>
                    <a:lnTo>
                      <a:pt x="40" y="24"/>
                    </a:lnTo>
                    <a:lnTo>
                      <a:pt x="42" y="20"/>
                    </a:lnTo>
                    <a:lnTo>
                      <a:pt x="40" y="18"/>
                    </a:lnTo>
                    <a:lnTo>
                      <a:pt x="40" y="14"/>
                    </a:lnTo>
                    <a:lnTo>
                      <a:pt x="42" y="12"/>
                    </a:lnTo>
                    <a:lnTo>
                      <a:pt x="46" y="8"/>
                    </a:lnTo>
                    <a:lnTo>
                      <a:pt x="52" y="10"/>
                    </a:lnTo>
                    <a:lnTo>
                      <a:pt x="58" y="2"/>
                    </a:lnTo>
                    <a:lnTo>
                      <a:pt x="62" y="0"/>
                    </a:lnTo>
                    <a:lnTo>
                      <a:pt x="62" y="0"/>
                    </a:lnTo>
                    <a:lnTo>
                      <a:pt x="68" y="2"/>
                    </a:lnTo>
                    <a:lnTo>
                      <a:pt x="76" y="6"/>
                    </a:lnTo>
                    <a:lnTo>
                      <a:pt x="76" y="10"/>
                    </a:lnTo>
                    <a:lnTo>
                      <a:pt x="86" y="8"/>
                    </a:lnTo>
                    <a:lnTo>
                      <a:pt x="94" y="12"/>
                    </a:lnTo>
                    <a:lnTo>
                      <a:pt x="94" y="12"/>
                    </a:lnTo>
                    <a:lnTo>
                      <a:pt x="94" y="22"/>
                    </a:lnTo>
                    <a:lnTo>
                      <a:pt x="92" y="32"/>
                    </a:lnTo>
                    <a:lnTo>
                      <a:pt x="92" y="32"/>
                    </a:lnTo>
                    <a:lnTo>
                      <a:pt x="100" y="42"/>
                    </a:lnTo>
                    <a:lnTo>
                      <a:pt x="104" y="48"/>
                    </a:lnTo>
                    <a:lnTo>
                      <a:pt x="104" y="52"/>
                    </a:lnTo>
                    <a:lnTo>
                      <a:pt x="110" y="52"/>
                    </a:lnTo>
                    <a:lnTo>
                      <a:pt x="116" y="58"/>
                    </a:lnTo>
                    <a:lnTo>
                      <a:pt x="116" y="60"/>
                    </a:lnTo>
                    <a:lnTo>
                      <a:pt x="108" y="66"/>
                    </a:lnTo>
                    <a:lnTo>
                      <a:pt x="100" y="64"/>
                    </a:lnTo>
                    <a:lnTo>
                      <a:pt x="98" y="68"/>
                    </a:lnTo>
                    <a:lnTo>
                      <a:pt x="104" y="88"/>
                    </a:lnTo>
                    <a:lnTo>
                      <a:pt x="94" y="90"/>
                    </a:lnTo>
                    <a:lnTo>
                      <a:pt x="90" y="94"/>
                    </a:lnTo>
                    <a:lnTo>
                      <a:pt x="90" y="104"/>
                    </a:lnTo>
                    <a:lnTo>
                      <a:pt x="86" y="106"/>
                    </a:lnTo>
                    <a:lnTo>
                      <a:pt x="84" y="104"/>
                    </a:lnTo>
                    <a:lnTo>
                      <a:pt x="76" y="106"/>
                    </a:lnTo>
                    <a:lnTo>
                      <a:pt x="70" y="100"/>
                    </a:lnTo>
                    <a:lnTo>
                      <a:pt x="66" y="104"/>
                    </a:lnTo>
                    <a:lnTo>
                      <a:pt x="60" y="100"/>
                    </a:lnTo>
                    <a:lnTo>
                      <a:pt x="52" y="104"/>
                    </a:lnTo>
                    <a:lnTo>
                      <a:pt x="52" y="100"/>
                    </a:lnTo>
                    <a:lnTo>
                      <a:pt x="48" y="102"/>
                    </a:lnTo>
                    <a:lnTo>
                      <a:pt x="44" y="96"/>
                    </a:lnTo>
                    <a:lnTo>
                      <a:pt x="44" y="96"/>
                    </a:lnTo>
                    <a:lnTo>
                      <a:pt x="36" y="94"/>
                    </a:lnTo>
                    <a:lnTo>
                      <a:pt x="30" y="92"/>
                    </a:lnTo>
                    <a:lnTo>
                      <a:pt x="14" y="94"/>
                    </a:lnTo>
                    <a:lnTo>
                      <a:pt x="14" y="94"/>
                    </a:lnTo>
                    <a:lnTo>
                      <a:pt x="10" y="98"/>
                    </a:lnTo>
                    <a:lnTo>
                      <a:pt x="4" y="100"/>
                    </a:lnTo>
                    <a:lnTo>
                      <a:pt x="4" y="10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89" name="Freeform 1698">
                <a:extLst>
                  <a:ext uri="{FF2B5EF4-FFF2-40B4-BE49-F238E27FC236}">
                    <a16:creationId xmlns:a16="http://schemas.microsoft.com/office/drawing/2014/main" id="{938BD6AB-ABA5-4EBF-8EB0-CFE3C52A40E2}"/>
                  </a:ext>
                </a:extLst>
              </p:cNvPr>
              <p:cNvSpPr>
                <a:spLocks/>
              </p:cNvSpPr>
              <p:nvPr/>
            </p:nvSpPr>
            <p:spPr bwMode="auto">
              <a:xfrm>
                <a:off x="3243" y="2138"/>
                <a:ext cx="218" cy="154"/>
              </a:xfrm>
              <a:custGeom>
                <a:avLst/>
                <a:gdLst/>
                <a:ahLst/>
                <a:cxnLst>
                  <a:cxn ang="0">
                    <a:pos x="0" y="80"/>
                  </a:cxn>
                  <a:cxn ang="0">
                    <a:pos x="30" y="88"/>
                  </a:cxn>
                  <a:cxn ang="0">
                    <a:pos x="58" y="80"/>
                  </a:cxn>
                  <a:cxn ang="0">
                    <a:pos x="74" y="84"/>
                  </a:cxn>
                  <a:cxn ang="0">
                    <a:pos x="88" y="100"/>
                  </a:cxn>
                  <a:cxn ang="0">
                    <a:pos x="94" y="116"/>
                  </a:cxn>
                  <a:cxn ang="0">
                    <a:pos x="78" y="130"/>
                  </a:cxn>
                  <a:cxn ang="0">
                    <a:pos x="74" y="136"/>
                  </a:cxn>
                  <a:cxn ang="0">
                    <a:pos x="88" y="136"/>
                  </a:cxn>
                  <a:cxn ang="0">
                    <a:pos x="100" y="126"/>
                  </a:cxn>
                  <a:cxn ang="0">
                    <a:pos x="106" y="116"/>
                  </a:cxn>
                  <a:cxn ang="0">
                    <a:pos x="120" y="112"/>
                  </a:cxn>
                  <a:cxn ang="0">
                    <a:pos x="128" y="124"/>
                  </a:cxn>
                  <a:cxn ang="0">
                    <a:pos x="142" y="126"/>
                  </a:cxn>
                  <a:cxn ang="0">
                    <a:pos x="128" y="136"/>
                  </a:cxn>
                  <a:cxn ang="0">
                    <a:pos x="144" y="154"/>
                  </a:cxn>
                  <a:cxn ang="0">
                    <a:pos x="152" y="148"/>
                  </a:cxn>
                  <a:cxn ang="0">
                    <a:pos x="170" y="144"/>
                  </a:cxn>
                  <a:cxn ang="0">
                    <a:pos x="174" y="136"/>
                  </a:cxn>
                  <a:cxn ang="0">
                    <a:pos x="158" y="138"/>
                  </a:cxn>
                  <a:cxn ang="0">
                    <a:pos x="148" y="126"/>
                  </a:cxn>
                  <a:cxn ang="0">
                    <a:pos x="154" y="124"/>
                  </a:cxn>
                  <a:cxn ang="0">
                    <a:pos x="158" y="122"/>
                  </a:cxn>
                  <a:cxn ang="0">
                    <a:pos x="170" y="114"/>
                  </a:cxn>
                  <a:cxn ang="0">
                    <a:pos x="180" y="110"/>
                  </a:cxn>
                  <a:cxn ang="0">
                    <a:pos x="194" y="104"/>
                  </a:cxn>
                  <a:cxn ang="0">
                    <a:pos x="212" y="90"/>
                  </a:cxn>
                  <a:cxn ang="0">
                    <a:pos x="216" y="70"/>
                  </a:cxn>
                  <a:cxn ang="0">
                    <a:pos x="216" y="58"/>
                  </a:cxn>
                  <a:cxn ang="0">
                    <a:pos x="192" y="48"/>
                  </a:cxn>
                  <a:cxn ang="0">
                    <a:pos x="162" y="38"/>
                  </a:cxn>
                  <a:cxn ang="0">
                    <a:pos x="146" y="14"/>
                  </a:cxn>
                  <a:cxn ang="0">
                    <a:pos x="142" y="0"/>
                  </a:cxn>
                  <a:cxn ang="0">
                    <a:pos x="104" y="20"/>
                  </a:cxn>
                  <a:cxn ang="0">
                    <a:pos x="90" y="22"/>
                  </a:cxn>
                  <a:cxn ang="0">
                    <a:pos x="74" y="16"/>
                  </a:cxn>
                  <a:cxn ang="0">
                    <a:pos x="62" y="18"/>
                  </a:cxn>
                  <a:cxn ang="0">
                    <a:pos x="50" y="10"/>
                  </a:cxn>
                  <a:cxn ang="0">
                    <a:pos x="28" y="10"/>
                  </a:cxn>
                  <a:cxn ang="0">
                    <a:pos x="18" y="16"/>
                  </a:cxn>
                  <a:cxn ang="0">
                    <a:pos x="24" y="40"/>
                  </a:cxn>
                  <a:cxn ang="0">
                    <a:pos x="12" y="52"/>
                  </a:cxn>
                  <a:cxn ang="0">
                    <a:pos x="4" y="66"/>
                  </a:cxn>
                </a:cxnLst>
                <a:rect l="0" t="0" r="r" b="b"/>
                <a:pathLst>
                  <a:path w="218" h="154">
                    <a:moveTo>
                      <a:pt x="4" y="66"/>
                    </a:moveTo>
                    <a:lnTo>
                      <a:pt x="0" y="80"/>
                    </a:lnTo>
                    <a:lnTo>
                      <a:pt x="0" y="80"/>
                    </a:lnTo>
                    <a:lnTo>
                      <a:pt x="6" y="84"/>
                    </a:lnTo>
                    <a:lnTo>
                      <a:pt x="10" y="90"/>
                    </a:lnTo>
                    <a:lnTo>
                      <a:pt x="30" y="88"/>
                    </a:lnTo>
                    <a:lnTo>
                      <a:pt x="36" y="92"/>
                    </a:lnTo>
                    <a:lnTo>
                      <a:pt x="54" y="84"/>
                    </a:lnTo>
                    <a:lnTo>
                      <a:pt x="58" y="80"/>
                    </a:lnTo>
                    <a:lnTo>
                      <a:pt x="64" y="78"/>
                    </a:lnTo>
                    <a:lnTo>
                      <a:pt x="64" y="78"/>
                    </a:lnTo>
                    <a:lnTo>
                      <a:pt x="74" y="84"/>
                    </a:lnTo>
                    <a:lnTo>
                      <a:pt x="86" y="88"/>
                    </a:lnTo>
                    <a:lnTo>
                      <a:pt x="84" y="96"/>
                    </a:lnTo>
                    <a:lnTo>
                      <a:pt x="88" y="100"/>
                    </a:lnTo>
                    <a:lnTo>
                      <a:pt x="90" y="106"/>
                    </a:lnTo>
                    <a:lnTo>
                      <a:pt x="94" y="110"/>
                    </a:lnTo>
                    <a:lnTo>
                      <a:pt x="94" y="116"/>
                    </a:lnTo>
                    <a:lnTo>
                      <a:pt x="84" y="116"/>
                    </a:lnTo>
                    <a:lnTo>
                      <a:pt x="82" y="124"/>
                    </a:lnTo>
                    <a:lnTo>
                      <a:pt x="78" y="130"/>
                    </a:lnTo>
                    <a:lnTo>
                      <a:pt x="76" y="132"/>
                    </a:lnTo>
                    <a:lnTo>
                      <a:pt x="74" y="134"/>
                    </a:lnTo>
                    <a:lnTo>
                      <a:pt x="74" y="136"/>
                    </a:lnTo>
                    <a:lnTo>
                      <a:pt x="76" y="136"/>
                    </a:lnTo>
                    <a:lnTo>
                      <a:pt x="78" y="140"/>
                    </a:lnTo>
                    <a:lnTo>
                      <a:pt x="88" y="136"/>
                    </a:lnTo>
                    <a:lnTo>
                      <a:pt x="92" y="136"/>
                    </a:lnTo>
                    <a:lnTo>
                      <a:pt x="92" y="138"/>
                    </a:lnTo>
                    <a:lnTo>
                      <a:pt x="100" y="126"/>
                    </a:lnTo>
                    <a:lnTo>
                      <a:pt x="100" y="122"/>
                    </a:lnTo>
                    <a:lnTo>
                      <a:pt x="102" y="122"/>
                    </a:lnTo>
                    <a:lnTo>
                      <a:pt x="106" y="116"/>
                    </a:lnTo>
                    <a:lnTo>
                      <a:pt x="116" y="110"/>
                    </a:lnTo>
                    <a:lnTo>
                      <a:pt x="114" y="112"/>
                    </a:lnTo>
                    <a:lnTo>
                      <a:pt x="120" y="112"/>
                    </a:lnTo>
                    <a:lnTo>
                      <a:pt x="124" y="116"/>
                    </a:lnTo>
                    <a:lnTo>
                      <a:pt x="118" y="122"/>
                    </a:lnTo>
                    <a:lnTo>
                      <a:pt x="128" y="124"/>
                    </a:lnTo>
                    <a:lnTo>
                      <a:pt x="136" y="122"/>
                    </a:lnTo>
                    <a:lnTo>
                      <a:pt x="140" y="124"/>
                    </a:lnTo>
                    <a:lnTo>
                      <a:pt x="142" y="126"/>
                    </a:lnTo>
                    <a:lnTo>
                      <a:pt x="142" y="126"/>
                    </a:lnTo>
                    <a:lnTo>
                      <a:pt x="134" y="130"/>
                    </a:lnTo>
                    <a:lnTo>
                      <a:pt x="128" y="136"/>
                    </a:lnTo>
                    <a:lnTo>
                      <a:pt x="138" y="142"/>
                    </a:lnTo>
                    <a:lnTo>
                      <a:pt x="138" y="152"/>
                    </a:lnTo>
                    <a:lnTo>
                      <a:pt x="144" y="154"/>
                    </a:lnTo>
                    <a:lnTo>
                      <a:pt x="144" y="154"/>
                    </a:lnTo>
                    <a:lnTo>
                      <a:pt x="148" y="152"/>
                    </a:lnTo>
                    <a:lnTo>
                      <a:pt x="152" y="148"/>
                    </a:lnTo>
                    <a:lnTo>
                      <a:pt x="156" y="148"/>
                    </a:lnTo>
                    <a:lnTo>
                      <a:pt x="162" y="142"/>
                    </a:lnTo>
                    <a:lnTo>
                      <a:pt x="170" y="144"/>
                    </a:lnTo>
                    <a:lnTo>
                      <a:pt x="174" y="142"/>
                    </a:lnTo>
                    <a:lnTo>
                      <a:pt x="174" y="136"/>
                    </a:lnTo>
                    <a:lnTo>
                      <a:pt x="174" y="136"/>
                    </a:lnTo>
                    <a:lnTo>
                      <a:pt x="166" y="136"/>
                    </a:lnTo>
                    <a:lnTo>
                      <a:pt x="158" y="138"/>
                    </a:lnTo>
                    <a:lnTo>
                      <a:pt x="158" y="138"/>
                    </a:lnTo>
                    <a:lnTo>
                      <a:pt x="156" y="132"/>
                    </a:lnTo>
                    <a:lnTo>
                      <a:pt x="152" y="126"/>
                    </a:lnTo>
                    <a:lnTo>
                      <a:pt x="148" y="126"/>
                    </a:lnTo>
                    <a:lnTo>
                      <a:pt x="146" y="122"/>
                    </a:lnTo>
                    <a:lnTo>
                      <a:pt x="148" y="120"/>
                    </a:lnTo>
                    <a:lnTo>
                      <a:pt x="154" y="124"/>
                    </a:lnTo>
                    <a:lnTo>
                      <a:pt x="154" y="126"/>
                    </a:lnTo>
                    <a:lnTo>
                      <a:pt x="158" y="126"/>
                    </a:lnTo>
                    <a:lnTo>
                      <a:pt x="158" y="122"/>
                    </a:lnTo>
                    <a:lnTo>
                      <a:pt x="158" y="122"/>
                    </a:lnTo>
                    <a:lnTo>
                      <a:pt x="166" y="114"/>
                    </a:lnTo>
                    <a:lnTo>
                      <a:pt x="170" y="114"/>
                    </a:lnTo>
                    <a:lnTo>
                      <a:pt x="176" y="110"/>
                    </a:lnTo>
                    <a:lnTo>
                      <a:pt x="178" y="112"/>
                    </a:lnTo>
                    <a:lnTo>
                      <a:pt x="180" y="110"/>
                    </a:lnTo>
                    <a:lnTo>
                      <a:pt x="180" y="110"/>
                    </a:lnTo>
                    <a:lnTo>
                      <a:pt x="186" y="106"/>
                    </a:lnTo>
                    <a:lnTo>
                      <a:pt x="194" y="104"/>
                    </a:lnTo>
                    <a:lnTo>
                      <a:pt x="194" y="98"/>
                    </a:lnTo>
                    <a:lnTo>
                      <a:pt x="202" y="88"/>
                    </a:lnTo>
                    <a:lnTo>
                      <a:pt x="212" y="90"/>
                    </a:lnTo>
                    <a:lnTo>
                      <a:pt x="214" y="82"/>
                    </a:lnTo>
                    <a:lnTo>
                      <a:pt x="212" y="74"/>
                    </a:lnTo>
                    <a:lnTo>
                      <a:pt x="216" y="70"/>
                    </a:lnTo>
                    <a:lnTo>
                      <a:pt x="212" y="68"/>
                    </a:lnTo>
                    <a:lnTo>
                      <a:pt x="218" y="62"/>
                    </a:lnTo>
                    <a:lnTo>
                      <a:pt x="216" y="58"/>
                    </a:lnTo>
                    <a:lnTo>
                      <a:pt x="218" y="56"/>
                    </a:lnTo>
                    <a:lnTo>
                      <a:pt x="196" y="46"/>
                    </a:lnTo>
                    <a:lnTo>
                      <a:pt x="192" y="48"/>
                    </a:lnTo>
                    <a:lnTo>
                      <a:pt x="184" y="38"/>
                    </a:lnTo>
                    <a:lnTo>
                      <a:pt x="176" y="42"/>
                    </a:lnTo>
                    <a:lnTo>
                      <a:pt x="162" y="38"/>
                    </a:lnTo>
                    <a:lnTo>
                      <a:pt x="156" y="22"/>
                    </a:lnTo>
                    <a:lnTo>
                      <a:pt x="146" y="20"/>
                    </a:lnTo>
                    <a:lnTo>
                      <a:pt x="146" y="14"/>
                    </a:lnTo>
                    <a:lnTo>
                      <a:pt x="148" y="10"/>
                    </a:lnTo>
                    <a:lnTo>
                      <a:pt x="142" y="0"/>
                    </a:lnTo>
                    <a:lnTo>
                      <a:pt x="142" y="0"/>
                    </a:lnTo>
                    <a:lnTo>
                      <a:pt x="108" y="6"/>
                    </a:lnTo>
                    <a:lnTo>
                      <a:pt x="104" y="10"/>
                    </a:lnTo>
                    <a:lnTo>
                      <a:pt x="104" y="20"/>
                    </a:lnTo>
                    <a:lnTo>
                      <a:pt x="100" y="22"/>
                    </a:lnTo>
                    <a:lnTo>
                      <a:pt x="98" y="20"/>
                    </a:lnTo>
                    <a:lnTo>
                      <a:pt x="90" y="22"/>
                    </a:lnTo>
                    <a:lnTo>
                      <a:pt x="84" y="16"/>
                    </a:lnTo>
                    <a:lnTo>
                      <a:pt x="80" y="20"/>
                    </a:lnTo>
                    <a:lnTo>
                      <a:pt x="74" y="16"/>
                    </a:lnTo>
                    <a:lnTo>
                      <a:pt x="66" y="20"/>
                    </a:lnTo>
                    <a:lnTo>
                      <a:pt x="66" y="16"/>
                    </a:lnTo>
                    <a:lnTo>
                      <a:pt x="62" y="18"/>
                    </a:lnTo>
                    <a:lnTo>
                      <a:pt x="58" y="12"/>
                    </a:lnTo>
                    <a:lnTo>
                      <a:pt x="58" y="12"/>
                    </a:lnTo>
                    <a:lnTo>
                      <a:pt x="50" y="10"/>
                    </a:lnTo>
                    <a:lnTo>
                      <a:pt x="44" y="8"/>
                    </a:lnTo>
                    <a:lnTo>
                      <a:pt x="28" y="10"/>
                    </a:lnTo>
                    <a:lnTo>
                      <a:pt x="28" y="10"/>
                    </a:lnTo>
                    <a:lnTo>
                      <a:pt x="24" y="14"/>
                    </a:lnTo>
                    <a:lnTo>
                      <a:pt x="18" y="16"/>
                    </a:lnTo>
                    <a:lnTo>
                      <a:pt x="18" y="16"/>
                    </a:lnTo>
                    <a:lnTo>
                      <a:pt x="20" y="24"/>
                    </a:lnTo>
                    <a:lnTo>
                      <a:pt x="24" y="30"/>
                    </a:lnTo>
                    <a:lnTo>
                      <a:pt x="24" y="40"/>
                    </a:lnTo>
                    <a:lnTo>
                      <a:pt x="24" y="40"/>
                    </a:lnTo>
                    <a:lnTo>
                      <a:pt x="18" y="46"/>
                    </a:lnTo>
                    <a:lnTo>
                      <a:pt x="12" y="52"/>
                    </a:lnTo>
                    <a:lnTo>
                      <a:pt x="8" y="60"/>
                    </a:lnTo>
                    <a:lnTo>
                      <a:pt x="8" y="66"/>
                    </a:lnTo>
                    <a:lnTo>
                      <a:pt x="4" y="6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0" name="Freeform 1699">
                <a:extLst>
                  <a:ext uri="{FF2B5EF4-FFF2-40B4-BE49-F238E27FC236}">
                    <a16:creationId xmlns:a16="http://schemas.microsoft.com/office/drawing/2014/main" id="{5E5168D8-EECD-4A5A-8FA2-2004CB158C0F}"/>
                  </a:ext>
                </a:extLst>
              </p:cNvPr>
              <p:cNvSpPr>
                <a:spLocks/>
              </p:cNvSpPr>
              <p:nvPr/>
            </p:nvSpPr>
            <p:spPr bwMode="auto">
              <a:xfrm>
                <a:off x="3261" y="1970"/>
                <a:ext cx="56" cy="52"/>
              </a:xfrm>
              <a:custGeom>
                <a:avLst/>
                <a:gdLst/>
                <a:ahLst/>
                <a:cxnLst>
                  <a:cxn ang="0">
                    <a:pos x="10" y="44"/>
                  </a:cxn>
                  <a:cxn ang="0">
                    <a:pos x="12" y="34"/>
                  </a:cxn>
                  <a:cxn ang="0">
                    <a:pos x="8" y="32"/>
                  </a:cxn>
                  <a:cxn ang="0">
                    <a:pos x="6" y="36"/>
                  </a:cxn>
                  <a:cxn ang="0">
                    <a:pos x="2" y="34"/>
                  </a:cxn>
                  <a:cxn ang="0">
                    <a:pos x="0" y="26"/>
                  </a:cxn>
                  <a:cxn ang="0">
                    <a:pos x="2" y="24"/>
                  </a:cxn>
                  <a:cxn ang="0">
                    <a:pos x="0" y="22"/>
                  </a:cxn>
                  <a:cxn ang="0">
                    <a:pos x="0" y="12"/>
                  </a:cxn>
                  <a:cxn ang="0">
                    <a:pos x="10" y="6"/>
                  </a:cxn>
                  <a:cxn ang="0">
                    <a:pos x="14" y="6"/>
                  </a:cxn>
                  <a:cxn ang="0">
                    <a:pos x="16" y="4"/>
                  </a:cxn>
                  <a:cxn ang="0">
                    <a:pos x="22" y="4"/>
                  </a:cxn>
                  <a:cxn ang="0">
                    <a:pos x="26" y="0"/>
                  </a:cxn>
                  <a:cxn ang="0">
                    <a:pos x="26" y="0"/>
                  </a:cxn>
                  <a:cxn ang="0">
                    <a:pos x="40" y="6"/>
                  </a:cxn>
                  <a:cxn ang="0">
                    <a:pos x="48" y="8"/>
                  </a:cxn>
                  <a:cxn ang="0">
                    <a:pos x="54" y="6"/>
                  </a:cxn>
                  <a:cxn ang="0">
                    <a:pos x="54" y="4"/>
                  </a:cxn>
                  <a:cxn ang="0">
                    <a:pos x="56" y="8"/>
                  </a:cxn>
                  <a:cxn ang="0">
                    <a:pos x="52" y="14"/>
                  </a:cxn>
                  <a:cxn ang="0">
                    <a:pos x="42" y="18"/>
                  </a:cxn>
                  <a:cxn ang="0">
                    <a:pos x="50" y="44"/>
                  </a:cxn>
                  <a:cxn ang="0">
                    <a:pos x="48" y="52"/>
                  </a:cxn>
                  <a:cxn ang="0">
                    <a:pos x="36" y="52"/>
                  </a:cxn>
                  <a:cxn ang="0">
                    <a:pos x="36" y="52"/>
                  </a:cxn>
                  <a:cxn ang="0">
                    <a:pos x="30" y="44"/>
                  </a:cxn>
                  <a:cxn ang="0">
                    <a:pos x="20" y="40"/>
                  </a:cxn>
                  <a:cxn ang="0">
                    <a:pos x="10" y="44"/>
                  </a:cxn>
                </a:cxnLst>
                <a:rect l="0" t="0" r="r" b="b"/>
                <a:pathLst>
                  <a:path w="56" h="52">
                    <a:moveTo>
                      <a:pt x="10" y="44"/>
                    </a:moveTo>
                    <a:lnTo>
                      <a:pt x="12" y="34"/>
                    </a:lnTo>
                    <a:lnTo>
                      <a:pt x="8" y="32"/>
                    </a:lnTo>
                    <a:lnTo>
                      <a:pt x="6" y="36"/>
                    </a:lnTo>
                    <a:lnTo>
                      <a:pt x="2" y="34"/>
                    </a:lnTo>
                    <a:lnTo>
                      <a:pt x="0" y="26"/>
                    </a:lnTo>
                    <a:lnTo>
                      <a:pt x="2" y="24"/>
                    </a:lnTo>
                    <a:lnTo>
                      <a:pt x="0" y="22"/>
                    </a:lnTo>
                    <a:lnTo>
                      <a:pt x="0" y="12"/>
                    </a:lnTo>
                    <a:lnTo>
                      <a:pt x="10" y="6"/>
                    </a:lnTo>
                    <a:lnTo>
                      <a:pt x="14" y="6"/>
                    </a:lnTo>
                    <a:lnTo>
                      <a:pt x="16" y="4"/>
                    </a:lnTo>
                    <a:lnTo>
                      <a:pt x="22" y="4"/>
                    </a:lnTo>
                    <a:lnTo>
                      <a:pt x="26" y="0"/>
                    </a:lnTo>
                    <a:lnTo>
                      <a:pt x="26" y="0"/>
                    </a:lnTo>
                    <a:lnTo>
                      <a:pt x="40" y="6"/>
                    </a:lnTo>
                    <a:lnTo>
                      <a:pt x="48" y="8"/>
                    </a:lnTo>
                    <a:lnTo>
                      <a:pt x="54" y="6"/>
                    </a:lnTo>
                    <a:lnTo>
                      <a:pt x="54" y="4"/>
                    </a:lnTo>
                    <a:lnTo>
                      <a:pt x="56" y="8"/>
                    </a:lnTo>
                    <a:lnTo>
                      <a:pt x="52" y="14"/>
                    </a:lnTo>
                    <a:lnTo>
                      <a:pt x="42" y="18"/>
                    </a:lnTo>
                    <a:lnTo>
                      <a:pt x="50" y="44"/>
                    </a:lnTo>
                    <a:lnTo>
                      <a:pt x="48" y="52"/>
                    </a:lnTo>
                    <a:lnTo>
                      <a:pt x="36" y="52"/>
                    </a:lnTo>
                    <a:lnTo>
                      <a:pt x="36" y="52"/>
                    </a:lnTo>
                    <a:lnTo>
                      <a:pt x="30" y="44"/>
                    </a:lnTo>
                    <a:lnTo>
                      <a:pt x="20" y="40"/>
                    </a:lnTo>
                    <a:lnTo>
                      <a:pt x="10" y="4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1" name="Freeform 1700">
                <a:extLst>
                  <a:ext uri="{FF2B5EF4-FFF2-40B4-BE49-F238E27FC236}">
                    <a16:creationId xmlns:a16="http://schemas.microsoft.com/office/drawing/2014/main" id="{9960CFE4-8771-40F7-AECB-81B0152F9B7D}"/>
                  </a:ext>
                </a:extLst>
              </p:cNvPr>
              <p:cNvSpPr>
                <a:spLocks/>
              </p:cNvSpPr>
              <p:nvPr/>
            </p:nvSpPr>
            <p:spPr bwMode="auto">
              <a:xfrm>
                <a:off x="3231" y="2010"/>
                <a:ext cx="88" cy="56"/>
              </a:xfrm>
              <a:custGeom>
                <a:avLst/>
                <a:gdLst/>
                <a:ahLst/>
                <a:cxnLst>
                  <a:cxn ang="0">
                    <a:pos x="68" y="56"/>
                  </a:cxn>
                  <a:cxn ang="0">
                    <a:pos x="72" y="52"/>
                  </a:cxn>
                  <a:cxn ang="0">
                    <a:pos x="78" y="54"/>
                  </a:cxn>
                  <a:cxn ang="0">
                    <a:pos x="84" y="46"/>
                  </a:cxn>
                  <a:cxn ang="0">
                    <a:pos x="88" y="44"/>
                  </a:cxn>
                  <a:cxn ang="0">
                    <a:pos x="86" y="36"/>
                  </a:cxn>
                  <a:cxn ang="0">
                    <a:pos x="80" y="26"/>
                  </a:cxn>
                  <a:cxn ang="0">
                    <a:pos x="82" y="18"/>
                  </a:cxn>
                  <a:cxn ang="0">
                    <a:pos x="78" y="12"/>
                  </a:cxn>
                  <a:cxn ang="0">
                    <a:pos x="66" y="12"/>
                  </a:cxn>
                  <a:cxn ang="0">
                    <a:pos x="66" y="12"/>
                  </a:cxn>
                  <a:cxn ang="0">
                    <a:pos x="60" y="4"/>
                  </a:cxn>
                  <a:cxn ang="0">
                    <a:pos x="50" y="0"/>
                  </a:cxn>
                  <a:cxn ang="0">
                    <a:pos x="40" y="4"/>
                  </a:cxn>
                  <a:cxn ang="0">
                    <a:pos x="40" y="4"/>
                  </a:cxn>
                  <a:cxn ang="0">
                    <a:pos x="40" y="10"/>
                  </a:cxn>
                  <a:cxn ang="0">
                    <a:pos x="40" y="16"/>
                  </a:cxn>
                  <a:cxn ang="0">
                    <a:pos x="40" y="22"/>
                  </a:cxn>
                  <a:cxn ang="0">
                    <a:pos x="38" y="28"/>
                  </a:cxn>
                  <a:cxn ang="0">
                    <a:pos x="36" y="24"/>
                  </a:cxn>
                  <a:cxn ang="0">
                    <a:pos x="32" y="26"/>
                  </a:cxn>
                  <a:cxn ang="0">
                    <a:pos x="28" y="24"/>
                  </a:cxn>
                  <a:cxn ang="0">
                    <a:pos x="26" y="18"/>
                  </a:cxn>
                  <a:cxn ang="0">
                    <a:pos x="26" y="20"/>
                  </a:cxn>
                  <a:cxn ang="0">
                    <a:pos x="18" y="8"/>
                  </a:cxn>
                  <a:cxn ang="0">
                    <a:pos x="8" y="12"/>
                  </a:cxn>
                  <a:cxn ang="0">
                    <a:pos x="8" y="12"/>
                  </a:cxn>
                  <a:cxn ang="0">
                    <a:pos x="2" y="28"/>
                  </a:cxn>
                  <a:cxn ang="0">
                    <a:pos x="0" y="38"/>
                  </a:cxn>
                  <a:cxn ang="0">
                    <a:pos x="0" y="46"/>
                  </a:cxn>
                  <a:cxn ang="0">
                    <a:pos x="2" y="46"/>
                  </a:cxn>
                  <a:cxn ang="0">
                    <a:pos x="2" y="46"/>
                  </a:cxn>
                  <a:cxn ang="0">
                    <a:pos x="4" y="42"/>
                  </a:cxn>
                  <a:cxn ang="0">
                    <a:pos x="8" y="40"/>
                  </a:cxn>
                  <a:cxn ang="0">
                    <a:pos x="20" y="38"/>
                  </a:cxn>
                  <a:cxn ang="0">
                    <a:pos x="30" y="38"/>
                  </a:cxn>
                  <a:cxn ang="0">
                    <a:pos x="38" y="42"/>
                  </a:cxn>
                  <a:cxn ang="0">
                    <a:pos x="46" y="38"/>
                  </a:cxn>
                  <a:cxn ang="0">
                    <a:pos x="50" y="44"/>
                  </a:cxn>
                  <a:cxn ang="0">
                    <a:pos x="56" y="44"/>
                  </a:cxn>
                  <a:cxn ang="0">
                    <a:pos x="68" y="56"/>
                  </a:cxn>
                </a:cxnLst>
                <a:rect l="0" t="0" r="r" b="b"/>
                <a:pathLst>
                  <a:path w="88" h="56">
                    <a:moveTo>
                      <a:pt x="68" y="56"/>
                    </a:moveTo>
                    <a:lnTo>
                      <a:pt x="72" y="52"/>
                    </a:lnTo>
                    <a:lnTo>
                      <a:pt x="78" y="54"/>
                    </a:lnTo>
                    <a:lnTo>
                      <a:pt x="84" y="46"/>
                    </a:lnTo>
                    <a:lnTo>
                      <a:pt x="88" y="44"/>
                    </a:lnTo>
                    <a:lnTo>
                      <a:pt x="86" y="36"/>
                    </a:lnTo>
                    <a:lnTo>
                      <a:pt x="80" y="26"/>
                    </a:lnTo>
                    <a:lnTo>
                      <a:pt x="82" y="18"/>
                    </a:lnTo>
                    <a:lnTo>
                      <a:pt x="78" y="12"/>
                    </a:lnTo>
                    <a:lnTo>
                      <a:pt x="66" y="12"/>
                    </a:lnTo>
                    <a:lnTo>
                      <a:pt x="66" y="12"/>
                    </a:lnTo>
                    <a:lnTo>
                      <a:pt x="60" y="4"/>
                    </a:lnTo>
                    <a:lnTo>
                      <a:pt x="50" y="0"/>
                    </a:lnTo>
                    <a:lnTo>
                      <a:pt x="40" y="4"/>
                    </a:lnTo>
                    <a:lnTo>
                      <a:pt x="40" y="4"/>
                    </a:lnTo>
                    <a:lnTo>
                      <a:pt x="40" y="10"/>
                    </a:lnTo>
                    <a:lnTo>
                      <a:pt x="40" y="16"/>
                    </a:lnTo>
                    <a:lnTo>
                      <a:pt x="40" y="22"/>
                    </a:lnTo>
                    <a:lnTo>
                      <a:pt x="38" y="28"/>
                    </a:lnTo>
                    <a:lnTo>
                      <a:pt x="36" y="24"/>
                    </a:lnTo>
                    <a:lnTo>
                      <a:pt x="32" y="26"/>
                    </a:lnTo>
                    <a:lnTo>
                      <a:pt x="28" y="24"/>
                    </a:lnTo>
                    <a:lnTo>
                      <a:pt x="26" y="18"/>
                    </a:lnTo>
                    <a:lnTo>
                      <a:pt x="26" y="20"/>
                    </a:lnTo>
                    <a:lnTo>
                      <a:pt x="18" y="8"/>
                    </a:lnTo>
                    <a:lnTo>
                      <a:pt x="8" y="12"/>
                    </a:lnTo>
                    <a:lnTo>
                      <a:pt x="8" y="12"/>
                    </a:lnTo>
                    <a:lnTo>
                      <a:pt x="2" y="28"/>
                    </a:lnTo>
                    <a:lnTo>
                      <a:pt x="0" y="38"/>
                    </a:lnTo>
                    <a:lnTo>
                      <a:pt x="0" y="46"/>
                    </a:lnTo>
                    <a:lnTo>
                      <a:pt x="2" y="46"/>
                    </a:lnTo>
                    <a:lnTo>
                      <a:pt x="2" y="46"/>
                    </a:lnTo>
                    <a:lnTo>
                      <a:pt x="4" y="42"/>
                    </a:lnTo>
                    <a:lnTo>
                      <a:pt x="8" y="40"/>
                    </a:lnTo>
                    <a:lnTo>
                      <a:pt x="20" y="38"/>
                    </a:lnTo>
                    <a:lnTo>
                      <a:pt x="30" y="38"/>
                    </a:lnTo>
                    <a:lnTo>
                      <a:pt x="38" y="42"/>
                    </a:lnTo>
                    <a:lnTo>
                      <a:pt x="46" y="38"/>
                    </a:lnTo>
                    <a:lnTo>
                      <a:pt x="50" y="44"/>
                    </a:lnTo>
                    <a:lnTo>
                      <a:pt x="56" y="44"/>
                    </a:lnTo>
                    <a:lnTo>
                      <a:pt x="68" y="5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2" name="Freeform 1701">
                <a:extLst>
                  <a:ext uri="{FF2B5EF4-FFF2-40B4-BE49-F238E27FC236}">
                    <a16:creationId xmlns:a16="http://schemas.microsoft.com/office/drawing/2014/main" id="{6409988F-436D-4893-81AC-CC864879D09C}"/>
                  </a:ext>
                </a:extLst>
              </p:cNvPr>
              <p:cNvSpPr>
                <a:spLocks/>
              </p:cNvSpPr>
              <p:nvPr/>
            </p:nvSpPr>
            <p:spPr bwMode="auto">
              <a:xfrm>
                <a:off x="3231" y="2048"/>
                <a:ext cx="68" cy="56"/>
              </a:xfrm>
              <a:custGeom>
                <a:avLst/>
                <a:gdLst/>
                <a:ahLst/>
                <a:cxnLst>
                  <a:cxn ang="0">
                    <a:pos x="46" y="54"/>
                  </a:cxn>
                  <a:cxn ang="0">
                    <a:pos x="44" y="52"/>
                  </a:cxn>
                  <a:cxn ang="0">
                    <a:pos x="50" y="48"/>
                  </a:cxn>
                  <a:cxn ang="0">
                    <a:pos x="56" y="50"/>
                  </a:cxn>
                  <a:cxn ang="0">
                    <a:pos x="54" y="46"/>
                  </a:cxn>
                  <a:cxn ang="0">
                    <a:pos x="54" y="46"/>
                  </a:cxn>
                  <a:cxn ang="0">
                    <a:pos x="56" y="40"/>
                  </a:cxn>
                  <a:cxn ang="0">
                    <a:pos x="58" y="34"/>
                  </a:cxn>
                  <a:cxn ang="0">
                    <a:pos x="66" y="30"/>
                  </a:cxn>
                  <a:cxn ang="0">
                    <a:pos x="68" y="26"/>
                  </a:cxn>
                  <a:cxn ang="0">
                    <a:pos x="66" y="24"/>
                  </a:cxn>
                  <a:cxn ang="0">
                    <a:pos x="66" y="20"/>
                  </a:cxn>
                  <a:cxn ang="0">
                    <a:pos x="68" y="18"/>
                  </a:cxn>
                  <a:cxn ang="0">
                    <a:pos x="56" y="6"/>
                  </a:cxn>
                  <a:cxn ang="0">
                    <a:pos x="50" y="6"/>
                  </a:cxn>
                  <a:cxn ang="0">
                    <a:pos x="46" y="0"/>
                  </a:cxn>
                  <a:cxn ang="0">
                    <a:pos x="38" y="4"/>
                  </a:cxn>
                  <a:cxn ang="0">
                    <a:pos x="38" y="4"/>
                  </a:cxn>
                  <a:cxn ang="0">
                    <a:pos x="30" y="0"/>
                  </a:cxn>
                  <a:cxn ang="0">
                    <a:pos x="20" y="0"/>
                  </a:cxn>
                  <a:cxn ang="0">
                    <a:pos x="8" y="2"/>
                  </a:cxn>
                  <a:cxn ang="0">
                    <a:pos x="4" y="4"/>
                  </a:cxn>
                  <a:cxn ang="0">
                    <a:pos x="2" y="8"/>
                  </a:cxn>
                  <a:cxn ang="0">
                    <a:pos x="0" y="8"/>
                  </a:cxn>
                  <a:cxn ang="0">
                    <a:pos x="4" y="28"/>
                  </a:cxn>
                  <a:cxn ang="0">
                    <a:pos x="20" y="32"/>
                  </a:cxn>
                  <a:cxn ang="0">
                    <a:pos x="22" y="36"/>
                  </a:cxn>
                  <a:cxn ang="0">
                    <a:pos x="22" y="36"/>
                  </a:cxn>
                  <a:cxn ang="0">
                    <a:pos x="20" y="42"/>
                  </a:cxn>
                  <a:cxn ang="0">
                    <a:pos x="20" y="48"/>
                  </a:cxn>
                  <a:cxn ang="0">
                    <a:pos x="28" y="52"/>
                  </a:cxn>
                  <a:cxn ang="0">
                    <a:pos x="30" y="56"/>
                  </a:cxn>
                  <a:cxn ang="0">
                    <a:pos x="46" y="54"/>
                  </a:cxn>
                </a:cxnLst>
                <a:rect l="0" t="0" r="r" b="b"/>
                <a:pathLst>
                  <a:path w="68" h="56">
                    <a:moveTo>
                      <a:pt x="46" y="54"/>
                    </a:moveTo>
                    <a:lnTo>
                      <a:pt x="44" y="52"/>
                    </a:lnTo>
                    <a:lnTo>
                      <a:pt x="50" y="48"/>
                    </a:lnTo>
                    <a:lnTo>
                      <a:pt x="56" y="50"/>
                    </a:lnTo>
                    <a:lnTo>
                      <a:pt x="54" y="46"/>
                    </a:lnTo>
                    <a:lnTo>
                      <a:pt x="54" y="46"/>
                    </a:lnTo>
                    <a:lnTo>
                      <a:pt x="56" y="40"/>
                    </a:lnTo>
                    <a:lnTo>
                      <a:pt x="58" y="34"/>
                    </a:lnTo>
                    <a:lnTo>
                      <a:pt x="66" y="30"/>
                    </a:lnTo>
                    <a:lnTo>
                      <a:pt x="68" y="26"/>
                    </a:lnTo>
                    <a:lnTo>
                      <a:pt x="66" y="24"/>
                    </a:lnTo>
                    <a:lnTo>
                      <a:pt x="66" y="20"/>
                    </a:lnTo>
                    <a:lnTo>
                      <a:pt x="68" y="18"/>
                    </a:lnTo>
                    <a:lnTo>
                      <a:pt x="56" y="6"/>
                    </a:lnTo>
                    <a:lnTo>
                      <a:pt x="50" y="6"/>
                    </a:lnTo>
                    <a:lnTo>
                      <a:pt x="46" y="0"/>
                    </a:lnTo>
                    <a:lnTo>
                      <a:pt x="38" y="4"/>
                    </a:lnTo>
                    <a:lnTo>
                      <a:pt x="38" y="4"/>
                    </a:lnTo>
                    <a:lnTo>
                      <a:pt x="30" y="0"/>
                    </a:lnTo>
                    <a:lnTo>
                      <a:pt x="20" y="0"/>
                    </a:lnTo>
                    <a:lnTo>
                      <a:pt x="8" y="2"/>
                    </a:lnTo>
                    <a:lnTo>
                      <a:pt x="4" y="4"/>
                    </a:lnTo>
                    <a:lnTo>
                      <a:pt x="2" y="8"/>
                    </a:lnTo>
                    <a:lnTo>
                      <a:pt x="0" y="8"/>
                    </a:lnTo>
                    <a:lnTo>
                      <a:pt x="4" y="28"/>
                    </a:lnTo>
                    <a:lnTo>
                      <a:pt x="20" y="32"/>
                    </a:lnTo>
                    <a:lnTo>
                      <a:pt x="22" y="36"/>
                    </a:lnTo>
                    <a:lnTo>
                      <a:pt x="22" y="36"/>
                    </a:lnTo>
                    <a:lnTo>
                      <a:pt x="20" y="42"/>
                    </a:lnTo>
                    <a:lnTo>
                      <a:pt x="20" y="48"/>
                    </a:lnTo>
                    <a:lnTo>
                      <a:pt x="28" y="52"/>
                    </a:lnTo>
                    <a:lnTo>
                      <a:pt x="30" y="56"/>
                    </a:lnTo>
                    <a:lnTo>
                      <a:pt x="46" y="5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3" name="Freeform 1702">
                <a:extLst>
                  <a:ext uri="{FF2B5EF4-FFF2-40B4-BE49-F238E27FC236}">
                    <a16:creationId xmlns:a16="http://schemas.microsoft.com/office/drawing/2014/main" id="{6562F722-6365-47EC-8CB6-52AA46DA7E3E}"/>
                  </a:ext>
                </a:extLst>
              </p:cNvPr>
              <p:cNvSpPr>
                <a:spLocks/>
              </p:cNvSpPr>
              <p:nvPr/>
            </p:nvSpPr>
            <p:spPr bwMode="auto">
              <a:xfrm>
                <a:off x="3213" y="2070"/>
                <a:ext cx="40" cy="28"/>
              </a:xfrm>
              <a:custGeom>
                <a:avLst/>
                <a:gdLst/>
                <a:ahLst/>
                <a:cxnLst>
                  <a:cxn ang="0">
                    <a:pos x="0" y="24"/>
                  </a:cxn>
                  <a:cxn ang="0">
                    <a:pos x="0" y="24"/>
                  </a:cxn>
                  <a:cxn ang="0">
                    <a:pos x="10" y="26"/>
                  </a:cxn>
                  <a:cxn ang="0">
                    <a:pos x="20" y="28"/>
                  </a:cxn>
                  <a:cxn ang="0">
                    <a:pos x="30" y="26"/>
                  </a:cxn>
                  <a:cxn ang="0">
                    <a:pos x="38" y="26"/>
                  </a:cxn>
                  <a:cxn ang="0">
                    <a:pos x="38" y="26"/>
                  </a:cxn>
                  <a:cxn ang="0">
                    <a:pos x="38" y="20"/>
                  </a:cxn>
                  <a:cxn ang="0">
                    <a:pos x="40" y="14"/>
                  </a:cxn>
                  <a:cxn ang="0">
                    <a:pos x="38" y="10"/>
                  </a:cxn>
                  <a:cxn ang="0">
                    <a:pos x="22" y="6"/>
                  </a:cxn>
                  <a:cxn ang="0">
                    <a:pos x="20" y="14"/>
                  </a:cxn>
                  <a:cxn ang="0">
                    <a:pos x="14" y="12"/>
                  </a:cxn>
                  <a:cxn ang="0">
                    <a:pos x="18" y="2"/>
                  </a:cxn>
                  <a:cxn ang="0">
                    <a:pos x="18" y="0"/>
                  </a:cxn>
                  <a:cxn ang="0">
                    <a:pos x="18" y="0"/>
                  </a:cxn>
                  <a:cxn ang="0">
                    <a:pos x="14" y="6"/>
                  </a:cxn>
                  <a:cxn ang="0">
                    <a:pos x="10" y="12"/>
                  </a:cxn>
                  <a:cxn ang="0">
                    <a:pos x="6" y="12"/>
                  </a:cxn>
                  <a:cxn ang="0">
                    <a:pos x="6" y="12"/>
                  </a:cxn>
                  <a:cxn ang="0">
                    <a:pos x="4" y="18"/>
                  </a:cxn>
                  <a:cxn ang="0">
                    <a:pos x="0" y="24"/>
                  </a:cxn>
                  <a:cxn ang="0">
                    <a:pos x="0" y="24"/>
                  </a:cxn>
                </a:cxnLst>
                <a:rect l="0" t="0" r="r" b="b"/>
                <a:pathLst>
                  <a:path w="40" h="28">
                    <a:moveTo>
                      <a:pt x="0" y="24"/>
                    </a:moveTo>
                    <a:lnTo>
                      <a:pt x="0" y="24"/>
                    </a:lnTo>
                    <a:lnTo>
                      <a:pt x="10" y="26"/>
                    </a:lnTo>
                    <a:lnTo>
                      <a:pt x="20" y="28"/>
                    </a:lnTo>
                    <a:lnTo>
                      <a:pt x="30" y="26"/>
                    </a:lnTo>
                    <a:lnTo>
                      <a:pt x="38" y="26"/>
                    </a:lnTo>
                    <a:lnTo>
                      <a:pt x="38" y="26"/>
                    </a:lnTo>
                    <a:lnTo>
                      <a:pt x="38" y="20"/>
                    </a:lnTo>
                    <a:lnTo>
                      <a:pt x="40" y="14"/>
                    </a:lnTo>
                    <a:lnTo>
                      <a:pt x="38" y="10"/>
                    </a:lnTo>
                    <a:lnTo>
                      <a:pt x="22" y="6"/>
                    </a:lnTo>
                    <a:lnTo>
                      <a:pt x="20" y="14"/>
                    </a:lnTo>
                    <a:lnTo>
                      <a:pt x="14" y="12"/>
                    </a:lnTo>
                    <a:lnTo>
                      <a:pt x="18" y="2"/>
                    </a:lnTo>
                    <a:lnTo>
                      <a:pt x="18" y="0"/>
                    </a:lnTo>
                    <a:lnTo>
                      <a:pt x="18" y="0"/>
                    </a:lnTo>
                    <a:lnTo>
                      <a:pt x="14" y="6"/>
                    </a:lnTo>
                    <a:lnTo>
                      <a:pt x="10" y="12"/>
                    </a:lnTo>
                    <a:lnTo>
                      <a:pt x="6" y="12"/>
                    </a:lnTo>
                    <a:lnTo>
                      <a:pt x="6" y="12"/>
                    </a:lnTo>
                    <a:lnTo>
                      <a:pt x="4" y="18"/>
                    </a:lnTo>
                    <a:lnTo>
                      <a:pt x="0" y="24"/>
                    </a:lnTo>
                    <a:lnTo>
                      <a:pt x="0" y="2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4" name="Freeform 1703">
                <a:extLst>
                  <a:ext uri="{FF2B5EF4-FFF2-40B4-BE49-F238E27FC236}">
                    <a16:creationId xmlns:a16="http://schemas.microsoft.com/office/drawing/2014/main" id="{D6B04953-9468-4870-82FA-2259901B84C2}"/>
                  </a:ext>
                </a:extLst>
              </p:cNvPr>
              <p:cNvSpPr>
                <a:spLocks/>
              </p:cNvSpPr>
              <p:nvPr/>
            </p:nvSpPr>
            <p:spPr bwMode="auto">
              <a:xfrm>
                <a:off x="3297" y="2216"/>
                <a:ext cx="40" cy="56"/>
              </a:xfrm>
              <a:custGeom>
                <a:avLst/>
                <a:gdLst/>
                <a:ahLst/>
                <a:cxnLst>
                  <a:cxn ang="0">
                    <a:pos x="20" y="56"/>
                  </a:cxn>
                  <a:cxn ang="0">
                    <a:pos x="22" y="54"/>
                  </a:cxn>
                  <a:cxn ang="0">
                    <a:pos x="24" y="52"/>
                  </a:cxn>
                  <a:cxn ang="0">
                    <a:pos x="28" y="46"/>
                  </a:cxn>
                  <a:cxn ang="0">
                    <a:pos x="30" y="38"/>
                  </a:cxn>
                  <a:cxn ang="0">
                    <a:pos x="40" y="38"/>
                  </a:cxn>
                  <a:cxn ang="0">
                    <a:pos x="40" y="32"/>
                  </a:cxn>
                  <a:cxn ang="0">
                    <a:pos x="36" y="28"/>
                  </a:cxn>
                  <a:cxn ang="0">
                    <a:pos x="34" y="22"/>
                  </a:cxn>
                  <a:cxn ang="0">
                    <a:pos x="30" y="18"/>
                  </a:cxn>
                  <a:cxn ang="0">
                    <a:pos x="32" y="10"/>
                  </a:cxn>
                  <a:cxn ang="0">
                    <a:pos x="32" y="10"/>
                  </a:cxn>
                  <a:cxn ang="0">
                    <a:pos x="20" y="6"/>
                  </a:cxn>
                  <a:cxn ang="0">
                    <a:pos x="10" y="0"/>
                  </a:cxn>
                  <a:cxn ang="0">
                    <a:pos x="4" y="2"/>
                  </a:cxn>
                  <a:cxn ang="0">
                    <a:pos x="0" y="6"/>
                  </a:cxn>
                  <a:cxn ang="0">
                    <a:pos x="2" y="6"/>
                  </a:cxn>
                  <a:cxn ang="0">
                    <a:pos x="2" y="6"/>
                  </a:cxn>
                  <a:cxn ang="0">
                    <a:pos x="10" y="16"/>
                  </a:cxn>
                  <a:cxn ang="0">
                    <a:pos x="16" y="28"/>
                  </a:cxn>
                  <a:cxn ang="0">
                    <a:pos x="20" y="42"/>
                  </a:cxn>
                  <a:cxn ang="0">
                    <a:pos x="20" y="56"/>
                  </a:cxn>
                  <a:cxn ang="0">
                    <a:pos x="20" y="56"/>
                  </a:cxn>
                </a:cxnLst>
                <a:rect l="0" t="0" r="r" b="b"/>
                <a:pathLst>
                  <a:path w="40" h="56">
                    <a:moveTo>
                      <a:pt x="20" y="56"/>
                    </a:moveTo>
                    <a:lnTo>
                      <a:pt x="22" y="54"/>
                    </a:lnTo>
                    <a:lnTo>
                      <a:pt x="24" y="52"/>
                    </a:lnTo>
                    <a:lnTo>
                      <a:pt x="28" y="46"/>
                    </a:lnTo>
                    <a:lnTo>
                      <a:pt x="30" y="38"/>
                    </a:lnTo>
                    <a:lnTo>
                      <a:pt x="40" y="38"/>
                    </a:lnTo>
                    <a:lnTo>
                      <a:pt x="40" y="32"/>
                    </a:lnTo>
                    <a:lnTo>
                      <a:pt x="36" y="28"/>
                    </a:lnTo>
                    <a:lnTo>
                      <a:pt x="34" y="22"/>
                    </a:lnTo>
                    <a:lnTo>
                      <a:pt x="30" y="18"/>
                    </a:lnTo>
                    <a:lnTo>
                      <a:pt x="32" y="10"/>
                    </a:lnTo>
                    <a:lnTo>
                      <a:pt x="32" y="10"/>
                    </a:lnTo>
                    <a:lnTo>
                      <a:pt x="20" y="6"/>
                    </a:lnTo>
                    <a:lnTo>
                      <a:pt x="10" y="0"/>
                    </a:lnTo>
                    <a:lnTo>
                      <a:pt x="4" y="2"/>
                    </a:lnTo>
                    <a:lnTo>
                      <a:pt x="0" y="6"/>
                    </a:lnTo>
                    <a:lnTo>
                      <a:pt x="2" y="6"/>
                    </a:lnTo>
                    <a:lnTo>
                      <a:pt x="2" y="6"/>
                    </a:lnTo>
                    <a:lnTo>
                      <a:pt x="10" y="16"/>
                    </a:lnTo>
                    <a:lnTo>
                      <a:pt x="16" y="28"/>
                    </a:lnTo>
                    <a:lnTo>
                      <a:pt x="20" y="42"/>
                    </a:lnTo>
                    <a:lnTo>
                      <a:pt x="20" y="56"/>
                    </a:lnTo>
                    <a:lnTo>
                      <a:pt x="20" y="5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5" name="Freeform 1704">
                <a:extLst>
                  <a:ext uri="{FF2B5EF4-FFF2-40B4-BE49-F238E27FC236}">
                    <a16:creationId xmlns:a16="http://schemas.microsoft.com/office/drawing/2014/main" id="{F790FE39-DE17-4AE6-8837-F3C8AFCC05B8}"/>
                  </a:ext>
                </a:extLst>
              </p:cNvPr>
              <p:cNvSpPr>
                <a:spLocks/>
              </p:cNvSpPr>
              <p:nvPr/>
            </p:nvSpPr>
            <p:spPr bwMode="auto">
              <a:xfrm>
                <a:off x="3241" y="1998"/>
                <a:ext cx="16" cy="16"/>
              </a:xfrm>
              <a:custGeom>
                <a:avLst/>
                <a:gdLst/>
                <a:ahLst/>
                <a:cxnLst>
                  <a:cxn ang="0">
                    <a:pos x="14" y="0"/>
                  </a:cxn>
                  <a:cxn ang="0">
                    <a:pos x="0" y="2"/>
                  </a:cxn>
                  <a:cxn ang="0">
                    <a:pos x="0" y="8"/>
                  </a:cxn>
                  <a:cxn ang="0">
                    <a:pos x="2" y="10"/>
                  </a:cxn>
                  <a:cxn ang="0">
                    <a:pos x="2" y="10"/>
                  </a:cxn>
                  <a:cxn ang="0">
                    <a:pos x="2" y="12"/>
                  </a:cxn>
                  <a:cxn ang="0">
                    <a:pos x="2" y="16"/>
                  </a:cxn>
                  <a:cxn ang="0">
                    <a:pos x="6" y="8"/>
                  </a:cxn>
                  <a:cxn ang="0">
                    <a:pos x="10" y="8"/>
                  </a:cxn>
                  <a:cxn ang="0">
                    <a:pos x="16" y="4"/>
                  </a:cxn>
                  <a:cxn ang="0">
                    <a:pos x="14" y="0"/>
                  </a:cxn>
                </a:cxnLst>
                <a:rect l="0" t="0" r="r" b="b"/>
                <a:pathLst>
                  <a:path w="16" h="16">
                    <a:moveTo>
                      <a:pt x="14" y="0"/>
                    </a:moveTo>
                    <a:lnTo>
                      <a:pt x="0" y="2"/>
                    </a:lnTo>
                    <a:lnTo>
                      <a:pt x="0" y="8"/>
                    </a:lnTo>
                    <a:lnTo>
                      <a:pt x="2" y="10"/>
                    </a:lnTo>
                    <a:lnTo>
                      <a:pt x="2" y="10"/>
                    </a:lnTo>
                    <a:lnTo>
                      <a:pt x="2" y="12"/>
                    </a:lnTo>
                    <a:lnTo>
                      <a:pt x="2" y="16"/>
                    </a:lnTo>
                    <a:lnTo>
                      <a:pt x="6" y="8"/>
                    </a:lnTo>
                    <a:lnTo>
                      <a:pt x="10" y="8"/>
                    </a:lnTo>
                    <a:lnTo>
                      <a:pt x="16" y="4"/>
                    </a:lnTo>
                    <a:lnTo>
                      <a:pt x="1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6" name="Freeform 1705">
                <a:extLst>
                  <a:ext uri="{FF2B5EF4-FFF2-40B4-BE49-F238E27FC236}">
                    <a16:creationId xmlns:a16="http://schemas.microsoft.com/office/drawing/2014/main" id="{E4F5AE70-D04C-450B-8E88-25EABC8FE9C7}"/>
                  </a:ext>
                </a:extLst>
              </p:cNvPr>
              <p:cNvSpPr>
                <a:spLocks/>
              </p:cNvSpPr>
              <p:nvPr/>
            </p:nvSpPr>
            <p:spPr bwMode="auto">
              <a:xfrm>
                <a:off x="3243" y="1986"/>
                <a:ext cx="10" cy="8"/>
              </a:xfrm>
              <a:custGeom>
                <a:avLst/>
                <a:gdLst/>
                <a:ahLst/>
                <a:cxnLst>
                  <a:cxn ang="0">
                    <a:pos x="6" y="0"/>
                  </a:cxn>
                  <a:cxn ang="0">
                    <a:pos x="4" y="2"/>
                  </a:cxn>
                  <a:cxn ang="0">
                    <a:pos x="0" y="4"/>
                  </a:cxn>
                  <a:cxn ang="0">
                    <a:pos x="0" y="6"/>
                  </a:cxn>
                  <a:cxn ang="0">
                    <a:pos x="2" y="4"/>
                  </a:cxn>
                  <a:cxn ang="0">
                    <a:pos x="4" y="8"/>
                  </a:cxn>
                  <a:cxn ang="0">
                    <a:pos x="10" y="6"/>
                  </a:cxn>
                  <a:cxn ang="0">
                    <a:pos x="10" y="2"/>
                  </a:cxn>
                  <a:cxn ang="0">
                    <a:pos x="10" y="2"/>
                  </a:cxn>
                  <a:cxn ang="0">
                    <a:pos x="6" y="0"/>
                  </a:cxn>
                  <a:cxn ang="0">
                    <a:pos x="6" y="0"/>
                  </a:cxn>
                </a:cxnLst>
                <a:rect l="0" t="0" r="r" b="b"/>
                <a:pathLst>
                  <a:path w="10" h="8">
                    <a:moveTo>
                      <a:pt x="6" y="0"/>
                    </a:moveTo>
                    <a:lnTo>
                      <a:pt x="4" y="2"/>
                    </a:lnTo>
                    <a:lnTo>
                      <a:pt x="0" y="4"/>
                    </a:lnTo>
                    <a:lnTo>
                      <a:pt x="0" y="6"/>
                    </a:lnTo>
                    <a:lnTo>
                      <a:pt x="2" y="4"/>
                    </a:lnTo>
                    <a:lnTo>
                      <a:pt x="4" y="8"/>
                    </a:lnTo>
                    <a:lnTo>
                      <a:pt x="10" y="6"/>
                    </a:lnTo>
                    <a:lnTo>
                      <a:pt x="10" y="2"/>
                    </a:lnTo>
                    <a:lnTo>
                      <a:pt x="10" y="2"/>
                    </a:lnTo>
                    <a:lnTo>
                      <a:pt x="6" y="0"/>
                    </a:lnTo>
                    <a:lnTo>
                      <a:pt x="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7" name="Freeform 1706">
                <a:extLst>
                  <a:ext uri="{FF2B5EF4-FFF2-40B4-BE49-F238E27FC236}">
                    <a16:creationId xmlns:a16="http://schemas.microsoft.com/office/drawing/2014/main" id="{8D3F90DB-839B-45BC-9080-466068FC34CB}"/>
                  </a:ext>
                </a:extLst>
              </p:cNvPr>
              <p:cNvSpPr>
                <a:spLocks/>
              </p:cNvSpPr>
              <p:nvPr/>
            </p:nvSpPr>
            <p:spPr bwMode="auto">
              <a:xfrm>
                <a:off x="4121" y="1376"/>
                <a:ext cx="16" cy="8"/>
              </a:xfrm>
              <a:custGeom>
                <a:avLst/>
                <a:gdLst/>
                <a:ahLst/>
                <a:cxnLst>
                  <a:cxn ang="0">
                    <a:pos x="12" y="8"/>
                  </a:cxn>
                  <a:cxn ang="0">
                    <a:pos x="0" y="0"/>
                  </a:cxn>
                  <a:cxn ang="0">
                    <a:pos x="14" y="0"/>
                  </a:cxn>
                  <a:cxn ang="0">
                    <a:pos x="16" y="2"/>
                  </a:cxn>
                  <a:cxn ang="0">
                    <a:pos x="16" y="6"/>
                  </a:cxn>
                  <a:cxn ang="0">
                    <a:pos x="12" y="8"/>
                  </a:cxn>
                </a:cxnLst>
                <a:rect l="0" t="0" r="r" b="b"/>
                <a:pathLst>
                  <a:path w="16" h="8">
                    <a:moveTo>
                      <a:pt x="12" y="8"/>
                    </a:moveTo>
                    <a:lnTo>
                      <a:pt x="0" y="0"/>
                    </a:lnTo>
                    <a:lnTo>
                      <a:pt x="14" y="0"/>
                    </a:lnTo>
                    <a:lnTo>
                      <a:pt x="16" y="2"/>
                    </a:lnTo>
                    <a:lnTo>
                      <a:pt x="16" y="6"/>
                    </a:lnTo>
                    <a:lnTo>
                      <a:pt x="12"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8" name="Freeform 1707">
                <a:extLst>
                  <a:ext uri="{FF2B5EF4-FFF2-40B4-BE49-F238E27FC236}">
                    <a16:creationId xmlns:a16="http://schemas.microsoft.com/office/drawing/2014/main" id="{D4E1DF43-62B7-4DE2-9698-90652BEB5164}"/>
                  </a:ext>
                </a:extLst>
              </p:cNvPr>
              <p:cNvSpPr>
                <a:spLocks/>
              </p:cNvSpPr>
              <p:nvPr/>
            </p:nvSpPr>
            <p:spPr bwMode="auto">
              <a:xfrm>
                <a:off x="4625" y="2078"/>
                <a:ext cx="10" cy="12"/>
              </a:xfrm>
              <a:custGeom>
                <a:avLst/>
                <a:gdLst/>
                <a:ahLst/>
                <a:cxnLst>
                  <a:cxn ang="0">
                    <a:pos x="0" y="10"/>
                  </a:cxn>
                  <a:cxn ang="0">
                    <a:pos x="6" y="12"/>
                  </a:cxn>
                  <a:cxn ang="0">
                    <a:pos x="10" y="2"/>
                  </a:cxn>
                  <a:cxn ang="0">
                    <a:pos x="4" y="0"/>
                  </a:cxn>
                  <a:cxn ang="0">
                    <a:pos x="4" y="0"/>
                  </a:cxn>
                  <a:cxn ang="0">
                    <a:pos x="2" y="6"/>
                  </a:cxn>
                  <a:cxn ang="0">
                    <a:pos x="0" y="10"/>
                  </a:cxn>
                  <a:cxn ang="0">
                    <a:pos x="0" y="10"/>
                  </a:cxn>
                </a:cxnLst>
                <a:rect l="0" t="0" r="r" b="b"/>
                <a:pathLst>
                  <a:path w="10" h="12">
                    <a:moveTo>
                      <a:pt x="0" y="10"/>
                    </a:moveTo>
                    <a:lnTo>
                      <a:pt x="6" y="12"/>
                    </a:lnTo>
                    <a:lnTo>
                      <a:pt x="10" y="2"/>
                    </a:lnTo>
                    <a:lnTo>
                      <a:pt x="4" y="0"/>
                    </a:lnTo>
                    <a:lnTo>
                      <a:pt x="4" y="0"/>
                    </a:lnTo>
                    <a:lnTo>
                      <a:pt x="2" y="6"/>
                    </a:lnTo>
                    <a:lnTo>
                      <a:pt x="0" y="10"/>
                    </a:lnTo>
                    <a:lnTo>
                      <a:pt x="0"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499" name="Freeform 1708">
                <a:extLst>
                  <a:ext uri="{FF2B5EF4-FFF2-40B4-BE49-F238E27FC236}">
                    <a16:creationId xmlns:a16="http://schemas.microsoft.com/office/drawing/2014/main" id="{7F28DB23-A1EF-4A29-BC0B-B93A7057E0C3}"/>
                  </a:ext>
                </a:extLst>
              </p:cNvPr>
              <p:cNvSpPr>
                <a:spLocks/>
              </p:cNvSpPr>
              <p:nvPr/>
            </p:nvSpPr>
            <p:spPr bwMode="auto">
              <a:xfrm>
                <a:off x="4937" y="1984"/>
                <a:ext cx="14" cy="18"/>
              </a:xfrm>
              <a:custGeom>
                <a:avLst/>
                <a:gdLst/>
                <a:ahLst/>
                <a:cxnLst>
                  <a:cxn ang="0">
                    <a:pos x="4" y="6"/>
                  </a:cxn>
                  <a:cxn ang="0">
                    <a:pos x="0" y="18"/>
                  </a:cxn>
                  <a:cxn ang="0">
                    <a:pos x="2" y="18"/>
                  </a:cxn>
                  <a:cxn ang="0">
                    <a:pos x="14" y="6"/>
                  </a:cxn>
                  <a:cxn ang="0">
                    <a:pos x="14" y="0"/>
                  </a:cxn>
                  <a:cxn ang="0">
                    <a:pos x="14" y="0"/>
                  </a:cxn>
                  <a:cxn ang="0">
                    <a:pos x="8" y="2"/>
                  </a:cxn>
                  <a:cxn ang="0">
                    <a:pos x="4" y="6"/>
                  </a:cxn>
                  <a:cxn ang="0">
                    <a:pos x="4" y="6"/>
                  </a:cxn>
                </a:cxnLst>
                <a:rect l="0" t="0" r="r" b="b"/>
                <a:pathLst>
                  <a:path w="14" h="18">
                    <a:moveTo>
                      <a:pt x="4" y="6"/>
                    </a:moveTo>
                    <a:lnTo>
                      <a:pt x="0" y="18"/>
                    </a:lnTo>
                    <a:lnTo>
                      <a:pt x="2" y="18"/>
                    </a:lnTo>
                    <a:lnTo>
                      <a:pt x="14" y="6"/>
                    </a:lnTo>
                    <a:lnTo>
                      <a:pt x="14" y="0"/>
                    </a:lnTo>
                    <a:lnTo>
                      <a:pt x="14" y="0"/>
                    </a:lnTo>
                    <a:lnTo>
                      <a:pt x="8" y="2"/>
                    </a:lnTo>
                    <a:lnTo>
                      <a:pt x="4" y="6"/>
                    </a:lnTo>
                    <a:lnTo>
                      <a:pt x="4"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0" name="Freeform 1709">
                <a:extLst>
                  <a:ext uri="{FF2B5EF4-FFF2-40B4-BE49-F238E27FC236}">
                    <a16:creationId xmlns:a16="http://schemas.microsoft.com/office/drawing/2014/main" id="{4504DE5D-C13E-4D7A-A685-56428760FB60}"/>
                  </a:ext>
                </a:extLst>
              </p:cNvPr>
              <p:cNvSpPr>
                <a:spLocks/>
              </p:cNvSpPr>
              <p:nvPr/>
            </p:nvSpPr>
            <p:spPr bwMode="auto">
              <a:xfrm>
                <a:off x="3809" y="2312"/>
                <a:ext cx="132" cy="68"/>
              </a:xfrm>
              <a:custGeom>
                <a:avLst/>
                <a:gdLst/>
                <a:ahLst/>
                <a:cxnLst>
                  <a:cxn ang="0">
                    <a:pos x="22" y="10"/>
                  </a:cxn>
                  <a:cxn ang="0">
                    <a:pos x="28" y="8"/>
                  </a:cxn>
                  <a:cxn ang="0">
                    <a:pos x="48" y="14"/>
                  </a:cxn>
                  <a:cxn ang="0">
                    <a:pos x="58" y="0"/>
                  </a:cxn>
                  <a:cxn ang="0">
                    <a:pos x="62" y="4"/>
                  </a:cxn>
                  <a:cxn ang="0">
                    <a:pos x="86" y="6"/>
                  </a:cxn>
                  <a:cxn ang="0">
                    <a:pos x="120" y="8"/>
                  </a:cxn>
                  <a:cxn ang="0">
                    <a:pos x="132" y="16"/>
                  </a:cxn>
                  <a:cxn ang="0">
                    <a:pos x="132" y="24"/>
                  </a:cxn>
                  <a:cxn ang="0">
                    <a:pos x="112" y="34"/>
                  </a:cxn>
                  <a:cxn ang="0">
                    <a:pos x="92" y="42"/>
                  </a:cxn>
                  <a:cxn ang="0">
                    <a:pos x="90" y="48"/>
                  </a:cxn>
                  <a:cxn ang="0">
                    <a:pos x="78" y="52"/>
                  </a:cxn>
                  <a:cxn ang="0">
                    <a:pos x="76" y="48"/>
                  </a:cxn>
                  <a:cxn ang="0">
                    <a:pos x="68" y="48"/>
                  </a:cxn>
                  <a:cxn ang="0">
                    <a:pos x="58" y="56"/>
                  </a:cxn>
                  <a:cxn ang="0">
                    <a:pos x="56" y="60"/>
                  </a:cxn>
                  <a:cxn ang="0">
                    <a:pos x="50" y="62"/>
                  </a:cxn>
                  <a:cxn ang="0">
                    <a:pos x="50" y="66"/>
                  </a:cxn>
                  <a:cxn ang="0">
                    <a:pos x="40" y="68"/>
                  </a:cxn>
                  <a:cxn ang="0">
                    <a:pos x="30" y="68"/>
                  </a:cxn>
                  <a:cxn ang="0">
                    <a:pos x="26" y="62"/>
                  </a:cxn>
                  <a:cxn ang="0">
                    <a:pos x="20" y="66"/>
                  </a:cxn>
                  <a:cxn ang="0">
                    <a:pos x="10" y="62"/>
                  </a:cxn>
                  <a:cxn ang="0">
                    <a:pos x="0" y="62"/>
                  </a:cxn>
                  <a:cxn ang="0">
                    <a:pos x="0" y="56"/>
                  </a:cxn>
                  <a:cxn ang="0">
                    <a:pos x="8" y="54"/>
                  </a:cxn>
                  <a:cxn ang="0">
                    <a:pos x="14" y="56"/>
                  </a:cxn>
                  <a:cxn ang="0">
                    <a:pos x="32" y="52"/>
                  </a:cxn>
                  <a:cxn ang="0">
                    <a:pos x="34" y="48"/>
                  </a:cxn>
                  <a:cxn ang="0">
                    <a:pos x="46" y="42"/>
                  </a:cxn>
                  <a:cxn ang="0">
                    <a:pos x="38" y="40"/>
                  </a:cxn>
                  <a:cxn ang="0">
                    <a:pos x="30" y="32"/>
                  </a:cxn>
                  <a:cxn ang="0">
                    <a:pos x="26" y="36"/>
                  </a:cxn>
                  <a:cxn ang="0">
                    <a:pos x="16" y="32"/>
                  </a:cxn>
                  <a:cxn ang="0">
                    <a:pos x="12" y="28"/>
                  </a:cxn>
                  <a:cxn ang="0">
                    <a:pos x="22" y="18"/>
                  </a:cxn>
                </a:cxnLst>
                <a:rect l="0" t="0" r="r" b="b"/>
                <a:pathLst>
                  <a:path w="132" h="68">
                    <a:moveTo>
                      <a:pt x="20" y="16"/>
                    </a:moveTo>
                    <a:lnTo>
                      <a:pt x="22" y="10"/>
                    </a:lnTo>
                    <a:lnTo>
                      <a:pt x="22" y="10"/>
                    </a:lnTo>
                    <a:lnTo>
                      <a:pt x="28" y="8"/>
                    </a:lnTo>
                    <a:lnTo>
                      <a:pt x="34" y="8"/>
                    </a:lnTo>
                    <a:lnTo>
                      <a:pt x="48" y="14"/>
                    </a:lnTo>
                    <a:lnTo>
                      <a:pt x="50" y="4"/>
                    </a:lnTo>
                    <a:lnTo>
                      <a:pt x="58" y="0"/>
                    </a:lnTo>
                    <a:lnTo>
                      <a:pt x="58" y="0"/>
                    </a:lnTo>
                    <a:lnTo>
                      <a:pt x="62" y="4"/>
                    </a:lnTo>
                    <a:lnTo>
                      <a:pt x="68" y="6"/>
                    </a:lnTo>
                    <a:lnTo>
                      <a:pt x="86" y="6"/>
                    </a:lnTo>
                    <a:lnTo>
                      <a:pt x="104" y="6"/>
                    </a:lnTo>
                    <a:lnTo>
                      <a:pt x="120" y="8"/>
                    </a:lnTo>
                    <a:lnTo>
                      <a:pt x="122" y="14"/>
                    </a:lnTo>
                    <a:lnTo>
                      <a:pt x="132" y="16"/>
                    </a:lnTo>
                    <a:lnTo>
                      <a:pt x="132" y="24"/>
                    </a:lnTo>
                    <a:lnTo>
                      <a:pt x="132" y="24"/>
                    </a:lnTo>
                    <a:lnTo>
                      <a:pt x="118" y="30"/>
                    </a:lnTo>
                    <a:lnTo>
                      <a:pt x="112" y="34"/>
                    </a:lnTo>
                    <a:lnTo>
                      <a:pt x="108" y="38"/>
                    </a:lnTo>
                    <a:lnTo>
                      <a:pt x="92" y="42"/>
                    </a:lnTo>
                    <a:lnTo>
                      <a:pt x="92" y="42"/>
                    </a:lnTo>
                    <a:lnTo>
                      <a:pt x="90" y="48"/>
                    </a:lnTo>
                    <a:lnTo>
                      <a:pt x="86" y="52"/>
                    </a:lnTo>
                    <a:lnTo>
                      <a:pt x="78" y="52"/>
                    </a:lnTo>
                    <a:lnTo>
                      <a:pt x="76" y="48"/>
                    </a:lnTo>
                    <a:lnTo>
                      <a:pt x="76" y="48"/>
                    </a:lnTo>
                    <a:lnTo>
                      <a:pt x="72" y="48"/>
                    </a:lnTo>
                    <a:lnTo>
                      <a:pt x="68" y="48"/>
                    </a:lnTo>
                    <a:lnTo>
                      <a:pt x="66" y="52"/>
                    </a:lnTo>
                    <a:lnTo>
                      <a:pt x="58" y="56"/>
                    </a:lnTo>
                    <a:lnTo>
                      <a:pt x="58" y="56"/>
                    </a:lnTo>
                    <a:lnTo>
                      <a:pt x="56" y="60"/>
                    </a:lnTo>
                    <a:lnTo>
                      <a:pt x="54" y="64"/>
                    </a:lnTo>
                    <a:lnTo>
                      <a:pt x="50" y="62"/>
                    </a:lnTo>
                    <a:lnTo>
                      <a:pt x="50" y="66"/>
                    </a:lnTo>
                    <a:lnTo>
                      <a:pt x="50" y="66"/>
                    </a:lnTo>
                    <a:lnTo>
                      <a:pt x="44" y="66"/>
                    </a:lnTo>
                    <a:lnTo>
                      <a:pt x="40" y="68"/>
                    </a:lnTo>
                    <a:lnTo>
                      <a:pt x="36" y="68"/>
                    </a:lnTo>
                    <a:lnTo>
                      <a:pt x="30" y="68"/>
                    </a:lnTo>
                    <a:lnTo>
                      <a:pt x="30" y="64"/>
                    </a:lnTo>
                    <a:lnTo>
                      <a:pt x="26" y="62"/>
                    </a:lnTo>
                    <a:lnTo>
                      <a:pt x="20" y="66"/>
                    </a:lnTo>
                    <a:lnTo>
                      <a:pt x="20" y="66"/>
                    </a:lnTo>
                    <a:lnTo>
                      <a:pt x="16" y="64"/>
                    </a:lnTo>
                    <a:lnTo>
                      <a:pt x="10" y="62"/>
                    </a:lnTo>
                    <a:lnTo>
                      <a:pt x="2" y="64"/>
                    </a:lnTo>
                    <a:lnTo>
                      <a:pt x="0" y="62"/>
                    </a:lnTo>
                    <a:lnTo>
                      <a:pt x="0" y="56"/>
                    </a:lnTo>
                    <a:lnTo>
                      <a:pt x="0" y="56"/>
                    </a:lnTo>
                    <a:lnTo>
                      <a:pt x="4" y="54"/>
                    </a:lnTo>
                    <a:lnTo>
                      <a:pt x="8" y="54"/>
                    </a:lnTo>
                    <a:lnTo>
                      <a:pt x="12" y="54"/>
                    </a:lnTo>
                    <a:lnTo>
                      <a:pt x="14" y="56"/>
                    </a:lnTo>
                    <a:lnTo>
                      <a:pt x="20" y="52"/>
                    </a:lnTo>
                    <a:lnTo>
                      <a:pt x="32" y="52"/>
                    </a:lnTo>
                    <a:lnTo>
                      <a:pt x="34" y="48"/>
                    </a:lnTo>
                    <a:lnTo>
                      <a:pt x="34" y="48"/>
                    </a:lnTo>
                    <a:lnTo>
                      <a:pt x="42" y="46"/>
                    </a:lnTo>
                    <a:lnTo>
                      <a:pt x="46" y="42"/>
                    </a:lnTo>
                    <a:lnTo>
                      <a:pt x="46" y="42"/>
                    </a:lnTo>
                    <a:lnTo>
                      <a:pt x="38" y="40"/>
                    </a:lnTo>
                    <a:lnTo>
                      <a:pt x="30" y="34"/>
                    </a:lnTo>
                    <a:lnTo>
                      <a:pt x="30" y="32"/>
                    </a:lnTo>
                    <a:lnTo>
                      <a:pt x="28" y="30"/>
                    </a:lnTo>
                    <a:lnTo>
                      <a:pt x="26" y="36"/>
                    </a:lnTo>
                    <a:lnTo>
                      <a:pt x="18" y="34"/>
                    </a:lnTo>
                    <a:lnTo>
                      <a:pt x="16" y="32"/>
                    </a:lnTo>
                    <a:lnTo>
                      <a:pt x="12" y="30"/>
                    </a:lnTo>
                    <a:lnTo>
                      <a:pt x="12" y="28"/>
                    </a:lnTo>
                    <a:lnTo>
                      <a:pt x="24" y="20"/>
                    </a:lnTo>
                    <a:lnTo>
                      <a:pt x="22" y="18"/>
                    </a:lnTo>
                    <a:lnTo>
                      <a:pt x="20" y="1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1" name="Freeform 1710">
                <a:extLst>
                  <a:ext uri="{FF2B5EF4-FFF2-40B4-BE49-F238E27FC236}">
                    <a16:creationId xmlns:a16="http://schemas.microsoft.com/office/drawing/2014/main" id="{CD2AFB19-FA9B-4621-ACC4-E683103885CF}"/>
                  </a:ext>
                </a:extLst>
              </p:cNvPr>
              <p:cNvSpPr>
                <a:spLocks/>
              </p:cNvSpPr>
              <p:nvPr/>
            </p:nvSpPr>
            <p:spPr bwMode="auto">
              <a:xfrm>
                <a:off x="3787" y="2350"/>
                <a:ext cx="90" cy="74"/>
              </a:xfrm>
              <a:custGeom>
                <a:avLst/>
                <a:gdLst/>
                <a:ahLst/>
                <a:cxnLst>
                  <a:cxn ang="0">
                    <a:pos x="76" y="26"/>
                  </a:cxn>
                  <a:cxn ang="0">
                    <a:pos x="76" y="40"/>
                  </a:cxn>
                  <a:cxn ang="0">
                    <a:pos x="78" y="44"/>
                  </a:cxn>
                  <a:cxn ang="0">
                    <a:pos x="88" y="46"/>
                  </a:cxn>
                  <a:cxn ang="0">
                    <a:pos x="88" y="50"/>
                  </a:cxn>
                  <a:cxn ang="0">
                    <a:pos x="90" y="60"/>
                  </a:cxn>
                  <a:cxn ang="0">
                    <a:pos x="88" y="64"/>
                  </a:cxn>
                  <a:cxn ang="0">
                    <a:pos x="90" y="62"/>
                  </a:cxn>
                  <a:cxn ang="0">
                    <a:pos x="78" y="64"/>
                  </a:cxn>
                  <a:cxn ang="0">
                    <a:pos x="72" y="60"/>
                  </a:cxn>
                  <a:cxn ang="0">
                    <a:pos x="62" y="68"/>
                  </a:cxn>
                  <a:cxn ang="0">
                    <a:pos x="48" y="66"/>
                  </a:cxn>
                  <a:cxn ang="0">
                    <a:pos x="46" y="52"/>
                  </a:cxn>
                  <a:cxn ang="0">
                    <a:pos x="42" y="44"/>
                  </a:cxn>
                  <a:cxn ang="0">
                    <a:pos x="34" y="54"/>
                  </a:cxn>
                  <a:cxn ang="0">
                    <a:pos x="32" y="60"/>
                  </a:cxn>
                  <a:cxn ang="0">
                    <a:pos x="24" y="60"/>
                  </a:cxn>
                  <a:cxn ang="0">
                    <a:pos x="24" y="66"/>
                  </a:cxn>
                  <a:cxn ang="0">
                    <a:pos x="8" y="68"/>
                  </a:cxn>
                  <a:cxn ang="0">
                    <a:pos x="4" y="62"/>
                  </a:cxn>
                  <a:cxn ang="0">
                    <a:pos x="4" y="60"/>
                  </a:cxn>
                  <a:cxn ang="0">
                    <a:pos x="12" y="48"/>
                  </a:cxn>
                  <a:cxn ang="0">
                    <a:pos x="8" y="34"/>
                  </a:cxn>
                  <a:cxn ang="0">
                    <a:pos x="0" y="30"/>
                  </a:cxn>
                  <a:cxn ang="0">
                    <a:pos x="2" y="24"/>
                  </a:cxn>
                  <a:cxn ang="0">
                    <a:pos x="16" y="18"/>
                  </a:cxn>
                  <a:cxn ang="0">
                    <a:pos x="22" y="10"/>
                  </a:cxn>
                  <a:cxn ang="0">
                    <a:pos x="28" y="6"/>
                  </a:cxn>
                  <a:cxn ang="0">
                    <a:pos x="38" y="0"/>
                  </a:cxn>
                  <a:cxn ang="0">
                    <a:pos x="36" y="8"/>
                  </a:cxn>
                  <a:cxn ang="0">
                    <a:pos x="38" y="14"/>
                  </a:cxn>
                  <a:cxn ang="0">
                    <a:pos x="36" y="18"/>
                  </a:cxn>
                  <a:cxn ang="0">
                    <a:pos x="34" y="16"/>
                  </a:cxn>
                  <a:cxn ang="0">
                    <a:pos x="26" y="16"/>
                  </a:cxn>
                  <a:cxn ang="0">
                    <a:pos x="22" y="24"/>
                  </a:cxn>
                  <a:cxn ang="0">
                    <a:pos x="24" y="26"/>
                  </a:cxn>
                  <a:cxn ang="0">
                    <a:pos x="38" y="26"/>
                  </a:cxn>
                  <a:cxn ang="0">
                    <a:pos x="48" y="24"/>
                  </a:cxn>
                  <a:cxn ang="0">
                    <a:pos x="52" y="30"/>
                  </a:cxn>
                  <a:cxn ang="0">
                    <a:pos x="58" y="30"/>
                  </a:cxn>
                  <a:cxn ang="0">
                    <a:pos x="66" y="28"/>
                  </a:cxn>
                  <a:cxn ang="0">
                    <a:pos x="72" y="24"/>
                  </a:cxn>
                </a:cxnLst>
                <a:rect l="0" t="0" r="r" b="b"/>
                <a:pathLst>
                  <a:path w="90" h="74">
                    <a:moveTo>
                      <a:pt x="76" y="26"/>
                    </a:moveTo>
                    <a:lnTo>
                      <a:pt x="76" y="26"/>
                    </a:lnTo>
                    <a:lnTo>
                      <a:pt x="76" y="34"/>
                    </a:lnTo>
                    <a:lnTo>
                      <a:pt x="76" y="40"/>
                    </a:lnTo>
                    <a:lnTo>
                      <a:pt x="76" y="42"/>
                    </a:lnTo>
                    <a:lnTo>
                      <a:pt x="78" y="44"/>
                    </a:lnTo>
                    <a:lnTo>
                      <a:pt x="86" y="44"/>
                    </a:lnTo>
                    <a:lnTo>
                      <a:pt x="88" y="46"/>
                    </a:lnTo>
                    <a:lnTo>
                      <a:pt x="88" y="46"/>
                    </a:lnTo>
                    <a:lnTo>
                      <a:pt x="88" y="50"/>
                    </a:lnTo>
                    <a:lnTo>
                      <a:pt x="90" y="54"/>
                    </a:lnTo>
                    <a:lnTo>
                      <a:pt x="90" y="60"/>
                    </a:lnTo>
                    <a:lnTo>
                      <a:pt x="90" y="64"/>
                    </a:lnTo>
                    <a:lnTo>
                      <a:pt x="88" y="64"/>
                    </a:lnTo>
                    <a:lnTo>
                      <a:pt x="90" y="62"/>
                    </a:lnTo>
                    <a:lnTo>
                      <a:pt x="90" y="62"/>
                    </a:lnTo>
                    <a:lnTo>
                      <a:pt x="82" y="62"/>
                    </a:lnTo>
                    <a:lnTo>
                      <a:pt x="78" y="64"/>
                    </a:lnTo>
                    <a:lnTo>
                      <a:pt x="76" y="62"/>
                    </a:lnTo>
                    <a:lnTo>
                      <a:pt x="72" y="60"/>
                    </a:lnTo>
                    <a:lnTo>
                      <a:pt x="72" y="60"/>
                    </a:lnTo>
                    <a:lnTo>
                      <a:pt x="62" y="68"/>
                    </a:lnTo>
                    <a:lnTo>
                      <a:pt x="52" y="74"/>
                    </a:lnTo>
                    <a:lnTo>
                      <a:pt x="48" y="66"/>
                    </a:lnTo>
                    <a:lnTo>
                      <a:pt x="50" y="54"/>
                    </a:lnTo>
                    <a:lnTo>
                      <a:pt x="46" y="52"/>
                    </a:lnTo>
                    <a:lnTo>
                      <a:pt x="48" y="48"/>
                    </a:lnTo>
                    <a:lnTo>
                      <a:pt x="42" y="44"/>
                    </a:lnTo>
                    <a:lnTo>
                      <a:pt x="40" y="44"/>
                    </a:lnTo>
                    <a:lnTo>
                      <a:pt x="34" y="54"/>
                    </a:lnTo>
                    <a:lnTo>
                      <a:pt x="34" y="56"/>
                    </a:lnTo>
                    <a:lnTo>
                      <a:pt x="32" y="60"/>
                    </a:lnTo>
                    <a:lnTo>
                      <a:pt x="26" y="58"/>
                    </a:lnTo>
                    <a:lnTo>
                      <a:pt x="24" y="60"/>
                    </a:lnTo>
                    <a:lnTo>
                      <a:pt x="24" y="64"/>
                    </a:lnTo>
                    <a:lnTo>
                      <a:pt x="24" y="66"/>
                    </a:lnTo>
                    <a:lnTo>
                      <a:pt x="18" y="64"/>
                    </a:lnTo>
                    <a:lnTo>
                      <a:pt x="8" y="68"/>
                    </a:lnTo>
                    <a:lnTo>
                      <a:pt x="4" y="64"/>
                    </a:lnTo>
                    <a:lnTo>
                      <a:pt x="4" y="62"/>
                    </a:lnTo>
                    <a:lnTo>
                      <a:pt x="4" y="60"/>
                    </a:lnTo>
                    <a:lnTo>
                      <a:pt x="4" y="60"/>
                    </a:lnTo>
                    <a:lnTo>
                      <a:pt x="8" y="54"/>
                    </a:lnTo>
                    <a:lnTo>
                      <a:pt x="12" y="48"/>
                    </a:lnTo>
                    <a:lnTo>
                      <a:pt x="8" y="40"/>
                    </a:lnTo>
                    <a:lnTo>
                      <a:pt x="8" y="34"/>
                    </a:lnTo>
                    <a:lnTo>
                      <a:pt x="2" y="34"/>
                    </a:lnTo>
                    <a:lnTo>
                      <a:pt x="0" y="30"/>
                    </a:lnTo>
                    <a:lnTo>
                      <a:pt x="0" y="28"/>
                    </a:lnTo>
                    <a:lnTo>
                      <a:pt x="2" y="24"/>
                    </a:lnTo>
                    <a:lnTo>
                      <a:pt x="14" y="24"/>
                    </a:lnTo>
                    <a:lnTo>
                      <a:pt x="16" y="18"/>
                    </a:lnTo>
                    <a:lnTo>
                      <a:pt x="22" y="14"/>
                    </a:lnTo>
                    <a:lnTo>
                      <a:pt x="22" y="10"/>
                    </a:lnTo>
                    <a:lnTo>
                      <a:pt x="24" y="6"/>
                    </a:lnTo>
                    <a:lnTo>
                      <a:pt x="28" y="6"/>
                    </a:lnTo>
                    <a:lnTo>
                      <a:pt x="36" y="0"/>
                    </a:lnTo>
                    <a:lnTo>
                      <a:pt x="38" y="0"/>
                    </a:lnTo>
                    <a:lnTo>
                      <a:pt x="40" y="6"/>
                    </a:lnTo>
                    <a:lnTo>
                      <a:pt x="36" y="8"/>
                    </a:lnTo>
                    <a:lnTo>
                      <a:pt x="36" y="8"/>
                    </a:lnTo>
                    <a:lnTo>
                      <a:pt x="38" y="14"/>
                    </a:lnTo>
                    <a:lnTo>
                      <a:pt x="42" y="14"/>
                    </a:lnTo>
                    <a:lnTo>
                      <a:pt x="36" y="18"/>
                    </a:lnTo>
                    <a:lnTo>
                      <a:pt x="36" y="18"/>
                    </a:lnTo>
                    <a:lnTo>
                      <a:pt x="34" y="16"/>
                    </a:lnTo>
                    <a:lnTo>
                      <a:pt x="30" y="16"/>
                    </a:lnTo>
                    <a:lnTo>
                      <a:pt x="26" y="16"/>
                    </a:lnTo>
                    <a:lnTo>
                      <a:pt x="22" y="18"/>
                    </a:lnTo>
                    <a:lnTo>
                      <a:pt x="22" y="24"/>
                    </a:lnTo>
                    <a:lnTo>
                      <a:pt x="24" y="26"/>
                    </a:lnTo>
                    <a:lnTo>
                      <a:pt x="24" y="26"/>
                    </a:lnTo>
                    <a:lnTo>
                      <a:pt x="32" y="24"/>
                    </a:lnTo>
                    <a:lnTo>
                      <a:pt x="38" y="26"/>
                    </a:lnTo>
                    <a:lnTo>
                      <a:pt x="42" y="28"/>
                    </a:lnTo>
                    <a:lnTo>
                      <a:pt x="48" y="24"/>
                    </a:lnTo>
                    <a:lnTo>
                      <a:pt x="52" y="26"/>
                    </a:lnTo>
                    <a:lnTo>
                      <a:pt x="52" y="30"/>
                    </a:lnTo>
                    <a:lnTo>
                      <a:pt x="52" y="30"/>
                    </a:lnTo>
                    <a:lnTo>
                      <a:pt x="58" y="30"/>
                    </a:lnTo>
                    <a:lnTo>
                      <a:pt x="62" y="30"/>
                    </a:lnTo>
                    <a:lnTo>
                      <a:pt x="66" y="28"/>
                    </a:lnTo>
                    <a:lnTo>
                      <a:pt x="72" y="28"/>
                    </a:lnTo>
                    <a:lnTo>
                      <a:pt x="72" y="24"/>
                    </a:lnTo>
                    <a:lnTo>
                      <a:pt x="76" y="2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2" name="Freeform 1711">
                <a:extLst>
                  <a:ext uri="{FF2B5EF4-FFF2-40B4-BE49-F238E27FC236}">
                    <a16:creationId xmlns:a16="http://schemas.microsoft.com/office/drawing/2014/main" id="{1E513C1C-AF4A-471C-84A4-D8677DA47044}"/>
                  </a:ext>
                </a:extLst>
              </p:cNvPr>
              <p:cNvSpPr>
                <a:spLocks/>
              </p:cNvSpPr>
              <p:nvPr/>
            </p:nvSpPr>
            <p:spPr bwMode="auto">
              <a:xfrm>
                <a:off x="3607" y="2320"/>
                <a:ext cx="170" cy="126"/>
              </a:xfrm>
              <a:custGeom>
                <a:avLst/>
                <a:gdLst/>
                <a:ahLst/>
                <a:cxnLst>
                  <a:cxn ang="0">
                    <a:pos x="26" y="90"/>
                  </a:cxn>
                  <a:cxn ang="0">
                    <a:pos x="46" y="80"/>
                  </a:cxn>
                  <a:cxn ang="0">
                    <a:pos x="56" y="76"/>
                  </a:cxn>
                  <a:cxn ang="0">
                    <a:pos x="62" y="80"/>
                  </a:cxn>
                  <a:cxn ang="0">
                    <a:pos x="76" y="88"/>
                  </a:cxn>
                  <a:cxn ang="0">
                    <a:pos x="86" y="94"/>
                  </a:cxn>
                  <a:cxn ang="0">
                    <a:pos x="106" y="104"/>
                  </a:cxn>
                  <a:cxn ang="0">
                    <a:pos x="106" y="112"/>
                  </a:cxn>
                  <a:cxn ang="0">
                    <a:pos x="110" y="122"/>
                  </a:cxn>
                  <a:cxn ang="0">
                    <a:pos x="118" y="126"/>
                  </a:cxn>
                  <a:cxn ang="0">
                    <a:pos x="130" y="118"/>
                  </a:cxn>
                  <a:cxn ang="0">
                    <a:pos x="146" y="108"/>
                  </a:cxn>
                  <a:cxn ang="0">
                    <a:pos x="148" y="100"/>
                  </a:cxn>
                  <a:cxn ang="0">
                    <a:pos x="150" y="94"/>
                  </a:cxn>
                  <a:cxn ang="0">
                    <a:pos x="158" y="90"/>
                  </a:cxn>
                  <a:cxn ang="0">
                    <a:pos x="166" y="92"/>
                  </a:cxn>
                  <a:cxn ang="0">
                    <a:pos x="170" y="92"/>
                  </a:cxn>
                  <a:cxn ang="0">
                    <a:pos x="170" y="82"/>
                  </a:cxn>
                  <a:cxn ang="0">
                    <a:pos x="166" y="78"/>
                  </a:cxn>
                  <a:cxn ang="0">
                    <a:pos x="156" y="76"/>
                  </a:cxn>
                  <a:cxn ang="0">
                    <a:pos x="140" y="62"/>
                  </a:cxn>
                  <a:cxn ang="0">
                    <a:pos x="122" y="50"/>
                  </a:cxn>
                  <a:cxn ang="0">
                    <a:pos x="120" y="40"/>
                  </a:cxn>
                  <a:cxn ang="0">
                    <a:pos x="116" y="34"/>
                  </a:cxn>
                  <a:cxn ang="0">
                    <a:pos x="110" y="26"/>
                  </a:cxn>
                  <a:cxn ang="0">
                    <a:pos x="92" y="24"/>
                  </a:cxn>
                  <a:cxn ang="0">
                    <a:pos x="92" y="18"/>
                  </a:cxn>
                  <a:cxn ang="0">
                    <a:pos x="90" y="14"/>
                  </a:cxn>
                  <a:cxn ang="0">
                    <a:pos x="82" y="8"/>
                  </a:cxn>
                  <a:cxn ang="0">
                    <a:pos x="72" y="2"/>
                  </a:cxn>
                  <a:cxn ang="0">
                    <a:pos x="72" y="8"/>
                  </a:cxn>
                  <a:cxn ang="0">
                    <a:pos x="66" y="6"/>
                  </a:cxn>
                  <a:cxn ang="0">
                    <a:pos x="58" y="12"/>
                  </a:cxn>
                  <a:cxn ang="0">
                    <a:pos x="56" y="26"/>
                  </a:cxn>
                  <a:cxn ang="0">
                    <a:pos x="44" y="26"/>
                  </a:cxn>
                  <a:cxn ang="0">
                    <a:pos x="34" y="24"/>
                  </a:cxn>
                  <a:cxn ang="0">
                    <a:pos x="22" y="8"/>
                  </a:cxn>
                  <a:cxn ang="0">
                    <a:pos x="10" y="10"/>
                  </a:cxn>
                  <a:cxn ang="0">
                    <a:pos x="0" y="18"/>
                  </a:cxn>
                  <a:cxn ang="0">
                    <a:pos x="2" y="24"/>
                  </a:cxn>
                  <a:cxn ang="0">
                    <a:pos x="4" y="20"/>
                  </a:cxn>
                  <a:cxn ang="0">
                    <a:pos x="8" y="16"/>
                  </a:cxn>
                  <a:cxn ang="0">
                    <a:pos x="16" y="14"/>
                  </a:cxn>
                  <a:cxn ang="0">
                    <a:pos x="22" y="24"/>
                  </a:cxn>
                  <a:cxn ang="0">
                    <a:pos x="26" y="34"/>
                  </a:cxn>
                  <a:cxn ang="0">
                    <a:pos x="24" y="36"/>
                  </a:cxn>
                  <a:cxn ang="0">
                    <a:pos x="8" y="36"/>
                  </a:cxn>
                  <a:cxn ang="0">
                    <a:pos x="6" y="30"/>
                  </a:cxn>
                  <a:cxn ang="0">
                    <a:pos x="4" y="42"/>
                  </a:cxn>
                  <a:cxn ang="0">
                    <a:pos x="12" y="48"/>
                  </a:cxn>
                  <a:cxn ang="0">
                    <a:pos x="18" y="52"/>
                  </a:cxn>
                  <a:cxn ang="0">
                    <a:pos x="12" y="52"/>
                  </a:cxn>
                  <a:cxn ang="0">
                    <a:pos x="12" y="60"/>
                  </a:cxn>
                  <a:cxn ang="0">
                    <a:pos x="20" y="64"/>
                  </a:cxn>
                  <a:cxn ang="0">
                    <a:pos x="18" y="78"/>
                  </a:cxn>
                  <a:cxn ang="0">
                    <a:pos x="18" y="90"/>
                  </a:cxn>
                </a:cxnLst>
                <a:rect l="0" t="0" r="r" b="b"/>
                <a:pathLst>
                  <a:path w="170" h="126">
                    <a:moveTo>
                      <a:pt x="18" y="90"/>
                    </a:moveTo>
                    <a:lnTo>
                      <a:pt x="26" y="90"/>
                    </a:lnTo>
                    <a:lnTo>
                      <a:pt x="36" y="80"/>
                    </a:lnTo>
                    <a:lnTo>
                      <a:pt x="46" y="80"/>
                    </a:lnTo>
                    <a:lnTo>
                      <a:pt x="48" y="76"/>
                    </a:lnTo>
                    <a:lnTo>
                      <a:pt x="56" y="76"/>
                    </a:lnTo>
                    <a:lnTo>
                      <a:pt x="56" y="76"/>
                    </a:lnTo>
                    <a:lnTo>
                      <a:pt x="62" y="80"/>
                    </a:lnTo>
                    <a:lnTo>
                      <a:pt x="68" y="84"/>
                    </a:lnTo>
                    <a:lnTo>
                      <a:pt x="76" y="88"/>
                    </a:lnTo>
                    <a:lnTo>
                      <a:pt x="82" y="88"/>
                    </a:lnTo>
                    <a:lnTo>
                      <a:pt x="86" y="94"/>
                    </a:lnTo>
                    <a:lnTo>
                      <a:pt x="100" y="104"/>
                    </a:lnTo>
                    <a:lnTo>
                      <a:pt x="106" y="104"/>
                    </a:lnTo>
                    <a:lnTo>
                      <a:pt x="106" y="104"/>
                    </a:lnTo>
                    <a:lnTo>
                      <a:pt x="106" y="112"/>
                    </a:lnTo>
                    <a:lnTo>
                      <a:pt x="106" y="120"/>
                    </a:lnTo>
                    <a:lnTo>
                      <a:pt x="110" y="122"/>
                    </a:lnTo>
                    <a:lnTo>
                      <a:pt x="114" y="122"/>
                    </a:lnTo>
                    <a:lnTo>
                      <a:pt x="118" y="126"/>
                    </a:lnTo>
                    <a:lnTo>
                      <a:pt x="128" y="122"/>
                    </a:lnTo>
                    <a:lnTo>
                      <a:pt x="130" y="118"/>
                    </a:lnTo>
                    <a:lnTo>
                      <a:pt x="130" y="116"/>
                    </a:lnTo>
                    <a:lnTo>
                      <a:pt x="146" y="108"/>
                    </a:lnTo>
                    <a:lnTo>
                      <a:pt x="146" y="108"/>
                    </a:lnTo>
                    <a:lnTo>
                      <a:pt x="148" y="100"/>
                    </a:lnTo>
                    <a:lnTo>
                      <a:pt x="148" y="96"/>
                    </a:lnTo>
                    <a:lnTo>
                      <a:pt x="150" y="94"/>
                    </a:lnTo>
                    <a:lnTo>
                      <a:pt x="158" y="94"/>
                    </a:lnTo>
                    <a:lnTo>
                      <a:pt x="158" y="90"/>
                    </a:lnTo>
                    <a:lnTo>
                      <a:pt x="160" y="90"/>
                    </a:lnTo>
                    <a:lnTo>
                      <a:pt x="166" y="92"/>
                    </a:lnTo>
                    <a:lnTo>
                      <a:pt x="170" y="92"/>
                    </a:lnTo>
                    <a:lnTo>
                      <a:pt x="170" y="92"/>
                    </a:lnTo>
                    <a:lnTo>
                      <a:pt x="170" y="86"/>
                    </a:lnTo>
                    <a:lnTo>
                      <a:pt x="170" y="82"/>
                    </a:lnTo>
                    <a:lnTo>
                      <a:pt x="170" y="82"/>
                    </a:lnTo>
                    <a:lnTo>
                      <a:pt x="166" y="78"/>
                    </a:lnTo>
                    <a:lnTo>
                      <a:pt x="162" y="76"/>
                    </a:lnTo>
                    <a:lnTo>
                      <a:pt x="156" y="76"/>
                    </a:lnTo>
                    <a:lnTo>
                      <a:pt x="156" y="76"/>
                    </a:lnTo>
                    <a:lnTo>
                      <a:pt x="140" y="62"/>
                    </a:lnTo>
                    <a:lnTo>
                      <a:pt x="122" y="50"/>
                    </a:lnTo>
                    <a:lnTo>
                      <a:pt x="122" y="50"/>
                    </a:lnTo>
                    <a:lnTo>
                      <a:pt x="120" y="46"/>
                    </a:lnTo>
                    <a:lnTo>
                      <a:pt x="120" y="40"/>
                    </a:lnTo>
                    <a:lnTo>
                      <a:pt x="120" y="40"/>
                    </a:lnTo>
                    <a:lnTo>
                      <a:pt x="116" y="34"/>
                    </a:lnTo>
                    <a:lnTo>
                      <a:pt x="114" y="28"/>
                    </a:lnTo>
                    <a:lnTo>
                      <a:pt x="110" y="26"/>
                    </a:lnTo>
                    <a:lnTo>
                      <a:pt x="106" y="28"/>
                    </a:lnTo>
                    <a:lnTo>
                      <a:pt x="92" y="24"/>
                    </a:lnTo>
                    <a:lnTo>
                      <a:pt x="92" y="24"/>
                    </a:lnTo>
                    <a:lnTo>
                      <a:pt x="92" y="18"/>
                    </a:lnTo>
                    <a:lnTo>
                      <a:pt x="94" y="18"/>
                    </a:lnTo>
                    <a:lnTo>
                      <a:pt x="90" y="14"/>
                    </a:lnTo>
                    <a:lnTo>
                      <a:pt x="90" y="10"/>
                    </a:lnTo>
                    <a:lnTo>
                      <a:pt x="82" y="8"/>
                    </a:lnTo>
                    <a:lnTo>
                      <a:pt x="74" y="0"/>
                    </a:lnTo>
                    <a:lnTo>
                      <a:pt x="72" y="2"/>
                    </a:lnTo>
                    <a:lnTo>
                      <a:pt x="70" y="4"/>
                    </a:lnTo>
                    <a:lnTo>
                      <a:pt x="72" y="8"/>
                    </a:lnTo>
                    <a:lnTo>
                      <a:pt x="68" y="6"/>
                    </a:lnTo>
                    <a:lnTo>
                      <a:pt x="66" y="6"/>
                    </a:lnTo>
                    <a:lnTo>
                      <a:pt x="66" y="10"/>
                    </a:lnTo>
                    <a:lnTo>
                      <a:pt x="58" y="12"/>
                    </a:lnTo>
                    <a:lnTo>
                      <a:pt x="54" y="16"/>
                    </a:lnTo>
                    <a:lnTo>
                      <a:pt x="56" y="26"/>
                    </a:lnTo>
                    <a:lnTo>
                      <a:pt x="54" y="28"/>
                    </a:lnTo>
                    <a:lnTo>
                      <a:pt x="44" y="26"/>
                    </a:lnTo>
                    <a:lnTo>
                      <a:pt x="40" y="26"/>
                    </a:lnTo>
                    <a:lnTo>
                      <a:pt x="34" y="24"/>
                    </a:lnTo>
                    <a:lnTo>
                      <a:pt x="28" y="12"/>
                    </a:lnTo>
                    <a:lnTo>
                      <a:pt x="22" y="8"/>
                    </a:lnTo>
                    <a:lnTo>
                      <a:pt x="22" y="8"/>
                    </a:lnTo>
                    <a:lnTo>
                      <a:pt x="10" y="10"/>
                    </a:lnTo>
                    <a:lnTo>
                      <a:pt x="4" y="14"/>
                    </a:lnTo>
                    <a:lnTo>
                      <a:pt x="0" y="18"/>
                    </a:lnTo>
                    <a:lnTo>
                      <a:pt x="0" y="18"/>
                    </a:lnTo>
                    <a:lnTo>
                      <a:pt x="2" y="24"/>
                    </a:lnTo>
                    <a:lnTo>
                      <a:pt x="6" y="28"/>
                    </a:lnTo>
                    <a:lnTo>
                      <a:pt x="4" y="20"/>
                    </a:lnTo>
                    <a:lnTo>
                      <a:pt x="4" y="20"/>
                    </a:lnTo>
                    <a:lnTo>
                      <a:pt x="8" y="16"/>
                    </a:lnTo>
                    <a:lnTo>
                      <a:pt x="14" y="14"/>
                    </a:lnTo>
                    <a:lnTo>
                      <a:pt x="16" y="14"/>
                    </a:lnTo>
                    <a:lnTo>
                      <a:pt x="16" y="14"/>
                    </a:lnTo>
                    <a:lnTo>
                      <a:pt x="22" y="24"/>
                    </a:lnTo>
                    <a:lnTo>
                      <a:pt x="28" y="30"/>
                    </a:lnTo>
                    <a:lnTo>
                      <a:pt x="26" y="34"/>
                    </a:lnTo>
                    <a:lnTo>
                      <a:pt x="22" y="36"/>
                    </a:lnTo>
                    <a:lnTo>
                      <a:pt x="24" y="36"/>
                    </a:lnTo>
                    <a:lnTo>
                      <a:pt x="22" y="38"/>
                    </a:lnTo>
                    <a:lnTo>
                      <a:pt x="8" y="36"/>
                    </a:lnTo>
                    <a:lnTo>
                      <a:pt x="6" y="30"/>
                    </a:lnTo>
                    <a:lnTo>
                      <a:pt x="6" y="30"/>
                    </a:lnTo>
                    <a:lnTo>
                      <a:pt x="6" y="36"/>
                    </a:lnTo>
                    <a:lnTo>
                      <a:pt x="4" y="42"/>
                    </a:lnTo>
                    <a:lnTo>
                      <a:pt x="6" y="50"/>
                    </a:lnTo>
                    <a:lnTo>
                      <a:pt x="12" y="48"/>
                    </a:lnTo>
                    <a:lnTo>
                      <a:pt x="16" y="48"/>
                    </a:lnTo>
                    <a:lnTo>
                      <a:pt x="18" y="52"/>
                    </a:lnTo>
                    <a:lnTo>
                      <a:pt x="14" y="50"/>
                    </a:lnTo>
                    <a:lnTo>
                      <a:pt x="12" y="52"/>
                    </a:lnTo>
                    <a:lnTo>
                      <a:pt x="18" y="56"/>
                    </a:lnTo>
                    <a:lnTo>
                      <a:pt x="12" y="60"/>
                    </a:lnTo>
                    <a:lnTo>
                      <a:pt x="20" y="64"/>
                    </a:lnTo>
                    <a:lnTo>
                      <a:pt x="20" y="64"/>
                    </a:lnTo>
                    <a:lnTo>
                      <a:pt x="18" y="70"/>
                    </a:lnTo>
                    <a:lnTo>
                      <a:pt x="18" y="78"/>
                    </a:lnTo>
                    <a:lnTo>
                      <a:pt x="18" y="90"/>
                    </a:lnTo>
                    <a:lnTo>
                      <a:pt x="18" y="9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3" name="Freeform 1712">
                <a:extLst>
                  <a:ext uri="{FF2B5EF4-FFF2-40B4-BE49-F238E27FC236}">
                    <a16:creationId xmlns:a16="http://schemas.microsoft.com/office/drawing/2014/main" id="{83C2673C-CBAB-490F-BC7E-B1D4F146C632}"/>
                  </a:ext>
                </a:extLst>
              </p:cNvPr>
              <p:cNvSpPr>
                <a:spLocks/>
              </p:cNvSpPr>
              <p:nvPr/>
            </p:nvSpPr>
            <p:spPr bwMode="auto">
              <a:xfrm>
                <a:off x="3649" y="2270"/>
                <a:ext cx="206" cy="144"/>
              </a:xfrm>
              <a:custGeom>
                <a:avLst/>
                <a:gdLst/>
                <a:ahLst/>
                <a:cxnLst>
                  <a:cxn ang="0">
                    <a:pos x="74" y="38"/>
                  </a:cxn>
                  <a:cxn ang="0">
                    <a:pos x="54" y="16"/>
                  </a:cxn>
                  <a:cxn ang="0">
                    <a:pos x="32" y="0"/>
                  </a:cxn>
                  <a:cxn ang="0">
                    <a:pos x="2" y="76"/>
                  </a:cxn>
                  <a:cxn ang="0">
                    <a:pos x="14" y="76"/>
                  </a:cxn>
                  <a:cxn ang="0">
                    <a:pos x="16" y="62"/>
                  </a:cxn>
                  <a:cxn ang="0">
                    <a:pos x="24" y="56"/>
                  </a:cxn>
                  <a:cxn ang="0">
                    <a:pos x="30" y="58"/>
                  </a:cxn>
                  <a:cxn ang="0">
                    <a:pos x="30" y="52"/>
                  </a:cxn>
                  <a:cxn ang="0">
                    <a:pos x="40" y="58"/>
                  </a:cxn>
                  <a:cxn ang="0">
                    <a:pos x="48" y="64"/>
                  </a:cxn>
                  <a:cxn ang="0">
                    <a:pos x="50" y="68"/>
                  </a:cxn>
                  <a:cxn ang="0">
                    <a:pos x="50" y="74"/>
                  </a:cxn>
                  <a:cxn ang="0">
                    <a:pos x="68" y="76"/>
                  </a:cxn>
                  <a:cxn ang="0">
                    <a:pos x="72" y="78"/>
                  </a:cxn>
                  <a:cxn ang="0">
                    <a:pos x="78" y="90"/>
                  </a:cxn>
                  <a:cxn ang="0">
                    <a:pos x="78" y="96"/>
                  </a:cxn>
                  <a:cxn ang="0">
                    <a:pos x="80" y="100"/>
                  </a:cxn>
                  <a:cxn ang="0">
                    <a:pos x="114" y="126"/>
                  </a:cxn>
                  <a:cxn ang="0">
                    <a:pos x="120" y="126"/>
                  </a:cxn>
                  <a:cxn ang="0">
                    <a:pos x="128" y="132"/>
                  </a:cxn>
                  <a:cxn ang="0">
                    <a:pos x="128" y="136"/>
                  </a:cxn>
                  <a:cxn ang="0">
                    <a:pos x="142" y="144"/>
                  </a:cxn>
                  <a:cxn ang="0">
                    <a:pos x="142" y="140"/>
                  </a:cxn>
                  <a:cxn ang="0">
                    <a:pos x="146" y="134"/>
                  </a:cxn>
                  <a:cxn ang="0">
                    <a:pos x="146" y="120"/>
                  </a:cxn>
                  <a:cxn ang="0">
                    <a:pos x="140" y="114"/>
                  </a:cxn>
                  <a:cxn ang="0">
                    <a:pos x="138" y="108"/>
                  </a:cxn>
                  <a:cxn ang="0">
                    <a:pos x="152" y="104"/>
                  </a:cxn>
                  <a:cxn ang="0">
                    <a:pos x="160" y="94"/>
                  </a:cxn>
                  <a:cxn ang="0">
                    <a:pos x="162" y="86"/>
                  </a:cxn>
                  <a:cxn ang="0">
                    <a:pos x="174" y="80"/>
                  </a:cxn>
                  <a:cxn ang="0">
                    <a:pos x="178" y="86"/>
                  </a:cxn>
                  <a:cxn ang="0">
                    <a:pos x="174" y="88"/>
                  </a:cxn>
                  <a:cxn ang="0">
                    <a:pos x="176" y="94"/>
                  </a:cxn>
                  <a:cxn ang="0">
                    <a:pos x="192" y="94"/>
                  </a:cxn>
                  <a:cxn ang="0">
                    <a:pos x="194" y="90"/>
                  </a:cxn>
                  <a:cxn ang="0">
                    <a:pos x="206" y="84"/>
                  </a:cxn>
                  <a:cxn ang="0">
                    <a:pos x="198" y="82"/>
                  </a:cxn>
                  <a:cxn ang="0">
                    <a:pos x="190" y="74"/>
                  </a:cxn>
                  <a:cxn ang="0">
                    <a:pos x="186" y="78"/>
                  </a:cxn>
                  <a:cxn ang="0">
                    <a:pos x="176" y="74"/>
                  </a:cxn>
                  <a:cxn ang="0">
                    <a:pos x="172" y="70"/>
                  </a:cxn>
                  <a:cxn ang="0">
                    <a:pos x="182" y="60"/>
                  </a:cxn>
                  <a:cxn ang="0">
                    <a:pos x="176" y="62"/>
                  </a:cxn>
                  <a:cxn ang="0">
                    <a:pos x="170" y="68"/>
                  </a:cxn>
                  <a:cxn ang="0">
                    <a:pos x="162" y="72"/>
                  </a:cxn>
                  <a:cxn ang="0">
                    <a:pos x="154" y="80"/>
                  </a:cxn>
                  <a:cxn ang="0">
                    <a:pos x="142" y="76"/>
                  </a:cxn>
                  <a:cxn ang="0">
                    <a:pos x="132" y="78"/>
                  </a:cxn>
                  <a:cxn ang="0">
                    <a:pos x="122" y="66"/>
                  </a:cxn>
                  <a:cxn ang="0">
                    <a:pos x="124" y="58"/>
                  </a:cxn>
                  <a:cxn ang="0">
                    <a:pos x="120" y="48"/>
                  </a:cxn>
                  <a:cxn ang="0">
                    <a:pos x="116" y="40"/>
                  </a:cxn>
                  <a:cxn ang="0">
                    <a:pos x="108" y="34"/>
                  </a:cxn>
                </a:cxnLst>
                <a:rect l="0" t="0" r="r" b="b"/>
                <a:pathLst>
                  <a:path w="206" h="144">
                    <a:moveTo>
                      <a:pt x="108" y="34"/>
                    </a:moveTo>
                    <a:lnTo>
                      <a:pt x="74" y="38"/>
                    </a:lnTo>
                    <a:lnTo>
                      <a:pt x="74" y="38"/>
                    </a:lnTo>
                    <a:lnTo>
                      <a:pt x="54" y="16"/>
                    </a:lnTo>
                    <a:lnTo>
                      <a:pt x="42" y="6"/>
                    </a:lnTo>
                    <a:lnTo>
                      <a:pt x="32" y="0"/>
                    </a:lnTo>
                    <a:lnTo>
                      <a:pt x="0" y="12"/>
                    </a:lnTo>
                    <a:lnTo>
                      <a:pt x="2" y="76"/>
                    </a:lnTo>
                    <a:lnTo>
                      <a:pt x="12" y="78"/>
                    </a:lnTo>
                    <a:lnTo>
                      <a:pt x="14" y="76"/>
                    </a:lnTo>
                    <a:lnTo>
                      <a:pt x="12" y="66"/>
                    </a:lnTo>
                    <a:lnTo>
                      <a:pt x="16" y="62"/>
                    </a:lnTo>
                    <a:lnTo>
                      <a:pt x="24" y="60"/>
                    </a:lnTo>
                    <a:lnTo>
                      <a:pt x="24" y="56"/>
                    </a:lnTo>
                    <a:lnTo>
                      <a:pt x="26" y="56"/>
                    </a:lnTo>
                    <a:lnTo>
                      <a:pt x="30" y="58"/>
                    </a:lnTo>
                    <a:lnTo>
                      <a:pt x="28" y="54"/>
                    </a:lnTo>
                    <a:lnTo>
                      <a:pt x="30" y="52"/>
                    </a:lnTo>
                    <a:lnTo>
                      <a:pt x="32" y="50"/>
                    </a:lnTo>
                    <a:lnTo>
                      <a:pt x="40" y="58"/>
                    </a:lnTo>
                    <a:lnTo>
                      <a:pt x="48" y="60"/>
                    </a:lnTo>
                    <a:lnTo>
                      <a:pt x="48" y="64"/>
                    </a:lnTo>
                    <a:lnTo>
                      <a:pt x="52" y="68"/>
                    </a:lnTo>
                    <a:lnTo>
                      <a:pt x="50" y="68"/>
                    </a:lnTo>
                    <a:lnTo>
                      <a:pt x="50" y="74"/>
                    </a:lnTo>
                    <a:lnTo>
                      <a:pt x="50" y="74"/>
                    </a:lnTo>
                    <a:lnTo>
                      <a:pt x="64" y="78"/>
                    </a:lnTo>
                    <a:lnTo>
                      <a:pt x="68" y="76"/>
                    </a:lnTo>
                    <a:lnTo>
                      <a:pt x="72" y="78"/>
                    </a:lnTo>
                    <a:lnTo>
                      <a:pt x="72" y="78"/>
                    </a:lnTo>
                    <a:lnTo>
                      <a:pt x="74" y="84"/>
                    </a:lnTo>
                    <a:lnTo>
                      <a:pt x="78" y="90"/>
                    </a:lnTo>
                    <a:lnTo>
                      <a:pt x="78" y="90"/>
                    </a:lnTo>
                    <a:lnTo>
                      <a:pt x="78" y="96"/>
                    </a:lnTo>
                    <a:lnTo>
                      <a:pt x="80" y="100"/>
                    </a:lnTo>
                    <a:lnTo>
                      <a:pt x="80" y="100"/>
                    </a:lnTo>
                    <a:lnTo>
                      <a:pt x="98" y="112"/>
                    </a:lnTo>
                    <a:lnTo>
                      <a:pt x="114" y="126"/>
                    </a:lnTo>
                    <a:lnTo>
                      <a:pt x="120" y="126"/>
                    </a:lnTo>
                    <a:lnTo>
                      <a:pt x="120" y="126"/>
                    </a:lnTo>
                    <a:lnTo>
                      <a:pt x="124" y="128"/>
                    </a:lnTo>
                    <a:lnTo>
                      <a:pt x="128" y="132"/>
                    </a:lnTo>
                    <a:lnTo>
                      <a:pt x="128" y="132"/>
                    </a:lnTo>
                    <a:lnTo>
                      <a:pt x="128" y="136"/>
                    </a:lnTo>
                    <a:lnTo>
                      <a:pt x="128" y="142"/>
                    </a:lnTo>
                    <a:lnTo>
                      <a:pt x="142" y="144"/>
                    </a:lnTo>
                    <a:lnTo>
                      <a:pt x="142" y="142"/>
                    </a:lnTo>
                    <a:lnTo>
                      <a:pt x="142" y="140"/>
                    </a:lnTo>
                    <a:lnTo>
                      <a:pt x="142" y="140"/>
                    </a:lnTo>
                    <a:lnTo>
                      <a:pt x="146" y="134"/>
                    </a:lnTo>
                    <a:lnTo>
                      <a:pt x="150" y="128"/>
                    </a:lnTo>
                    <a:lnTo>
                      <a:pt x="146" y="120"/>
                    </a:lnTo>
                    <a:lnTo>
                      <a:pt x="146" y="114"/>
                    </a:lnTo>
                    <a:lnTo>
                      <a:pt x="140" y="114"/>
                    </a:lnTo>
                    <a:lnTo>
                      <a:pt x="138" y="110"/>
                    </a:lnTo>
                    <a:lnTo>
                      <a:pt x="138" y="108"/>
                    </a:lnTo>
                    <a:lnTo>
                      <a:pt x="140" y="104"/>
                    </a:lnTo>
                    <a:lnTo>
                      <a:pt x="152" y="104"/>
                    </a:lnTo>
                    <a:lnTo>
                      <a:pt x="154" y="98"/>
                    </a:lnTo>
                    <a:lnTo>
                      <a:pt x="160" y="94"/>
                    </a:lnTo>
                    <a:lnTo>
                      <a:pt x="160" y="90"/>
                    </a:lnTo>
                    <a:lnTo>
                      <a:pt x="162" y="86"/>
                    </a:lnTo>
                    <a:lnTo>
                      <a:pt x="166" y="86"/>
                    </a:lnTo>
                    <a:lnTo>
                      <a:pt x="174" y="80"/>
                    </a:lnTo>
                    <a:lnTo>
                      <a:pt x="176" y="80"/>
                    </a:lnTo>
                    <a:lnTo>
                      <a:pt x="178" y="86"/>
                    </a:lnTo>
                    <a:lnTo>
                      <a:pt x="174" y="88"/>
                    </a:lnTo>
                    <a:lnTo>
                      <a:pt x="174" y="88"/>
                    </a:lnTo>
                    <a:lnTo>
                      <a:pt x="176" y="94"/>
                    </a:lnTo>
                    <a:lnTo>
                      <a:pt x="176" y="94"/>
                    </a:lnTo>
                    <a:lnTo>
                      <a:pt x="184" y="94"/>
                    </a:lnTo>
                    <a:lnTo>
                      <a:pt x="192" y="94"/>
                    </a:lnTo>
                    <a:lnTo>
                      <a:pt x="194" y="90"/>
                    </a:lnTo>
                    <a:lnTo>
                      <a:pt x="194" y="90"/>
                    </a:lnTo>
                    <a:lnTo>
                      <a:pt x="202" y="88"/>
                    </a:lnTo>
                    <a:lnTo>
                      <a:pt x="206" y="84"/>
                    </a:lnTo>
                    <a:lnTo>
                      <a:pt x="206" y="84"/>
                    </a:lnTo>
                    <a:lnTo>
                      <a:pt x="198" y="82"/>
                    </a:lnTo>
                    <a:lnTo>
                      <a:pt x="190" y="76"/>
                    </a:lnTo>
                    <a:lnTo>
                      <a:pt x="190" y="74"/>
                    </a:lnTo>
                    <a:lnTo>
                      <a:pt x="188" y="72"/>
                    </a:lnTo>
                    <a:lnTo>
                      <a:pt x="186" y="78"/>
                    </a:lnTo>
                    <a:lnTo>
                      <a:pt x="178" y="76"/>
                    </a:lnTo>
                    <a:lnTo>
                      <a:pt x="176" y="74"/>
                    </a:lnTo>
                    <a:lnTo>
                      <a:pt x="172" y="72"/>
                    </a:lnTo>
                    <a:lnTo>
                      <a:pt x="172" y="70"/>
                    </a:lnTo>
                    <a:lnTo>
                      <a:pt x="184" y="62"/>
                    </a:lnTo>
                    <a:lnTo>
                      <a:pt x="182" y="60"/>
                    </a:lnTo>
                    <a:lnTo>
                      <a:pt x="180" y="58"/>
                    </a:lnTo>
                    <a:lnTo>
                      <a:pt x="176" y="62"/>
                    </a:lnTo>
                    <a:lnTo>
                      <a:pt x="174" y="62"/>
                    </a:lnTo>
                    <a:lnTo>
                      <a:pt x="170" y="68"/>
                    </a:lnTo>
                    <a:lnTo>
                      <a:pt x="170" y="68"/>
                    </a:lnTo>
                    <a:lnTo>
                      <a:pt x="162" y="72"/>
                    </a:lnTo>
                    <a:lnTo>
                      <a:pt x="154" y="80"/>
                    </a:lnTo>
                    <a:lnTo>
                      <a:pt x="154" y="80"/>
                    </a:lnTo>
                    <a:lnTo>
                      <a:pt x="148" y="78"/>
                    </a:lnTo>
                    <a:lnTo>
                      <a:pt x="142" y="76"/>
                    </a:lnTo>
                    <a:lnTo>
                      <a:pt x="136" y="76"/>
                    </a:lnTo>
                    <a:lnTo>
                      <a:pt x="132" y="78"/>
                    </a:lnTo>
                    <a:lnTo>
                      <a:pt x="130" y="66"/>
                    </a:lnTo>
                    <a:lnTo>
                      <a:pt x="122" y="66"/>
                    </a:lnTo>
                    <a:lnTo>
                      <a:pt x="122" y="58"/>
                    </a:lnTo>
                    <a:lnTo>
                      <a:pt x="124" y="58"/>
                    </a:lnTo>
                    <a:lnTo>
                      <a:pt x="124" y="48"/>
                    </a:lnTo>
                    <a:lnTo>
                      <a:pt x="120" y="48"/>
                    </a:lnTo>
                    <a:lnTo>
                      <a:pt x="120" y="48"/>
                    </a:lnTo>
                    <a:lnTo>
                      <a:pt x="116" y="40"/>
                    </a:lnTo>
                    <a:lnTo>
                      <a:pt x="108" y="34"/>
                    </a:lnTo>
                    <a:lnTo>
                      <a:pt x="108" y="3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4" name="Freeform 1713">
                <a:extLst>
                  <a:ext uri="{FF2B5EF4-FFF2-40B4-BE49-F238E27FC236}">
                    <a16:creationId xmlns:a16="http://schemas.microsoft.com/office/drawing/2014/main" id="{8EB11E6C-153A-49E1-B35D-2F0A8BB70D3A}"/>
                  </a:ext>
                </a:extLst>
              </p:cNvPr>
              <p:cNvSpPr>
                <a:spLocks/>
              </p:cNvSpPr>
              <p:nvPr/>
            </p:nvSpPr>
            <p:spPr bwMode="auto">
              <a:xfrm>
                <a:off x="3823" y="2370"/>
                <a:ext cx="4" cy="2"/>
              </a:xfrm>
              <a:custGeom>
                <a:avLst/>
                <a:gdLst/>
                <a:ahLst/>
                <a:cxnLst>
                  <a:cxn ang="0">
                    <a:pos x="4" y="2"/>
                  </a:cxn>
                  <a:cxn ang="0">
                    <a:pos x="0" y="0"/>
                  </a:cxn>
                  <a:cxn ang="0">
                    <a:pos x="0" y="2"/>
                  </a:cxn>
                  <a:cxn ang="0">
                    <a:pos x="4" y="2"/>
                  </a:cxn>
                </a:cxnLst>
                <a:rect l="0" t="0" r="r" b="b"/>
                <a:pathLst>
                  <a:path w="4" h="2">
                    <a:moveTo>
                      <a:pt x="4" y="2"/>
                    </a:moveTo>
                    <a:lnTo>
                      <a:pt x="0" y="0"/>
                    </a:lnTo>
                    <a:lnTo>
                      <a:pt x="0" y="2"/>
                    </a:lnTo>
                    <a:lnTo>
                      <a:pt x="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5" name="Freeform 1714">
                <a:extLst>
                  <a:ext uri="{FF2B5EF4-FFF2-40B4-BE49-F238E27FC236}">
                    <a16:creationId xmlns:a16="http://schemas.microsoft.com/office/drawing/2014/main" id="{F88F9D02-253F-4DFD-83DE-DAA42F5B75A7}"/>
                  </a:ext>
                </a:extLst>
              </p:cNvPr>
              <p:cNvSpPr>
                <a:spLocks/>
              </p:cNvSpPr>
              <p:nvPr/>
            </p:nvSpPr>
            <p:spPr bwMode="auto">
              <a:xfrm>
                <a:off x="3829" y="2364"/>
                <a:ext cx="4" cy="6"/>
              </a:xfrm>
              <a:custGeom>
                <a:avLst/>
                <a:gdLst/>
                <a:ahLst/>
                <a:cxnLst>
                  <a:cxn ang="0">
                    <a:pos x="4" y="6"/>
                  </a:cxn>
                  <a:cxn ang="0">
                    <a:pos x="2" y="0"/>
                  </a:cxn>
                  <a:cxn ang="0">
                    <a:pos x="0" y="2"/>
                  </a:cxn>
                  <a:cxn ang="0">
                    <a:pos x="0" y="6"/>
                  </a:cxn>
                  <a:cxn ang="0">
                    <a:pos x="4" y="6"/>
                  </a:cxn>
                </a:cxnLst>
                <a:rect l="0" t="0" r="r" b="b"/>
                <a:pathLst>
                  <a:path w="4" h="6">
                    <a:moveTo>
                      <a:pt x="4" y="6"/>
                    </a:moveTo>
                    <a:lnTo>
                      <a:pt x="2" y="0"/>
                    </a:lnTo>
                    <a:lnTo>
                      <a:pt x="0" y="2"/>
                    </a:lnTo>
                    <a:lnTo>
                      <a:pt x="0" y="6"/>
                    </a:lnTo>
                    <a:lnTo>
                      <a:pt x="4"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6" name="Freeform 1715">
                <a:extLst>
                  <a:ext uri="{FF2B5EF4-FFF2-40B4-BE49-F238E27FC236}">
                    <a16:creationId xmlns:a16="http://schemas.microsoft.com/office/drawing/2014/main" id="{B084177F-4A59-4A04-888B-663E43CB2F85}"/>
                  </a:ext>
                </a:extLst>
              </p:cNvPr>
              <p:cNvSpPr>
                <a:spLocks/>
              </p:cNvSpPr>
              <p:nvPr/>
            </p:nvSpPr>
            <p:spPr bwMode="auto">
              <a:xfrm>
                <a:off x="3837" y="2368"/>
                <a:ext cx="2" cy="2"/>
              </a:xfrm>
              <a:custGeom>
                <a:avLst/>
                <a:gdLst/>
                <a:ahLst/>
                <a:cxnLst>
                  <a:cxn ang="0">
                    <a:pos x="2" y="2"/>
                  </a:cxn>
                  <a:cxn ang="0">
                    <a:pos x="0" y="0"/>
                  </a:cxn>
                  <a:cxn ang="0">
                    <a:pos x="0" y="2"/>
                  </a:cxn>
                  <a:cxn ang="0">
                    <a:pos x="2" y="2"/>
                  </a:cxn>
                </a:cxnLst>
                <a:rect l="0" t="0" r="r" b="b"/>
                <a:pathLst>
                  <a:path w="2" h="2">
                    <a:moveTo>
                      <a:pt x="2" y="2"/>
                    </a:moveTo>
                    <a:lnTo>
                      <a:pt x="0" y="0"/>
                    </a:lnTo>
                    <a:lnTo>
                      <a:pt x="0" y="2"/>
                    </a:lnTo>
                    <a:lnTo>
                      <a:pt x="2"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7" name="Freeform 1716">
                <a:extLst>
                  <a:ext uri="{FF2B5EF4-FFF2-40B4-BE49-F238E27FC236}">
                    <a16:creationId xmlns:a16="http://schemas.microsoft.com/office/drawing/2014/main" id="{2A978A95-3F1E-448E-8CB7-E88B51F82B37}"/>
                  </a:ext>
                </a:extLst>
              </p:cNvPr>
              <p:cNvSpPr>
                <a:spLocks/>
              </p:cNvSpPr>
              <p:nvPr/>
            </p:nvSpPr>
            <p:spPr bwMode="auto">
              <a:xfrm>
                <a:off x="3863" y="2116"/>
                <a:ext cx="732" cy="546"/>
              </a:xfrm>
              <a:custGeom>
                <a:avLst/>
                <a:gdLst/>
                <a:ahLst/>
                <a:cxnLst>
                  <a:cxn ang="0">
                    <a:pos x="436" y="538"/>
                  </a:cxn>
                  <a:cxn ang="0">
                    <a:pos x="424" y="532"/>
                  </a:cxn>
                  <a:cxn ang="0">
                    <a:pos x="394" y="512"/>
                  </a:cxn>
                  <a:cxn ang="0">
                    <a:pos x="344" y="514"/>
                  </a:cxn>
                  <a:cxn ang="0">
                    <a:pos x="330" y="534"/>
                  </a:cxn>
                  <a:cxn ang="0">
                    <a:pos x="308" y="510"/>
                  </a:cxn>
                  <a:cxn ang="0">
                    <a:pos x="288" y="494"/>
                  </a:cxn>
                  <a:cxn ang="0">
                    <a:pos x="298" y="446"/>
                  </a:cxn>
                  <a:cxn ang="0">
                    <a:pos x="282" y="434"/>
                  </a:cxn>
                  <a:cxn ang="0">
                    <a:pos x="266" y="418"/>
                  </a:cxn>
                  <a:cxn ang="0">
                    <a:pos x="212" y="438"/>
                  </a:cxn>
                  <a:cxn ang="0">
                    <a:pos x="180" y="448"/>
                  </a:cxn>
                  <a:cxn ang="0">
                    <a:pos x="152" y="440"/>
                  </a:cxn>
                  <a:cxn ang="0">
                    <a:pos x="126" y="428"/>
                  </a:cxn>
                  <a:cxn ang="0">
                    <a:pos x="110" y="412"/>
                  </a:cxn>
                  <a:cxn ang="0">
                    <a:pos x="76" y="400"/>
                  </a:cxn>
                  <a:cxn ang="0">
                    <a:pos x="56" y="372"/>
                  </a:cxn>
                  <a:cxn ang="0">
                    <a:pos x="68" y="362"/>
                  </a:cxn>
                  <a:cxn ang="0">
                    <a:pos x="70" y="348"/>
                  </a:cxn>
                  <a:cxn ang="0">
                    <a:pos x="72" y="324"/>
                  </a:cxn>
                  <a:cxn ang="0">
                    <a:pos x="50" y="326"/>
                  </a:cxn>
                  <a:cxn ang="0">
                    <a:pos x="28" y="316"/>
                  </a:cxn>
                  <a:cxn ang="0">
                    <a:pos x="8" y="300"/>
                  </a:cxn>
                  <a:cxn ang="0">
                    <a:pos x="12" y="280"/>
                  </a:cxn>
                  <a:cxn ang="0">
                    <a:pos x="2" y="258"/>
                  </a:cxn>
                  <a:cxn ang="0">
                    <a:pos x="24" y="248"/>
                  </a:cxn>
                  <a:cxn ang="0">
                    <a:pos x="58" y="230"/>
                  </a:cxn>
                  <a:cxn ang="0">
                    <a:pos x="80" y="184"/>
                  </a:cxn>
                  <a:cxn ang="0">
                    <a:pos x="102" y="152"/>
                  </a:cxn>
                  <a:cxn ang="0">
                    <a:pos x="134" y="132"/>
                  </a:cxn>
                  <a:cxn ang="0">
                    <a:pos x="164" y="96"/>
                  </a:cxn>
                  <a:cxn ang="0">
                    <a:pos x="184" y="114"/>
                  </a:cxn>
                  <a:cxn ang="0">
                    <a:pos x="204" y="156"/>
                  </a:cxn>
                  <a:cxn ang="0">
                    <a:pos x="258" y="178"/>
                  </a:cxn>
                  <a:cxn ang="0">
                    <a:pos x="324" y="204"/>
                  </a:cxn>
                  <a:cxn ang="0">
                    <a:pos x="358" y="220"/>
                  </a:cxn>
                  <a:cxn ang="0">
                    <a:pos x="392" y="216"/>
                  </a:cxn>
                  <a:cxn ang="0">
                    <a:pos x="458" y="188"/>
                  </a:cxn>
                  <a:cxn ang="0">
                    <a:pos x="470" y="170"/>
                  </a:cxn>
                  <a:cxn ang="0">
                    <a:pos x="502" y="154"/>
                  </a:cxn>
                  <a:cxn ang="0">
                    <a:pos x="544" y="124"/>
                  </a:cxn>
                  <a:cxn ang="0">
                    <a:pos x="512" y="118"/>
                  </a:cxn>
                  <a:cxn ang="0">
                    <a:pos x="510" y="72"/>
                  </a:cxn>
                  <a:cxn ang="0">
                    <a:pos x="554" y="18"/>
                  </a:cxn>
                  <a:cxn ang="0">
                    <a:pos x="732" y="102"/>
                  </a:cxn>
                  <a:cxn ang="0">
                    <a:pos x="710" y="166"/>
                  </a:cxn>
                  <a:cxn ang="0">
                    <a:pos x="690" y="184"/>
                  </a:cxn>
                  <a:cxn ang="0">
                    <a:pos x="668" y="210"/>
                  </a:cxn>
                  <a:cxn ang="0">
                    <a:pos x="620" y="240"/>
                  </a:cxn>
                  <a:cxn ang="0">
                    <a:pos x="576" y="264"/>
                  </a:cxn>
                  <a:cxn ang="0">
                    <a:pos x="536" y="268"/>
                  </a:cxn>
                  <a:cxn ang="0">
                    <a:pos x="552" y="302"/>
                  </a:cxn>
                  <a:cxn ang="0">
                    <a:pos x="586" y="298"/>
                  </a:cxn>
                  <a:cxn ang="0">
                    <a:pos x="558" y="316"/>
                  </a:cxn>
                  <a:cxn ang="0">
                    <a:pos x="558" y="346"/>
                  </a:cxn>
                  <a:cxn ang="0">
                    <a:pos x="560" y="380"/>
                  </a:cxn>
                  <a:cxn ang="0">
                    <a:pos x="564" y="404"/>
                  </a:cxn>
                  <a:cxn ang="0">
                    <a:pos x="576" y="416"/>
                  </a:cxn>
                  <a:cxn ang="0">
                    <a:pos x="546" y="476"/>
                  </a:cxn>
                </a:cxnLst>
                <a:rect l="0" t="0" r="r" b="b"/>
                <a:pathLst>
                  <a:path w="732" h="546">
                    <a:moveTo>
                      <a:pt x="486" y="518"/>
                    </a:moveTo>
                    <a:lnTo>
                      <a:pt x="482" y="518"/>
                    </a:lnTo>
                    <a:lnTo>
                      <a:pt x="476" y="512"/>
                    </a:lnTo>
                    <a:lnTo>
                      <a:pt x="472" y="514"/>
                    </a:lnTo>
                    <a:lnTo>
                      <a:pt x="470" y="524"/>
                    </a:lnTo>
                    <a:lnTo>
                      <a:pt x="440" y="532"/>
                    </a:lnTo>
                    <a:lnTo>
                      <a:pt x="436" y="538"/>
                    </a:lnTo>
                    <a:lnTo>
                      <a:pt x="440" y="546"/>
                    </a:lnTo>
                    <a:lnTo>
                      <a:pt x="436" y="546"/>
                    </a:lnTo>
                    <a:lnTo>
                      <a:pt x="434" y="546"/>
                    </a:lnTo>
                    <a:lnTo>
                      <a:pt x="430" y="538"/>
                    </a:lnTo>
                    <a:lnTo>
                      <a:pt x="432" y="530"/>
                    </a:lnTo>
                    <a:lnTo>
                      <a:pt x="430" y="530"/>
                    </a:lnTo>
                    <a:lnTo>
                      <a:pt x="424" y="532"/>
                    </a:lnTo>
                    <a:lnTo>
                      <a:pt x="418" y="528"/>
                    </a:lnTo>
                    <a:lnTo>
                      <a:pt x="410" y="530"/>
                    </a:lnTo>
                    <a:lnTo>
                      <a:pt x="410" y="530"/>
                    </a:lnTo>
                    <a:lnTo>
                      <a:pt x="402" y="528"/>
                    </a:lnTo>
                    <a:lnTo>
                      <a:pt x="396" y="524"/>
                    </a:lnTo>
                    <a:lnTo>
                      <a:pt x="394" y="512"/>
                    </a:lnTo>
                    <a:lnTo>
                      <a:pt x="394" y="512"/>
                    </a:lnTo>
                    <a:lnTo>
                      <a:pt x="384" y="510"/>
                    </a:lnTo>
                    <a:lnTo>
                      <a:pt x="378" y="506"/>
                    </a:lnTo>
                    <a:lnTo>
                      <a:pt x="378" y="506"/>
                    </a:lnTo>
                    <a:lnTo>
                      <a:pt x="372" y="510"/>
                    </a:lnTo>
                    <a:lnTo>
                      <a:pt x="364" y="514"/>
                    </a:lnTo>
                    <a:lnTo>
                      <a:pt x="352" y="516"/>
                    </a:lnTo>
                    <a:lnTo>
                      <a:pt x="344" y="514"/>
                    </a:lnTo>
                    <a:lnTo>
                      <a:pt x="342" y="518"/>
                    </a:lnTo>
                    <a:lnTo>
                      <a:pt x="336" y="516"/>
                    </a:lnTo>
                    <a:lnTo>
                      <a:pt x="334" y="518"/>
                    </a:lnTo>
                    <a:lnTo>
                      <a:pt x="334" y="518"/>
                    </a:lnTo>
                    <a:lnTo>
                      <a:pt x="334" y="524"/>
                    </a:lnTo>
                    <a:lnTo>
                      <a:pt x="336" y="528"/>
                    </a:lnTo>
                    <a:lnTo>
                      <a:pt x="330" y="534"/>
                    </a:lnTo>
                    <a:lnTo>
                      <a:pt x="328" y="528"/>
                    </a:lnTo>
                    <a:lnTo>
                      <a:pt x="326" y="526"/>
                    </a:lnTo>
                    <a:lnTo>
                      <a:pt x="322" y="528"/>
                    </a:lnTo>
                    <a:lnTo>
                      <a:pt x="318" y="530"/>
                    </a:lnTo>
                    <a:lnTo>
                      <a:pt x="314" y="522"/>
                    </a:lnTo>
                    <a:lnTo>
                      <a:pt x="306" y="520"/>
                    </a:lnTo>
                    <a:lnTo>
                      <a:pt x="308" y="510"/>
                    </a:lnTo>
                    <a:lnTo>
                      <a:pt x="302" y="506"/>
                    </a:lnTo>
                    <a:lnTo>
                      <a:pt x="300" y="494"/>
                    </a:lnTo>
                    <a:lnTo>
                      <a:pt x="296" y="494"/>
                    </a:lnTo>
                    <a:lnTo>
                      <a:pt x="288" y="500"/>
                    </a:lnTo>
                    <a:lnTo>
                      <a:pt x="286" y="498"/>
                    </a:lnTo>
                    <a:lnTo>
                      <a:pt x="286" y="498"/>
                    </a:lnTo>
                    <a:lnTo>
                      <a:pt x="288" y="494"/>
                    </a:lnTo>
                    <a:lnTo>
                      <a:pt x="288" y="490"/>
                    </a:lnTo>
                    <a:lnTo>
                      <a:pt x="290" y="482"/>
                    </a:lnTo>
                    <a:lnTo>
                      <a:pt x="290" y="482"/>
                    </a:lnTo>
                    <a:lnTo>
                      <a:pt x="294" y="472"/>
                    </a:lnTo>
                    <a:lnTo>
                      <a:pt x="298" y="466"/>
                    </a:lnTo>
                    <a:lnTo>
                      <a:pt x="300" y="458"/>
                    </a:lnTo>
                    <a:lnTo>
                      <a:pt x="298" y="446"/>
                    </a:lnTo>
                    <a:lnTo>
                      <a:pt x="294" y="446"/>
                    </a:lnTo>
                    <a:lnTo>
                      <a:pt x="294" y="446"/>
                    </a:lnTo>
                    <a:lnTo>
                      <a:pt x="292" y="438"/>
                    </a:lnTo>
                    <a:lnTo>
                      <a:pt x="290" y="436"/>
                    </a:lnTo>
                    <a:lnTo>
                      <a:pt x="286" y="434"/>
                    </a:lnTo>
                    <a:lnTo>
                      <a:pt x="284" y="436"/>
                    </a:lnTo>
                    <a:lnTo>
                      <a:pt x="282" y="434"/>
                    </a:lnTo>
                    <a:lnTo>
                      <a:pt x="282" y="434"/>
                    </a:lnTo>
                    <a:lnTo>
                      <a:pt x="276" y="432"/>
                    </a:lnTo>
                    <a:lnTo>
                      <a:pt x="272" y="432"/>
                    </a:lnTo>
                    <a:lnTo>
                      <a:pt x="272" y="426"/>
                    </a:lnTo>
                    <a:lnTo>
                      <a:pt x="270" y="424"/>
                    </a:lnTo>
                    <a:lnTo>
                      <a:pt x="270" y="420"/>
                    </a:lnTo>
                    <a:lnTo>
                      <a:pt x="266" y="418"/>
                    </a:lnTo>
                    <a:lnTo>
                      <a:pt x="258" y="422"/>
                    </a:lnTo>
                    <a:lnTo>
                      <a:pt x="250" y="420"/>
                    </a:lnTo>
                    <a:lnTo>
                      <a:pt x="250" y="420"/>
                    </a:lnTo>
                    <a:lnTo>
                      <a:pt x="234" y="434"/>
                    </a:lnTo>
                    <a:lnTo>
                      <a:pt x="224" y="438"/>
                    </a:lnTo>
                    <a:lnTo>
                      <a:pt x="216" y="442"/>
                    </a:lnTo>
                    <a:lnTo>
                      <a:pt x="212" y="438"/>
                    </a:lnTo>
                    <a:lnTo>
                      <a:pt x="212" y="438"/>
                    </a:lnTo>
                    <a:lnTo>
                      <a:pt x="206" y="440"/>
                    </a:lnTo>
                    <a:lnTo>
                      <a:pt x="200" y="438"/>
                    </a:lnTo>
                    <a:lnTo>
                      <a:pt x="198" y="436"/>
                    </a:lnTo>
                    <a:lnTo>
                      <a:pt x="190" y="438"/>
                    </a:lnTo>
                    <a:lnTo>
                      <a:pt x="182" y="448"/>
                    </a:lnTo>
                    <a:lnTo>
                      <a:pt x="180" y="448"/>
                    </a:lnTo>
                    <a:lnTo>
                      <a:pt x="180" y="438"/>
                    </a:lnTo>
                    <a:lnTo>
                      <a:pt x="180" y="438"/>
                    </a:lnTo>
                    <a:lnTo>
                      <a:pt x="174" y="440"/>
                    </a:lnTo>
                    <a:lnTo>
                      <a:pt x="170" y="440"/>
                    </a:lnTo>
                    <a:lnTo>
                      <a:pt x="168" y="442"/>
                    </a:lnTo>
                    <a:lnTo>
                      <a:pt x="154" y="438"/>
                    </a:lnTo>
                    <a:lnTo>
                      <a:pt x="152" y="440"/>
                    </a:lnTo>
                    <a:lnTo>
                      <a:pt x="148" y="440"/>
                    </a:lnTo>
                    <a:lnTo>
                      <a:pt x="146" y="440"/>
                    </a:lnTo>
                    <a:lnTo>
                      <a:pt x="144" y="436"/>
                    </a:lnTo>
                    <a:lnTo>
                      <a:pt x="140" y="436"/>
                    </a:lnTo>
                    <a:lnTo>
                      <a:pt x="136" y="434"/>
                    </a:lnTo>
                    <a:lnTo>
                      <a:pt x="136" y="430"/>
                    </a:lnTo>
                    <a:lnTo>
                      <a:pt x="126" y="428"/>
                    </a:lnTo>
                    <a:lnTo>
                      <a:pt x="126" y="420"/>
                    </a:lnTo>
                    <a:lnTo>
                      <a:pt x="122" y="420"/>
                    </a:lnTo>
                    <a:lnTo>
                      <a:pt x="118" y="424"/>
                    </a:lnTo>
                    <a:lnTo>
                      <a:pt x="116" y="422"/>
                    </a:lnTo>
                    <a:lnTo>
                      <a:pt x="114" y="416"/>
                    </a:lnTo>
                    <a:lnTo>
                      <a:pt x="114" y="416"/>
                    </a:lnTo>
                    <a:lnTo>
                      <a:pt x="110" y="412"/>
                    </a:lnTo>
                    <a:lnTo>
                      <a:pt x="104" y="408"/>
                    </a:lnTo>
                    <a:lnTo>
                      <a:pt x="98" y="406"/>
                    </a:lnTo>
                    <a:lnTo>
                      <a:pt x="92" y="406"/>
                    </a:lnTo>
                    <a:lnTo>
                      <a:pt x="90" y="410"/>
                    </a:lnTo>
                    <a:lnTo>
                      <a:pt x="90" y="410"/>
                    </a:lnTo>
                    <a:lnTo>
                      <a:pt x="84" y="404"/>
                    </a:lnTo>
                    <a:lnTo>
                      <a:pt x="76" y="400"/>
                    </a:lnTo>
                    <a:lnTo>
                      <a:pt x="74" y="396"/>
                    </a:lnTo>
                    <a:lnTo>
                      <a:pt x="70" y="396"/>
                    </a:lnTo>
                    <a:lnTo>
                      <a:pt x="70" y="394"/>
                    </a:lnTo>
                    <a:lnTo>
                      <a:pt x="62" y="396"/>
                    </a:lnTo>
                    <a:lnTo>
                      <a:pt x="60" y="388"/>
                    </a:lnTo>
                    <a:lnTo>
                      <a:pt x="60" y="380"/>
                    </a:lnTo>
                    <a:lnTo>
                      <a:pt x="56" y="372"/>
                    </a:lnTo>
                    <a:lnTo>
                      <a:pt x="60" y="370"/>
                    </a:lnTo>
                    <a:lnTo>
                      <a:pt x="60" y="370"/>
                    </a:lnTo>
                    <a:lnTo>
                      <a:pt x="64" y="370"/>
                    </a:lnTo>
                    <a:lnTo>
                      <a:pt x="68" y="372"/>
                    </a:lnTo>
                    <a:lnTo>
                      <a:pt x="70" y="370"/>
                    </a:lnTo>
                    <a:lnTo>
                      <a:pt x="68" y="366"/>
                    </a:lnTo>
                    <a:lnTo>
                      <a:pt x="68" y="362"/>
                    </a:lnTo>
                    <a:lnTo>
                      <a:pt x="64" y="362"/>
                    </a:lnTo>
                    <a:lnTo>
                      <a:pt x="62" y="360"/>
                    </a:lnTo>
                    <a:lnTo>
                      <a:pt x="64" y="354"/>
                    </a:lnTo>
                    <a:lnTo>
                      <a:pt x="62" y="350"/>
                    </a:lnTo>
                    <a:lnTo>
                      <a:pt x="68" y="350"/>
                    </a:lnTo>
                    <a:lnTo>
                      <a:pt x="70" y="348"/>
                    </a:lnTo>
                    <a:lnTo>
                      <a:pt x="70" y="348"/>
                    </a:lnTo>
                    <a:lnTo>
                      <a:pt x="70" y="344"/>
                    </a:lnTo>
                    <a:lnTo>
                      <a:pt x="74" y="336"/>
                    </a:lnTo>
                    <a:lnTo>
                      <a:pt x="80" y="326"/>
                    </a:lnTo>
                    <a:lnTo>
                      <a:pt x="78" y="326"/>
                    </a:lnTo>
                    <a:lnTo>
                      <a:pt x="76" y="328"/>
                    </a:lnTo>
                    <a:lnTo>
                      <a:pt x="74" y="324"/>
                    </a:lnTo>
                    <a:lnTo>
                      <a:pt x="72" y="324"/>
                    </a:lnTo>
                    <a:lnTo>
                      <a:pt x="70" y="320"/>
                    </a:lnTo>
                    <a:lnTo>
                      <a:pt x="66" y="318"/>
                    </a:lnTo>
                    <a:lnTo>
                      <a:pt x="66" y="318"/>
                    </a:lnTo>
                    <a:lnTo>
                      <a:pt x="62" y="320"/>
                    </a:lnTo>
                    <a:lnTo>
                      <a:pt x="58" y="322"/>
                    </a:lnTo>
                    <a:lnTo>
                      <a:pt x="50" y="326"/>
                    </a:lnTo>
                    <a:lnTo>
                      <a:pt x="50" y="326"/>
                    </a:lnTo>
                    <a:lnTo>
                      <a:pt x="42" y="326"/>
                    </a:lnTo>
                    <a:lnTo>
                      <a:pt x="34" y="322"/>
                    </a:lnTo>
                    <a:lnTo>
                      <a:pt x="34" y="320"/>
                    </a:lnTo>
                    <a:lnTo>
                      <a:pt x="30" y="320"/>
                    </a:lnTo>
                    <a:lnTo>
                      <a:pt x="26" y="316"/>
                    </a:lnTo>
                    <a:lnTo>
                      <a:pt x="28" y="316"/>
                    </a:lnTo>
                    <a:lnTo>
                      <a:pt x="28" y="316"/>
                    </a:lnTo>
                    <a:lnTo>
                      <a:pt x="26" y="310"/>
                    </a:lnTo>
                    <a:lnTo>
                      <a:pt x="22" y="306"/>
                    </a:lnTo>
                    <a:lnTo>
                      <a:pt x="20" y="308"/>
                    </a:lnTo>
                    <a:lnTo>
                      <a:pt x="20" y="304"/>
                    </a:lnTo>
                    <a:lnTo>
                      <a:pt x="10" y="302"/>
                    </a:lnTo>
                    <a:lnTo>
                      <a:pt x="8" y="300"/>
                    </a:lnTo>
                    <a:lnTo>
                      <a:pt x="8" y="300"/>
                    </a:lnTo>
                    <a:lnTo>
                      <a:pt x="12" y="298"/>
                    </a:lnTo>
                    <a:lnTo>
                      <a:pt x="14" y="298"/>
                    </a:lnTo>
                    <a:lnTo>
                      <a:pt x="14" y="298"/>
                    </a:lnTo>
                    <a:lnTo>
                      <a:pt x="14" y="294"/>
                    </a:lnTo>
                    <a:lnTo>
                      <a:pt x="14" y="288"/>
                    </a:lnTo>
                    <a:lnTo>
                      <a:pt x="12" y="284"/>
                    </a:lnTo>
                    <a:lnTo>
                      <a:pt x="12" y="280"/>
                    </a:lnTo>
                    <a:lnTo>
                      <a:pt x="10" y="278"/>
                    </a:lnTo>
                    <a:lnTo>
                      <a:pt x="2" y="278"/>
                    </a:lnTo>
                    <a:lnTo>
                      <a:pt x="0" y="276"/>
                    </a:lnTo>
                    <a:lnTo>
                      <a:pt x="0" y="276"/>
                    </a:lnTo>
                    <a:lnTo>
                      <a:pt x="0" y="272"/>
                    </a:lnTo>
                    <a:lnTo>
                      <a:pt x="0" y="266"/>
                    </a:lnTo>
                    <a:lnTo>
                      <a:pt x="2" y="258"/>
                    </a:lnTo>
                    <a:lnTo>
                      <a:pt x="4" y="252"/>
                    </a:lnTo>
                    <a:lnTo>
                      <a:pt x="12" y="248"/>
                    </a:lnTo>
                    <a:lnTo>
                      <a:pt x="14" y="244"/>
                    </a:lnTo>
                    <a:lnTo>
                      <a:pt x="14" y="244"/>
                    </a:lnTo>
                    <a:lnTo>
                      <a:pt x="18" y="244"/>
                    </a:lnTo>
                    <a:lnTo>
                      <a:pt x="22" y="244"/>
                    </a:lnTo>
                    <a:lnTo>
                      <a:pt x="24" y="248"/>
                    </a:lnTo>
                    <a:lnTo>
                      <a:pt x="32" y="248"/>
                    </a:lnTo>
                    <a:lnTo>
                      <a:pt x="32" y="248"/>
                    </a:lnTo>
                    <a:lnTo>
                      <a:pt x="36" y="244"/>
                    </a:lnTo>
                    <a:lnTo>
                      <a:pt x="38" y="238"/>
                    </a:lnTo>
                    <a:lnTo>
                      <a:pt x="54" y="234"/>
                    </a:lnTo>
                    <a:lnTo>
                      <a:pt x="54" y="234"/>
                    </a:lnTo>
                    <a:lnTo>
                      <a:pt x="58" y="230"/>
                    </a:lnTo>
                    <a:lnTo>
                      <a:pt x="64" y="226"/>
                    </a:lnTo>
                    <a:lnTo>
                      <a:pt x="78" y="220"/>
                    </a:lnTo>
                    <a:lnTo>
                      <a:pt x="78" y="220"/>
                    </a:lnTo>
                    <a:lnTo>
                      <a:pt x="80" y="202"/>
                    </a:lnTo>
                    <a:lnTo>
                      <a:pt x="84" y="200"/>
                    </a:lnTo>
                    <a:lnTo>
                      <a:pt x="84" y="200"/>
                    </a:lnTo>
                    <a:lnTo>
                      <a:pt x="80" y="184"/>
                    </a:lnTo>
                    <a:lnTo>
                      <a:pt x="78" y="174"/>
                    </a:lnTo>
                    <a:lnTo>
                      <a:pt x="74" y="168"/>
                    </a:lnTo>
                    <a:lnTo>
                      <a:pt x="74" y="168"/>
                    </a:lnTo>
                    <a:lnTo>
                      <a:pt x="88" y="164"/>
                    </a:lnTo>
                    <a:lnTo>
                      <a:pt x="104" y="162"/>
                    </a:lnTo>
                    <a:lnTo>
                      <a:pt x="104" y="162"/>
                    </a:lnTo>
                    <a:lnTo>
                      <a:pt x="102" y="152"/>
                    </a:lnTo>
                    <a:lnTo>
                      <a:pt x="104" y="144"/>
                    </a:lnTo>
                    <a:lnTo>
                      <a:pt x="110" y="126"/>
                    </a:lnTo>
                    <a:lnTo>
                      <a:pt x="110" y="126"/>
                    </a:lnTo>
                    <a:lnTo>
                      <a:pt x="116" y="126"/>
                    </a:lnTo>
                    <a:lnTo>
                      <a:pt x="122" y="130"/>
                    </a:lnTo>
                    <a:lnTo>
                      <a:pt x="130" y="128"/>
                    </a:lnTo>
                    <a:lnTo>
                      <a:pt x="134" y="132"/>
                    </a:lnTo>
                    <a:lnTo>
                      <a:pt x="142" y="128"/>
                    </a:lnTo>
                    <a:lnTo>
                      <a:pt x="142" y="128"/>
                    </a:lnTo>
                    <a:lnTo>
                      <a:pt x="142" y="116"/>
                    </a:lnTo>
                    <a:lnTo>
                      <a:pt x="146" y="104"/>
                    </a:lnTo>
                    <a:lnTo>
                      <a:pt x="152" y="102"/>
                    </a:lnTo>
                    <a:lnTo>
                      <a:pt x="158" y="94"/>
                    </a:lnTo>
                    <a:lnTo>
                      <a:pt x="164" y="96"/>
                    </a:lnTo>
                    <a:lnTo>
                      <a:pt x="168" y="92"/>
                    </a:lnTo>
                    <a:lnTo>
                      <a:pt x="172" y="102"/>
                    </a:lnTo>
                    <a:lnTo>
                      <a:pt x="172" y="102"/>
                    </a:lnTo>
                    <a:lnTo>
                      <a:pt x="176" y="104"/>
                    </a:lnTo>
                    <a:lnTo>
                      <a:pt x="178" y="108"/>
                    </a:lnTo>
                    <a:lnTo>
                      <a:pt x="182" y="112"/>
                    </a:lnTo>
                    <a:lnTo>
                      <a:pt x="184" y="114"/>
                    </a:lnTo>
                    <a:lnTo>
                      <a:pt x="186" y="112"/>
                    </a:lnTo>
                    <a:lnTo>
                      <a:pt x="196" y="114"/>
                    </a:lnTo>
                    <a:lnTo>
                      <a:pt x="196" y="114"/>
                    </a:lnTo>
                    <a:lnTo>
                      <a:pt x="200" y="124"/>
                    </a:lnTo>
                    <a:lnTo>
                      <a:pt x="204" y="136"/>
                    </a:lnTo>
                    <a:lnTo>
                      <a:pt x="204" y="150"/>
                    </a:lnTo>
                    <a:lnTo>
                      <a:pt x="204" y="156"/>
                    </a:lnTo>
                    <a:lnTo>
                      <a:pt x="202" y="160"/>
                    </a:lnTo>
                    <a:lnTo>
                      <a:pt x="202" y="160"/>
                    </a:lnTo>
                    <a:lnTo>
                      <a:pt x="216" y="166"/>
                    </a:lnTo>
                    <a:lnTo>
                      <a:pt x="224" y="166"/>
                    </a:lnTo>
                    <a:lnTo>
                      <a:pt x="230" y="166"/>
                    </a:lnTo>
                    <a:lnTo>
                      <a:pt x="258" y="178"/>
                    </a:lnTo>
                    <a:lnTo>
                      <a:pt x="258" y="178"/>
                    </a:lnTo>
                    <a:lnTo>
                      <a:pt x="264" y="192"/>
                    </a:lnTo>
                    <a:lnTo>
                      <a:pt x="270" y="200"/>
                    </a:lnTo>
                    <a:lnTo>
                      <a:pt x="276" y="204"/>
                    </a:lnTo>
                    <a:lnTo>
                      <a:pt x="282" y="208"/>
                    </a:lnTo>
                    <a:lnTo>
                      <a:pt x="290" y="208"/>
                    </a:lnTo>
                    <a:lnTo>
                      <a:pt x="300" y="206"/>
                    </a:lnTo>
                    <a:lnTo>
                      <a:pt x="324" y="204"/>
                    </a:lnTo>
                    <a:lnTo>
                      <a:pt x="324" y="204"/>
                    </a:lnTo>
                    <a:lnTo>
                      <a:pt x="330" y="206"/>
                    </a:lnTo>
                    <a:lnTo>
                      <a:pt x="334" y="210"/>
                    </a:lnTo>
                    <a:lnTo>
                      <a:pt x="344" y="216"/>
                    </a:lnTo>
                    <a:lnTo>
                      <a:pt x="344" y="216"/>
                    </a:lnTo>
                    <a:lnTo>
                      <a:pt x="350" y="218"/>
                    </a:lnTo>
                    <a:lnTo>
                      <a:pt x="358" y="220"/>
                    </a:lnTo>
                    <a:lnTo>
                      <a:pt x="366" y="224"/>
                    </a:lnTo>
                    <a:lnTo>
                      <a:pt x="372" y="226"/>
                    </a:lnTo>
                    <a:lnTo>
                      <a:pt x="372" y="226"/>
                    </a:lnTo>
                    <a:lnTo>
                      <a:pt x="384" y="222"/>
                    </a:lnTo>
                    <a:lnTo>
                      <a:pt x="390" y="218"/>
                    </a:lnTo>
                    <a:lnTo>
                      <a:pt x="392" y="216"/>
                    </a:lnTo>
                    <a:lnTo>
                      <a:pt x="392" y="216"/>
                    </a:lnTo>
                    <a:lnTo>
                      <a:pt x="402" y="214"/>
                    </a:lnTo>
                    <a:lnTo>
                      <a:pt x="412" y="212"/>
                    </a:lnTo>
                    <a:lnTo>
                      <a:pt x="426" y="212"/>
                    </a:lnTo>
                    <a:lnTo>
                      <a:pt x="432" y="210"/>
                    </a:lnTo>
                    <a:lnTo>
                      <a:pt x="440" y="206"/>
                    </a:lnTo>
                    <a:lnTo>
                      <a:pt x="448" y="200"/>
                    </a:lnTo>
                    <a:lnTo>
                      <a:pt x="458" y="188"/>
                    </a:lnTo>
                    <a:lnTo>
                      <a:pt x="458" y="188"/>
                    </a:lnTo>
                    <a:lnTo>
                      <a:pt x="456" y="184"/>
                    </a:lnTo>
                    <a:lnTo>
                      <a:pt x="452" y="178"/>
                    </a:lnTo>
                    <a:lnTo>
                      <a:pt x="458" y="166"/>
                    </a:lnTo>
                    <a:lnTo>
                      <a:pt x="462" y="166"/>
                    </a:lnTo>
                    <a:lnTo>
                      <a:pt x="462" y="166"/>
                    </a:lnTo>
                    <a:lnTo>
                      <a:pt x="470" y="170"/>
                    </a:lnTo>
                    <a:lnTo>
                      <a:pt x="476" y="170"/>
                    </a:lnTo>
                    <a:lnTo>
                      <a:pt x="476" y="170"/>
                    </a:lnTo>
                    <a:lnTo>
                      <a:pt x="484" y="164"/>
                    </a:lnTo>
                    <a:lnTo>
                      <a:pt x="492" y="156"/>
                    </a:lnTo>
                    <a:lnTo>
                      <a:pt x="496" y="156"/>
                    </a:lnTo>
                    <a:lnTo>
                      <a:pt x="496" y="156"/>
                    </a:lnTo>
                    <a:lnTo>
                      <a:pt x="502" y="154"/>
                    </a:lnTo>
                    <a:lnTo>
                      <a:pt x="508" y="148"/>
                    </a:lnTo>
                    <a:lnTo>
                      <a:pt x="516" y="138"/>
                    </a:lnTo>
                    <a:lnTo>
                      <a:pt x="548" y="134"/>
                    </a:lnTo>
                    <a:lnTo>
                      <a:pt x="548" y="132"/>
                    </a:lnTo>
                    <a:lnTo>
                      <a:pt x="544" y="130"/>
                    </a:lnTo>
                    <a:lnTo>
                      <a:pt x="544" y="130"/>
                    </a:lnTo>
                    <a:lnTo>
                      <a:pt x="544" y="124"/>
                    </a:lnTo>
                    <a:lnTo>
                      <a:pt x="540" y="118"/>
                    </a:lnTo>
                    <a:lnTo>
                      <a:pt x="536" y="114"/>
                    </a:lnTo>
                    <a:lnTo>
                      <a:pt x="532" y="110"/>
                    </a:lnTo>
                    <a:lnTo>
                      <a:pt x="532" y="110"/>
                    </a:lnTo>
                    <a:lnTo>
                      <a:pt x="526" y="116"/>
                    </a:lnTo>
                    <a:lnTo>
                      <a:pt x="520" y="118"/>
                    </a:lnTo>
                    <a:lnTo>
                      <a:pt x="512" y="118"/>
                    </a:lnTo>
                    <a:lnTo>
                      <a:pt x="502" y="118"/>
                    </a:lnTo>
                    <a:lnTo>
                      <a:pt x="502" y="118"/>
                    </a:lnTo>
                    <a:lnTo>
                      <a:pt x="500" y="110"/>
                    </a:lnTo>
                    <a:lnTo>
                      <a:pt x="502" y="102"/>
                    </a:lnTo>
                    <a:lnTo>
                      <a:pt x="502" y="94"/>
                    </a:lnTo>
                    <a:lnTo>
                      <a:pt x="502" y="88"/>
                    </a:lnTo>
                    <a:lnTo>
                      <a:pt x="510" y="72"/>
                    </a:lnTo>
                    <a:lnTo>
                      <a:pt x="528" y="80"/>
                    </a:lnTo>
                    <a:lnTo>
                      <a:pt x="544" y="70"/>
                    </a:lnTo>
                    <a:lnTo>
                      <a:pt x="554" y="40"/>
                    </a:lnTo>
                    <a:lnTo>
                      <a:pt x="562" y="32"/>
                    </a:lnTo>
                    <a:lnTo>
                      <a:pt x="562" y="22"/>
                    </a:lnTo>
                    <a:lnTo>
                      <a:pt x="554" y="22"/>
                    </a:lnTo>
                    <a:lnTo>
                      <a:pt x="554" y="18"/>
                    </a:lnTo>
                    <a:lnTo>
                      <a:pt x="566" y="6"/>
                    </a:lnTo>
                    <a:lnTo>
                      <a:pt x="598" y="0"/>
                    </a:lnTo>
                    <a:lnTo>
                      <a:pt x="622" y="10"/>
                    </a:lnTo>
                    <a:lnTo>
                      <a:pt x="644" y="78"/>
                    </a:lnTo>
                    <a:lnTo>
                      <a:pt x="680" y="94"/>
                    </a:lnTo>
                    <a:lnTo>
                      <a:pt x="688" y="116"/>
                    </a:lnTo>
                    <a:lnTo>
                      <a:pt x="732" y="102"/>
                    </a:lnTo>
                    <a:lnTo>
                      <a:pt x="732" y="118"/>
                    </a:lnTo>
                    <a:lnTo>
                      <a:pt x="732" y="118"/>
                    </a:lnTo>
                    <a:lnTo>
                      <a:pt x="728" y="120"/>
                    </a:lnTo>
                    <a:lnTo>
                      <a:pt x="726" y="126"/>
                    </a:lnTo>
                    <a:lnTo>
                      <a:pt x="720" y="140"/>
                    </a:lnTo>
                    <a:lnTo>
                      <a:pt x="712" y="164"/>
                    </a:lnTo>
                    <a:lnTo>
                      <a:pt x="710" y="166"/>
                    </a:lnTo>
                    <a:lnTo>
                      <a:pt x="710" y="166"/>
                    </a:lnTo>
                    <a:lnTo>
                      <a:pt x="704" y="164"/>
                    </a:lnTo>
                    <a:lnTo>
                      <a:pt x="698" y="162"/>
                    </a:lnTo>
                    <a:lnTo>
                      <a:pt x="686" y="172"/>
                    </a:lnTo>
                    <a:lnTo>
                      <a:pt x="686" y="172"/>
                    </a:lnTo>
                    <a:lnTo>
                      <a:pt x="688" y="178"/>
                    </a:lnTo>
                    <a:lnTo>
                      <a:pt x="690" y="184"/>
                    </a:lnTo>
                    <a:lnTo>
                      <a:pt x="690" y="196"/>
                    </a:lnTo>
                    <a:lnTo>
                      <a:pt x="682" y="206"/>
                    </a:lnTo>
                    <a:lnTo>
                      <a:pt x="682" y="210"/>
                    </a:lnTo>
                    <a:lnTo>
                      <a:pt x="680" y="210"/>
                    </a:lnTo>
                    <a:lnTo>
                      <a:pt x="676" y="204"/>
                    </a:lnTo>
                    <a:lnTo>
                      <a:pt x="676" y="204"/>
                    </a:lnTo>
                    <a:lnTo>
                      <a:pt x="668" y="210"/>
                    </a:lnTo>
                    <a:lnTo>
                      <a:pt x="662" y="220"/>
                    </a:lnTo>
                    <a:lnTo>
                      <a:pt x="654" y="220"/>
                    </a:lnTo>
                    <a:lnTo>
                      <a:pt x="648" y="230"/>
                    </a:lnTo>
                    <a:lnTo>
                      <a:pt x="644" y="230"/>
                    </a:lnTo>
                    <a:lnTo>
                      <a:pt x="636" y="228"/>
                    </a:lnTo>
                    <a:lnTo>
                      <a:pt x="636" y="228"/>
                    </a:lnTo>
                    <a:lnTo>
                      <a:pt x="620" y="240"/>
                    </a:lnTo>
                    <a:lnTo>
                      <a:pt x="612" y="248"/>
                    </a:lnTo>
                    <a:lnTo>
                      <a:pt x="606" y="254"/>
                    </a:lnTo>
                    <a:lnTo>
                      <a:pt x="606" y="254"/>
                    </a:lnTo>
                    <a:lnTo>
                      <a:pt x="590" y="260"/>
                    </a:lnTo>
                    <a:lnTo>
                      <a:pt x="582" y="266"/>
                    </a:lnTo>
                    <a:lnTo>
                      <a:pt x="578" y="272"/>
                    </a:lnTo>
                    <a:lnTo>
                      <a:pt x="576" y="264"/>
                    </a:lnTo>
                    <a:lnTo>
                      <a:pt x="570" y="262"/>
                    </a:lnTo>
                    <a:lnTo>
                      <a:pt x="582" y="246"/>
                    </a:lnTo>
                    <a:lnTo>
                      <a:pt x="576" y="236"/>
                    </a:lnTo>
                    <a:lnTo>
                      <a:pt x="576" y="238"/>
                    </a:lnTo>
                    <a:lnTo>
                      <a:pt x="568" y="240"/>
                    </a:lnTo>
                    <a:lnTo>
                      <a:pt x="568" y="240"/>
                    </a:lnTo>
                    <a:lnTo>
                      <a:pt x="536" y="268"/>
                    </a:lnTo>
                    <a:lnTo>
                      <a:pt x="530" y="268"/>
                    </a:lnTo>
                    <a:lnTo>
                      <a:pt x="526" y="278"/>
                    </a:lnTo>
                    <a:lnTo>
                      <a:pt x="526" y="278"/>
                    </a:lnTo>
                    <a:lnTo>
                      <a:pt x="530" y="284"/>
                    </a:lnTo>
                    <a:lnTo>
                      <a:pt x="536" y="290"/>
                    </a:lnTo>
                    <a:lnTo>
                      <a:pt x="550" y="302"/>
                    </a:lnTo>
                    <a:lnTo>
                      <a:pt x="552" y="302"/>
                    </a:lnTo>
                    <a:lnTo>
                      <a:pt x="552" y="302"/>
                    </a:lnTo>
                    <a:lnTo>
                      <a:pt x="558" y="294"/>
                    </a:lnTo>
                    <a:lnTo>
                      <a:pt x="562" y="292"/>
                    </a:lnTo>
                    <a:lnTo>
                      <a:pt x="566" y="290"/>
                    </a:lnTo>
                    <a:lnTo>
                      <a:pt x="574" y="296"/>
                    </a:lnTo>
                    <a:lnTo>
                      <a:pt x="580" y="294"/>
                    </a:lnTo>
                    <a:lnTo>
                      <a:pt x="586" y="298"/>
                    </a:lnTo>
                    <a:lnTo>
                      <a:pt x="586" y="298"/>
                    </a:lnTo>
                    <a:lnTo>
                      <a:pt x="584" y="302"/>
                    </a:lnTo>
                    <a:lnTo>
                      <a:pt x="582" y="306"/>
                    </a:lnTo>
                    <a:lnTo>
                      <a:pt x="580" y="304"/>
                    </a:lnTo>
                    <a:lnTo>
                      <a:pt x="560" y="318"/>
                    </a:lnTo>
                    <a:lnTo>
                      <a:pt x="560" y="316"/>
                    </a:lnTo>
                    <a:lnTo>
                      <a:pt x="558" y="316"/>
                    </a:lnTo>
                    <a:lnTo>
                      <a:pt x="556" y="318"/>
                    </a:lnTo>
                    <a:lnTo>
                      <a:pt x="558" y="320"/>
                    </a:lnTo>
                    <a:lnTo>
                      <a:pt x="558" y="320"/>
                    </a:lnTo>
                    <a:lnTo>
                      <a:pt x="550" y="328"/>
                    </a:lnTo>
                    <a:lnTo>
                      <a:pt x="546" y="336"/>
                    </a:lnTo>
                    <a:lnTo>
                      <a:pt x="546" y="338"/>
                    </a:lnTo>
                    <a:lnTo>
                      <a:pt x="558" y="346"/>
                    </a:lnTo>
                    <a:lnTo>
                      <a:pt x="558" y="346"/>
                    </a:lnTo>
                    <a:lnTo>
                      <a:pt x="566" y="366"/>
                    </a:lnTo>
                    <a:lnTo>
                      <a:pt x="572" y="376"/>
                    </a:lnTo>
                    <a:lnTo>
                      <a:pt x="578" y="384"/>
                    </a:lnTo>
                    <a:lnTo>
                      <a:pt x="578" y="384"/>
                    </a:lnTo>
                    <a:lnTo>
                      <a:pt x="566" y="382"/>
                    </a:lnTo>
                    <a:lnTo>
                      <a:pt x="560" y="380"/>
                    </a:lnTo>
                    <a:lnTo>
                      <a:pt x="556" y="380"/>
                    </a:lnTo>
                    <a:lnTo>
                      <a:pt x="556" y="382"/>
                    </a:lnTo>
                    <a:lnTo>
                      <a:pt x="568" y="386"/>
                    </a:lnTo>
                    <a:lnTo>
                      <a:pt x="578" y="396"/>
                    </a:lnTo>
                    <a:lnTo>
                      <a:pt x="578" y="396"/>
                    </a:lnTo>
                    <a:lnTo>
                      <a:pt x="568" y="402"/>
                    </a:lnTo>
                    <a:lnTo>
                      <a:pt x="564" y="404"/>
                    </a:lnTo>
                    <a:lnTo>
                      <a:pt x="558" y="406"/>
                    </a:lnTo>
                    <a:lnTo>
                      <a:pt x="558" y="406"/>
                    </a:lnTo>
                    <a:lnTo>
                      <a:pt x="558" y="406"/>
                    </a:lnTo>
                    <a:lnTo>
                      <a:pt x="562" y="408"/>
                    </a:lnTo>
                    <a:lnTo>
                      <a:pt x="566" y="410"/>
                    </a:lnTo>
                    <a:lnTo>
                      <a:pt x="572" y="418"/>
                    </a:lnTo>
                    <a:lnTo>
                      <a:pt x="576" y="416"/>
                    </a:lnTo>
                    <a:lnTo>
                      <a:pt x="576" y="422"/>
                    </a:lnTo>
                    <a:lnTo>
                      <a:pt x="572" y="422"/>
                    </a:lnTo>
                    <a:lnTo>
                      <a:pt x="570" y="436"/>
                    </a:lnTo>
                    <a:lnTo>
                      <a:pt x="568" y="436"/>
                    </a:lnTo>
                    <a:lnTo>
                      <a:pt x="548" y="476"/>
                    </a:lnTo>
                    <a:lnTo>
                      <a:pt x="546" y="476"/>
                    </a:lnTo>
                    <a:lnTo>
                      <a:pt x="546" y="476"/>
                    </a:lnTo>
                    <a:lnTo>
                      <a:pt x="530" y="494"/>
                    </a:lnTo>
                    <a:lnTo>
                      <a:pt x="530" y="494"/>
                    </a:lnTo>
                    <a:lnTo>
                      <a:pt x="510" y="504"/>
                    </a:lnTo>
                    <a:lnTo>
                      <a:pt x="490" y="514"/>
                    </a:lnTo>
                    <a:lnTo>
                      <a:pt x="486" y="5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8" name="Freeform 1717">
                <a:extLst>
                  <a:ext uri="{FF2B5EF4-FFF2-40B4-BE49-F238E27FC236}">
                    <a16:creationId xmlns:a16="http://schemas.microsoft.com/office/drawing/2014/main" id="{886BE8BD-33A9-4DD0-9174-C20601373AB7}"/>
                  </a:ext>
                </a:extLst>
              </p:cNvPr>
              <p:cNvSpPr>
                <a:spLocks/>
              </p:cNvSpPr>
              <p:nvPr/>
            </p:nvSpPr>
            <p:spPr bwMode="auto">
              <a:xfrm>
                <a:off x="4281" y="2664"/>
                <a:ext cx="28" cy="28"/>
              </a:xfrm>
              <a:custGeom>
                <a:avLst/>
                <a:gdLst/>
                <a:ahLst/>
                <a:cxnLst>
                  <a:cxn ang="0">
                    <a:pos x="22" y="2"/>
                  </a:cxn>
                  <a:cxn ang="0">
                    <a:pos x="24" y="0"/>
                  </a:cxn>
                  <a:cxn ang="0">
                    <a:pos x="28" y="2"/>
                  </a:cxn>
                  <a:cxn ang="0">
                    <a:pos x="28" y="8"/>
                  </a:cxn>
                  <a:cxn ang="0">
                    <a:pos x="28" y="8"/>
                  </a:cxn>
                  <a:cxn ang="0">
                    <a:pos x="26" y="10"/>
                  </a:cxn>
                  <a:cxn ang="0">
                    <a:pos x="22" y="16"/>
                  </a:cxn>
                  <a:cxn ang="0">
                    <a:pos x="20" y="22"/>
                  </a:cxn>
                  <a:cxn ang="0">
                    <a:pos x="18" y="24"/>
                  </a:cxn>
                  <a:cxn ang="0">
                    <a:pos x="14" y="24"/>
                  </a:cxn>
                  <a:cxn ang="0">
                    <a:pos x="14" y="28"/>
                  </a:cxn>
                  <a:cxn ang="0">
                    <a:pos x="2" y="24"/>
                  </a:cxn>
                  <a:cxn ang="0">
                    <a:pos x="0" y="20"/>
                  </a:cxn>
                  <a:cxn ang="0">
                    <a:pos x="0" y="12"/>
                  </a:cxn>
                  <a:cxn ang="0">
                    <a:pos x="10" y="2"/>
                  </a:cxn>
                  <a:cxn ang="0">
                    <a:pos x="22" y="2"/>
                  </a:cxn>
                </a:cxnLst>
                <a:rect l="0" t="0" r="r" b="b"/>
                <a:pathLst>
                  <a:path w="28" h="28">
                    <a:moveTo>
                      <a:pt x="22" y="2"/>
                    </a:moveTo>
                    <a:lnTo>
                      <a:pt x="24" y="0"/>
                    </a:lnTo>
                    <a:lnTo>
                      <a:pt x="28" y="2"/>
                    </a:lnTo>
                    <a:lnTo>
                      <a:pt x="28" y="8"/>
                    </a:lnTo>
                    <a:lnTo>
                      <a:pt x="28" y="8"/>
                    </a:lnTo>
                    <a:lnTo>
                      <a:pt x="26" y="10"/>
                    </a:lnTo>
                    <a:lnTo>
                      <a:pt x="22" y="16"/>
                    </a:lnTo>
                    <a:lnTo>
                      <a:pt x="20" y="22"/>
                    </a:lnTo>
                    <a:lnTo>
                      <a:pt x="18" y="24"/>
                    </a:lnTo>
                    <a:lnTo>
                      <a:pt x="14" y="24"/>
                    </a:lnTo>
                    <a:lnTo>
                      <a:pt x="14" y="28"/>
                    </a:lnTo>
                    <a:lnTo>
                      <a:pt x="2" y="24"/>
                    </a:lnTo>
                    <a:lnTo>
                      <a:pt x="0" y="20"/>
                    </a:lnTo>
                    <a:lnTo>
                      <a:pt x="0" y="12"/>
                    </a:lnTo>
                    <a:lnTo>
                      <a:pt x="10" y="2"/>
                    </a:lnTo>
                    <a:lnTo>
                      <a:pt x="22"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09" name="Freeform 1718">
                <a:extLst>
                  <a:ext uri="{FF2B5EF4-FFF2-40B4-BE49-F238E27FC236}">
                    <a16:creationId xmlns:a16="http://schemas.microsoft.com/office/drawing/2014/main" id="{00E37556-AD92-4C20-88ED-CE0A7194A9FD}"/>
                  </a:ext>
                </a:extLst>
              </p:cNvPr>
              <p:cNvSpPr>
                <a:spLocks/>
              </p:cNvSpPr>
              <p:nvPr/>
            </p:nvSpPr>
            <p:spPr bwMode="auto">
              <a:xfrm>
                <a:off x="4149" y="2656"/>
                <a:ext cx="94" cy="198"/>
              </a:xfrm>
              <a:custGeom>
                <a:avLst/>
                <a:gdLst/>
                <a:ahLst/>
                <a:cxnLst>
                  <a:cxn ang="0">
                    <a:pos x="60" y="116"/>
                  </a:cxn>
                  <a:cxn ang="0">
                    <a:pos x="56" y="114"/>
                  </a:cxn>
                  <a:cxn ang="0">
                    <a:pos x="40" y="108"/>
                  </a:cxn>
                  <a:cxn ang="0">
                    <a:pos x="28" y="98"/>
                  </a:cxn>
                  <a:cxn ang="0">
                    <a:pos x="28" y="108"/>
                  </a:cxn>
                  <a:cxn ang="0">
                    <a:pos x="22" y="130"/>
                  </a:cxn>
                  <a:cxn ang="0">
                    <a:pos x="20" y="152"/>
                  </a:cxn>
                  <a:cxn ang="0">
                    <a:pos x="28" y="152"/>
                  </a:cxn>
                  <a:cxn ang="0">
                    <a:pos x="32" y="164"/>
                  </a:cxn>
                  <a:cxn ang="0">
                    <a:pos x="36" y="178"/>
                  </a:cxn>
                  <a:cxn ang="0">
                    <a:pos x="48" y="182"/>
                  </a:cxn>
                  <a:cxn ang="0">
                    <a:pos x="54" y="194"/>
                  </a:cxn>
                  <a:cxn ang="0">
                    <a:pos x="44" y="198"/>
                  </a:cxn>
                  <a:cxn ang="0">
                    <a:pos x="42" y="188"/>
                  </a:cxn>
                  <a:cxn ang="0">
                    <a:pos x="32" y="188"/>
                  </a:cxn>
                  <a:cxn ang="0">
                    <a:pos x="24" y="176"/>
                  </a:cxn>
                  <a:cxn ang="0">
                    <a:pos x="10" y="166"/>
                  </a:cxn>
                  <a:cxn ang="0">
                    <a:pos x="8" y="160"/>
                  </a:cxn>
                  <a:cxn ang="0">
                    <a:pos x="14" y="140"/>
                  </a:cxn>
                  <a:cxn ang="0">
                    <a:pos x="24" y="118"/>
                  </a:cxn>
                  <a:cxn ang="0">
                    <a:pos x="18" y="98"/>
                  </a:cxn>
                  <a:cxn ang="0">
                    <a:pos x="18" y="92"/>
                  </a:cxn>
                  <a:cxn ang="0">
                    <a:pos x="8" y="82"/>
                  </a:cxn>
                  <a:cxn ang="0">
                    <a:pos x="10" y="72"/>
                  </a:cxn>
                  <a:cxn ang="0">
                    <a:pos x="14" y="60"/>
                  </a:cxn>
                  <a:cxn ang="0">
                    <a:pos x="12" y="50"/>
                  </a:cxn>
                  <a:cxn ang="0">
                    <a:pos x="8" y="46"/>
                  </a:cxn>
                  <a:cxn ang="0">
                    <a:pos x="0" y="32"/>
                  </a:cxn>
                  <a:cxn ang="0">
                    <a:pos x="6" y="16"/>
                  </a:cxn>
                  <a:cxn ang="0">
                    <a:pos x="20" y="12"/>
                  </a:cxn>
                  <a:cxn ang="0">
                    <a:pos x="32" y="0"/>
                  </a:cxn>
                  <a:cxn ang="0">
                    <a:pos x="36" y="6"/>
                  </a:cxn>
                  <a:cxn ang="0">
                    <a:pos x="36" y="14"/>
                  </a:cxn>
                  <a:cxn ang="0">
                    <a:pos x="42" y="16"/>
                  </a:cxn>
                  <a:cxn ang="0">
                    <a:pos x="40" y="44"/>
                  </a:cxn>
                  <a:cxn ang="0">
                    <a:pos x="56" y="34"/>
                  </a:cxn>
                  <a:cxn ang="0">
                    <a:pos x="60" y="38"/>
                  </a:cxn>
                  <a:cxn ang="0">
                    <a:pos x="66" y="32"/>
                  </a:cxn>
                  <a:cxn ang="0">
                    <a:pos x="82" y="44"/>
                  </a:cxn>
                  <a:cxn ang="0">
                    <a:pos x="86" y="60"/>
                  </a:cxn>
                  <a:cxn ang="0">
                    <a:pos x="94" y="70"/>
                  </a:cxn>
                  <a:cxn ang="0">
                    <a:pos x="94" y="84"/>
                  </a:cxn>
                  <a:cxn ang="0">
                    <a:pos x="90" y="88"/>
                  </a:cxn>
                  <a:cxn ang="0">
                    <a:pos x="68" y="86"/>
                  </a:cxn>
                  <a:cxn ang="0">
                    <a:pos x="56" y="96"/>
                  </a:cxn>
                  <a:cxn ang="0">
                    <a:pos x="64" y="122"/>
                  </a:cxn>
                </a:cxnLst>
                <a:rect l="0" t="0" r="r" b="b"/>
                <a:pathLst>
                  <a:path w="94" h="198">
                    <a:moveTo>
                      <a:pt x="64" y="122"/>
                    </a:moveTo>
                    <a:lnTo>
                      <a:pt x="60" y="116"/>
                    </a:lnTo>
                    <a:lnTo>
                      <a:pt x="60" y="116"/>
                    </a:lnTo>
                    <a:lnTo>
                      <a:pt x="56" y="114"/>
                    </a:lnTo>
                    <a:lnTo>
                      <a:pt x="52" y="108"/>
                    </a:lnTo>
                    <a:lnTo>
                      <a:pt x="40" y="108"/>
                    </a:lnTo>
                    <a:lnTo>
                      <a:pt x="40" y="98"/>
                    </a:lnTo>
                    <a:lnTo>
                      <a:pt x="28" y="98"/>
                    </a:lnTo>
                    <a:lnTo>
                      <a:pt x="28" y="98"/>
                    </a:lnTo>
                    <a:lnTo>
                      <a:pt x="28" y="108"/>
                    </a:lnTo>
                    <a:lnTo>
                      <a:pt x="26" y="120"/>
                    </a:lnTo>
                    <a:lnTo>
                      <a:pt x="22" y="130"/>
                    </a:lnTo>
                    <a:lnTo>
                      <a:pt x="18" y="140"/>
                    </a:lnTo>
                    <a:lnTo>
                      <a:pt x="20" y="152"/>
                    </a:lnTo>
                    <a:lnTo>
                      <a:pt x="28" y="152"/>
                    </a:lnTo>
                    <a:lnTo>
                      <a:pt x="28" y="152"/>
                    </a:lnTo>
                    <a:lnTo>
                      <a:pt x="30" y="160"/>
                    </a:lnTo>
                    <a:lnTo>
                      <a:pt x="32" y="164"/>
                    </a:lnTo>
                    <a:lnTo>
                      <a:pt x="34" y="170"/>
                    </a:lnTo>
                    <a:lnTo>
                      <a:pt x="36" y="178"/>
                    </a:lnTo>
                    <a:lnTo>
                      <a:pt x="40" y="182"/>
                    </a:lnTo>
                    <a:lnTo>
                      <a:pt x="48" y="182"/>
                    </a:lnTo>
                    <a:lnTo>
                      <a:pt x="56" y="192"/>
                    </a:lnTo>
                    <a:lnTo>
                      <a:pt x="54" y="194"/>
                    </a:lnTo>
                    <a:lnTo>
                      <a:pt x="48" y="194"/>
                    </a:lnTo>
                    <a:lnTo>
                      <a:pt x="44" y="198"/>
                    </a:lnTo>
                    <a:lnTo>
                      <a:pt x="44" y="192"/>
                    </a:lnTo>
                    <a:lnTo>
                      <a:pt x="42" y="188"/>
                    </a:lnTo>
                    <a:lnTo>
                      <a:pt x="32" y="186"/>
                    </a:lnTo>
                    <a:lnTo>
                      <a:pt x="32" y="188"/>
                    </a:lnTo>
                    <a:lnTo>
                      <a:pt x="32" y="188"/>
                    </a:lnTo>
                    <a:lnTo>
                      <a:pt x="24" y="176"/>
                    </a:lnTo>
                    <a:lnTo>
                      <a:pt x="14" y="166"/>
                    </a:lnTo>
                    <a:lnTo>
                      <a:pt x="10" y="166"/>
                    </a:lnTo>
                    <a:lnTo>
                      <a:pt x="10" y="166"/>
                    </a:lnTo>
                    <a:lnTo>
                      <a:pt x="8" y="160"/>
                    </a:lnTo>
                    <a:lnTo>
                      <a:pt x="10" y="152"/>
                    </a:lnTo>
                    <a:lnTo>
                      <a:pt x="14" y="140"/>
                    </a:lnTo>
                    <a:lnTo>
                      <a:pt x="24" y="118"/>
                    </a:lnTo>
                    <a:lnTo>
                      <a:pt x="24" y="118"/>
                    </a:lnTo>
                    <a:lnTo>
                      <a:pt x="20" y="106"/>
                    </a:lnTo>
                    <a:lnTo>
                      <a:pt x="18" y="98"/>
                    </a:lnTo>
                    <a:lnTo>
                      <a:pt x="18" y="92"/>
                    </a:lnTo>
                    <a:lnTo>
                      <a:pt x="18" y="92"/>
                    </a:lnTo>
                    <a:lnTo>
                      <a:pt x="10" y="84"/>
                    </a:lnTo>
                    <a:lnTo>
                      <a:pt x="8" y="82"/>
                    </a:lnTo>
                    <a:lnTo>
                      <a:pt x="8" y="78"/>
                    </a:lnTo>
                    <a:lnTo>
                      <a:pt x="10" y="72"/>
                    </a:lnTo>
                    <a:lnTo>
                      <a:pt x="14" y="62"/>
                    </a:lnTo>
                    <a:lnTo>
                      <a:pt x="14" y="60"/>
                    </a:lnTo>
                    <a:lnTo>
                      <a:pt x="12" y="60"/>
                    </a:lnTo>
                    <a:lnTo>
                      <a:pt x="12" y="50"/>
                    </a:lnTo>
                    <a:lnTo>
                      <a:pt x="12" y="50"/>
                    </a:lnTo>
                    <a:lnTo>
                      <a:pt x="8" y="46"/>
                    </a:lnTo>
                    <a:lnTo>
                      <a:pt x="4" y="42"/>
                    </a:lnTo>
                    <a:lnTo>
                      <a:pt x="0" y="32"/>
                    </a:lnTo>
                    <a:lnTo>
                      <a:pt x="6" y="16"/>
                    </a:lnTo>
                    <a:lnTo>
                      <a:pt x="6" y="16"/>
                    </a:lnTo>
                    <a:lnTo>
                      <a:pt x="12" y="16"/>
                    </a:lnTo>
                    <a:lnTo>
                      <a:pt x="20" y="12"/>
                    </a:lnTo>
                    <a:lnTo>
                      <a:pt x="28" y="6"/>
                    </a:lnTo>
                    <a:lnTo>
                      <a:pt x="32" y="0"/>
                    </a:lnTo>
                    <a:lnTo>
                      <a:pt x="32" y="0"/>
                    </a:lnTo>
                    <a:lnTo>
                      <a:pt x="36" y="6"/>
                    </a:lnTo>
                    <a:lnTo>
                      <a:pt x="36" y="6"/>
                    </a:lnTo>
                    <a:lnTo>
                      <a:pt x="36" y="14"/>
                    </a:lnTo>
                    <a:lnTo>
                      <a:pt x="42" y="16"/>
                    </a:lnTo>
                    <a:lnTo>
                      <a:pt x="42" y="16"/>
                    </a:lnTo>
                    <a:lnTo>
                      <a:pt x="40" y="30"/>
                    </a:lnTo>
                    <a:lnTo>
                      <a:pt x="40" y="44"/>
                    </a:lnTo>
                    <a:lnTo>
                      <a:pt x="52" y="34"/>
                    </a:lnTo>
                    <a:lnTo>
                      <a:pt x="56" y="34"/>
                    </a:lnTo>
                    <a:lnTo>
                      <a:pt x="56" y="38"/>
                    </a:lnTo>
                    <a:lnTo>
                      <a:pt x="60" y="38"/>
                    </a:lnTo>
                    <a:lnTo>
                      <a:pt x="64" y="36"/>
                    </a:lnTo>
                    <a:lnTo>
                      <a:pt x="66" y="32"/>
                    </a:lnTo>
                    <a:lnTo>
                      <a:pt x="74" y="32"/>
                    </a:lnTo>
                    <a:lnTo>
                      <a:pt x="82" y="44"/>
                    </a:lnTo>
                    <a:lnTo>
                      <a:pt x="86" y="60"/>
                    </a:lnTo>
                    <a:lnTo>
                      <a:pt x="86" y="60"/>
                    </a:lnTo>
                    <a:lnTo>
                      <a:pt x="90" y="64"/>
                    </a:lnTo>
                    <a:lnTo>
                      <a:pt x="94" y="70"/>
                    </a:lnTo>
                    <a:lnTo>
                      <a:pt x="94" y="84"/>
                    </a:lnTo>
                    <a:lnTo>
                      <a:pt x="94" y="84"/>
                    </a:lnTo>
                    <a:lnTo>
                      <a:pt x="92" y="86"/>
                    </a:lnTo>
                    <a:lnTo>
                      <a:pt x="90" y="88"/>
                    </a:lnTo>
                    <a:lnTo>
                      <a:pt x="86" y="86"/>
                    </a:lnTo>
                    <a:lnTo>
                      <a:pt x="68" y="86"/>
                    </a:lnTo>
                    <a:lnTo>
                      <a:pt x="56" y="96"/>
                    </a:lnTo>
                    <a:lnTo>
                      <a:pt x="56" y="96"/>
                    </a:lnTo>
                    <a:lnTo>
                      <a:pt x="62" y="110"/>
                    </a:lnTo>
                    <a:lnTo>
                      <a:pt x="64" y="122"/>
                    </a:lnTo>
                    <a:lnTo>
                      <a:pt x="64" y="12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0" name="Freeform 1719">
                <a:extLst>
                  <a:ext uri="{FF2B5EF4-FFF2-40B4-BE49-F238E27FC236}">
                    <a16:creationId xmlns:a16="http://schemas.microsoft.com/office/drawing/2014/main" id="{51A46DBC-6215-4861-8DCA-BF8ADAA76343}"/>
                  </a:ext>
                </a:extLst>
              </p:cNvPr>
              <p:cNvSpPr>
                <a:spLocks/>
              </p:cNvSpPr>
              <p:nvPr/>
            </p:nvSpPr>
            <p:spPr bwMode="auto">
              <a:xfrm>
                <a:off x="4181" y="2632"/>
                <a:ext cx="86" cy="114"/>
              </a:xfrm>
              <a:custGeom>
                <a:avLst/>
                <a:gdLst/>
                <a:ahLst/>
                <a:cxnLst>
                  <a:cxn ang="0">
                    <a:pos x="20" y="58"/>
                  </a:cxn>
                  <a:cxn ang="0">
                    <a:pos x="24" y="58"/>
                  </a:cxn>
                  <a:cxn ang="0">
                    <a:pos x="24" y="62"/>
                  </a:cxn>
                  <a:cxn ang="0">
                    <a:pos x="28" y="62"/>
                  </a:cxn>
                  <a:cxn ang="0">
                    <a:pos x="32" y="60"/>
                  </a:cxn>
                  <a:cxn ang="0">
                    <a:pos x="34" y="56"/>
                  </a:cxn>
                  <a:cxn ang="0">
                    <a:pos x="42" y="56"/>
                  </a:cxn>
                  <a:cxn ang="0">
                    <a:pos x="50" y="68"/>
                  </a:cxn>
                  <a:cxn ang="0">
                    <a:pos x="54" y="84"/>
                  </a:cxn>
                  <a:cxn ang="0">
                    <a:pos x="54" y="84"/>
                  </a:cxn>
                  <a:cxn ang="0">
                    <a:pos x="58" y="88"/>
                  </a:cxn>
                  <a:cxn ang="0">
                    <a:pos x="62" y="94"/>
                  </a:cxn>
                  <a:cxn ang="0">
                    <a:pos x="62" y="108"/>
                  </a:cxn>
                  <a:cxn ang="0">
                    <a:pos x="60" y="112"/>
                  </a:cxn>
                  <a:cxn ang="0">
                    <a:pos x="68" y="114"/>
                  </a:cxn>
                  <a:cxn ang="0">
                    <a:pos x="70" y="110"/>
                  </a:cxn>
                  <a:cxn ang="0">
                    <a:pos x="78" y="108"/>
                  </a:cxn>
                  <a:cxn ang="0">
                    <a:pos x="80" y="110"/>
                  </a:cxn>
                  <a:cxn ang="0">
                    <a:pos x="86" y="106"/>
                  </a:cxn>
                  <a:cxn ang="0">
                    <a:pos x="86" y="106"/>
                  </a:cxn>
                  <a:cxn ang="0">
                    <a:pos x="86" y="100"/>
                  </a:cxn>
                  <a:cxn ang="0">
                    <a:pos x="84" y="92"/>
                  </a:cxn>
                  <a:cxn ang="0">
                    <a:pos x="82" y="84"/>
                  </a:cxn>
                  <a:cxn ang="0">
                    <a:pos x="78" y="80"/>
                  </a:cxn>
                  <a:cxn ang="0">
                    <a:pos x="76" y="80"/>
                  </a:cxn>
                  <a:cxn ang="0">
                    <a:pos x="76" y="80"/>
                  </a:cxn>
                  <a:cxn ang="0">
                    <a:pos x="74" y="76"/>
                  </a:cxn>
                  <a:cxn ang="0">
                    <a:pos x="72" y="72"/>
                  </a:cxn>
                  <a:cxn ang="0">
                    <a:pos x="66" y="64"/>
                  </a:cxn>
                  <a:cxn ang="0">
                    <a:pos x="60" y="58"/>
                  </a:cxn>
                  <a:cxn ang="0">
                    <a:pos x="58" y="56"/>
                  </a:cxn>
                  <a:cxn ang="0">
                    <a:pos x="58" y="54"/>
                  </a:cxn>
                  <a:cxn ang="0">
                    <a:pos x="44" y="44"/>
                  </a:cxn>
                  <a:cxn ang="0">
                    <a:pos x="46" y="40"/>
                  </a:cxn>
                  <a:cxn ang="0">
                    <a:pos x="50" y="40"/>
                  </a:cxn>
                  <a:cxn ang="0">
                    <a:pos x="54" y="34"/>
                  </a:cxn>
                  <a:cxn ang="0">
                    <a:pos x="46" y="22"/>
                  </a:cxn>
                  <a:cxn ang="0">
                    <a:pos x="34" y="22"/>
                  </a:cxn>
                  <a:cxn ang="0">
                    <a:pos x="32" y="18"/>
                  </a:cxn>
                  <a:cxn ang="0">
                    <a:pos x="30" y="12"/>
                  </a:cxn>
                  <a:cxn ang="0">
                    <a:pos x="24" y="2"/>
                  </a:cxn>
                  <a:cxn ang="0">
                    <a:pos x="18" y="0"/>
                  </a:cxn>
                  <a:cxn ang="0">
                    <a:pos x="16" y="2"/>
                  </a:cxn>
                  <a:cxn ang="0">
                    <a:pos x="16" y="2"/>
                  </a:cxn>
                  <a:cxn ang="0">
                    <a:pos x="16" y="8"/>
                  </a:cxn>
                  <a:cxn ang="0">
                    <a:pos x="18" y="12"/>
                  </a:cxn>
                  <a:cxn ang="0">
                    <a:pos x="12" y="18"/>
                  </a:cxn>
                  <a:cxn ang="0">
                    <a:pos x="10" y="12"/>
                  </a:cxn>
                  <a:cxn ang="0">
                    <a:pos x="10" y="12"/>
                  </a:cxn>
                  <a:cxn ang="0">
                    <a:pos x="8" y="16"/>
                  </a:cxn>
                  <a:cxn ang="0">
                    <a:pos x="4" y="18"/>
                  </a:cxn>
                  <a:cxn ang="0">
                    <a:pos x="4" y="22"/>
                  </a:cxn>
                  <a:cxn ang="0">
                    <a:pos x="2" y="22"/>
                  </a:cxn>
                  <a:cxn ang="0">
                    <a:pos x="0" y="24"/>
                  </a:cxn>
                  <a:cxn ang="0">
                    <a:pos x="0" y="24"/>
                  </a:cxn>
                  <a:cxn ang="0">
                    <a:pos x="4" y="30"/>
                  </a:cxn>
                  <a:cxn ang="0">
                    <a:pos x="4" y="30"/>
                  </a:cxn>
                  <a:cxn ang="0">
                    <a:pos x="4" y="38"/>
                  </a:cxn>
                  <a:cxn ang="0">
                    <a:pos x="10" y="40"/>
                  </a:cxn>
                  <a:cxn ang="0">
                    <a:pos x="10" y="40"/>
                  </a:cxn>
                  <a:cxn ang="0">
                    <a:pos x="8" y="54"/>
                  </a:cxn>
                  <a:cxn ang="0">
                    <a:pos x="8" y="68"/>
                  </a:cxn>
                  <a:cxn ang="0">
                    <a:pos x="20" y="58"/>
                  </a:cxn>
                </a:cxnLst>
                <a:rect l="0" t="0" r="r" b="b"/>
                <a:pathLst>
                  <a:path w="86" h="114">
                    <a:moveTo>
                      <a:pt x="20" y="58"/>
                    </a:moveTo>
                    <a:lnTo>
                      <a:pt x="24" y="58"/>
                    </a:lnTo>
                    <a:lnTo>
                      <a:pt x="24" y="62"/>
                    </a:lnTo>
                    <a:lnTo>
                      <a:pt x="28" y="62"/>
                    </a:lnTo>
                    <a:lnTo>
                      <a:pt x="32" y="60"/>
                    </a:lnTo>
                    <a:lnTo>
                      <a:pt x="34" y="56"/>
                    </a:lnTo>
                    <a:lnTo>
                      <a:pt x="42" y="56"/>
                    </a:lnTo>
                    <a:lnTo>
                      <a:pt x="50" y="68"/>
                    </a:lnTo>
                    <a:lnTo>
                      <a:pt x="54" y="84"/>
                    </a:lnTo>
                    <a:lnTo>
                      <a:pt x="54" y="84"/>
                    </a:lnTo>
                    <a:lnTo>
                      <a:pt x="58" y="88"/>
                    </a:lnTo>
                    <a:lnTo>
                      <a:pt x="62" y="94"/>
                    </a:lnTo>
                    <a:lnTo>
                      <a:pt x="62" y="108"/>
                    </a:lnTo>
                    <a:lnTo>
                      <a:pt x="60" y="112"/>
                    </a:lnTo>
                    <a:lnTo>
                      <a:pt x="68" y="114"/>
                    </a:lnTo>
                    <a:lnTo>
                      <a:pt x="70" y="110"/>
                    </a:lnTo>
                    <a:lnTo>
                      <a:pt x="78" y="108"/>
                    </a:lnTo>
                    <a:lnTo>
                      <a:pt x="80" y="110"/>
                    </a:lnTo>
                    <a:lnTo>
                      <a:pt x="86" y="106"/>
                    </a:lnTo>
                    <a:lnTo>
                      <a:pt x="86" y="106"/>
                    </a:lnTo>
                    <a:lnTo>
                      <a:pt x="86" y="100"/>
                    </a:lnTo>
                    <a:lnTo>
                      <a:pt x="84" y="92"/>
                    </a:lnTo>
                    <a:lnTo>
                      <a:pt x="82" y="84"/>
                    </a:lnTo>
                    <a:lnTo>
                      <a:pt x="78" y="80"/>
                    </a:lnTo>
                    <a:lnTo>
                      <a:pt x="76" y="80"/>
                    </a:lnTo>
                    <a:lnTo>
                      <a:pt x="76" y="80"/>
                    </a:lnTo>
                    <a:lnTo>
                      <a:pt x="74" y="76"/>
                    </a:lnTo>
                    <a:lnTo>
                      <a:pt x="72" y="72"/>
                    </a:lnTo>
                    <a:lnTo>
                      <a:pt x="66" y="64"/>
                    </a:lnTo>
                    <a:lnTo>
                      <a:pt x="60" y="58"/>
                    </a:lnTo>
                    <a:lnTo>
                      <a:pt x="58" y="56"/>
                    </a:lnTo>
                    <a:lnTo>
                      <a:pt x="58" y="54"/>
                    </a:lnTo>
                    <a:lnTo>
                      <a:pt x="44" y="44"/>
                    </a:lnTo>
                    <a:lnTo>
                      <a:pt x="46" y="40"/>
                    </a:lnTo>
                    <a:lnTo>
                      <a:pt x="50" y="40"/>
                    </a:lnTo>
                    <a:lnTo>
                      <a:pt x="54" y="34"/>
                    </a:lnTo>
                    <a:lnTo>
                      <a:pt x="46" y="22"/>
                    </a:lnTo>
                    <a:lnTo>
                      <a:pt x="34" y="22"/>
                    </a:lnTo>
                    <a:lnTo>
                      <a:pt x="32" y="18"/>
                    </a:lnTo>
                    <a:lnTo>
                      <a:pt x="30" y="12"/>
                    </a:lnTo>
                    <a:lnTo>
                      <a:pt x="24" y="2"/>
                    </a:lnTo>
                    <a:lnTo>
                      <a:pt x="18" y="0"/>
                    </a:lnTo>
                    <a:lnTo>
                      <a:pt x="16" y="2"/>
                    </a:lnTo>
                    <a:lnTo>
                      <a:pt x="16" y="2"/>
                    </a:lnTo>
                    <a:lnTo>
                      <a:pt x="16" y="8"/>
                    </a:lnTo>
                    <a:lnTo>
                      <a:pt x="18" y="12"/>
                    </a:lnTo>
                    <a:lnTo>
                      <a:pt x="12" y="18"/>
                    </a:lnTo>
                    <a:lnTo>
                      <a:pt x="10" y="12"/>
                    </a:lnTo>
                    <a:lnTo>
                      <a:pt x="10" y="12"/>
                    </a:lnTo>
                    <a:lnTo>
                      <a:pt x="8" y="16"/>
                    </a:lnTo>
                    <a:lnTo>
                      <a:pt x="4" y="18"/>
                    </a:lnTo>
                    <a:lnTo>
                      <a:pt x="4" y="22"/>
                    </a:lnTo>
                    <a:lnTo>
                      <a:pt x="2" y="22"/>
                    </a:lnTo>
                    <a:lnTo>
                      <a:pt x="0" y="24"/>
                    </a:lnTo>
                    <a:lnTo>
                      <a:pt x="0" y="24"/>
                    </a:lnTo>
                    <a:lnTo>
                      <a:pt x="4" y="30"/>
                    </a:lnTo>
                    <a:lnTo>
                      <a:pt x="4" y="30"/>
                    </a:lnTo>
                    <a:lnTo>
                      <a:pt x="4" y="38"/>
                    </a:lnTo>
                    <a:lnTo>
                      <a:pt x="10" y="40"/>
                    </a:lnTo>
                    <a:lnTo>
                      <a:pt x="10" y="40"/>
                    </a:lnTo>
                    <a:lnTo>
                      <a:pt x="8" y="54"/>
                    </a:lnTo>
                    <a:lnTo>
                      <a:pt x="8" y="68"/>
                    </a:lnTo>
                    <a:lnTo>
                      <a:pt x="20" y="5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1" name="Freeform 1720">
                <a:extLst>
                  <a:ext uri="{FF2B5EF4-FFF2-40B4-BE49-F238E27FC236}">
                    <a16:creationId xmlns:a16="http://schemas.microsoft.com/office/drawing/2014/main" id="{CDA93BC1-E2FB-4E2B-A5E7-555E57581B59}"/>
                  </a:ext>
                </a:extLst>
              </p:cNvPr>
              <p:cNvSpPr>
                <a:spLocks/>
              </p:cNvSpPr>
              <p:nvPr/>
            </p:nvSpPr>
            <p:spPr bwMode="auto">
              <a:xfrm>
                <a:off x="4549" y="2932"/>
                <a:ext cx="124" cy="112"/>
              </a:xfrm>
              <a:custGeom>
                <a:avLst/>
                <a:gdLst/>
                <a:ahLst/>
                <a:cxnLst>
                  <a:cxn ang="0">
                    <a:pos x="122" y="28"/>
                  </a:cxn>
                  <a:cxn ang="0">
                    <a:pos x="122" y="72"/>
                  </a:cxn>
                  <a:cxn ang="0">
                    <a:pos x="120" y="82"/>
                  </a:cxn>
                  <a:cxn ang="0">
                    <a:pos x="124" y="96"/>
                  </a:cxn>
                  <a:cxn ang="0">
                    <a:pos x="124" y="112"/>
                  </a:cxn>
                  <a:cxn ang="0">
                    <a:pos x="108" y="98"/>
                  </a:cxn>
                  <a:cxn ang="0">
                    <a:pos x="102" y="100"/>
                  </a:cxn>
                  <a:cxn ang="0">
                    <a:pos x="96" y="102"/>
                  </a:cxn>
                  <a:cxn ang="0">
                    <a:pos x="82" y="102"/>
                  </a:cxn>
                  <a:cxn ang="0">
                    <a:pos x="88" y="90"/>
                  </a:cxn>
                  <a:cxn ang="0">
                    <a:pos x="92" y="90"/>
                  </a:cxn>
                  <a:cxn ang="0">
                    <a:pos x="92" y="84"/>
                  </a:cxn>
                  <a:cxn ang="0">
                    <a:pos x="94" y="80"/>
                  </a:cxn>
                  <a:cxn ang="0">
                    <a:pos x="86" y="64"/>
                  </a:cxn>
                  <a:cxn ang="0">
                    <a:pos x="82" y="62"/>
                  </a:cxn>
                  <a:cxn ang="0">
                    <a:pos x="62" y="56"/>
                  </a:cxn>
                  <a:cxn ang="0">
                    <a:pos x="46" y="50"/>
                  </a:cxn>
                  <a:cxn ang="0">
                    <a:pos x="40" y="48"/>
                  </a:cxn>
                  <a:cxn ang="0">
                    <a:pos x="34" y="32"/>
                  </a:cxn>
                  <a:cxn ang="0">
                    <a:pos x="24" y="48"/>
                  </a:cxn>
                  <a:cxn ang="0">
                    <a:pos x="22" y="40"/>
                  </a:cxn>
                  <a:cxn ang="0">
                    <a:pos x="12" y="32"/>
                  </a:cxn>
                  <a:cxn ang="0">
                    <a:pos x="14" y="30"/>
                  </a:cxn>
                  <a:cxn ang="0">
                    <a:pos x="26" y="26"/>
                  </a:cxn>
                  <a:cxn ang="0">
                    <a:pos x="34" y="26"/>
                  </a:cxn>
                  <a:cxn ang="0">
                    <a:pos x="34" y="22"/>
                  </a:cxn>
                  <a:cxn ang="0">
                    <a:pos x="18" y="24"/>
                  </a:cxn>
                  <a:cxn ang="0">
                    <a:pos x="10" y="16"/>
                  </a:cxn>
                  <a:cxn ang="0">
                    <a:pos x="4" y="16"/>
                  </a:cxn>
                  <a:cxn ang="0">
                    <a:pos x="4" y="6"/>
                  </a:cxn>
                  <a:cxn ang="0">
                    <a:pos x="8" y="4"/>
                  </a:cxn>
                  <a:cxn ang="0">
                    <a:pos x="16" y="0"/>
                  </a:cxn>
                  <a:cxn ang="0">
                    <a:pos x="30" y="6"/>
                  </a:cxn>
                  <a:cxn ang="0">
                    <a:pos x="36" y="6"/>
                  </a:cxn>
                  <a:cxn ang="0">
                    <a:pos x="38" y="18"/>
                  </a:cxn>
                  <a:cxn ang="0">
                    <a:pos x="42" y="30"/>
                  </a:cxn>
                  <a:cxn ang="0">
                    <a:pos x="44" y="28"/>
                  </a:cxn>
                  <a:cxn ang="0">
                    <a:pos x="52" y="38"/>
                  </a:cxn>
                  <a:cxn ang="0">
                    <a:pos x="56" y="38"/>
                  </a:cxn>
                  <a:cxn ang="0">
                    <a:pos x="60" y="32"/>
                  </a:cxn>
                  <a:cxn ang="0">
                    <a:pos x="66" y="24"/>
                  </a:cxn>
                  <a:cxn ang="0">
                    <a:pos x="76" y="18"/>
                  </a:cxn>
                  <a:cxn ang="0">
                    <a:pos x="82" y="12"/>
                  </a:cxn>
                  <a:cxn ang="0">
                    <a:pos x="106" y="24"/>
                  </a:cxn>
                  <a:cxn ang="0">
                    <a:pos x="118" y="28"/>
                  </a:cxn>
                </a:cxnLst>
                <a:rect l="0" t="0" r="r" b="b"/>
                <a:pathLst>
                  <a:path w="124" h="112">
                    <a:moveTo>
                      <a:pt x="122" y="28"/>
                    </a:moveTo>
                    <a:lnTo>
                      <a:pt x="122" y="28"/>
                    </a:lnTo>
                    <a:lnTo>
                      <a:pt x="122" y="56"/>
                    </a:lnTo>
                    <a:lnTo>
                      <a:pt x="122" y="72"/>
                    </a:lnTo>
                    <a:lnTo>
                      <a:pt x="120" y="82"/>
                    </a:lnTo>
                    <a:lnTo>
                      <a:pt x="120" y="82"/>
                    </a:lnTo>
                    <a:lnTo>
                      <a:pt x="122" y="88"/>
                    </a:lnTo>
                    <a:lnTo>
                      <a:pt x="124" y="96"/>
                    </a:lnTo>
                    <a:lnTo>
                      <a:pt x="124" y="112"/>
                    </a:lnTo>
                    <a:lnTo>
                      <a:pt x="124" y="112"/>
                    </a:lnTo>
                    <a:lnTo>
                      <a:pt x="116" y="106"/>
                    </a:lnTo>
                    <a:lnTo>
                      <a:pt x="108" y="98"/>
                    </a:lnTo>
                    <a:lnTo>
                      <a:pt x="108" y="98"/>
                    </a:lnTo>
                    <a:lnTo>
                      <a:pt x="102" y="100"/>
                    </a:lnTo>
                    <a:lnTo>
                      <a:pt x="96" y="100"/>
                    </a:lnTo>
                    <a:lnTo>
                      <a:pt x="96" y="102"/>
                    </a:lnTo>
                    <a:lnTo>
                      <a:pt x="82" y="102"/>
                    </a:lnTo>
                    <a:lnTo>
                      <a:pt x="82" y="102"/>
                    </a:lnTo>
                    <a:lnTo>
                      <a:pt x="84" y="96"/>
                    </a:lnTo>
                    <a:lnTo>
                      <a:pt x="88" y="90"/>
                    </a:lnTo>
                    <a:lnTo>
                      <a:pt x="88" y="90"/>
                    </a:lnTo>
                    <a:lnTo>
                      <a:pt x="92" y="90"/>
                    </a:lnTo>
                    <a:lnTo>
                      <a:pt x="96" y="86"/>
                    </a:lnTo>
                    <a:lnTo>
                      <a:pt x="92" y="84"/>
                    </a:lnTo>
                    <a:lnTo>
                      <a:pt x="94" y="80"/>
                    </a:lnTo>
                    <a:lnTo>
                      <a:pt x="94" y="80"/>
                    </a:lnTo>
                    <a:lnTo>
                      <a:pt x="90" y="72"/>
                    </a:lnTo>
                    <a:lnTo>
                      <a:pt x="86" y="64"/>
                    </a:lnTo>
                    <a:lnTo>
                      <a:pt x="84" y="64"/>
                    </a:lnTo>
                    <a:lnTo>
                      <a:pt x="82" y="62"/>
                    </a:lnTo>
                    <a:lnTo>
                      <a:pt x="82" y="62"/>
                    </a:lnTo>
                    <a:lnTo>
                      <a:pt x="62" y="56"/>
                    </a:lnTo>
                    <a:lnTo>
                      <a:pt x="52" y="52"/>
                    </a:lnTo>
                    <a:lnTo>
                      <a:pt x="46" y="50"/>
                    </a:lnTo>
                    <a:lnTo>
                      <a:pt x="46" y="46"/>
                    </a:lnTo>
                    <a:lnTo>
                      <a:pt x="40" y="48"/>
                    </a:lnTo>
                    <a:lnTo>
                      <a:pt x="34" y="42"/>
                    </a:lnTo>
                    <a:lnTo>
                      <a:pt x="34" y="32"/>
                    </a:lnTo>
                    <a:lnTo>
                      <a:pt x="30" y="46"/>
                    </a:lnTo>
                    <a:lnTo>
                      <a:pt x="24" y="48"/>
                    </a:lnTo>
                    <a:lnTo>
                      <a:pt x="24" y="48"/>
                    </a:lnTo>
                    <a:lnTo>
                      <a:pt x="22" y="40"/>
                    </a:lnTo>
                    <a:lnTo>
                      <a:pt x="16" y="34"/>
                    </a:lnTo>
                    <a:lnTo>
                      <a:pt x="12" y="32"/>
                    </a:lnTo>
                    <a:lnTo>
                      <a:pt x="12" y="30"/>
                    </a:lnTo>
                    <a:lnTo>
                      <a:pt x="14" y="30"/>
                    </a:lnTo>
                    <a:lnTo>
                      <a:pt x="20" y="30"/>
                    </a:lnTo>
                    <a:lnTo>
                      <a:pt x="26" y="26"/>
                    </a:lnTo>
                    <a:lnTo>
                      <a:pt x="32" y="28"/>
                    </a:lnTo>
                    <a:lnTo>
                      <a:pt x="34" y="26"/>
                    </a:lnTo>
                    <a:lnTo>
                      <a:pt x="34" y="22"/>
                    </a:lnTo>
                    <a:lnTo>
                      <a:pt x="34" y="22"/>
                    </a:lnTo>
                    <a:lnTo>
                      <a:pt x="24" y="24"/>
                    </a:lnTo>
                    <a:lnTo>
                      <a:pt x="18" y="24"/>
                    </a:lnTo>
                    <a:lnTo>
                      <a:pt x="14" y="22"/>
                    </a:lnTo>
                    <a:lnTo>
                      <a:pt x="10" y="16"/>
                    </a:lnTo>
                    <a:lnTo>
                      <a:pt x="4" y="14"/>
                    </a:lnTo>
                    <a:lnTo>
                      <a:pt x="4" y="16"/>
                    </a:lnTo>
                    <a:lnTo>
                      <a:pt x="0" y="14"/>
                    </a:lnTo>
                    <a:lnTo>
                      <a:pt x="4" y="6"/>
                    </a:lnTo>
                    <a:lnTo>
                      <a:pt x="4" y="6"/>
                    </a:lnTo>
                    <a:lnTo>
                      <a:pt x="8" y="4"/>
                    </a:lnTo>
                    <a:lnTo>
                      <a:pt x="12" y="2"/>
                    </a:lnTo>
                    <a:lnTo>
                      <a:pt x="16" y="0"/>
                    </a:lnTo>
                    <a:lnTo>
                      <a:pt x="22" y="0"/>
                    </a:lnTo>
                    <a:lnTo>
                      <a:pt x="30" y="6"/>
                    </a:lnTo>
                    <a:lnTo>
                      <a:pt x="36" y="6"/>
                    </a:lnTo>
                    <a:lnTo>
                      <a:pt x="36" y="6"/>
                    </a:lnTo>
                    <a:lnTo>
                      <a:pt x="38" y="10"/>
                    </a:lnTo>
                    <a:lnTo>
                      <a:pt x="38" y="18"/>
                    </a:lnTo>
                    <a:lnTo>
                      <a:pt x="38" y="24"/>
                    </a:lnTo>
                    <a:lnTo>
                      <a:pt x="42" y="30"/>
                    </a:lnTo>
                    <a:lnTo>
                      <a:pt x="42" y="28"/>
                    </a:lnTo>
                    <a:lnTo>
                      <a:pt x="44" y="28"/>
                    </a:lnTo>
                    <a:lnTo>
                      <a:pt x="48" y="36"/>
                    </a:lnTo>
                    <a:lnTo>
                      <a:pt x="52" y="38"/>
                    </a:lnTo>
                    <a:lnTo>
                      <a:pt x="56" y="38"/>
                    </a:lnTo>
                    <a:lnTo>
                      <a:pt x="56" y="38"/>
                    </a:lnTo>
                    <a:lnTo>
                      <a:pt x="58" y="34"/>
                    </a:lnTo>
                    <a:lnTo>
                      <a:pt x="60" y="32"/>
                    </a:lnTo>
                    <a:lnTo>
                      <a:pt x="64" y="28"/>
                    </a:lnTo>
                    <a:lnTo>
                      <a:pt x="66" y="24"/>
                    </a:lnTo>
                    <a:lnTo>
                      <a:pt x="76" y="20"/>
                    </a:lnTo>
                    <a:lnTo>
                      <a:pt x="76" y="18"/>
                    </a:lnTo>
                    <a:lnTo>
                      <a:pt x="82" y="12"/>
                    </a:lnTo>
                    <a:lnTo>
                      <a:pt x="82" y="12"/>
                    </a:lnTo>
                    <a:lnTo>
                      <a:pt x="98" y="22"/>
                    </a:lnTo>
                    <a:lnTo>
                      <a:pt x="106" y="24"/>
                    </a:lnTo>
                    <a:lnTo>
                      <a:pt x="114" y="24"/>
                    </a:lnTo>
                    <a:lnTo>
                      <a:pt x="118" y="28"/>
                    </a:lnTo>
                    <a:lnTo>
                      <a:pt x="122" y="2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2" name="Freeform 1721">
                <a:extLst>
                  <a:ext uri="{FF2B5EF4-FFF2-40B4-BE49-F238E27FC236}">
                    <a16:creationId xmlns:a16="http://schemas.microsoft.com/office/drawing/2014/main" id="{C68F5827-2AEA-42AB-976F-A697A71122B6}"/>
                  </a:ext>
                </a:extLst>
              </p:cNvPr>
              <p:cNvSpPr>
                <a:spLocks/>
              </p:cNvSpPr>
              <p:nvPr/>
            </p:nvSpPr>
            <p:spPr bwMode="auto">
              <a:xfrm>
                <a:off x="4181" y="2842"/>
                <a:ext cx="48" cy="66"/>
              </a:xfrm>
              <a:custGeom>
                <a:avLst/>
                <a:gdLst/>
                <a:ahLst/>
                <a:cxnLst>
                  <a:cxn ang="0">
                    <a:pos x="24" y="6"/>
                  </a:cxn>
                  <a:cxn ang="0">
                    <a:pos x="26" y="6"/>
                  </a:cxn>
                  <a:cxn ang="0">
                    <a:pos x="26" y="6"/>
                  </a:cxn>
                  <a:cxn ang="0">
                    <a:pos x="34" y="12"/>
                  </a:cxn>
                  <a:cxn ang="0">
                    <a:pos x="38" y="22"/>
                  </a:cxn>
                  <a:cxn ang="0">
                    <a:pos x="38" y="22"/>
                  </a:cxn>
                  <a:cxn ang="0">
                    <a:pos x="38" y="36"/>
                  </a:cxn>
                  <a:cxn ang="0">
                    <a:pos x="38" y="44"/>
                  </a:cxn>
                  <a:cxn ang="0">
                    <a:pos x="40" y="48"/>
                  </a:cxn>
                  <a:cxn ang="0">
                    <a:pos x="40" y="48"/>
                  </a:cxn>
                  <a:cxn ang="0">
                    <a:pos x="42" y="50"/>
                  </a:cxn>
                  <a:cxn ang="0">
                    <a:pos x="46" y="54"/>
                  </a:cxn>
                  <a:cxn ang="0">
                    <a:pos x="48" y="62"/>
                  </a:cxn>
                  <a:cxn ang="0">
                    <a:pos x="48" y="66"/>
                  </a:cxn>
                  <a:cxn ang="0">
                    <a:pos x="42" y="64"/>
                  </a:cxn>
                  <a:cxn ang="0">
                    <a:pos x="38" y="66"/>
                  </a:cxn>
                  <a:cxn ang="0">
                    <a:pos x="38" y="66"/>
                  </a:cxn>
                  <a:cxn ang="0">
                    <a:pos x="26" y="58"/>
                  </a:cxn>
                  <a:cxn ang="0">
                    <a:pos x="14" y="48"/>
                  </a:cxn>
                  <a:cxn ang="0">
                    <a:pos x="14" y="48"/>
                  </a:cxn>
                  <a:cxn ang="0">
                    <a:pos x="12" y="42"/>
                  </a:cxn>
                  <a:cxn ang="0">
                    <a:pos x="8" y="36"/>
                  </a:cxn>
                  <a:cxn ang="0">
                    <a:pos x="6" y="32"/>
                  </a:cxn>
                  <a:cxn ang="0">
                    <a:pos x="4" y="24"/>
                  </a:cxn>
                  <a:cxn ang="0">
                    <a:pos x="4" y="24"/>
                  </a:cxn>
                  <a:cxn ang="0">
                    <a:pos x="2" y="20"/>
                  </a:cxn>
                  <a:cxn ang="0">
                    <a:pos x="2" y="12"/>
                  </a:cxn>
                  <a:cxn ang="0">
                    <a:pos x="0" y="0"/>
                  </a:cxn>
                  <a:cxn ang="0">
                    <a:pos x="10" y="2"/>
                  </a:cxn>
                  <a:cxn ang="0">
                    <a:pos x="12" y="6"/>
                  </a:cxn>
                  <a:cxn ang="0">
                    <a:pos x="12" y="12"/>
                  </a:cxn>
                  <a:cxn ang="0">
                    <a:pos x="16" y="8"/>
                  </a:cxn>
                  <a:cxn ang="0">
                    <a:pos x="22" y="8"/>
                  </a:cxn>
                  <a:cxn ang="0">
                    <a:pos x="24" y="6"/>
                  </a:cxn>
                </a:cxnLst>
                <a:rect l="0" t="0" r="r" b="b"/>
                <a:pathLst>
                  <a:path w="48" h="66">
                    <a:moveTo>
                      <a:pt x="24" y="6"/>
                    </a:moveTo>
                    <a:lnTo>
                      <a:pt x="26" y="6"/>
                    </a:lnTo>
                    <a:lnTo>
                      <a:pt x="26" y="6"/>
                    </a:lnTo>
                    <a:lnTo>
                      <a:pt x="34" y="12"/>
                    </a:lnTo>
                    <a:lnTo>
                      <a:pt x="38" y="22"/>
                    </a:lnTo>
                    <a:lnTo>
                      <a:pt x="38" y="22"/>
                    </a:lnTo>
                    <a:lnTo>
                      <a:pt x="38" y="36"/>
                    </a:lnTo>
                    <a:lnTo>
                      <a:pt x="38" y="44"/>
                    </a:lnTo>
                    <a:lnTo>
                      <a:pt x="40" y="48"/>
                    </a:lnTo>
                    <a:lnTo>
                      <a:pt x="40" y="48"/>
                    </a:lnTo>
                    <a:lnTo>
                      <a:pt x="42" y="50"/>
                    </a:lnTo>
                    <a:lnTo>
                      <a:pt x="46" y="54"/>
                    </a:lnTo>
                    <a:lnTo>
                      <a:pt x="48" y="62"/>
                    </a:lnTo>
                    <a:lnTo>
                      <a:pt x="48" y="66"/>
                    </a:lnTo>
                    <a:lnTo>
                      <a:pt x="42" y="64"/>
                    </a:lnTo>
                    <a:lnTo>
                      <a:pt x="38" y="66"/>
                    </a:lnTo>
                    <a:lnTo>
                      <a:pt x="38" y="66"/>
                    </a:lnTo>
                    <a:lnTo>
                      <a:pt x="26" y="58"/>
                    </a:lnTo>
                    <a:lnTo>
                      <a:pt x="14" y="48"/>
                    </a:lnTo>
                    <a:lnTo>
                      <a:pt x="14" y="48"/>
                    </a:lnTo>
                    <a:lnTo>
                      <a:pt x="12" y="42"/>
                    </a:lnTo>
                    <a:lnTo>
                      <a:pt x="8" y="36"/>
                    </a:lnTo>
                    <a:lnTo>
                      <a:pt x="6" y="32"/>
                    </a:lnTo>
                    <a:lnTo>
                      <a:pt x="4" y="24"/>
                    </a:lnTo>
                    <a:lnTo>
                      <a:pt x="4" y="24"/>
                    </a:lnTo>
                    <a:lnTo>
                      <a:pt x="2" y="20"/>
                    </a:lnTo>
                    <a:lnTo>
                      <a:pt x="2" y="12"/>
                    </a:lnTo>
                    <a:lnTo>
                      <a:pt x="0" y="0"/>
                    </a:lnTo>
                    <a:lnTo>
                      <a:pt x="10" y="2"/>
                    </a:lnTo>
                    <a:lnTo>
                      <a:pt x="12" y="6"/>
                    </a:lnTo>
                    <a:lnTo>
                      <a:pt x="12" y="12"/>
                    </a:lnTo>
                    <a:lnTo>
                      <a:pt x="16" y="8"/>
                    </a:lnTo>
                    <a:lnTo>
                      <a:pt x="22" y="8"/>
                    </a:lnTo>
                    <a:lnTo>
                      <a:pt x="24"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3" name="Freeform 1722">
                <a:extLst>
                  <a:ext uri="{FF2B5EF4-FFF2-40B4-BE49-F238E27FC236}">
                    <a16:creationId xmlns:a16="http://schemas.microsoft.com/office/drawing/2014/main" id="{DFEC5613-1CD9-48E3-8A19-3087F2DBA107}"/>
                  </a:ext>
                </a:extLst>
              </p:cNvPr>
              <p:cNvSpPr>
                <a:spLocks/>
              </p:cNvSpPr>
              <p:nvPr/>
            </p:nvSpPr>
            <p:spPr bwMode="auto">
              <a:xfrm>
                <a:off x="4293" y="2838"/>
                <a:ext cx="116" cy="78"/>
              </a:xfrm>
              <a:custGeom>
                <a:avLst/>
                <a:gdLst/>
                <a:ahLst/>
                <a:cxnLst>
                  <a:cxn ang="0">
                    <a:pos x="60" y="38"/>
                  </a:cxn>
                  <a:cxn ang="0">
                    <a:pos x="62" y="30"/>
                  </a:cxn>
                  <a:cxn ang="0">
                    <a:pos x="70" y="32"/>
                  </a:cxn>
                  <a:cxn ang="0">
                    <a:pos x="68" y="26"/>
                  </a:cxn>
                  <a:cxn ang="0">
                    <a:pos x="70" y="20"/>
                  </a:cxn>
                  <a:cxn ang="0">
                    <a:pos x="86" y="0"/>
                  </a:cxn>
                  <a:cxn ang="0">
                    <a:pos x="90" y="2"/>
                  </a:cxn>
                  <a:cxn ang="0">
                    <a:pos x="96" y="14"/>
                  </a:cxn>
                  <a:cxn ang="0">
                    <a:pos x="100" y="16"/>
                  </a:cxn>
                  <a:cxn ang="0">
                    <a:pos x="104" y="16"/>
                  </a:cxn>
                  <a:cxn ang="0">
                    <a:pos x="116" y="22"/>
                  </a:cxn>
                  <a:cxn ang="0">
                    <a:pos x="110" y="26"/>
                  </a:cxn>
                  <a:cxn ang="0">
                    <a:pos x="104" y="30"/>
                  </a:cxn>
                  <a:cxn ang="0">
                    <a:pos x="100" y="36"/>
                  </a:cxn>
                  <a:cxn ang="0">
                    <a:pos x="96" y="36"/>
                  </a:cxn>
                  <a:cxn ang="0">
                    <a:pos x="92" y="34"/>
                  </a:cxn>
                  <a:cxn ang="0">
                    <a:pos x="74" y="34"/>
                  </a:cxn>
                  <a:cxn ang="0">
                    <a:pos x="58" y="68"/>
                  </a:cxn>
                  <a:cxn ang="0">
                    <a:pos x="50" y="72"/>
                  </a:cxn>
                  <a:cxn ang="0">
                    <a:pos x="40" y="72"/>
                  </a:cxn>
                  <a:cxn ang="0">
                    <a:pos x="32" y="70"/>
                  </a:cxn>
                  <a:cxn ang="0">
                    <a:pos x="18" y="78"/>
                  </a:cxn>
                  <a:cxn ang="0">
                    <a:pos x="16" y="76"/>
                  </a:cxn>
                  <a:cxn ang="0">
                    <a:pos x="6" y="76"/>
                  </a:cxn>
                  <a:cxn ang="0">
                    <a:pos x="2" y="70"/>
                  </a:cxn>
                  <a:cxn ang="0">
                    <a:pos x="2" y="62"/>
                  </a:cxn>
                  <a:cxn ang="0">
                    <a:pos x="2" y="66"/>
                  </a:cxn>
                  <a:cxn ang="0">
                    <a:pos x="20" y="60"/>
                  </a:cxn>
                  <a:cxn ang="0">
                    <a:pos x="24" y="52"/>
                  </a:cxn>
                  <a:cxn ang="0">
                    <a:pos x="38" y="50"/>
                  </a:cxn>
                  <a:cxn ang="0">
                    <a:pos x="50" y="36"/>
                  </a:cxn>
                  <a:cxn ang="0">
                    <a:pos x="52" y="30"/>
                  </a:cxn>
                </a:cxnLst>
                <a:rect l="0" t="0" r="r" b="b"/>
                <a:pathLst>
                  <a:path w="116" h="78">
                    <a:moveTo>
                      <a:pt x="52" y="30"/>
                    </a:moveTo>
                    <a:lnTo>
                      <a:pt x="60" y="38"/>
                    </a:lnTo>
                    <a:lnTo>
                      <a:pt x="62" y="36"/>
                    </a:lnTo>
                    <a:lnTo>
                      <a:pt x="62" y="30"/>
                    </a:lnTo>
                    <a:lnTo>
                      <a:pt x="62" y="30"/>
                    </a:lnTo>
                    <a:lnTo>
                      <a:pt x="70" y="32"/>
                    </a:lnTo>
                    <a:lnTo>
                      <a:pt x="70" y="28"/>
                    </a:lnTo>
                    <a:lnTo>
                      <a:pt x="68" y="26"/>
                    </a:lnTo>
                    <a:lnTo>
                      <a:pt x="72" y="22"/>
                    </a:lnTo>
                    <a:lnTo>
                      <a:pt x="70" y="20"/>
                    </a:lnTo>
                    <a:lnTo>
                      <a:pt x="74" y="18"/>
                    </a:lnTo>
                    <a:lnTo>
                      <a:pt x="86" y="0"/>
                    </a:lnTo>
                    <a:lnTo>
                      <a:pt x="86" y="6"/>
                    </a:lnTo>
                    <a:lnTo>
                      <a:pt x="90" y="2"/>
                    </a:lnTo>
                    <a:lnTo>
                      <a:pt x="96" y="6"/>
                    </a:lnTo>
                    <a:lnTo>
                      <a:pt x="96" y="14"/>
                    </a:lnTo>
                    <a:lnTo>
                      <a:pt x="100" y="12"/>
                    </a:lnTo>
                    <a:lnTo>
                      <a:pt x="100" y="16"/>
                    </a:lnTo>
                    <a:lnTo>
                      <a:pt x="104" y="16"/>
                    </a:lnTo>
                    <a:lnTo>
                      <a:pt x="104" y="16"/>
                    </a:lnTo>
                    <a:lnTo>
                      <a:pt x="110" y="18"/>
                    </a:lnTo>
                    <a:lnTo>
                      <a:pt x="116" y="22"/>
                    </a:lnTo>
                    <a:lnTo>
                      <a:pt x="116" y="22"/>
                    </a:lnTo>
                    <a:lnTo>
                      <a:pt x="110" y="26"/>
                    </a:lnTo>
                    <a:lnTo>
                      <a:pt x="104" y="26"/>
                    </a:lnTo>
                    <a:lnTo>
                      <a:pt x="104" y="30"/>
                    </a:lnTo>
                    <a:lnTo>
                      <a:pt x="108" y="32"/>
                    </a:lnTo>
                    <a:lnTo>
                      <a:pt x="100" y="36"/>
                    </a:lnTo>
                    <a:lnTo>
                      <a:pt x="98" y="34"/>
                    </a:lnTo>
                    <a:lnTo>
                      <a:pt x="96" y="36"/>
                    </a:lnTo>
                    <a:lnTo>
                      <a:pt x="96" y="36"/>
                    </a:lnTo>
                    <a:lnTo>
                      <a:pt x="92" y="34"/>
                    </a:lnTo>
                    <a:lnTo>
                      <a:pt x="86" y="34"/>
                    </a:lnTo>
                    <a:lnTo>
                      <a:pt x="74" y="34"/>
                    </a:lnTo>
                    <a:lnTo>
                      <a:pt x="74" y="34"/>
                    </a:lnTo>
                    <a:lnTo>
                      <a:pt x="58" y="68"/>
                    </a:lnTo>
                    <a:lnTo>
                      <a:pt x="58" y="68"/>
                    </a:lnTo>
                    <a:lnTo>
                      <a:pt x="50" y="72"/>
                    </a:lnTo>
                    <a:lnTo>
                      <a:pt x="44" y="72"/>
                    </a:lnTo>
                    <a:lnTo>
                      <a:pt x="40" y="72"/>
                    </a:lnTo>
                    <a:lnTo>
                      <a:pt x="38" y="70"/>
                    </a:lnTo>
                    <a:lnTo>
                      <a:pt x="32" y="70"/>
                    </a:lnTo>
                    <a:lnTo>
                      <a:pt x="24" y="76"/>
                    </a:lnTo>
                    <a:lnTo>
                      <a:pt x="18" y="78"/>
                    </a:lnTo>
                    <a:lnTo>
                      <a:pt x="16" y="76"/>
                    </a:lnTo>
                    <a:lnTo>
                      <a:pt x="16" y="76"/>
                    </a:lnTo>
                    <a:lnTo>
                      <a:pt x="10" y="76"/>
                    </a:lnTo>
                    <a:lnTo>
                      <a:pt x="6" y="76"/>
                    </a:lnTo>
                    <a:lnTo>
                      <a:pt x="6" y="76"/>
                    </a:lnTo>
                    <a:lnTo>
                      <a:pt x="2" y="70"/>
                    </a:lnTo>
                    <a:lnTo>
                      <a:pt x="0" y="62"/>
                    </a:lnTo>
                    <a:lnTo>
                      <a:pt x="2" y="62"/>
                    </a:lnTo>
                    <a:lnTo>
                      <a:pt x="2" y="66"/>
                    </a:lnTo>
                    <a:lnTo>
                      <a:pt x="2" y="66"/>
                    </a:lnTo>
                    <a:lnTo>
                      <a:pt x="18" y="68"/>
                    </a:lnTo>
                    <a:lnTo>
                      <a:pt x="20" y="60"/>
                    </a:lnTo>
                    <a:lnTo>
                      <a:pt x="22" y="60"/>
                    </a:lnTo>
                    <a:lnTo>
                      <a:pt x="24" y="52"/>
                    </a:lnTo>
                    <a:lnTo>
                      <a:pt x="38" y="50"/>
                    </a:lnTo>
                    <a:lnTo>
                      <a:pt x="38" y="50"/>
                    </a:lnTo>
                    <a:lnTo>
                      <a:pt x="46" y="40"/>
                    </a:lnTo>
                    <a:lnTo>
                      <a:pt x="50" y="36"/>
                    </a:lnTo>
                    <a:lnTo>
                      <a:pt x="52" y="30"/>
                    </a:lnTo>
                    <a:lnTo>
                      <a:pt x="52" y="3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4" name="Freeform 1723">
                <a:extLst>
                  <a:ext uri="{FF2B5EF4-FFF2-40B4-BE49-F238E27FC236}">
                    <a16:creationId xmlns:a16="http://schemas.microsoft.com/office/drawing/2014/main" id="{E0A1C4AE-780D-4835-AE0C-C716FCD4B6D5}"/>
                  </a:ext>
                </a:extLst>
              </p:cNvPr>
              <p:cNvSpPr>
                <a:spLocks/>
              </p:cNvSpPr>
              <p:nvPr/>
            </p:nvSpPr>
            <p:spPr bwMode="auto">
              <a:xfrm>
                <a:off x="4285" y="2872"/>
                <a:ext cx="120" cy="108"/>
              </a:xfrm>
              <a:custGeom>
                <a:avLst/>
                <a:gdLst/>
                <a:ahLst/>
                <a:cxnLst>
                  <a:cxn ang="0">
                    <a:pos x="102" y="4"/>
                  </a:cxn>
                  <a:cxn ang="0">
                    <a:pos x="106" y="8"/>
                  </a:cxn>
                  <a:cxn ang="0">
                    <a:pos x="108" y="26"/>
                  </a:cxn>
                  <a:cxn ang="0">
                    <a:pos x="120" y="44"/>
                  </a:cxn>
                  <a:cxn ang="0">
                    <a:pos x="116" y="44"/>
                  </a:cxn>
                  <a:cxn ang="0">
                    <a:pos x="108" y="42"/>
                  </a:cxn>
                  <a:cxn ang="0">
                    <a:pos x="106" y="46"/>
                  </a:cxn>
                  <a:cxn ang="0">
                    <a:pos x="104" y="50"/>
                  </a:cxn>
                  <a:cxn ang="0">
                    <a:pos x="102" y="64"/>
                  </a:cxn>
                  <a:cxn ang="0">
                    <a:pos x="98" y="70"/>
                  </a:cxn>
                  <a:cxn ang="0">
                    <a:pos x="88" y="78"/>
                  </a:cxn>
                  <a:cxn ang="0">
                    <a:pos x="90" y="82"/>
                  </a:cxn>
                  <a:cxn ang="0">
                    <a:pos x="92" y="88"/>
                  </a:cxn>
                  <a:cxn ang="0">
                    <a:pos x="84" y="100"/>
                  </a:cxn>
                  <a:cxn ang="0">
                    <a:pos x="78" y="104"/>
                  </a:cxn>
                  <a:cxn ang="0">
                    <a:pos x="68" y="100"/>
                  </a:cxn>
                  <a:cxn ang="0">
                    <a:pos x="64" y="98"/>
                  </a:cxn>
                  <a:cxn ang="0">
                    <a:pos x="56" y="96"/>
                  </a:cxn>
                  <a:cxn ang="0">
                    <a:pos x="52" y="96"/>
                  </a:cxn>
                  <a:cxn ang="0">
                    <a:pos x="48" y="96"/>
                  </a:cxn>
                  <a:cxn ang="0">
                    <a:pos x="42" y="98"/>
                  </a:cxn>
                  <a:cxn ang="0">
                    <a:pos x="34" y="90"/>
                  </a:cxn>
                  <a:cxn ang="0">
                    <a:pos x="30" y="92"/>
                  </a:cxn>
                  <a:cxn ang="0">
                    <a:pos x="26" y="94"/>
                  </a:cxn>
                  <a:cxn ang="0">
                    <a:pos x="18" y="92"/>
                  </a:cxn>
                  <a:cxn ang="0">
                    <a:pos x="16" y="92"/>
                  </a:cxn>
                  <a:cxn ang="0">
                    <a:pos x="14" y="78"/>
                  </a:cxn>
                  <a:cxn ang="0">
                    <a:pos x="8" y="64"/>
                  </a:cxn>
                  <a:cxn ang="0">
                    <a:pos x="4" y="60"/>
                  </a:cxn>
                  <a:cxn ang="0">
                    <a:pos x="0" y="44"/>
                  </a:cxn>
                  <a:cxn ang="0">
                    <a:pos x="8" y="28"/>
                  </a:cxn>
                  <a:cxn ang="0">
                    <a:pos x="10" y="36"/>
                  </a:cxn>
                  <a:cxn ang="0">
                    <a:pos x="14" y="42"/>
                  </a:cxn>
                  <a:cxn ang="0">
                    <a:pos x="24" y="42"/>
                  </a:cxn>
                  <a:cxn ang="0">
                    <a:pos x="32" y="42"/>
                  </a:cxn>
                  <a:cxn ang="0">
                    <a:pos x="46" y="36"/>
                  </a:cxn>
                  <a:cxn ang="0">
                    <a:pos x="48" y="38"/>
                  </a:cxn>
                  <a:cxn ang="0">
                    <a:pos x="58" y="38"/>
                  </a:cxn>
                  <a:cxn ang="0">
                    <a:pos x="66" y="34"/>
                  </a:cxn>
                  <a:cxn ang="0">
                    <a:pos x="82" y="0"/>
                  </a:cxn>
                  <a:cxn ang="0">
                    <a:pos x="100" y="0"/>
                  </a:cxn>
                  <a:cxn ang="0">
                    <a:pos x="104" y="2"/>
                  </a:cxn>
                </a:cxnLst>
                <a:rect l="0" t="0" r="r" b="b"/>
                <a:pathLst>
                  <a:path w="120" h="108">
                    <a:moveTo>
                      <a:pt x="104" y="2"/>
                    </a:moveTo>
                    <a:lnTo>
                      <a:pt x="102" y="4"/>
                    </a:lnTo>
                    <a:lnTo>
                      <a:pt x="106" y="6"/>
                    </a:lnTo>
                    <a:lnTo>
                      <a:pt x="106" y="8"/>
                    </a:lnTo>
                    <a:lnTo>
                      <a:pt x="100" y="10"/>
                    </a:lnTo>
                    <a:lnTo>
                      <a:pt x="108" y="26"/>
                    </a:lnTo>
                    <a:lnTo>
                      <a:pt x="108" y="30"/>
                    </a:lnTo>
                    <a:lnTo>
                      <a:pt x="120" y="44"/>
                    </a:lnTo>
                    <a:lnTo>
                      <a:pt x="120" y="44"/>
                    </a:lnTo>
                    <a:lnTo>
                      <a:pt x="116" y="44"/>
                    </a:lnTo>
                    <a:lnTo>
                      <a:pt x="110" y="44"/>
                    </a:lnTo>
                    <a:lnTo>
                      <a:pt x="108" y="42"/>
                    </a:lnTo>
                    <a:lnTo>
                      <a:pt x="108" y="44"/>
                    </a:lnTo>
                    <a:lnTo>
                      <a:pt x="106" y="46"/>
                    </a:lnTo>
                    <a:lnTo>
                      <a:pt x="106" y="46"/>
                    </a:lnTo>
                    <a:lnTo>
                      <a:pt x="104" y="50"/>
                    </a:lnTo>
                    <a:lnTo>
                      <a:pt x="102" y="56"/>
                    </a:lnTo>
                    <a:lnTo>
                      <a:pt x="102" y="64"/>
                    </a:lnTo>
                    <a:lnTo>
                      <a:pt x="98" y="70"/>
                    </a:lnTo>
                    <a:lnTo>
                      <a:pt x="98" y="70"/>
                    </a:lnTo>
                    <a:lnTo>
                      <a:pt x="92" y="74"/>
                    </a:lnTo>
                    <a:lnTo>
                      <a:pt x="88" y="78"/>
                    </a:lnTo>
                    <a:lnTo>
                      <a:pt x="90" y="78"/>
                    </a:lnTo>
                    <a:lnTo>
                      <a:pt x="90" y="82"/>
                    </a:lnTo>
                    <a:lnTo>
                      <a:pt x="92" y="84"/>
                    </a:lnTo>
                    <a:lnTo>
                      <a:pt x="92" y="88"/>
                    </a:lnTo>
                    <a:lnTo>
                      <a:pt x="90" y="88"/>
                    </a:lnTo>
                    <a:lnTo>
                      <a:pt x="84" y="100"/>
                    </a:lnTo>
                    <a:lnTo>
                      <a:pt x="84" y="100"/>
                    </a:lnTo>
                    <a:lnTo>
                      <a:pt x="78" y="104"/>
                    </a:lnTo>
                    <a:lnTo>
                      <a:pt x="70" y="108"/>
                    </a:lnTo>
                    <a:lnTo>
                      <a:pt x="68" y="100"/>
                    </a:lnTo>
                    <a:lnTo>
                      <a:pt x="68" y="100"/>
                    </a:lnTo>
                    <a:lnTo>
                      <a:pt x="64" y="98"/>
                    </a:lnTo>
                    <a:lnTo>
                      <a:pt x="58" y="98"/>
                    </a:lnTo>
                    <a:lnTo>
                      <a:pt x="56" y="96"/>
                    </a:lnTo>
                    <a:lnTo>
                      <a:pt x="56" y="96"/>
                    </a:lnTo>
                    <a:lnTo>
                      <a:pt x="52" y="96"/>
                    </a:lnTo>
                    <a:lnTo>
                      <a:pt x="50" y="94"/>
                    </a:lnTo>
                    <a:lnTo>
                      <a:pt x="48" y="96"/>
                    </a:lnTo>
                    <a:lnTo>
                      <a:pt x="48" y="96"/>
                    </a:lnTo>
                    <a:lnTo>
                      <a:pt x="42" y="98"/>
                    </a:lnTo>
                    <a:lnTo>
                      <a:pt x="36" y="100"/>
                    </a:lnTo>
                    <a:lnTo>
                      <a:pt x="34" y="90"/>
                    </a:lnTo>
                    <a:lnTo>
                      <a:pt x="32" y="92"/>
                    </a:lnTo>
                    <a:lnTo>
                      <a:pt x="30" y="92"/>
                    </a:lnTo>
                    <a:lnTo>
                      <a:pt x="30" y="92"/>
                    </a:lnTo>
                    <a:lnTo>
                      <a:pt x="26" y="94"/>
                    </a:lnTo>
                    <a:lnTo>
                      <a:pt x="22" y="94"/>
                    </a:lnTo>
                    <a:lnTo>
                      <a:pt x="18" y="92"/>
                    </a:lnTo>
                    <a:lnTo>
                      <a:pt x="16" y="92"/>
                    </a:lnTo>
                    <a:lnTo>
                      <a:pt x="16" y="92"/>
                    </a:lnTo>
                    <a:lnTo>
                      <a:pt x="14" y="86"/>
                    </a:lnTo>
                    <a:lnTo>
                      <a:pt x="14" y="78"/>
                    </a:lnTo>
                    <a:lnTo>
                      <a:pt x="12" y="70"/>
                    </a:lnTo>
                    <a:lnTo>
                      <a:pt x="8" y="64"/>
                    </a:lnTo>
                    <a:lnTo>
                      <a:pt x="4" y="60"/>
                    </a:lnTo>
                    <a:lnTo>
                      <a:pt x="4" y="60"/>
                    </a:lnTo>
                    <a:lnTo>
                      <a:pt x="2" y="52"/>
                    </a:lnTo>
                    <a:lnTo>
                      <a:pt x="0" y="44"/>
                    </a:lnTo>
                    <a:lnTo>
                      <a:pt x="2" y="36"/>
                    </a:lnTo>
                    <a:lnTo>
                      <a:pt x="8" y="28"/>
                    </a:lnTo>
                    <a:lnTo>
                      <a:pt x="8" y="28"/>
                    </a:lnTo>
                    <a:lnTo>
                      <a:pt x="10" y="36"/>
                    </a:lnTo>
                    <a:lnTo>
                      <a:pt x="14" y="42"/>
                    </a:lnTo>
                    <a:lnTo>
                      <a:pt x="14" y="42"/>
                    </a:lnTo>
                    <a:lnTo>
                      <a:pt x="18" y="42"/>
                    </a:lnTo>
                    <a:lnTo>
                      <a:pt x="24" y="42"/>
                    </a:lnTo>
                    <a:lnTo>
                      <a:pt x="26" y="44"/>
                    </a:lnTo>
                    <a:lnTo>
                      <a:pt x="32" y="42"/>
                    </a:lnTo>
                    <a:lnTo>
                      <a:pt x="40" y="36"/>
                    </a:lnTo>
                    <a:lnTo>
                      <a:pt x="46" y="36"/>
                    </a:lnTo>
                    <a:lnTo>
                      <a:pt x="48" y="38"/>
                    </a:lnTo>
                    <a:lnTo>
                      <a:pt x="48" y="38"/>
                    </a:lnTo>
                    <a:lnTo>
                      <a:pt x="52" y="38"/>
                    </a:lnTo>
                    <a:lnTo>
                      <a:pt x="58" y="38"/>
                    </a:lnTo>
                    <a:lnTo>
                      <a:pt x="66" y="34"/>
                    </a:lnTo>
                    <a:lnTo>
                      <a:pt x="66" y="34"/>
                    </a:lnTo>
                    <a:lnTo>
                      <a:pt x="82" y="0"/>
                    </a:lnTo>
                    <a:lnTo>
                      <a:pt x="82" y="0"/>
                    </a:lnTo>
                    <a:lnTo>
                      <a:pt x="94" y="0"/>
                    </a:lnTo>
                    <a:lnTo>
                      <a:pt x="100" y="0"/>
                    </a:lnTo>
                    <a:lnTo>
                      <a:pt x="104" y="2"/>
                    </a:lnTo>
                    <a:lnTo>
                      <a:pt x="104"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5" name="Freeform 1724">
                <a:extLst>
                  <a:ext uri="{FF2B5EF4-FFF2-40B4-BE49-F238E27FC236}">
                    <a16:creationId xmlns:a16="http://schemas.microsoft.com/office/drawing/2014/main" id="{4E7BF494-173D-4C23-AD23-0178EC235600}"/>
                  </a:ext>
                </a:extLst>
              </p:cNvPr>
              <p:cNvSpPr>
                <a:spLocks/>
              </p:cNvSpPr>
              <p:nvPr/>
            </p:nvSpPr>
            <p:spPr bwMode="auto">
              <a:xfrm>
                <a:off x="4345" y="2862"/>
                <a:ext cx="18" cy="14"/>
              </a:xfrm>
              <a:custGeom>
                <a:avLst/>
                <a:gdLst/>
                <a:ahLst/>
                <a:cxnLst>
                  <a:cxn ang="0">
                    <a:pos x="0" y="6"/>
                  </a:cxn>
                  <a:cxn ang="0">
                    <a:pos x="8" y="14"/>
                  </a:cxn>
                  <a:cxn ang="0">
                    <a:pos x="10" y="12"/>
                  </a:cxn>
                  <a:cxn ang="0">
                    <a:pos x="10" y="6"/>
                  </a:cxn>
                  <a:cxn ang="0">
                    <a:pos x="10" y="6"/>
                  </a:cxn>
                  <a:cxn ang="0">
                    <a:pos x="18" y="8"/>
                  </a:cxn>
                  <a:cxn ang="0">
                    <a:pos x="18" y="4"/>
                  </a:cxn>
                  <a:cxn ang="0">
                    <a:pos x="16" y="2"/>
                  </a:cxn>
                  <a:cxn ang="0">
                    <a:pos x="12" y="2"/>
                  </a:cxn>
                  <a:cxn ang="0">
                    <a:pos x="12" y="0"/>
                  </a:cxn>
                  <a:cxn ang="0">
                    <a:pos x="12" y="0"/>
                  </a:cxn>
                  <a:cxn ang="0">
                    <a:pos x="6" y="4"/>
                  </a:cxn>
                  <a:cxn ang="0">
                    <a:pos x="0" y="6"/>
                  </a:cxn>
                  <a:cxn ang="0">
                    <a:pos x="0" y="6"/>
                  </a:cxn>
                </a:cxnLst>
                <a:rect l="0" t="0" r="r" b="b"/>
                <a:pathLst>
                  <a:path w="18" h="14">
                    <a:moveTo>
                      <a:pt x="0" y="6"/>
                    </a:moveTo>
                    <a:lnTo>
                      <a:pt x="8" y="14"/>
                    </a:lnTo>
                    <a:lnTo>
                      <a:pt x="10" y="12"/>
                    </a:lnTo>
                    <a:lnTo>
                      <a:pt x="10" y="6"/>
                    </a:lnTo>
                    <a:lnTo>
                      <a:pt x="10" y="6"/>
                    </a:lnTo>
                    <a:lnTo>
                      <a:pt x="18" y="8"/>
                    </a:lnTo>
                    <a:lnTo>
                      <a:pt x="18" y="4"/>
                    </a:lnTo>
                    <a:lnTo>
                      <a:pt x="16" y="2"/>
                    </a:lnTo>
                    <a:lnTo>
                      <a:pt x="12" y="2"/>
                    </a:lnTo>
                    <a:lnTo>
                      <a:pt x="12" y="0"/>
                    </a:lnTo>
                    <a:lnTo>
                      <a:pt x="12" y="0"/>
                    </a:lnTo>
                    <a:lnTo>
                      <a:pt x="6" y="4"/>
                    </a:lnTo>
                    <a:lnTo>
                      <a:pt x="0" y="6"/>
                    </a:lnTo>
                    <a:lnTo>
                      <a:pt x="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6" name="Freeform 1725">
                <a:extLst>
                  <a:ext uri="{FF2B5EF4-FFF2-40B4-BE49-F238E27FC236}">
                    <a16:creationId xmlns:a16="http://schemas.microsoft.com/office/drawing/2014/main" id="{CCAC8572-2D2D-4213-89FD-6279EAC66FA4}"/>
                  </a:ext>
                </a:extLst>
              </p:cNvPr>
              <p:cNvSpPr>
                <a:spLocks/>
              </p:cNvSpPr>
              <p:nvPr/>
            </p:nvSpPr>
            <p:spPr bwMode="auto">
              <a:xfrm>
                <a:off x="4223" y="2794"/>
                <a:ext cx="4" cy="6"/>
              </a:xfrm>
              <a:custGeom>
                <a:avLst/>
                <a:gdLst/>
                <a:ahLst/>
                <a:cxnLst>
                  <a:cxn ang="0">
                    <a:pos x="2" y="0"/>
                  </a:cxn>
                  <a:cxn ang="0">
                    <a:pos x="4" y="6"/>
                  </a:cxn>
                  <a:cxn ang="0">
                    <a:pos x="0" y="0"/>
                  </a:cxn>
                  <a:cxn ang="0">
                    <a:pos x="2" y="0"/>
                  </a:cxn>
                </a:cxnLst>
                <a:rect l="0" t="0" r="r" b="b"/>
                <a:pathLst>
                  <a:path w="4" h="6">
                    <a:moveTo>
                      <a:pt x="2" y="0"/>
                    </a:moveTo>
                    <a:lnTo>
                      <a:pt x="4" y="6"/>
                    </a:lnTo>
                    <a:lnTo>
                      <a:pt x="0" y="0"/>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7" name="Freeform 1726">
                <a:extLst>
                  <a:ext uri="{FF2B5EF4-FFF2-40B4-BE49-F238E27FC236}">
                    <a16:creationId xmlns:a16="http://schemas.microsoft.com/office/drawing/2014/main" id="{ABB12039-ACD5-4BB3-960A-35F9A80EAC59}"/>
                  </a:ext>
                </a:extLst>
              </p:cNvPr>
              <p:cNvSpPr>
                <a:spLocks/>
              </p:cNvSpPr>
              <p:nvPr/>
            </p:nvSpPr>
            <p:spPr bwMode="auto">
              <a:xfrm>
                <a:off x="4205" y="2622"/>
                <a:ext cx="84" cy="196"/>
              </a:xfrm>
              <a:custGeom>
                <a:avLst/>
                <a:gdLst/>
                <a:ahLst/>
                <a:cxnLst>
                  <a:cxn ang="0">
                    <a:pos x="68" y="24"/>
                  </a:cxn>
                  <a:cxn ang="0">
                    <a:pos x="60" y="30"/>
                  </a:cxn>
                  <a:cxn ang="0">
                    <a:pos x="42" y="52"/>
                  </a:cxn>
                  <a:cxn ang="0">
                    <a:pos x="42" y="64"/>
                  </a:cxn>
                  <a:cxn ang="0">
                    <a:pos x="48" y="70"/>
                  </a:cxn>
                  <a:cxn ang="0">
                    <a:pos x="52" y="78"/>
                  </a:cxn>
                  <a:cxn ang="0">
                    <a:pos x="78" y="108"/>
                  </a:cxn>
                  <a:cxn ang="0">
                    <a:pos x="82" y="118"/>
                  </a:cxn>
                  <a:cxn ang="0">
                    <a:pos x="84" y="148"/>
                  </a:cxn>
                  <a:cxn ang="0">
                    <a:pos x="80" y="160"/>
                  </a:cxn>
                  <a:cxn ang="0">
                    <a:pos x="60" y="172"/>
                  </a:cxn>
                  <a:cxn ang="0">
                    <a:pos x="52" y="176"/>
                  </a:cxn>
                  <a:cxn ang="0">
                    <a:pos x="52" y="180"/>
                  </a:cxn>
                  <a:cxn ang="0">
                    <a:pos x="44" y="178"/>
                  </a:cxn>
                  <a:cxn ang="0">
                    <a:pos x="46" y="184"/>
                  </a:cxn>
                  <a:cxn ang="0">
                    <a:pos x="40" y="188"/>
                  </a:cxn>
                  <a:cxn ang="0">
                    <a:pos x="32" y="196"/>
                  </a:cxn>
                  <a:cxn ang="0">
                    <a:pos x="32" y="194"/>
                  </a:cxn>
                  <a:cxn ang="0">
                    <a:pos x="32" y="192"/>
                  </a:cxn>
                  <a:cxn ang="0">
                    <a:pos x="32" y="180"/>
                  </a:cxn>
                  <a:cxn ang="0">
                    <a:pos x="28" y="174"/>
                  </a:cxn>
                  <a:cxn ang="0">
                    <a:pos x="32" y="170"/>
                  </a:cxn>
                  <a:cxn ang="0">
                    <a:pos x="44" y="162"/>
                  </a:cxn>
                  <a:cxn ang="0">
                    <a:pos x="62" y="148"/>
                  </a:cxn>
                  <a:cxn ang="0">
                    <a:pos x="62" y="136"/>
                  </a:cxn>
                  <a:cxn ang="0">
                    <a:pos x="60" y="100"/>
                  </a:cxn>
                  <a:cxn ang="0">
                    <a:pos x="54" y="90"/>
                  </a:cxn>
                  <a:cxn ang="0">
                    <a:pos x="52" y="90"/>
                  </a:cxn>
                  <a:cxn ang="0">
                    <a:pos x="48" y="82"/>
                  </a:cxn>
                  <a:cxn ang="0">
                    <a:pos x="36" y="68"/>
                  </a:cxn>
                  <a:cxn ang="0">
                    <a:pos x="34" y="64"/>
                  </a:cxn>
                  <a:cxn ang="0">
                    <a:pos x="22" y="50"/>
                  </a:cxn>
                  <a:cxn ang="0">
                    <a:pos x="30" y="44"/>
                  </a:cxn>
                  <a:cxn ang="0">
                    <a:pos x="10" y="32"/>
                  </a:cxn>
                  <a:cxn ang="0">
                    <a:pos x="6" y="22"/>
                  </a:cxn>
                  <a:cxn ang="0">
                    <a:pos x="2" y="8"/>
                  </a:cxn>
                  <a:cxn ang="0">
                    <a:pos x="10" y="10"/>
                  </a:cxn>
                  <a:cxn ang="0">
                    <a:pos x="30" y="4"/>
                  </a:cxn>
                  <a:cxn ang="0">
                    <a:pos x="36" y="0"/>
                  </a:cxn>
                  <a:cxn ang="0">
                    <a:pos x="52" y="6"/>
                  </a:cxn>
                  <a:cxn ang="0">
                    <a:pos x="54" y="18"/>
                  </a:cxn>
                  <a:cxn ang="0">
                    <a:pos x="68" y="24"/>
                  </a:cxn>
                </a:cxnLst>
                <a:rect l="0" t="0" r="r" b="b"/>
                <a:pathLst>
                  <a:path w="84" h="196">
                    <a:moveTo>
                      <a:pt x="68" y="24"/>
                    </a:moveTo>
                    <a:lnTo>
                      <a:pt x="68" y="24"/>
                    </a:lnTo>
                    <a:lnTo>
                      <a:pt x="64" y="26"/>
                    </a:lnTo>
                    <a:lnTo>
                      <a:pt x="60" y="30"/>
                    </a:lnTo>
                    <a:lnTo>
                      <a:pt x="50" y="40"/>
                    </a:lnTo>
                    <a:lnTo>
                      <a:pt x="42" y="52"/>
                    </a:lnTo>
                    <a:lnTo>
                      <a:pt x="40" y="58"/>
                    </a:lnTo>
                    <a:lnTo>
                      <a:pt x="42" y="64"/>
                    </a:lnTo>
                    <a:lnTo>
                      <a:pt x="48" y="70"/>
                    </a:lnTo>
                    <a:lnTo>
                      <a:pt x="48" y="70"/>
                    </a:lnTo>
                    <a:lnTo>
                      <a:pt x="48" y="74"/>
                    </a:lnTo>
                    <a:lnTo>
                      <a:pt x="52" y="78"/>
                    </a:lnTo>
                    <a:lnTo>
                      <a:pt x="60" y="90"/>
                    </a:lnTo>
                    <a:lnTo>
                      <a:pt x="78" y="108"/>
                    </a:lnTo>
                    <a:lnTo>
                      <a:pt x="78" y="108"/>
                    </a:lnTo>
                    <a:lnTo>
                      <a:pt x="82" y="118"/>
                    </a:lnTo>
                    <a:lnTo>
                      <a:pt x="84" y="134"/>
                    </a:lnTo>
                    <a:lnTo>
                      <a:pt x="84" y="148"/>
                    </a:lnTo>
                    <a:lnTo>
                      <a:pt x="80" y="160"/>
                    </a:lnTo>
                    <a:lnTo>
                      <a:pt x="80" y="160"/>
                    </a:lnTo>
                    <a:lnTo>
                      <a:pt x="68" y="168"/>
                    </a:lnTo>
                    <a:lnTo>
                      <a:pt x="60" y="172"/>
                    </a:lnTo>
                    <a:lnTo>
                      <a:pt x="54" y="172"/>
                    </a:lnTo>
                    <a:lnTo>
                      <a:pt x="52" y="176"/>
                    </a:lnTo>
                    <a:lnTo>
                      <a:pt x="50" y="178"/>
                    </a:lnTo>
                    <a:lnTo>
                      <a:pt x="52" y="180"/>
                    </a:lnTo>
                    <a:lnTo>
                      <a:pt x="50" y="182"/>
                    </a:lnTo>
                    <a:lnTo>
                      <a:pt x="44" y="178"/>
                    </a:lnTo>
                    <a:lnTo>
                      <a:pt x="44" y="178"/>
                    </a:lnTo>
                    <a:lnTo>
                      <a:pt x="46" y="184"/>
                    </a:lnTo>
                    <a:lnTo>
                      <a:pt x="46" y="184"/>
                    </a:lnTo>
                    <a:lnTo>
                      <a:pt x="40" y="188"/>
                    </a:lnTo>
                    <a:lnTo>
                      <a:pt x="34" y="194"/>
                    </a:lnTo>
                    <a:lnTo>
                      <a:pt x="32" y="196"/>
                    </a:lnTo>
                    <a:lnTo>
                      <a:pt x="32" y="196"/>
                    </a:lnTo>
                    <a:lnTo>
                      <a:pt x="32" y="194"/>
                    </a:lnTo>
                    <a:lnTo>
                      <a:pt x="32" y="192"/>
                    </a:lnTo>
                    <a:lnTo>
                      <a:pt x="32" y="192"/>
                    </a:lnTo>
                    <a:lnTo>
                      <a:pt x="30" y="184"/>
                    </a:lnTo>
                    <a:lnTo>
                      <a:pt x="32" y="180"/>
                    </a:lnTo>
                    <a:lnTo>
                      <a:pt x="34" y="176"/>
                    </a:lnTo>
                    <a:lnTo>
                      <a:pt x="28" y="174"/>
                    </a:lnTo>
                    <a:lnTo>
                      <a:pt x="26" y="170"/>
                    </a:lnTo>
                    <a:lnTo>
                      <a:pt x="32" y="170"/>
                    </a:lnTo>
                    <a:lnTo>
                      <a:pt x="32" y="166"/>
                    </a:lnTo>
                    <a:lnTo>
                      <a:pt x="44" y="162"/>
                    </a:lnTo>
                    <a:lnTo>
                      <a:pt x="50" y="152"/>
                    </a:lnTo>
                    <a:lnTo>
                      <a:pt x="62" y="148"/>
                    </a:lnTo>
                    <a:lnTo>
                      <a:pt x="62" y="148"/>
                    </a:lnTo>
                    <a:lnTo>
                      <a:pt x="62" y="136"/>
                    </a:lnTo>
                    <a:lnTo>
                      <a:pt x="62" y="118"/>
                    </a:lnTo>
                    <a:lnTo>
                      <a:pt x="60" y="100"/>
                    </a:lnTo>
                    <a:lnTo>
                      <a:pt x="56" y="94"/>
                    </a:lnTo>
                    <a:lnTo>
                      <a:pt x="54" y="90"/>
                    </a:lnTo>
                    <a:lnTo>
                      <a:pt x="52" y="90"/>
                    </a:lnTo>
                    <a:lnTo>
                      <a:pt x="52" y="90"/>
                    </a:lnTo>
                    <a:lnTo>
                      <a:pt x="50" y="86"/>
                    </a:lnTo>
                    <a:lnTo>
                      <a:pt x="48" y="82"/>
                    </a:lnTo>
                    <a:lnTo>
                      <a:pt x="42" y="74"/>
                    </a:lnTo>
                    <a:lnTo>
                      <a:pt x="36" y="68"/>
                    </a:lnTo>
                    <a:lnTo>
                      <a:pt x="34" y="66"/>
                    </a:lnTo>
                    <a:lnTo>
                      <a:pt x="34" y="64"/>
                    </a:lnTo>
                    <a:lnTo>
                      <a:pt x="20" y="54"/>
                    </a:lnTo>
                    <a:lnTo>
                      <a:pt x="22" y="50"/>
                    </a:lnTo>
                    <a:lnTo>
                      <a:pt x="26" y="50"/>
                    </a:lnTo>
                    <a:lnTo>
                      <a:pt x="30" y="44"/>
                    </a:lnTo>
                    <a:lnTo>
                      <a:pt x="22" y="32"/>
                    </a:lnTo>
                    <a:lnTo>
                      <a:pt x="10" y="32"/>
                    </a:lnTo>
                    <a:lnTo>
                      <a:pt x="8" y="28"/>
                    </a:lnTo>
                    <a:lnTo>
                      <a:pt x="6" y="22"/>
                    </a:lnTo>
                    <a:lnTo>
                      <a:pt x="0" y="12"/>
                    </a:lnTo>
                    <a:lnTo>
                      <a:pt x="2" y="8"/>
                    </a:lnTo>
                    <a:lnTo>
                      <a:pt x="10" y="10"/>
                    </a:lnTo>
                    <a:lnTo>
                      <a:pt x="10" y="10"/>
                    </a:lnTo>
                    <a:lnTo>
                      <a:pt x="22" y="8"/>
                    </a:lnTo>
                    <a:lnTo>
                      <a:pt x="30" y="4"/>
                    </a:lnTo>
                    <a:lnTo>
                      <a:pt x="36" y="0"/>
                    </a:lnTo>
                    <a:lnTo>
                      <a:pt x="36" y="0"/>
                    </a:lnTo>
                    <a:lnTo>
                      <a:pt x="42" y="4"/>
                    </a:lnTo>
                    <a:lnTo>
                      <a:pt x="52" y="6"/>
                    </a:lnTo>
                    <a:lnTo>
                      <a:pt x="54" y="18"/>
                    </a:lnTo>
                    <a:lnTo>
                      <a:pt x="54" y="18"/>
                    </a:lnTo>
                    <a:lnTo>
                      <a:pt x="60" y="22"/>
                    </a:lnTo>
                    <a:lnTo>
                      <a:pt x="68" y="24"/>
                    </a:lnTo>
                    <a:lnTo>
                      <a:pt x="68" y="2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8" name="Freeform 1727">
                <a:extLst>
                  <a:ext uri="{FF2B5EF4-FFF2-40B4-BE49-F238E27FC236}">
                    <a16:creationId xmlns:a16="http://schemas.microsoft.com/office/drawing/2014/main" id="{E38FDD58-38D2-4F7E-8F83-E62ABC269719}"/>
                  </a:ext>
                </a:extLst>
              </p:cNvPr>
              <p:cNvSpPr>
                <a:spLocks/>
              </p:cNvSpPr>
              <p:nvPr/>
            </p:nvSpPr>
            <p:spPr bwMode="auto">
              <a:xfrm>
                <a:off x="4085" y="2550"/>
                <a:ext cx="106" cy="246"/>
              </a:xfrm>
              <a:custGeom>
                <a:avLst/>
                <a:gdLst/>
                <a:ahLst/>
                <a:cxnLst>
                  <a:cxn ang="0">
                    <a:pos x="76" y="244"/>
                  </a:cxn>
                  <a:cxn ang="0">
                    <a:pos x="76" y="224"/>
                  </a:cxn>
                  <a:cxn ang="0">
                    <a:pos x="78" y="222"/>
                  </a:cxn>
                  <a:cxn ang="0">
                    <a:pos x="76" y="210"/>
                  </a:cxn>
                  <a:cxn ang="0">
                    <a:pos x="72" y="202"/>
                  </a:cxn>
                  <a:cxn ang="0">
                    <a:pos x="66" y="184"/>
                  </a:cxn>
                  <a:cxn ang="0">
                    <a:pos x="66" y="164"/>
                  </a:cxn>
                  <a:cxn ang="0">
                    <a:pos x="58" y="158"/>
                  </a:cxn>
                  <a:cxn ang="0">
                    <a:pos x="54" y="152"/>
                  </a:cxn>
                  <a:cxn ang="0">
                    <a:pos x="52" y="160"/>
                  </a:cxn>
                  <a:cxn ang="0">
                    <a:pos x="38" y="174"/>
                  </a:cxn>
                  <a:cxn ang="0">
                    <a:pos x="32" y="174"/>
                  </a:cxn>
                  <a:cxn ang="0">
                    <a:pos x="30" y="172"/>
                  </a:cxn>
                  <a:cxn ang="0">
                    <a:pos x="28" y="168"/>
                  </a:cxn>
                  <a:cxn ang="0">
                    <a:pos x="24" y="170"/>
                  </a:cxn>
                  <a:cxn ang="0">
                    <a:pos x="26" y="148"/>
                  </a:cxn>
                  <a:cxn ang="0">
                    <a:pos x="20" y="128"/>
                  </a:cxn>
                  <a:cxn ang="0">
                    <a:pos x="16" y="130"/>
                  </a:cxn>
                  <a:cxn ang="0">
                    <a:pos x="16" y="120"/>
                  </a:cxn>
                  <a:cxn ang="0">
                    <a:pos x="2" y="110"/>
                  </a:cxn>
                  <a:cxn ang="0">
                    <a:pos x="4" y="98"/>
                  </a:cxn>
                  <a:cxn ang="0">
                    <a:pos x="10" y="88"/>
                  </a:cxn>
                  <a:cxn ang="0">
                    <a:pos x="12" y="76"/>
                  </a:cxn>
                  <a:cxn ang="0">
                    <a:pos x="22" y="64"/>
                  </a:cxn>
                  <a:cxn ang="0">
                    <a:pos x="26" y="52"/>
                  </a:cxn>
                  <a:cxn ang="0">
                    <a:pos x="34" y="36"/>
                  </a:cxn>
                  <a:cxn ang="0">
                    <a:pos x="34" y="30"/>
                  </a:cxn>
                  <a:cxn ang="0">
                    <a:pos x="52" y="16"/>
                  </a:cxn>
                  <a:cxn ang="0">
                    <a:pos x="58" y="8"/>
                  </a:cxn>
                  <a:cxn ang="0">
                    <a:pos x="62" y="2"/>
                  </a:cxn>
                  <a:cxn ang="0">
                    <a:pos x="64" y="0"/>
                  </a:cxn>
                  <a:cxn ang="0">
                    <a:pos x="70" y="4"/>
                  </a:cxn>
                  <a:cxn ang="0">
                    <a:pos x="76" y="12"/>
                  </a:cxn>
                  <a:cxn ang="0">
                    <a:pos x="78" y="24"/>
                  </a:cxn>
                  <a:cxn ang="0">
                    <a:pos x="72" y="38"/>
                  </a:cxn>
                  <a:cxn ang="0">
                    <a:pos x="68" y="48"/>
                  </a:cxn>
                  <a:cxn ang="0">
                    <a:pos x="66" y="60"/>
                  </a:cxn>
                  <a:cxn ang="0">
                    <a:pos x="66" y="66"/>
                  </a:cxn>
                  <a:cxn ang="0">
                    <a:pos x="78" y="60"/>
                  </a:cxn>
                  <a:cxn ang="0">
                    <a:pos x="86" y="76"/>
                  </a:cxn>
                  <a:cxn ang="0">
                    <a:pos x="92" y="88"/>
                  </a:cxn>
                  <a:cxn ang="0">
                    <a:pos x="100" y="94"/>
                  </a:cxn>
                  <a:cxn ang="0">
                    <a:pos x="106" y="94"/>
                  </a:cxn>
                  <a:cxn ang="0">
                    <a:pos x="104" y="98"/>
                  </a:cxn>
                  <a:cxn ang="0">
                    <a:pos x="100" y="104"/>
                  </a:cxn>
                  <a:cxn ang="0">
                    <a:pos x="98" y="104"/>
                  </a:cxn>
                  <a:cxn ang="0">
                    <a:pos x="86" y="118"/>
                  </a:cxn>
                  <a:cxn ang="0">
                    <a:pos x="70" y="122"/>
                  </a:cxn>
                  <a:cxn ang="0">
                    <a:pos x="64" y="138"/>
                  </a:cxn>
                  <a:cxn ang="0">
                    <a:pos x="72" y="152"/>
                  </a:cxn>
                  <a:cxn ang="0">
                    <a:pos x="76" y="166"/>
                  </a:cxn>
                  <a:cxn ang="0">
                    <a:pos x="78" y="168"/>
                  </a:cxn>
                  <a:cxn ang="0">
                    <a:pos x="74" y="178"/>
                  </a:cxn>
                  <a:cxn ang="0">
                    <a:pos x="72" y="188"/>
                  </a:cxn>
                  <a:cxn ang="0">
                    <a:pos x="82" y="198"/>
                  </a:cxn>
                  <a:cxn ang="0">
                    <a:pos x="82" y="204"/>
                  </a:cxn>
                  <a:cxn ang="0">
                    <a:pos x="88" y="224"/>
                  </a:cxn>
                  <a:cxn ang="0">
                    <a:pos x="82" y="236"/>
                  </a:cxn>
                  <a:cxn ang="0">
                    <a:pos x="78" y="246"/>
                  </a:cxn>
                </a:cxnLst>
                <a:rect l="0" t="0" r="r" b="b"/>
                <a:pathLst>
                  <a:path w="106" h="246">
                    <a:moveTo>
                      <a:pt x="78" y="246"/>
                    </a:moveTo>
                    <a:lnTo>
                      <a:pt x="76" y="244"/>
                    </a:lnTo>
                    <a:lnTo>
                      <a:pt x="80" y="226"/>
                    </a:lnTo>
                    <a:lnTo>
                      <a:pt x="76" y="224"/>
                    </a:lnTo>
                    <a:lnTo>
                      <a:pt x="76" y="222"/>
                    </a:lnTo>
                    <a:lnTo>
                      <a:pt x="78" y="222"/>
                    </a:lnTo>
                    <a:lnTo>
                      <a:pt x="78" y="222"/>
                    </a:lnTo>
                    <a:lnTo>
                      <a:pt x="76" y="210"/>
                    </a:lnTo>
                    <a:lnTo>
                      <a:pt x="72" y="200"/>
                    </a:lnTo>
                    <a:lnTo>
                      <a:pt x="72" y="202"/>
                    </a:lnTo>
                    <a:lnTo>
                      <a:pt x="72" y="202"/>
                    </a:lnTo>
                    <a:lnTo>
                      <a:pt x="66" y="184"/>
                    </a:lnTo>
                    <a:lnTo>
                      <a:pt x="66" y="164"/>
                    </a:lnTo>
                    <a:lnTo>
                      <a:pt x="66" y="164"/>
                    </a:lnTo>
                    <a:lnTo>
                      <a:pt x="60" y="162"/>
                    </a:lnTo>
                    <a:lnTo>
                      <a:pt x="58" y="158"/>
                    </a:lnTo>
                    <a:lnTo>
                      <a:pt x="56" y="158"/>
                    </a:lnTo>
                    <a:lnTo>
                      <a:pt x="54" y="152"/>
                    </a:lnTo>
                    <a:lnTo>
                      <a:pt x="52" y="160"/>
                    </a:lnTo>
                    <a:lnTo>
                      <a:pt x="52" y="160"/>
                    </a:lnTo>
                    <a:lnTo>
                      <a:pt x="44" y="166"/>
                    </a:lnTo>
                    <a:lnTo>
                      <a:pt x="38" y="174"/>
                    </a:lnTo>
                    <a:lnTo>
                      <a:pt x="34" y="172"/>
                    </a:lnTo>
                    <a:lnTo>
                      <a:pt x="32" y="174"/>
                    </a:lnTo>
                    <a:lnTo>
                      <a:pt x="32" y="174"/>
                    </a:lnTo>
                    <a:lnTo>
                      <a:pt x="30" y="172"/>
                    </a:lnTo>
                    <a:lnTo>
                      <a:pt x="26" y="170"/>
                    </a:lnTo>
                    <a:lnTo>
                      <a:pt x="28" y="168"/>
                    </a:lnTo>
                    <a:lnTo>
                      <a:pt x="24" y="170"/>
                    </a:lnTo>
                    <a:lnTo>
                      <a:pt x="24" y="170"/>
                    </a:lnTo>
                    <a:lnTo>
                      <a:pt x="26" y="160"/>
                    </a:lnTo>
                    <a:lnTo>
                      <a:pt x="26" y="148"/>
                    </a:lnTo>
                    <a:lnTo>
                      <a:pt x="24" y="138"/>
                    </a:lnTo>
                    <a:lnTo>
                      <a:pt x="20" y="128"/>
                    </a:lnTo>
                    <a:lnTo>
                      <a:pt x="20" y="132"/>
                    </a:lnTo>
                    <a:lnTo>
                      <a:pt x="16" y="130"/>
                    </a:lnTo>
                    <a:lnTo>
                      <a:pt x="16" y="120"/>
                    </a:lnTo>
                    <a:lnTo>
                      <a:pt x="16" y="120"/>
                    </a:lnTo>
                    <a:lnTo>
                      <a:pt x="8" y="114"/>
                    </a:lnTo>
                    <a:lnTo>
                      <a:pt x="2" y="110"/>
                    </a:lnTo>
                    <a:lnTo>
                      <a:pt x="0" y="104"/>
                    </a:lnTo>
                    <a:lnTo>
                      <a:pt x="4" y="98"/>
                    </a:lnTo>
                    <a:lnTo>
                      <a:pt x="4" y="90"/>
                    </a:lnTo>
                    <a:lnTo>
                      <a:pt x="10" y="88"/>
                    </a:lnTo>
                    <a:lnTo>
                      <a:pt x="10" y="78"/>
                    </a:lnTo>
                    <a:lnTo>
                      <a:pt x="12" y="76"/>
                    </a:lnTo>
                    <a:lnTo>
                      <a:pt x="14" y="64"/>
                    </a:lnTo>
                    <a:lnTo>
                      <a:pt x="22" y="64"/>
                    </a:lnTo>
                    <a:lnTo>
                      <a:pt x="22" y="64"/>
                    </a:lnTo>
                    <a:lnTo>
                      <a:pt x="26" y="52"/>
                    </a:lnTo>
                    <a:lnTo>
                      <a:pt x="30" y="44"/>
                    </a:lnTo>
                    <a:lnTo>
                      <a:pt x="34" y="36"/>
                    </a:lnTo>
                    <a:lnTo>
                      <a:pt x="34" y="30"/>
                    </a:lnTo>
                    <a:lnTo>
                      <a:pt x="34" y="30"/>
                    </a:lnTo>
                    <a:lnTo>
                      <a:pt x="44" y="22"/>
                    </a:lnTo>
                    <a:lnTo>
                      <a:pt x="52" y="16"/>
                    </a:lnTo>
                    <a:lnTo>
                      <a:pt x="56" y="16"/>
                    </a:lnTo>
                    <a:lnTo>
                      <a:pt x="58" y="8"/>
                    </a:lnTo>
                    <a:lnTo>
                      <a:pt x="62" y="6"/>
                    </a:lnTo>
                    <a:lnTo>
                      <a:pt x="62" y="2"/>
                    </a:lnTo>
                    <a:lnTo>
                      <a:pt x="64" y="0"/>
                    </a:lnTo>
                    <a:lnTo>
                      <a:pt x="64" y="0"/>
                    </a:lnTo>
                    <a:lnTo>
                      <a:pt x="68" y="2"/>
                    </a:lnTo>
                    <a:lnTo>
                      <a:pt x="70" y="4"/>
                    </a:lnTo>
                    <a:lnTo>
                      <a:pt x="72" y="12"/>
                    </a:lnTo>
                    <a:lnTo>
                      <a:pt x="76" y="12"/>
                    </a:lnTo>
                    <a:lnTo>
                      <a:pt x="76" y="12"/>
                    </a:lnTo>
                    <a:lnTo>
                      <a:pt x="78" y="24"/>
                    </a:lnTo>
                    <a:lnTo>
                      <a:pt x="76" y="32"/>
                    </a:lnTo>
                    <a:lnTo>
                      <a:pt x="72" y="38"/>
                    </a:lnTo>
                    <a:lnTo>
                      <a:pt x="68" y="48"/>
                    </a:lnTo>
                    <a:lnTo>
                      <a:pt x="68" y="48"/>
                    </a:lnTo>
                    <a:lnTo>
                      <a:pt x="66" y="56"/>
                    </a:lnTo>
                    <a:lnTo>
                      <a:pt x="66" y="60"/>
                    </a:lnTo>
                    <a:lnTo>
                      <a:pt x="64" y="64"/>
                    </a:lnTo>
                    <a:lnTo>
                      <a:pt x="66" y="66"/>
                    </a:lnTo>
                    <a:lnTo>
                      <a:pt x="74" y="60"/>
                    </a:lnTo>
                    <a:lnTo>
                      <a:pt x="78" y="60"/>
                    </a:lnTo>
                    <a:lnTo>
                      <a:pt x="80" y="72"/>
                    </a:lnTo>
                    <a:lnTo>
                      <a:pt x="86" y="76"/>
                    </a:lnTo>
                    <a:lnTo>
                      <a:pt x="84" y="86"/>
                    </a:lnTo>
                    <a:lnTo>
                      <a:pt x="92" y="88"/>
                    </a:lnTo>
                    <a:lnTo>
                      <a:pt x="96" y="96"/>
                    </a:lnTo>
                    <a:lnTo>
                      <a:pt x="100" y="94"/>
                    </a:lnTo>
                    <a:lnTo>
                      <a:pt x="104" y="92"/>
                    </a:lnTo>
                    <a:lnTo>
                      <a:pt x="106" y="94"/>
                    </a:lnTo>
                    <a:lnTo>
                      <a:pt x="106" y="94"/>
                    </a:lnTo>
                    <a:lnTo>
                      <a:pt x="104" y="98"/>
                    </a:lnTo>
                    <a:lnTo>
                      <a:pt x="100" y="100"/>
                    </a:lnTo>
                    <a:lnTo>
                      <a:pt x="100" y="104"/>
                    </a:lnTo>
                    <a:lnTo>
                      <a:pt x="98" y="104"/>
                    </a:lnTo>
                    <a:lnTo>
                      <a:pt x="98" y="104"/>
                    </a:lnTo>
                    <a:lnTo>
                      <a:pt x="92" y="112"/>
                    </a:lnTo>
                    <a:lnTo>
                      <a:pt x="86" y="118"/>
                    </a:lnTo>
                    <a:lnTo>
                      <a:pt x="78" y="122"/>
                    </a:lnTo>
                    <a:lnTo>
                      <a:pt x="70" y="122"/>
                    </a:lnTo>
                    <a:lnTo>
                      <a:pt x="64" y="138"/>
                    </a:lnTo>
                    <a:lnTo>
                      <a:pt x="64" y="138"/>
                    </a:lnTo>
                    <a:lnTo>
                      <a:pt x="68" y="148"/>
                    </a:lnTo>
                    <a:lnTo>
                      <a:pt x="72" y="152"/>
                    </a:lnTo>
                    <a:lnTo>
                      <a:pt x="76" y="156"/>
                    </a:lnTo>
                    <a:lnTo>
                      <a:pt x="76" y="166"/>
                    </a:lnTo>
                    <a:lnTo>
                      <a:pt x="78" y="166"/>
                    </a:lnTo>
                    <a:lnTo>
                      <a:pt x="78" y="168"/>
                    </a:lnTo>
                    <a:lnTo>
                      <a:pt x="78" y="168"/>
                    </a:lnTo>
                    <a:lnTo>
                      <a:pt x="74" y="178"/>
                    </a:lnTo>
                    <a:lnTo>
                      <a:pt x="72" y="184"/>
                    </a:lnTo>
                    <a:lnTo>
                      <a:pt x="72" y="188"/>
                    </a:lnTo>
                    <a:lnTo>
                      <a:pt x="74" y="190"/>
                    </a:lnTo>
                    <a:lnTo>
                      <a:pt x="82" y="198"/>
                    </a:lnTo>
                    <a:lnTo>
                      <a:pt x="82" y="198"/>
                    </a:lnTo>
                    <a:lnTo>
                      <a:pt x="82" y="204"/>
                    </a:lnTo>
                    <a:lnTo>
                      <a:pt x="84" y="212"/>
                    </a:lnTo>
                    <a:lnTo>
                      <a:pt x="88" y="224"/>
                    </a:lnTo>
                    <a:lnTo>
                      <a:pt x="88" y="224"/>
                    </a:lnTo>
                    <a:lnTo>
                      <a:pt x="82" y="236"/>
                    </a:lnTo>
                    <a:lnTo>
                      <a:pt x="80" y="240"/>
                    </a:lnTo>
                    <a:lnTo>
                      <a:pt x="78" y="246"/>
                    </a:lnTo>
                    <a:lnTo>
                      <a:pt x="78" y="24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19" name="Freeform 1728">
                <a:extLst>
                  <a:ext uri="{FF2B5EF4-FFF2-40B4-BE49-F238E27FC236}">
                    <a16:creationId xmlns:a16="http://schemas.microsoft.com/office/drawing/2014/main" id="{A8053113-B0B3-4325-8A84-568E988E5FB6}"/>
                  </a:ext>
                </a:extLst>
              </p:cNvPr>
              <p:cNvSpPr>
                <a:spLocks/>
              </p:cNvSpPr>
              <p:nvPr/>
            </p:nvSpPr>
            <p:spPr bwMode="auto">
              <a:xfrm>
                <a:off x="4205" y="2738"/>
                <a:ext cx="62" cy="54"/>
              </a:xfrm>
              <a:custGeom>
                <a:avLst/>
                <a:gdLst/>
                <a:ahLst/>
                <a:cxnLst>
                  <a:cxn ang="0">
                    <a:pos x="62" y="0"/>
                  </a:cxn>
                  <a:cxn ang="0">
                    <a:pos x="62" y="0"/>
                  </a:cxn>
                  <a:cxn ang="0">
                    <a:pos x="62" y="8"/>
                  </a:cxn>
                  <a:cxn ang="0">
                    <a:pos x="62" y="14"/>
                  </a:cxn>
                  <a:cxn ang="0">
                    <a:pos x="62" y="22"/>
                  </a:cxn>
                  <a:cxn ang="0">
                    <a:pos x="62" y="32"/>
                  </a:cxn>
                  <a:cxn ang="0">
                    <a:pos x="50" y="36"/>
                  </a:cxn>
                  <a:cxn ang="0">
                    <a:pos x="44" y="46"/>
                  </a:cxn>
                  <a:cxn ang="0">
                    <a:pos x="32" y="50"/>
                  </a:cxn>
                  <a:cxn ang="0">
                    <a:pos x="32" y="54"/>
                  </a:cxn>
                  <a:cxn ang="0">
                    <a:pos x="26" y="54"/>
                  </a:cxn>
                  <a:cxn ang="0">
                    <a:pos x="24" y="54"/>
                  </a:cxn>
                  <a:cxn ang="0">
                    <a:pos x="16" y="54"/>
                  </a:cxn>
                  <a:cxn ang="0">
                    <a:pos x="16" y="48"/>
                  </a:cxn>
                  <a:cxn ang="0">
                    <a:pos x="16" y="46"/>
                  </a:cxn>
                  <a:cxn ang="0">
                    <a:pos x="12" y="50"/>
                  </a:cxn>
                  <a:cxn ang="0">
                    <a:pos x="12" y="50"/>
                  </a:cxn>
                  <a:cxn ang="0">
                    <a:pos x="6" y="32"/>
                  </a:cxn>
                  <a:cxn ang="0">
                    <a:pos x="0" y="14"/>
                  </a:cxn>
                  <a:cxn ang="0">
                    <a:pos x="12" y="4"/>
                  </a:cxn>
                  <a:cxn ang="0">
                    <a:pos x="30" y="4"/>
                  </a:cxn>
                  <a:cxn ang="0">
                    <a:pos x="34" y="6"/>
                  </a:cxn>
                  <a:cxn ang="0">
                    <a:pos x="36" y="6"/>
                  </a:cxn>
                  <a:cxn ang="0">
                    <a:pos x="44" y="8"/>
                  </a:cxn>
                  <a:cxn ang="0">
                    <a:pos x="46" y="4"/>
                  </a:cxn>
                  <a:cxn ang="0">
                    <a:pos x="54" y="2"/>
                  </a:cxn>
                  <a:cxn ang="0">
                    <a:pos x="56" y="4"/>
                  </a:cxn>
                  <a:cxn ang="0">
                    <a:pos x="62" y="0"/>
                  </a:cxn>
                </a:cxnLst>
                <a:rect l="0" t="0" r="r" b="b"/>
                <a:pathLst>
                  <a:path w="62" h="54">
                    <a:moveTo>
                      <a:pt x="62" y="0"/>
                    </a:moveTo>
                    <a:lnTo>
                      <a:pt x="62" y="0"/>
                    </a:lnTo>
                    <a:lnTo>
                      <a:pt x="62" y="8"/>
                    </a:lnTo>
                    <a:lnTo>
                      <a:pt x="62" y="14"/>
                    </a:lnTo>
                    <a:lnTo>
                      <a:pt x="62" y="22"/>
                    </a:lnTo>
                    <a:lnTo>
                      <a:pt x="62" y="32"/>
                    </a:lnTo>
                    <a:lnTo>
                      <a:pt x="50" y="36"/>
                    </a:lnTo>
                    <a:lnTo>
                      <a:pt x="44" y="46"/>
                    </a:lnTo>
                    <a:lnTo>
                      <a:pt x="32" y="50"/>
                    </a:lnTo>
                    <a:lnTo>
                      <a:pt x="32" y="54"/>
                    </a:lnTo>
                    <a:lnTo>
                      <a:pt x="26" y="54"/>
                    </a:lnTo>
                    <a:lnTo>
                      <a:pt x="24" y="54"/>
                    </a:lnTo>
                    <a:lnTo>
                      <a:pt x="16" y="54"/>
                    </a:lnTo>
                    <a:lnTo>
                      <a:pt x="16" y="48"/>
                    </a:lnTo>
                    <a:lnTo>
                      <a:pt x="16" y="46"/>
                    </a:lnTo>
                    <a:lnTo>
                      <a:pt x="12" y="50"/>
                    </a:lnTo>
                    <a:lnTo>
                      <a:pt x="12" y="50"/>
                    </a:lnTo>
                    <a:lnTo>
                      <a:pt x="6" y="32"/>
                    </a:lnTo>
                    <a:lnTo>
                      <a:pt x="0" y="14"/>
                    </a:lnTo>
                    <a:lnTo>
                      <a:pt x="12" y="4"/>
                    </a:lnTo>
                    <a:lnTo>
                      <a:pt x="30" y="4"/>
                    </a:lnTo>
                    <a:lnTo>
                      <a:pt x="34" y="6"/>
                    </a:lnTo>
                    <a:lnTo>
                      <a:pt x="36" y="6"/>
                    </a:lnTo>
                    <a:lnTo>
                      <a:pt x="44" y="8"/>
                    </a:lnTo>
                    <a:lnTo>
                      <a:pt x="46" y="4"/>
                    </a:lnTo>
                    <a:lnTo>
                      <a:pt x="54" y="2"/>
                    </a:lnTo>
                    <a:lnTo>
                      <a:pt x="56" y="4"/>
                    </a:lnTo>
                    <a:lnTo>
                      <a:pt x="6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0" name="Freeform 1729">
                <a:extLst>
                  <a:ext uri="{FF2B5EF4-FFF2-40B4-BE49-F238E27FC236}">
                    <a16:creationId xmlns:a16="http://schemas.microsoft.com/office/drawing/2014/main" id="{A19B3BB6-C7EB-451B-B1DC-96631500A82E}"/>
                  </a:ext>
                </a:extLst>
              </p:cNvPr>
              <p:cNvSpPr>
                <a:spLocks/>
              </p:cNvSpPr>
              <p:nvPr/>
            </p:nvSpPr>
            <p:spPr bwMode="auto">
              <a:xfrm>
                <a:off x="4043" y="2552"/>
                <a:ext cx="40" cy="20"/>
              </a:xfrm>
              <a:custGeom>
                <a:avLst/>
                <a:gdLst/>
                <a:ahLst/>
                <a:cxnLst>
                  <a:cxn ang="0">
                    <a:pos x="36" y="6"/>
                  </a:cxn>
                  <a:cxn ang="0">
                    <a:pos x="32" y="2"/>
                  </a:cxn>
                  <a:cxn ang="0">
                    <a:pos x="32" y="2"/>
                  </a:cxn>
                  <a:cxn ang="0">
                    <a:pos x="26" y="4"/>
                  </a:cxn>
                  <a:cxn ang="0">
                    <a:pos x="20" y="2"/>
                  </a:cxn>
                  <a:cxn ang="0">
                    <a:pos x="18" y="0"/>
                  </a:cxn>
                  <a:cxn ang="0">
                    <a:pos x="10" y="2"/>
                  </a:cxn>
                  <a:cxn ang="0">
                    <a:pos x="0" y="16"/>
                  </a:cxn>
                  <a:cxn ang="0">
                    <a:pos x="2" y="20"/>
                  </a:cxn>
                  <a:cxn ang="0">
                    <a:pos x="2" y="20"/>
                  </a:cxn>
                  <a:cxn ang="0">
                    <a:pos x="10" y="20"/>
                  </a:cxn>
                  <a:cxn ang="0">
                    <a:pos x="22" y="20"/>
                  </a:cxn>
                  <a:cxn ang="0">
                    <a:pos x="34" y="20"/>
                  </a:cxn>
                  <a:cxn ang="0">
                    <a:pos x="40" y="18"/>
                  </a:cxn>
                  <a:cxn ang="0">
                    <a:pos x="40" y="12"/>
                  </a:cxn>
                  <a:cxn ang="0">
                    <a:pos x="36" y="10"/>
                  </a:cxn>
                  <a:cxn ang="0">
                    <a:pos x="36" y="6"/>
                  </a:cxn>
                </a:cxnLst>
                <a:rect l="0" t="0" r="r" b="b"/>
                <a:pathLst>
                  <a:path w="40" h="20">
                    <a:moveTo>
                      <a:pt x="36" y="6"/>
                    </a:moveTo>
                    <a:lnTo>
                      <a:pt x="32" y="2"/>
                    </a:lnTo>
                    <a:lnTo>
                      <a:pt x="32" y="2"/>
                    </a:lnTo>
                    <a:lnTo>
                      <a:pt x="26" y="4"/>
                    </a:lnTo>
                    <a:lnTo>
                      <a:pt x="20" y="2"/>
                    </a:lnTo>
                    <a:lnTo>
                      <a:pt x="18" y="0"/>
                    </a:lnTo>
                    <a:lnTo>
                      <a:pt x="10" y="2"/>
                    </a:lnTo>
                    <a:lnTo>
                      <a:pt x="0" y="16"/>
                    </a:lnTo>
                    <a:lnTo>
                      <a:pt x="2" y="20"/>
                    </a:lnTo>
                    <a:lnTo>
                      <a:pt x="2" y="20"/>
                    </a:lnTo>
                    <a:lnTo>
                      <a:pt x="10" y="20"/>
                    </a:lnTo>
                    <a:lnTo>
                      <a:pt x="22" y="20"/>
                    </a:lnTo>
                    <a:lnTo>
                      <a:pt x="34" y="20"/>
                    </a:lnTo>
                    <a:lnTo>
                      <a:pt x="40" y="18"/>
                    </a:lnTo>
                    <a:lnTo>
                      <a:pt x="40" y="12"/>
                    </a:lnTo>
                    <a:lnTo>
                      <a:pt x="36" y="10"/>
                    </a:lnTo>
                    <a:lnTo>
                      <a:pt x="36"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521" name="Freeform 1730">
                <a:extLst>
                  <a:ext uri="{FF2B5EF4-FFF2-40B4-BE49-F238E27FC236}">
                    <a16:creationId xmlns:a16="http://schemas.microsoft.com/office/drawing/2014/main" id="{0144D211-B094-449F-A7D7-1164D9F069D1}"/>
                  </a:ext>
                </a:extLst>
              </p:cNvPr>
              <p:cNvSpPr>
                <a:spLocks/>
              </p:cNvSpPr>
              <p:nvPr/>
            </p:nvSpPr>
            <p:spPr bwMode="auto">
              <a:xfrm>
                <a:off x="4031" y="2576"/>
                <a:ext cx="58" cy="78"/>
              </a:xfrm>
              <a:custGeom>
                <a:avLst/>
                <a:gdLst/>
                <a:ahLst/>
                <a:cxnLst>
                  <a:cxn ang="0">
                    <a:pos x="54" y="78"/>
                  </a:cxn>
                  <a:cxn ang="0">
                    <a:pos x="58" y="72"/>
                  </a:cxn>
                  <a:cxn ang="0">
                    <a:pos x="58" y="72"/>
                  </a:cxn>
                  <a:cxn ang="0">
                    <a:pos x="56" y="56"/>
                  </a:cxn>
                  <a:cxn ang="0">
                    <a:pos x="52" y="40"/>
                  </a:cxn>
                  <a:cxn ang="0">
                    <a:pos x="50" y="38"/>
                  </a:cxn>
                  <a:cxn ang="0">
                    <a:pos x="46" y="50"/>
                  </a:cxn>
                  <a:cxn ang="0">
                    <a:pos x="42" y="46"/>
                  </a:cxn>
                  <a:cxn ang="0">
                    <a:pos x="40" y="36"/>
                  </a:cxn>
                  <a:cxn ang="0">
                    <a:pos x="40" y="36"/>
                  </a:cxn>
                  <a:cxn ang="0">
                    <a:pos x="48" y="28"/>
                  </a:cxn>
                  <a:cxn ang="0">
                    <a:pos x="54" y="20"/>
                  </a:cxn>
                  <a:cxn ang="0">
                    <a:pos x="54" y="20"/>
                  </a:cxn>
                  <a:cxn ang="0">
                    <a:pos x="48" y="18"/>
                  </a:cxn>
                  <a:cxn ang="0">
                    <a:pos x="40" y="18"/>
                  </a:cxn>
                  <a:cxn ang="0">
                    <a:pos x="26" y="18"/>
                  </a:cxn>
                  <a:cxn ang="0">
                    <a:pos x="20" y="4"/>
                  </a:cxn>
                  <a:cxn ang="0">
                    <a:pos x="18" y="8"/>
                  </a:cxn>
                  <a:cxn ang="0">
                    <a:pos x="16" y="8"/>
                  </a:cxn>
                  <a:cxn ang="0">
                    <a:pos x="14" y="2"/>
                  </a:cxn>
                  <a:cxn ang="0">
                    <a:pos x="12" y="2"/>
                  </a:cxn>
                  <a:cxn ang="0">
                    <a:pos x="12" y="6"/>
                  </a:cxn>
                  <a:cxn ang="0">
                    <a:pos x="8" y="0"/>
                  </a:cxn>
                  <a:cxn ang="0">
                    <a:pos x="4" y="10"/>
                  </a:cxn>
                  <a:cxn ang="0">
                    <a:pos x="4" y="14"/>
                  </a:cxn>
                  <a:cxn ang="0">
                    <a:pos x="10" y="14"/>
                  </a:cxn>
                  <a:cxn ang="0">
                    <a:pos x="10" y="18"/>
                  </a:cxn>
                  <a:cxn ang="0">
                    <a:pos x="2" y="20"/>
                  </a:cxn>
                  <a:cxn ang="0">
                    <a:pos x="0" y="24"/>
                  </a:cxn>
                  <a:cxn ang="0">
                    <a:pos x="8" y="32"/>
                  </a:cxn>
                  <a:cxn ang="0">
                    <a:pos x="8" y="32"/>
                  </a:cxn>
                  <a:cxn ang="0">
                    <a:pos x="8" y="38"/>
                  </a:cxn>
                  <a:cxn ang="0">
                    <a:pos x="10" y="50"/>
                  </a:cxn>
                  <a:cxn ang="0">
                    <a:pos x="14" y="68"/>
                  </a:cxn>
                  <a:cxn ang="0">
                    <a:pos x="26" y="62"/>
                  </a:cxn>
                  <a:cxn ang="0">
                    <a:pos x="30" y="66"/>
                  </a:cxn>
                  <a:cxn ang="0">
                    <a:pos x="34" y="60"/>
                  </a:cxn>
                  <a:cxn ang="0">
                    <a:pos x="32" y="54"/>
                  </a:cxn>
                  <a:cxn ang="0">
                    <a:pos x="36" y="50"/>
                  </a:cxn>
                  <a:cxn ang="0">
                    <a:pos x="38" y="54"/>
                  </a:cxn>
                  <a:cxn ang="0">
                    <a:pos x="44" y="52"/>
                  </a:cxn>
                  <a:cxn ang="0">
                    <a:pos x="44" y="52"/>
                  </a:cxn>
                  <a:cxn ang="0">
                    <a:pos x="48" y="58"/>
                  </a:cxn>
                  <a:cxn ang="0">
                    <a:pos x="50" y="66"/>
                  </a:cxn>
                  <a:cxn ang="0">
                    <a:pos x="52" y="74"/>
                  </a:cxn>
                  <a:cxn ang="0">
                    <a:pos x="54" y="78"/>
                  </a:cxn>
                  <a:cxn ang="0">
                    <a:pos x="54" y="78"/>
                  </a:cxn>
                </a:cxnLst>
                <a:rect l="0" t="0" r="r" b="b"/>
                <a:pathLst>
                  <a:path w="58" h="78">
                    <a:moveTo>
                      <a:pt x="54" y="78"/>
                    </a:moveTo>
                    <a:lnTo>
                      <a:pt x="58" y="72"/>
                    </a:lnTo>
                    <a:lnTo>
                      <a:pt x="58" y="72"/>
                    </a:lnTo>
                    <a:lnTo>
                      <a:pt x="56" y="56"/>
                    </a:lnTo>
                    <a:lnTo>
                      <a:pt x="52" y="40"/>
                    </a:lnTo>
                    <a:lnTo>
                      <a:pt x="50" y="38"/>
                    </a:lnTo>
                    <a:lnTo>
                      <a:pt x="46" y="50"/>
                    </a:lnTo>
                    <a:lnTo>
                      <a:pt x="42" y="46"/>
                    </a:lnTo>
                    <a:lnTo>
                      <a:pt x="40" y="36"/>
                    </a:lnTo>
                    <a:lnTo>
                      <a:pt x="40" y="36"/>
                    </a:lnTo>
                    <a:lnTo>
                      <a:pt x="48" y="28"/>
                    </a:lnTo>
                    <a:lnTo>
                      <a:pt x="54" y="20"/>
                    </a:lnTo>
                    <a:lnTo>
                      <a:pt x="54" y="20"/>
                    </a:lnTo>
                    <a:lnTo>
                      <a:pt x="48" y="18"/>
                    </a:lnTo>
                    <a:lnTo>
                      <a:pt x="40" y="18"/>
                    </a:lnTo>
                    <a:lnTo>
                      <a:pt x="26" y="18"/>
                    </a:lnTo>
                    <a:lnTo>
                      <a:pt x="20" y="4"/>
                    </a:lnTo>
                    <a:lnTo>
                      <a:pt x="18" y="8"/>
                    </a:lnTo>
                    <a:lnTo>
                      <a:pt x="16" y="8"/>
                    </a:lnTo>
                    <a:lnTo>
                      <a:pt x="14" y="2"/>
                    </a:lnTo>
                    <a:lnTo>
                      <a:pt x="12" y="2"/>
                    </a:lnTo>
                    <a:lnTo>
                      <a:pt x="12" y="6"/>
                    </a:lnTo>
                    <a:lnTo>
                      <a:pt x="8" y="0"/>
                    </a:lnTo>
                    <a:lnTo>
                      <a:pt x="4" y="10"/>
                    </a:lnTo>
                    <a:lnTo>
                      <a:pt x="4" y="14"/>
                    </a:lnTo>
                    <a:lnTo>
                      <a:pt x="10" y="14"/>
                    </a:lnTo>
                    <a:lnTo>
                      <a:pt x="10" y="18"/>
                    </a:lnTo>
                    <a:lnTo>
                      <a:pt x="2" y="20"/>
                    </a:lnTo>
                    <a:lnTo>
                      <a:pt x="0" y="24"/>
                    </a:lnTo>
                    <a:lnTo>
                      <a:pt x="8" y="32"/>
                    </a:lnTo>
                    <a:lnTo>
                      <a:pt x="8" y="32"/>
                    </a:lnTo>
                    <a:lnTo>
                      <a:pt x="8" y="38"/>
                    </a:lnTo>
                    <a:lnTo>
                      <a:pt x="10" y="50"/>
                    </a:lnTo>
                    <a:lnTo>
                      <a:pt x="14" y="68"/>
                    </a:lnTo>
                    <a:lnTo>
                      <a:pt x="26" y="62"/>
                    </a:lnTo>
                    <a:lnTo>
                      <a:pt x="30" y="66"/>
                    </a:lnTo>
                    <a:lnTo>
                      <a:pt x="34" y="60"/>
                    </a:lnTo>
                    <a:lnTo>
                      <a:pt x="32" y="54"/>
                    </a:lnTo>
                    <a:lnTo>
                      <a:pt x="36" y="50"/>
                    </a:lnTo>
                    <a:lnTo>
                      <a:pt x="38" y="54"/>
                    </a:lnTo>
                    <a:lnTo>
                      <a:pt x="44" y="52"/>
                    </a:lnTo>
                    <a:lnTo>
                      <a:pt x="44" y="52"/>
                    </a:lnTo>
                    <a:lnTo>
                      <a:pt x="48" y="58"/>
                    </a:lnTo>
                    <a:lnTo>
                      <a:pt x="50" y="66"/>
                    </a:lnTo>
                    <a:lnTo>
                      <a:pt x="52" y="74"/>
                    </a:lnTo>
                    <a:lnTo>
                      <a:pt x="54" y="78"/>
                    </a:lnTo>
                    <a:lnTo>
                      <a:pt x="54" y="7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grpSp>
        <p:sp>
          <p:nvSpPr>
            <p:cNvPr id="260" name="Freeform 1731">
              <a:extLst>
                <a:ext uri="{FF2B5EF4-FFF2-40B4-BE49-F238E27FC236}">
                  <a16:creationId xmlns:a16="http://schemas.microsoft.com/office/drawing/2014/main" id="{8BA5AB49-0E4F-4C43-A0B2-A53F2CF26DA8}"/>
                </a:ext>
              </a:extLst>
            </p:cNvPr>
            <p:cNvSpPr>
              <a:spLocks/>
            </p:cNvSpPr>
            <p:nvPr/>
          </p:nvSpPr>
          <p:spPr bwMode="auto">
            <a:xfrm>
              <a:off x="5727506" y="4116600"/>
              <a:ext cx="655166" cy="725450"/>
            </a:xfrm>
            <a:custGeom>
              <a:avLst/>
              <a:gdLst/>
              <a:ahLst/>
              <a:cxnLst>
                <a:cxn ang="0">
                  <a:pos x="24" y="192"/>
                </a:cxn>
                <a:cxn ang="0">
                  <a:pos x="16" y="200"/>
                </a:cxn>
                <a:cxn ang="0">
                  <a:pos x="36" y="222"/>
                </a:cxn>
                <a:cxn ang="0">
                  <a:pos x="54" y="204"/>
                </a:cxn>
                <a:cxn ang="0">
                  <a:pos x="54" y="224"/>
                </a:cxn>
                <a:cxn ang="0">
                  <a:pos x="70" y="300"/>
                </a:cxn>
                <a:cxn ang="0">
                  <a:pos x="84" y="336"/>
                </a:cxn>
                <a:cxn ang="0">
                  <a:pos x="104" y="380"/>
                </a:cxn>
                <a:cxn ang="0">
                  <a:pos x="130" y="374"/>
                </a:cxn>
                <a:cxn ang="0">
                  <a:pos x="140" y="342"/>
                </a:cxn>
                <a:cxn ang="0">
                  <a:pos x="142" y="296"/>
                </a:cxn>
                <a:cxn ang="0">
                  <a:pos x="168" y="280"/>
                </a:cxn>
                <a:cxn ang="0">
                  <a:pos x="202" y="242"/>
                </a:cxn>
                <a:cxn ang="0">
                  <a:pos x="226" y="224"/>
                </a:cxn>
                <a:cxn ang="0">
                  <a:pos x="240" y="210"/>
                </a:cxn>
                <a:cxn ang="0">
                  <a:pos x="244" y="180"/>
                </a:cxn>
                <a:cxn ang="0">
                  <a:pos x="246" y="156"/>
                </a:cxn>
                <a:cxn ang="0">
                  <a:pos x="248" y="144"/>
                </a:cxn>
                <a:cxn ang="0">
                  <a:pos x="262" y="160"/>
                </a:cxn>
                <a:cxn ang="0">
                  <a:pos x="290" y="162"/>
                </a:cxn>
                <a:cxn ang="0">
                  <a:pos x="286" y="180"/>
                </a:cxn>
                <a:cxn ang="0">
                  <a:pos x="300" y="204"/>
                </a:cxn>
                <a:cxn ang="0">
                  <a:pos x="312" y="180"/>
                </a:cxn>
                <a:cxn ang="0">
                  <a:pos x="324" y="146"/>
                </a:cxn>
                <a:cxn ang="0">
                  <a:pos x="352" y="122"/>
                </a:cxn>
                <a:cxn ang="0">
                  <a:pos x="340" y="114"/>
                </a:cxn>
                <a:cxn ang="0">
                  <a:pos x="326" y="104"/>
                </a:cxn>
                <a:cxn ang="0">
                  <a:pos x="284" y="124"/>
                </a:cxn>
                <a:cxn ang="0">
                  <a:pos x="282" y="138"/>
                </a:cxn>
                <a:cxn ang="0">
                  <a:pos x="250" y="130"/>
                </a:cxn>
                <a:cxn ang="0">
                  <a:pos x="238" y="130"/>
                </a:cxn>
                <a:cxn ang="0">
                  <a:pos x="228" y="144"/>
                </a:cxn>
                <a:cxn ang="0">
                  <a:pos x="176" y="130"/>
                </a:cxn>
                <a:cxn ang="0">
                  <a:pos x="154" y="88"/>
                </a:cxn>
                <a:cxn ang="0">
                  <a:pos x="138" y="76"/>
                </a:cxn>
                <a:cxn ang="0">
                  <a:pos x="128" y="52"/>
                </a:cxn>
                <a:cxn ang="0">
                  <a:pos x="136" y="48"/>
                </a:cxn>
                <a:cxn ang="0">
                  <a:pos x="130" y="32"/>
                </a:cxn>
                <a:cxn ang="0">
                  <a:pos x="142" y="18"/>
                </a:cxn>
                <a:cxn ang="0">
                  <a:pos x="140" y="6"/>
                </a:cxn>
                <a:cxn ang="0">
                  <a:pos x="126" y="4"/>
                </a:cxn>
                <a:cxn ang="0">
                  <a:pos x="100" y="20"/>
                </a:cxn>
                <a:cxn ang="0">
                  <a:pos x="70" y="20"/>
                </a:cxn>
                <a:cxn ang="0">
                  <a:pos x="74" y="40"/>
                </a:cxn>
                <a:cxn ang="0">
                  <a:pos x="80" y="54"/>
                </a:cxn>
                <a:cxn ang="0">
                  <a:pos x="80" y="70"/>
                </a:cxn>
                <a:cxn ang="0">
                  <a:pos x="62" y="98"/>
                </a:cxn>
                <a:cxn ang="0">
                  <a:pos x="28" y="120"/>
                </a:cxn>
                <a:cxn ang="0">
                  <a:pos x="30" y="154"/>
                </a:cxn>
                <a:cxn ang="0">
                  <a:pos x="28" y="174"/>
                </a:cxn>
                <a:cxn ang="0">
                  <a:pos x="2" y="178"/>
                </a:cxn>
              </a:cxnLst>
              <a:rect l="0" t="0" r="r" b="b"/>
              <a:pathLst>
                <a:path w="352" h="390">
                  <a:moveTo>
                    <a:pt x="0" y="184"/>
                  </a:moveTo>
                  <a:lnTo>
                    <a:pt x="10" y="194"/>
                  </a:lnTo>
                  <a:lnTo>
                    <a:pt x="10" y="194"/>
                  </a:lnTo>
                  <a:lnTo>
                    <a:pt x="18" y="194"/>
                  </a:lnTo>
                  <a:lnTo>
                    <a:pt x="24" y="192"/>
                  </a:lnTo>
                  <a:lnTo>
                    <a:pt x="26" y="190"/>
                  </a:lnTo>
                  <a:lnTo>
                    <a:pt x="28" y="190"/>
                  </a:lnTo>
                  <a:lnTo>
                    <a:pt x="22" y="200"/>
                  </a:lnTo>
                  <a:lnTo>
                    <a:pt x="22" y="200"/>
                  </a:lnTo>
                  <a:lnTo>
                    <a:pt x="16" y="200"/>
                  </a:lnTo>
                  <a:lnTo>
                    <a:pt x="10" y="200"/>
                  </a:lnTo>
                  <a:lnTo>
                    <a:pt x="10" y="204"/>
                  </a:lnTo>
                  <a:lnTo>
                    <a:pt x="28" y="222"/>
                  </a:lnTo>
                  <a:lnTo>
                    <a:pt x="28" y="222"/>
                  </a:lnTo>
                  <a:lnTo>
                    <a:pt x="36" y="222"/>
                  </a:lnTo>
                  <a:lnTo>
                    <a:pt x="46" y="216"/>
                  </a:lnTo>
                  <a:lnTo>
                    <a:pt x="48" y="200"/>
                  </a:lnTo>
                  <a:lnTo>
                    <a:pt x="56" y="202"/>
                  </a:lnTo>
                  <a:lnTo>
                    <a:pt x="56" y="204"/>
                  </a:lnTo>
                  <a:lnTo>
                    <a:pt x="54" y="204"/>
                  </a:lnTo>
                  <a:lnTo>
                    <a:pt x="52" y="210"/>
                  </a:lnTo>
                  <a:lnTo>
                    <a:pt x="54" y="210"/>
                  </a:lnTo>
                  <a:lnTo>
                    <a:pt x="54" y="210"/>
                  </a:lnTo>
                  <a:lnTo>
                    <a:pt x="56" y="218"/>
                  </a:lnTo>
                  <a:lnTo>
                    <a:pt x="54" y="224"/>
                  </a:lnTo>
                  <a:lnTo>
                    <a:pt x="54" y="236"/>
                  </a:lnTo>
                  <a:lnTo>
                    <a:pt x="54" y="236"/>
                  </a:lnTo>
                  <a:lnTo>
                    <a:pt x="56" y="252"/>
                  </a:lnTo>
                  <a:lnTo>
                    <a:pt x="60" y="268"/>
                  </a:lnTo>
                  <a:lnTo>
                    <a:pt x="70" y="300"/>
                  </a:lnTo>
                  <a:lnTo>
                    <a:pt x="70" y="300"/>
                  </a:lnTo>
                  <a:lnTo>
                    <a:pt x="74" y="304"/>
                  </a:lnTo>
                  <a:lnTo>
                    <a:pt x="74" y="304"/>
                  </a:lnTo>
                  <a:lnTo>
                    <a:pt x="78" y="320"/>
                  </a:lnTo>
                  <a:lnTo>
                    <a:pt x="84" y="336"/>
                  </a:lnTo>
                  <a:lnTo>
                    <a:pt x="84" y="336"/>
                  </a:lnTo>
                  <a:lnTo>
                    <a:pt x="92" y="346"/>
                  </a:lnTo>
                  <a:lnTo>
                    <a:pt x="92" y="346"/>
                  </a:lnTo>
                  <a:lnTo>
                    <a:pt x="98" y="368"/>
                  </a:lnTo>
                  <a:lnTo>
                    <a:pt x="104" y="380"/>
                  </a:lnTo>
                  <a:lnTo>
                    <a:pt x="106" y="386"/>
                  </a:lnTo>
                  <a:lnTo>
                    <a:pt x="112" y="390"/>
                  </a:lnTo>
                  <a:lnTo>
                    <a:pt x="120" y="384"/>
                  </a:lnTo>
                  <a:lnTo>
                    <a:pt x="122" y="378"/>
                  </a:lnTo>
                  <a:lnTo>
                    <a:pt x="130" y="374"/>
                  </a:lnTo>
                  <a:lnTo>
                    <a:pt x="134" y="362"/>
                  </a:lnTo>
                  <a:lnTo>
                    <a:pt x="140" y="362"/>
                  </a:lnTo>
                  <a:lnTo>
                    <a:pt x="140" y="362"/>
                  </a:lnTo>
                  <a:lnTo>
                    <a:pt x="140" y="352"/>
                  </a:lnTo>
                  <a:lnTo>
                    <a:pt x="140" y="342"/>
                  </a:lnTo>
                  <a:lnTo>
                    <a:pt x="144" y="332"/>
                  </a:lnTo>
                  <a:lnTo>
                    <a:pt x="146" y="324"/>
                  </a:lnTo>
                  <a:lnTo>
                    <a:pt x="146" y="324"/>
                  </a:lnTo>
                  <a:lnTo>
                    <a:pt x="144" y="310"/>
                  </a:lnTo>
                  <a:lnTo>
                    <a:pt x="142" y="296"/>
                  </a:lnTo>
                  <a:lnTo>
                    <a:pt x="142" y="296"/>
                  </a:lnTo>
                  <a:lnTo>
                    <a:pt x="152" y="290"/>
                  </a:lnTo>
                  <a:lnTo>
                    <a:pt x="154" y="288"/>
                  </a:lnTo>
                  <a:lnTo>
                    <a:pt x="158" y="284"/>
                  </a:lnTo>
                  <a:lnTo>
                    <a:pt x="168" y="280"/>
                  </a:lnTo>
                  <a:lnTo>
                    <a:pt x="168" y="280"/>
                  </a:lnTo>
                  <a:lnTo>
                    <a:pt x="170" y="272"/>
                  </a:lnTo>
                  <a:lnTo>
                    <a:pt x="170" y="272"/>
                  </a:lnTo>
                  <a:lnTo>
                    <a:pt x="186" y="258"/>
                  </a:lnTo>
                  <a:lnTo>
                    <a:pt x="202" y="242"/>
                  </a:lnTo>
                  <a:lnTo>
                    <a:pt x="202" y="242"/>
                  </a:lnTo>
                  <a:lnTo>
                    <a:pt x="208" y="238"/>
                  </a:lnTo>
                  <a:lnTo>
                    <a:pt x="216" y="234"/>
                  </a:lnTo>
                  <a:lnTo>
                    <a:pt x="222" y="230"/>
                  </a:lnTo>
                  <a:lnTo>
                    <a:pt x="226" y="224"/>
                  </a:lnTo>
                  <a:lnTo>
                    <a:pt x="226" y="218"/>
                  </a:lnTo>
                  <a:lnTo>
                    <a:pt x="226" y="214"/>
                  </a:lnTo>
                  <a:lnTo>
                    <a:pt x="236" y="208"/>
                  </a:lnTo>
                  <a:lnTo>
                    <a:pt x="240" y="204"/>
                  </a:lnTo>
                  <a:lnTo>
                    <a:pt x="240" y="210"/>
                  </a:lnTo>
                  <a:lnTo>
                    <a:pt x="242" y="212"/>
                  </a:lnTo>
                  <a:lnTo>
                    <a:pt x="250" y="210"/>
                  </a:lnTo>
                  <a:lnTo>
                    <a:pt x="250" y="210"/>
                  </a:lnTo>
                  <a:lnTo>
                    <a:pt x="246" y="192"/>
                  </a:lnTo>
                  <a:lnTo>
                    <a:pt x="244" y="180"/>
                  </a:lnTo>
                  <a:lnTo>
                    <a:pt x="244" y="174"/>
                  </a:lnTo>
                  <a:lnTo>
                    <a:pt x="236" y="166"/>
                  </a:lnTo>
                  <a:lnTo>
                    <a:pt x="238" y="162"/>
                  </a:lnTo>
                  <a:lnTo>
                    <a:pt x="246" y="160"/>
                  </a:lnTo>
                  <a:lnTo>
                    <a:pt x="246" y="156"/>
                  </a:lnTo>
                  <a:lnTo>
                    <a:pt x="240" y="156"/>
                  </a:lnTo>
                  <a:lnTo>
                    <a:pt x="240" y="152"/>
                  </a:lnTo>
                  <a:lnTo>
                    <a:pt x="244" y="142"/>
                  </a:lnTo>
                  <a:lnTo>
                    <a:pt x="248" y="148"/>
                  </a:lnTo>
                  <a:lnTo>
                    <a:pt x="248" y="144"/>
                  </a:lnTo>
                  <a:lnTo>
                    <a:pt x="250" y="144"/>
                  </a:lnTo>
                  <a:lnTo>
                    <a:pt x="252" y="150"/>
                  </a:lnTo>
                  <a:lnTo>
                    <a:pt x="254" y="150"/>
                  </a:lnTo>
                  <a:lnTo>
                    <a:pt x="256" y="146"/>
                  </a:lnTo>
                  <a:lnTo>
                    <a:pt x="262" y="160"/>
                  </a:lnTo>
                  <a:lnTo>
                    <a:pt x="262" y="160"/>
                  </a:lnTo>
                  <a:lnTo>
                    <a:pt x="276" y="160"/>
                  </a:lnTo>
                  <a:lnTo>
                    <a:pt x="284" y="160"/>
                  </a:lnTo>
                  <a:lnTo>
                    <a:pt x="290" y="162"/>
                  </a:lnTo>
                  <a:lnTo>
                    <a:pt x="290" y="162"/>
                  </a:lnTo>
                  <a:lnTo>
                    <a:pt x="284" y="170"/>
                  </a:lnTo>
                  <a:lnTo>
                    <a:pt x="276" y="178"/>
                  </a:lnTo>
                  <a:lnTo>
                    <a:pt x="278" y="188"/>
                  </a:lnTo>
                  <a:lnTo>
                    <a:pt x="282" y="192"/>
                  </a:lnTo>
                  <a:lnTo>
                    <a:pt x="286" y="180"/>
                  </a:lnTo>
                  <a:lnTo>
                    <a:pt x="288" y="182"/>
                  </a:lnTo>
                  <a:lnTo>
                    <a:pt x="288" y="182"/>
                  </a:lnTo>
                  <a:lnTo>
                    <a:pt x="292" y="194"/>
                  </a:lnTo>
                  <a:lnTo>
                    <a:pt x="294" y="206"/>
                  </a:lnTo>
                  <a:lnTo>
                    <a:pt x="300" y="204"/>
                  </a:lnTo>
                  <a:lnTo>
                    <a:pt x="300" y="194"/>
                  </a:lnTo>
                  <a:lnTo>
                    <a:pt x="302" y="192"/>
                  </a:lnTo>
                  <a:lnTo>
                    <a:pt x="304" y="180"/>
                  </a:lnTo>
                  <a:lnTo>
                    <a:pt x="312" y="180"/>
                  </a:lnTo>
                  <a:lnTo>
                    <a:pt x="312" y="180"/>
                  </a:lnTo>
                  <a:lnTo>
                    <a:pt x="316" y="168"/>
                  </a:lnTo>
                  <a:lnTo>
                    <a:pt x="320" y="160"/>
                  </a:lnTo>
                  <a:lnTo>
                    <a:pt x="324" y="152"/>
                  </a:lnTo>
                  <a:lnTo>
                    <a:pt x="324" y="146"/>
                  </a:lnTo>
                  <a:lnTo>
                    <a:pt x="324" y="146"/>
                  </a:lnTo>
                  <a:lnTo>
                    <a:pt x="334" y="138"/>
                  </a:lnTo>
                  <a:lnTo>
                    <a:pt x="342" y="132"/>
                  </a:lnTo>
                  <a:lnTo>
                    <a:pt x="346" y="132"/>
                  </a:lnTo>
                  <a:lnTo>
                    <a:pt x="348" y="124"/>
                  </a:lnTo>
                  <a:lnTo>
                    <a:pt x="352" y="122"/>
                  </a:lnTo>
                  <a:lnTo>
                    <a:pt x="352" y="122"/>
                  </a:lnTo>
                  <a:lnTo>
                    <a:pt x="350" y="116"/>
                  </a:lnTo>
                  <a:lnTo>
                    <a:pt x="350" y="116"/>
                  </a:lnTo>
                  <a:lnTo>
                    <a:pt x="344" y="114"/>
                  </a:lnTo>
                  <a:lnTo>
                    <a:pt x="340" y="114"/>
                  </a:lnTo>
                  <a:lnTo>
                    <a:pt x="340" y="108"/>
                  </a:lnTo>
                  <a:lnTo>
                    <a:pt x="338" y="106"/>
                  </a:lnTo>
                  <a:lnTo>
                    <a:pt x="338" y="102"/>
                  </a:lnTo>
                  <a:lnTo>
                    <a:pt x="334" y="100"/>
                  </a:lnTo>
                  <a:lnTo>
                    <a:pt x="326" y="104"/>
                  </a:lnTo>
                  <a:lnTo>
                    <a:pt x="318" y="102"/>
                  </a:lnTo>
                  <a:lnTo>
                    <a:pt x="318" y="102"/>
                  </a:lnTo>
                  <a:lnTo>
                    <a:pt x="302" y="116"/>
                  </a:lnTo>
                  <a:lnTo>
                    <a:pt x="292" y="120"/>
                  </a:lnTo>
                  <a:lnTo>
                    <a:pt x="284" y="124"/>
                  </a:lnTo>
                  <a:lnTo>
                    <a:pt x="284" y="128"/>
                  </a:lnTo>
                  <a:lnTo>
                    <a:pt x="288" y="130"/>
                  </a:lnTo>
                  <a:lnTo>
                    <a:pt x="288" y="136"/>
                  </a:lnTo>
                  <a:lnTo>
                    <a:pt x="288" y="136"/>
                  </a:lnTo>
                  <a:lnTo>
                    <a:pt x="282" y="138"/>
                  </a:lnTo>
                  <a:lnTo>
                    <a:pt x="270" y="138"/>
                  </a:lnTo>
                  <a:lnTo>
                    <a:pt x="258" y="138"/>
                  </a:lnTo>
                  <a:lnTo>
                    <a:pt x="250" y="138"/>
                  </a:lnTo>
                  <a:lnTo>
                    <a:pt x="248" y="134"/>
                  </a:lnTo>
                  <a:lnTo>
                    <a:pt x="250" y="130"/>
                  </a:lnTo>
                  <a:lnTo>
                    <a:pt x="248" y="130"/>
                  </a:lnTo>
                  <a:lnTo>
                    <a:pt x="248" y="120"/>
                  </a:lnTo>
                  <a:lnTo>
                    <a:pt x="240" y="122"/>
                  </a:lnTo>
                  <a:lnTo>
                    <a:pt x="240" y="122"/>
                  </a:lnTo>
                  <a:lnTo>
                    <a:pt x="238" y="130"/>
                  </a:lnTo>
                  <a:lnTo>
                    <a:pt x="238" y="136"/>
                  </a:lnTo>
                  <a:lnTo>
                    <a:pt x="240" y="138"/>
                  </a:lnTo>
                  <a:lnTo>
                    <a:pt x="238" y="144"/>
                  </a:lnTo>
                  <a:lnTo>
                    <a:pt x="238" y="144"/>
                  </a:lnTo>
                  <a:lnTo>
                    <a:pt x="228" y="144"/>
                  </a:lnTo>
                  <a:lnTo>
                    <a:pt x="214" y="142"/>
                  </a:lnTo>
                  <a:lnTo>
                    <a:pt x="202" y="138"/>
                  </a:lnTo>
                  <a:lnTo>
                    <a:pt x="198" y="134"/>
                  </a:lnTo>
                  <a:lnTo>
                    <a:pt x="194" y="132"/>
                  </a:lnTo>
                  <a:lnTo>
                    <a:pt x="176" y="130"/>
                  </a:lnTo>
                  <a:lnTo>
                    <a:pt x="176" y="130"/>
                  </a:lnTo>
                  <a:lnTo>
                    <a:pt x="162" y="122"/>
                  </a:lnTo>
                  <a:lnTo>
                    <a:pt x="146" y="110"/>
                  </a:lnTo>
                  <a:lnTo>
                    <a:pt x="148" y="96"/>
                  </a:lnTo>
                  <a:lnTo>
                    <a:pt x="154" y="88"/>
                  </a:lnTo>
                  <a:lnTo>
                    <a:pt x="156" y="88"/>
                  </a:lnTo>
                  <a:lnTo>
                    <a:pt x="144" y="82"/>
                  </a:lnTo>
                  <a:lnTo>
                    <a:pt x="142" y="78"/>
                  </a:lnTo>
                  <a:lnTo>
                    <a:pt x="138" y="78"/>
                  </a:lnTo>
                  <a:lnTo>
                    <a:pt x="138" y="76"/>
                  </a:lnTo>
                  <a:lnTo>
                    <a:pt x="130" y="78"/>
                  </a:lnTo>
                  <a:lnTo>
                    <a:pt x="128" y="70"/>
                  </a:lnTo>
                  <a:lnTo>
                    <a:pt x="128" y="62"/>
                  </a:lnTo>
                  <a:lnTo>
                    <a:pt x="124" y="54"/>
                  </a:lnTo>
                  <a:lnTo>
                    <a:pt x="128" y="52"/>
                  </a:lnTo>
                  <a:lnTo>
                    <a:pt x="128" y="52"/>
                  </a:lnTo>
                  <a:lnTo>
                    <a:pt x="132" y="52"/>
                  </a:lnTo>
                  <a:lnTo>
                    <a:pt x="136" y="54"/>
                  </a:lnTo>
                  <a:lnTo>
                    <a:pt x="138" y="52"/>
                  </a:lnTo>
                  <a:lnTo>
                    <a:pt x="136" y="48"/>
                  </a:lnTo>
                  <a:lnTo>
                    <a:pt x="136" y="44"/>
                  </a:lnTo>
                  <a:lnTo>
                    <a:pt x="132" y="44"/>
                  </a:lnTo>
                  <a:lnTo>
                    <a:pt x="130" y="42"/>
                  </a:lnTo>
                  <a:lnTo>
                    <a:pt x="132" y="36"/>
                  </a:lnTo>
                  <a:lnTo>
                    <a:pt x="130" y="32"/>
                  </a:lnTo>
                  <a:lnTo>
                    <a:pt x="136" y="32"/>
                  </a:lnTo>
                  <a:lnTo>
                    <a:pt x="138" y="30"/>
                  </a:lnTo>
                  <a:lnTo>
                    <a:pt x="138" y="30"/>
                  </a:lnTo>
                  <a:lnTo>
                    <a:pt x="138" y="26"/>
                  </a:lnTo>
                  <a:lnTo>
                    <a:pt x="142" y="18"/>
                  </a:lnTo>
                  <a:lnTo>
                    <a:pt x="148" y="8"/>
                  </a:lnTo>
                  <a:lnTo>
                    <a:pt x="146" y="8"/>
                  </a:lnTo>
                  <a:lnTo>
                    <a:pt x="144" y="10"/>
                  </a:lnTo>
                  <a:lnTo>
                    <a:pt x="142" y="6"/>
                  </a:lnTo>
                  <a:lnTo>
                    <a:pt x="140" y="6"/>
                  </a:lnTo>
                  <a:lnTo>
                    <a:pt x="138" y="2"/>
                  </a:lnTo>
                  <a:lnTo>
                    <a:pt x="134" y="0"/>
                  </a:lnTo>
                  <a:lnTo>
                    <a:pt x="134" y="0"/>
                  </a:lnTo>
                  <a:lnTo>
                    <a:pt x="130" y="2"/>
                  </a:lnTo>
                  <a:lnTo>
                    <a:pt x="126" y="4"/>
                  </a:lnTo>
                  <a:lnTo>
                    <a:pt x="118" y="8"/>
                  </a:lnTo>
                  <a:lnTo>
                    <a:pt x="116" y="8"/>
                  </a:lnTo>
                  <a:lnTo>
                    <a:pt x="108" y="14"/>
                  </a:lnTo>
                  <a:lnTo>
                    <a:pt x="106" y="20"/>
                  </a:lnTo>
                  <a:lnTo>
                    <a:pt x="100" y="20"/>
                  </a:lnTo>
                  <a:lnTo>
                    <a:pt x="98" y="22"/>
                  </a:lnTo>
                  <a:lnTo>
                    <a:pt x="94" y="20"/>
                  </a:lnTo>
                  <a:lnTo>
                    <a:pt x="90" y="22"/>
                  </a:lnTo>
                  <a:lnTo>
                    <a:pt x="74" y="18"/>
                  </a:lnTo>
                  <a:lnTo>
                    <a:pt x="70" y="20"/>
                  </a:lnTo>
                  <a:lnTo>
                    <a:pt x="68" y="24"/>
                  </a:lnTo>
                  <a:lnTo>
                    <a:pt x="70" y="26"/>
                  </a:lnTo>
                  <a:lnTo>
                    <a:pt x="70" y="30"/>
                  </a:lnTo>
                  <a:lnTo>
                    <a:pt x="74" y="32"/>
                  </a:lnTo>
                  <a:lnTo>
                    <a:pt x="74" y="40"/>
                  </a:lnTo>
                  <a:lnTo>
                    <a:pt x="70" y="42"/>
                  </a:lnTo>
                  <a:lnTo>
                    <a:pt x="76" y="48"/>
                  </a:lnTo>
                  <a:lnTo>
                    <a:pt x="74" y="50"/>
                  </a:lnTo>
                  <a:lnTo>
                    <a:pt x="80" y="50"/>
                  </a:lnTo>
                  <a:lnTo>
                    <a:pt x="80" y="54"/>
                  </a:lnTo>
                  <a:lnTo>
                    <a:pt x="86" y="56"/>
                  </a:lnTo>
                  <a:lnTo>
                    <a:pt x="88" y="60"/>
                  </a:lnTo>
                  <a:lnTo>
                    <a:pt x="86" y="62"/>
                  </a:lnTo>
                  <a:lnTo>
                    <a:pt x="78" y="64"/>
                  </a:lnTo>
                  <a:lnTo>
                    <a:pt x="80" y="70"/>
                  </a:lnTo>
                  <a:lnTo>
                    <a:pt x="78" y="74"/>
                  </a:lnTo>
                  <a:lnTo>
                    <a:pt x="82" y="76"/>
                  </a:lnTo>
                  <a:lnTo>
                    <a:pt x="78" y="76"/>
                  </a:lnTo>
                  <a:lnTo>
                    <a:pt x="78" y="76"/>
                  </a:lnTo>
                  <a:lnTo>
                    <a:pt x="62" y="98"/>
                  </a:lnTo>
                  <a:lnTo>
                    <a:pt x="44" y="122"/>
                  </a:lnTo>
                  <a:lnTo>
                    <a:pt x="44" y="122"/>
                  </a:lnTo>
                  <a:lnTo>
                    <a:pt x="38" y="122"/>
                  </a:lnTo>
                  <a:lnTo>
                    <a:pt x="34" y="126"/>
                  </a:lnTo>
                  <a:lnTo>
                    <a:pt x="28" y="120"/>
                  </a:lnTo>
                  <a:lnTo>
                    <a:pt x="18" y="134"/>
                  </a:lnTo>
                  <a:lnTo>
                    <a:pt x="18" y="140"/>
                  </a:lnTo>
                  <a:lnTo>
                    <a:pt x="26" y="142"/>
                  </a:lnTo>
                  <a:lnTo>
                    <a:pt x="28" y="154"/>
                  </a:lnTo>
                  <a:lnTo>
                    <a:pt x="30" y="154"/>
                  </a:lnTo>
                  <a:lnTo>
                    <a:pt x="36" y="166"/>
                  </a:lnTo>
                  <a:lnTo>
                    <a:pt x="34" y="172"/>
                  </a:lnTo>
                  <a:lnTo>
                    <a:pt x="36" y="172"/>
                  </a:lnTo>
                  <a:lnTo>
                    <a:pt x="36" y="172"/>
                  </a:lnTo>
                  <a:lnTo>
                    <a:pt x="28" y="174"/>
                  </a:lnTo>
                  <a:lnTo>
                    <a:pt x="20" y="176"/>
                  </a:lnTo>
                  <a:lnTo>
                    <a:pt x="18" y="174"/>
                  </a:lnTo>
                  <a:lnTo>
                    <a:pt x="18" y="174"/>
                  </a:lnTo>
                  <a:lnTo>
                    <a:pt x="10" y="176"/>
                  </a:lnTo>
                  <a:lnTo>
                    <a:pt x="2" y="178"/>
                  </a:lnTo>
                  <a:lnTo>
                    <a:pt x="0" y="182"/>
                  </a:lnTo>
                  <a:lnTo>
                    <a:pt x="0" y="184"/>
                  </a:lnTo>
                  <a:close/>
                </a:path>
              </a:pathLst>
            </a:custGeom>
            <a:solidFill>
              <a:schemeClr val="accent2"/>
            </a:solid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1" name="Freeform 1732">
              <a:extLst>
                <a:ext uri="{FF2B5EF4-FFF2-40B4-BE49-F238E27FC236}">
                  <a16:creationId xmlns:a16="http://schemas.microsoft.com/office/drawing/2014/main" id="{274C3439-D76C-4CAE-900D-3DCA737DCFDB}"/>
                </a:ext>
              </a:extLst>
            </p:cNvPr>
            <p:cNvSpPr>
              <a:spLocks/>
            </p:cNvSpPr>
            <p:nvPr/>
          </p:nvSpPr>
          <p:spPr bwMode="auto">
            <a:xfrm>
              <a:off x="5559992" y="4042195"/>
              <a:ext cx="320138" cy="260418"/>
            </a:xfrm>
            <a:custGeom>
              <a:avLst/>
              <a:gdLst/>
              <a:ahLst/>
              <a:cxnLst>
                <a:cxn ang="0">
                  <a:pos x="8" y="46"/>
                </a:cxn>
                <a:cxn ang="0">
                  <a:pos x="4" y="66"/>
                </a:cxn>
                <a:cxn ang="0">
                  <a:pos x="0" y="74"/>
                </a:cxn>
                <a:cxn ang="0">
                  <a:pos x="2" y="76"/>
                </a:cxn>
                <a:cxn ang="0">
                  <a:pos x="0" y="86"/>
                </a:cxn>
                <a:cxn ang="0">
                  <a:pos x="2" y="96"/>
                </a:cxn>
                <a:cxn ang="0">
                  <a:pos x="4" y="108"/>
                </a:cxn>
                <a:cxn ang="0">
                  <a:pos x="14" y="114"/>
                </a:cxn>
                <a:cxn ang="0">
                  <a:pos x="12" y="120"/>
                </a:cxn>
                <a:cxn ang="0">
                  <a:pos x="6" y="130"/>
                </a:cxn>
                <a:cxn ang="0">
                  <a:pos x="4" y="134"/>
                </a:cxn>
                <a:cxn ang="0">
                  <a:pos x="26" y="138"/>
                </a:cxn>
                <a:cxn ang="0">
                  <a:pos x="42" y="140"/>
                </a:cxn>
                <a:cxn ang="0">
                  <a:pos x="46" y="138"/>
                </a:cxn>
                <a:cxn ang="0">
                  <a:pos x="66" y="136"/>
                </a:cxn>
                <a:cxn ang="0">
                  <a:pos x="70" y="118"/>
                </a:cxn>
                <a:cxn ang="0">
                  <a:pos x="86" y="112"/>
                </a:cxn>
                <a:cxn ang="0">
                  <a:pos x="84" y="110"/>
                </a:cxn>
                <a:cxn ang="0">
                  <a:pos x="90" y="106"/>
                </a:cxn>
                <a:cxn ang="0">
                  <a:pos x="100" y="108"/>
                </a:cxn>
                <a:cxn ang="0">
                  <a:pos x="104" y="104"/>
                </a:cxn>
                <a:cxn ang="0">
                  <a:pos x="104" y="94"/>
                </a:cxn>
                <a:cxn ang="0">
                  <a:pos x="112" y="84"/>
                </a:cxn>
                <a:cxn ang="0">
                  <a:pos x="118" y="80"/>
                </a:cxn>
                <a:cxn ang="0">
                  <a:pos x="112" y="72"/>
                </a:cxn>
                <a:cxn ang="0">
                  <a:pos x="112" y="70"/>
                </a:cxn>
                <a:cxn ang="0">
                  <a:pos x="126" y="70"/>
                </a:cxn>
                <a:cxn ang="0">
                  <a:pos x="126" y="64"/>
                </a:cxn>
                <a:cxn ang="0">
                  <a:pos x="132" y="42"/>
                </a:cxn>
                <a:cxn ang="0">
                  <a:pos x="128" y="40"/>
                </a:cxn>
                <a:cxn ang="0">
                  <a:pos x="134" y="32"/>
                </a:cxn>
                <a:cxn ang="0">
                  <a:pos x="136" y="34"/>
                </a:cxn>
                <a:cxn ang="0">
                  <a:pos x="140" y="28"/>
                </a:cxn>
                <a:cxn ang="0">
                  <a:pos x="156" y="26"/>
                </a:cxn>
                <a:cxn ang="0">
                  <a:pos x="168" y="24"/>
                </a:cxn>
                <a:cxn ang="0">
                  <a:pos x="170" y="20"/>
                </a:cxn>
                <a:cxn ang="0">
                  <a:pos x="172" y="18"/>
                </a:cxn>
                <a:cxn ang="0">
                  <a:pos x="160" y="20"/>
                </a:cxn>
                <a:cxn ang="0">
                  <a:pos x="154" y="16"/>
                </a:cxn>
                <a:cxn ang="0">
                  <a:pos x="144" y="24"/>
                </a:cxn>
                <a:cxn ang="0">
                  <a:pos x="130" y="22"/>
                </a:cxn>
                <a:cxn ang="0">
                  <a:pos x="128" y="8"/>
                </a:cxn>
                <a:cxn ang="0">
                  <a:pos x="124" y="0"/>
                </a:cxn>
                <a:cxn ang="0">
                  <a:pos x="116" y="10"/>
                </a:cxn>
                <a:cxn ang="0">
                  <a:pos x="114" y="16"/>
                </a:cxn>
                <a:cxn ang="0">
                  <a:pos x="106" y="16"/>
                </a:cxn>
                <a:cxn ang="0">
                  <a:pos x="106" y="22"/>
                </a:cxn>
                <a:cxn ang="0">
                  <a:pos x="90" y="24"/>
                </a:cxn>
                <a:cxn ang="0">
                  <a:pos x="86" y="20"/>
                </a:cxn>
                <a:cxn ang="0">
                  <a:pos x="68" y="18"/>
                </a:cxn>
                <a:cxn ang="0">
                  <a:pos x="60" y="16"/>
                </a:cxn>
                <a:cxn ang="0">
                  <a:pos x="52" y="20"/>
                </a:cxn>
                <a:cxn ang="0">
                  <a:pos x="50" y="22"/>
                </a:cxn>
                <a:cxn ang="0">
                  <a:pos x="48" y="34"/>
                </a:cxn>
                <a:cxn ang="0">
                  <a:pos x="32" y="44"/>
                </a:cxn>
                <a:cxn ang="0">
                  <a:pos x="20" y="52"/>
                </a:cxn>
                <a:cxn ang="0">
                  <a:pos x="12" y="48"/>
                </a:cxn>
              </a:cxnLst>
              <a:rect l="0" t="0" r="r" b="b"/>
              <a:pathLst>
                <a:path w="172" h="140">
                  <a:moveTo>
                    <a:pt x="8" y="46"/>
                  </a:moveTo>
                  <a:lnTo>
                    <a:pt x="8" y="46"/>
                  </a:lnTo>
                  <a:lnTo>
                    <a:pt x="8" y="56"/>
                  </a:lnTo>
                  <a:lnTo>
                    <a:pt x="4" y="66"/>
                  </a:lnTo>
                  <a:lnTo>
                    <a:pt x="0" y="68"/>
                  </a:lnTo>
                  <a:lnTo>
                    <a:pt x="0" y="74"/>
                  </a:lnTo>
                  <a:lnTo>
                    <a:pt x="2" y="76"/>
                  </a:lnTo>
                  <a:lnTo>
                    <a:pt x="2" y="76"/>
                  </a:lnTo>
                  <a:lnTo>
                    <a:pt x="2" y="82"/>
                  </a:lnTo>
                  <a:lnTo>
                    <a:pt x="0" y="86"/>
                  </a:lnTo>
                  <a:lnTo>
                    <a:pt x="0" y="86"/>
                  </a:lnTo>
                  <a:lnTo>
                    <a:pt x="2" y="96"/>
                  </a:lnTo>
                  <a:lnTo>
                    <a:pt x="2" y="104"/>
                  </a:lnTo>
                  <a:lnTo>
                    <a:pt x="4" y="108"/>
                  </a:lnTo>
                  <a:lnTo>
                    <a:pt x="10" y="108"/>
                  </a:lnTo>
                  <a:lnTo>
                    <a:pt x="14" y="114"/>
                  </a:lnTo>
                  <a:lnTo>
                    <a:pt x="14" y="114"/>
                  </a:lnTo>
                  <a:lnTo>
                    <a:pt x="12" y="120"/>
                  </a:lnTo>
                  <a:lnTo>
                    <a:pt x="10" y="124"/>
                  </a:lnTo>
                  <a:lnTo>
                    <a:pt x="6" y="130"/>
                  </a:lnTo>
                  <a:lnTo>
                    <a:pt x="4" y="134"/>
                  </a:lnTo>
                  <a:lnTo>
                    <a:pt x="4" y="134"/>
                  </a:lnTo>
                  <a:lnTo>
                    <a:pt x="16" y="138"/>
                  </a:lnTo>
                  <a:lnTo>
                    <a:pt x="26" y="138"/>
                  </a:lnTo>
                  <a:lnTo>
                    <a:pt x="34" y="138"/>
                  </a:lnTo>
                  <a:lnTo>
                    <a:pt x="42" y="140"/>
                  </a:lnTo>
                  <a:lnTo>
                    <a:pt x="46" y="138"/>
                  </a:lnTo>
                  <a:lnTo>
                    <a:pt x="46" y="138"/>
                  </a:lnTo>
                  <a:lnTo>
                    <a:pt x="58" y="136"/>
                  </a:lnTo>
                  <a:lnTo>
                    <a:pt x="66" y="136"/>
                  </a:lnTo>
                  <a:lnTo>
                    <a:pt x="70" y="132"/>
                  </a:lnTo>
                  <a:lnTo>
                    <a:pt x="70" y="118"/>
                  </a:lnTo>
                  <a:lnTo>
                    <a:pt x="74" y="112"/>
                  </a:lnTo>
                  <a:lnTo>
                    <a:pt x="86" y="112"/>
                  </a:lnTo>
                  <a:lnTo>
                    <a:pt x="86" y="110"/>
                  </a:lnTo>
                  <a:lnTo>
                    <a:pt x="84" y="110"/>
                  </a:lnTo>
                  <a:lnTo>
                    <a:pt x="84" y="110"/>
                  </a:lnTo>
                  <a:lnTo>
                    <a:pt x="90" y="106"/>
                  </a:lnTo>
                  <a:lnTo>
                    <a:pt x="96" y="104"/>
                  </a:lnTo>
                  <a:lnTo>
                    <a:pt x="100" y="108"/>
                  </a:lnTo>
                  <a:lnTo>
                    <a:pt x="104" y="104"/>
                  </a:lnTo>
                  <a:lnTo>
                    <a:pt x="104" y="104"/>
                  </a:lnTo>
                  <a:lnTo>
                    <a:pt x="104" y="98"/>
                  </a:lnTo>
                  <a:lnTo>
                    <a:pt x="104" y="94"/>
                  </a:lnTo>
                  <a:lnTo>
                    <a:pt x="108" y="86"/>
                  </a:lnTo>
                  <a:lnTo>
                    <a:pt x="112" y="84"/>
                  </a:lnTo>
                  <a:lnTo>
                    <a:pt x="118" y="80"/>
                  </a:lnTo>
                  <a:lnTo>
                    <a:pt x="118" y="80"/>
                  </a:lnTo>
                  <a:lnTo>
                    <a:pt x="116" y="76"/>
                  </a:lnTo>
                  <a:lnTo>
                    <a:pt x="112" y="72"/>
                  </a:lnTo>
                  <a:lnTo>
                    <a:pt x="112" y="70"/>
                  </a:lnTo>
                  <a:lnTo>
                    <a:pt x="112" y="70"/>
                  </a:lnTo>
                  <a:lnTo>
                    <a:pt x="120" y="72"/>
                  </a:lnTo>
                  <a:lnTo>
                    <a:pt x="126" y="70"/>
                  </a:lnTo>
                  <a:lnTo>
                    <a:pt x="128" y="66"/>
                  </a:lnTo>
                  <a:lnTo>
                    <a:pt x="126" y="64"/>
                  </a:lnTo>
                  <a:lnTo>
                    <a:pt x="132" y="54"/>
                  </a:lnTo>
                  <a:lnTo>
                    <a:pt x="132" y="42"/>
                  </a:lnTo>
                  <a:lnTo>
                    <a:pt x="128" y="40"/>
                  </a:lnTo>
                  <a:lnTo>
                    <a:pt x="128" y="40"/>
                  </a:lnTo>
                  <a:lnTo>
                    <a:pt x="130" y="36"/>
                  </a:lnTo>
                  <a:lnTo>
                    <a:pt x="134" y="32"/>
                  </a:lnTo>
                  <a:lnTo>
                    <a:pt x="136" y="34"/>
                  </a:lnTo>
                  <a:lnTo>
                    <a:pt x="136" y="34"/>
                  </a:lnTo>
                  <a:lnTo>
                    <a:pt x="138" y="30"/>
                  </a:lnTo>
                  <a:lnTo>
                    <a:pt x="140" y="28"/>
                  </a:lnTo>
                  <a:lnTo>
                    <a:pt x="148" y="26"/>
                  </a:lnTo>
                  <a:lnTo>
                    <a:pt x="156" y="26"/>
                  </a:lnTo>
                  <a:lnTo>
                    <a:pt x="164" y="26"/>
                  </a:lnTo>
                  <a:lnTo>
                    <a:pt x="168" y="24"/>
                  </a:lnTo>
                  <a:lnTo>
                    <a:pt x="166" y="22"/>
                  </a:lnTo>
                  <a:lnTo>
                    <a:pt x="170" y="20"/>
                  </a:lnTo>
                  <a:lnTo>
                    <a:pt x="172" y="18"/>
                  </a:lnTo>
                  <a:lnTo>
                    <a:pt x="172" y="18"/>
                  </a:lnTo>
                  <a:lnTo>
                    <a:pt x="164" y="18"/>
                  </a:lnTo>
                  <a:lnTo>
                    <a:pt x="160" y="20"/>
                  </a:lnTo>
                  <a:lnTo>
                    <a:pt x="158" y="18"/>
                  </a:lnTo>
                  <a:lnTo>
                    <a:pt x="154" y="16"/>
                  </a:lnTo>
                  <a:lnTo>
                    <a:pt x="154" y="16"/>
                  </a:lnTo>
                  <a:lnTo>
                    <a:pt x="144" y="24"/>
                  </a:lnTo>
                  <a:lnTo>
                    <a:pt x="134" y="30"/>
                  </a:lnTo>
                  <a:lnTo>
                    <a:pt x="130" y="22"/>
                  </a:lnTo>
                  <a:lnTo>
                    <a:pt x="132" y="10"/>
                  </a:lnTo>
                  <a:lnTo>
                    <a:pt x="128" y="8"/>
                  </a:lnTo>
                  <a:lnTo>
                    <a:pt x="130" y="4"/>
                  </a:lnTo>
                  <a:lnTo>
                    <a:pt x="124" y="0"/>
                  </a:lnTo>
                  <a:lnTo>
                    <a:pt x="122" y="0"/>
                  </a:lnTo>
                  <a:lnTo>
                    <a:pt x="116" y="10"/>
                  </a:lnTo>
                  <a:lnTo>
                    <a:pt x="116" y="12"/>
                  </a:lnTo>
                  <a:lnTo>
                    <a:pt x="114" y="16"/>
                  </a:lnTo>
                  <a:lnTo>
                    <a:pt x="108" y="14"/>
                  </a:lnTo>
                  <a:lnTo>
                    <a:pt x="106" y="16"/>
                  </a:lnTo>
                  <a:lnTo>
                    <a:pt x="106" y="20"/>
                  </a:lnTo>
                  <a:lnTo>
                    <a:pt x="106" y="22"/>
                  </a:lnTo>
                  <a:lnTo>
                    <a:pt x="100" y="20"/>
                  </a:lnTo>
                  <a:lnTo>
                    <a:pt x="90" y="24"/>
                  </a:lnTo>
                  <a:lnTo>
                    <a:pt x="86" y="20"/>
                  </a:lnTo>
                  <a:lnTo>
                    <a:pt x="86" y="20"/>
                  </a:lnTo>
                  <a:lnTo>
                    <a:pt x="76" y="18"/>
                  </a:lnTo>
                  <a:lnTo>
                    <a:pt x="68" y="18"/>
                  </a:lnTo>
                  <a:lnTo>
                    <a:pt x="62" y="16"/>
                  </a:lnTo>
                  <a:lnTo>
                    <a:pt x="60" y="16"/>
                  </a:lnTo>
                  <a:lnTo>
                    <a:pt x="60" y="20"/>
                  </a:lnTo>
                  <a:lnTo>
                    <a:pt x="52" y="20"/>
                  </a:lnTo>
                  <a:lnTo>
                    <a:pt x="52" y="20"/>
                  </a:lnTo>
                  <a:lnTo>
                    <a:pt x="50" y="22"/>
                  </a:lnTo>
                  <a:lnTo>
                    <a:pt x="50" y="26"/>
                  </a:lnTo>
                  <a:lnTo>
                    <a:pt x="48" y="34"/>
                  </a:lnTo>
                  <a:lnTo>
                    <a:pt x="32" y="42"/>
                  </a:lnTo>
                  <a:lnTo>
                    <a:pt x="32" y="44"/>
                  </a:lnTo>
                  <a:lnTo>
                    <a:pt x="30" y="48"/>
                  </a:lnTo>
                  <a:lnTo>
                    <a:pt x="20" y="52"/>
                  </a:lnTo>
                  <a:lnTo>
                    <a:pt x="16" y="48"/>
                  </a:lnTo>
                  <a:lnTo>
                    <a:pt x="12" y="48"/>
                  </a:lnTo>
                  <a:lnTo>
                    <a:pt x="8" y="4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2" name="Freeform 1733">
              <a:extLst>
                <a:ext uri="{FF2B5EF4-FFF2-40B4-BE49-F238E27FC236}">
                  <a16:creationId xmlns:a16="http://schemas.microsoft.com/office/drawing/2014/main" id="{D039AC8E-D29A-4F19-A0E8-E0C94187D91D}"/>
                </a:ext>
              </a:extLst>
            </p:cNvPr>
            <p:cNvSpPr>
              <a:spLocks/>
            </p:cNvSpPr>
            <p:nvPr/>
          </p:nvSpPr>
          <p:spPr bwMode="auto">
            <a:xfrm>
              <a:off x="5567437" y="4086838"/>
              <a:ext cx="375976" cy="368306"/>
            </a:xfrm>
            <a:custGeom>
              <a:avLst/>
              <a:gdLst/>
              <a:ahLst/>
              <a:cxnLst>
                <a:cxn ang="0">
                  <a:pos x="12" y="114"/>
                </a:cxn>
                <a:cxn ang="0">
                  <a:pos x="38" y="116"/>
                </a:cxn>
                <a:cxn ang="0">
                  <a:pos x="54" y="112"/>
                </a:cxn>
                <a:cxn ang="0">
                  <a:pos x="66" y="94"/>
                </a:cxn>
                <a:cxn ang="0">
                  <a:pos x="82" y="86"/>
                </a:cxn>
                <a:cxn ang="0">
                  <a:pos x="86" y="82"/>
                </a:cxn>
                <a:cxn ang="0">
                  <a:pos x="100" y="80"/>
                </a:cxn>
                <a:cxn ang="0">
                  <a:pos x="100" y="70"/>
                </a:cxn>
                <a:cxn ang="0">
                  <a:pos x="114" y="56"/>
                </a:cxn>
                <a:cxn ang="0">
                  <a:pos x="108" y="48"/>
                </a:cxn>
                <a:cxn ang="0">
                  <a:pos x="116" y="48"/>
                </a:cxn>
                <a:cxn ang="0">
                  <a:pos x="122" y="40"/>
                </a:cxn>
                <a:cxn ang="0">
                  <a:pos x="124" y="16"/>
                </a:cxn>
                <a:cxn ang="0">
                  <a:pos x="130" y="8"/>
                </a:cxn>
                <a:cxn ang="0">
                  <a:pos x="134" y="6"/>
                </a:cxn>
                <a:cxn ang="0">
                  <a:pos x="152" y="2"/>
                </a:cxn>
                <a:cxn ang="0">
                  <a:pos x="174" y="2"/>
                </a:cxn>
                <a:cxn ang="0">
                  <a:pos x="176" y="4"/>
                </a:cxn>
                <a:cxn ang="0">
                  <a:pos x="180" y="14"/>
                </a:cxn>
                <a:cxn ang="0">
                  <a:pos x="188" y="20"/>
                </a:cxn>
                <a:cxn ang="0">
                  <a:pos x="202" y="24"/>
                </a:cxn>
                <a:cxn ang="0">
                  <a:pos x="186" y="36"/>
                </a:cxn>
                <a:cxn ang="0">
                  <a:pos x="176" y="38"/>
                </a:cxn>
                <a:cxn ang="0">
                  <a:pos x="154" y="40"/>
                </a:cxn>
                <a:cxn ang="0">
                  <a:pos x="160" y="48"/>
                </a:cxn>
                <a:cxn ang="0">
                  <a:pos x="162" y="64"/>
                </a:cxn>
                <a:cxn ang="0">
                  <a:pos x="166" y="70"/>
                </a:cxn>
                <a:cxn ang="0">
                  <a:pos x="172" y="78"/>
                </a:cxn>
                <a:cxn ang="0">
                  <a:pos x="164" y="90"/>
                </a:cxn>
                <a:cxn ang="0">
                  <a:pos x="164" y="92"/>
                </a:cxn>
                <a:cxn ang="0">
                  <a:pos x="130" y="138"/>
                </a:cxn>
                <a:cxn ang="0">
                  <a:pos x="114" y="136"/>
                </a:cxn>
                <a:cxn ang="0">
                  <a:pos x="112" y="158"/>
                </a:cxn>
                <a:cxn ang="0">
                  <a:pos x="122" y="182"/>
                </a:cxn>
                <a:cxn ang="0">
                  <a:pos x="122" y="188"/>
                </a:cxn>
                <a:cxn ang="0">
                  <a:pos x="104" y="190"/>
                </a:cxn>
                <a:cxn ang="0">
                  <a:pos x="88" y="194"/>
                </a:cxn>
                <a:cxn ang="0">
                  <a:pos x="80" y="196"/>
                </a:cxn>
                <a:cxn ang="0">
                  <a:pos x="64" y="174"/>
                </a:cxn>
                <a:cxn ang="0">
                  <a:pos x="38" y="174"/>
                </a:cxn>
                <a:cxn ang="0">
                  <a:pos x="16" y="178"/>
                </a:cxn>
                <a:cxn ang="0">
                  <a:pos x="8" y="178"/>
                </a:cxn>
                <a:cxn ang="0">
                  <a:pos x="14" y="162"/>
                </a:cxn>
                <a:cxn ang="0">
                  <a:pos x="28" y="150"/>
                </a:cxn>
                <a:cxn ang="0">
                  <a:pos x="10" y="126"/>
                </a:cxn>
                <a:cxn ang="0">
                  <a:pos x="0" y="112"/>
                </a:cxn>
              </a:cxnLst>
              <a:rect l="0" t="0" r="r" b="b"/>
              <a:pathLst>
                <a:path w="202" h="198">
                  <a:moveTo>
                    <a:pt x="0" y="110"/>
                  </a:moveTo>
                  <a:lnTo>
                    <a:pt x="0" y="110"/>
                  </a:lnTo>
                  <a:lnTo>
                    <a:pt x="12" y="114"/>
                  </a:lnTo>
                  <a:lnTo>
                    <a:pt x="22" y="114"/>
                  </a:lnTo>
                  <a:lnTo>
                    <a:pt x="30" y="114"/>
                  </a:lnTo>
                  <a:lnTo>
                    <a:pt x="38" y="116"/>
                  </a:lnTo>
                  <a:lnTo>
                    <a:pt x="42" y="114"/>
                  </a:lnTo>
                  <a:lnTo>
                    <a:pt x="42" y="114"/>
                  </a:lnTo>
                  <a:lnTo>
                    <a:pt x="54" y="112"/>
                  </a:lnTo>
                  <a:lnTo>
                    <a:pt x="62" y="112"/>
                  </a:lnTo>
                  <a:lnTo>
                    <a:pt x="66" y="108"/>
                  </a:lnTo>
                  <a:lnTo>
                    <a:pt x="66" y="94"/>
                  </a:lnTo>
                  <a:lnTo>
                    <a:pt x="70" y="88"/>
                  </a:lnTo>
                  <a:lnTo>
                    <a:pt x="82" y="88"/>
                  </a:lnTo>
                  <a:lnTo>
                    <a:pt x="82" y="86"/>
                  </a:lnTo>
                  <a:lnTo>
                    <a:pt x="80" y="86"/>
                  </a:lnTo>
                  <a:lnTo>
                    <a:pt x="80" y="86"/>
                  </a:lnTo>
                  <a:lnTo>
                    <a:pt x="86" y="82"/>
                  </a:lnTo>
                  <a:lnTo>
                    <a:pt x="92" y="80"/>
                  </a:lnTo>
                  <a:lnTo>
                    <a:pt x="96" y="84"/>
                  </a:lnTo>
                  <a:lnTo>
                    <a:pt x="100" y="80"/>
                  </a:lnTo>
                  <a:lnTo>
                    <a:pt x="100" y="80"/>
                  </a:lnTo>
                  <a:lnTo>
                    <a:pt x="100" y="74"/>
                  </a:lnTo>
                  <a:lnTo>
                    <a:pt x="100" y="70"/>
                  </a:lnTo>
                  <a:lnTo>
                    <a:pt x="104" y="62"/>
                  </a:lnTo>
                  <a:lnTo>
                    <a:pt x="108" y="60"/>
                  </a:lnTo>
                  <a:lnTo>
                    <a:pt x="114" y="56"/>
                  </a:lnTo>
                  <a:lnTo>
                    <a:pt x="114" y="56"/>
                  </a:lnTo>
                  <a:lnTo>
                    <a:pt x="112" y="52"/>
                  </a:lnTo>
                  <a:lnTo>
                    <a:pt x="108" y="48"/>
                  </a:lnTo>
                  <a:lnTo>
                    <a:pt x="108" y="46"/>
                  </a:lnTo>
                  <a:lnTo>
                    <a:pt x="108" y="46"/>
                  </a:lnTo>
                  <a:lnTo>
                    <a:pt x="116" y="48"/>
                  </a:lnTo>
                  <a:lnTo>
                    <a:pt x="122" y="46"/>
                  </a:lnTo>
                  <a:lnTo>
                    <a:pt x="124" y="42"/>
                  </a:lnTo>
                  <a:lnTo>
                    <a:pt x="122" y="40"/>
                  </a:lnTo>
                  <a:lnTo>
                    <a:pt x="128" y="30"/>
                  </a:lnTo>
                  <a:lnTo>
                    <a:pt x="128" y="18"/>
                  </a:lnTo>
                  <a:lnTo>
                    <a:pt x="124" y="16"/>
                  </a:lnTo>
                  <a:lnTo>
                    <a:pt x="124" y="16"/>
                  </a:lnTo>
                  <a:lnTo>
                    <a:pt x="126" y="12"/>
                  </a:lnTo>
                  <a:lnTo>
                    <a:pt x="130" y="8"/>
                  </a:lnTo>
                  <a:lnTo>
                    <a:pt x="132" y="10"/>
                  </a:lnTo>
                  <a:lnTo>
                    <a:pt x="132" y="10"/>
                  </a:lnTo>
                  <a:lnTo>
                    <a:pt x="134" y="6"/>
                  </a:lnTo>
                  <a:lnTo>
                    <a:pt x="136" y="4"/>
                  </a:lnTo>
                  <a:lnTo>
                    <a:pt x="144" y="2"/>
                  </a:lnTo>
                  <a:lnTo>
                    <a:pt x="152" y="2"/>
                  </a:lnTo>
                  <a:lnTo>
                    <a:pt x="160" y="2"/>
                  </a:lnTo>
                  <a:lnTo>
                    <a:pt x="164" y="0"/>
                  </a:lnTo>
                  <a:lnTo>
                    <a:pt x="174" y="2"/>
                  </a:lnTo>
                  <a:lnTo>
                    <a:pt x="174" y="6"/>
                  </a:lnTo>
                  <a:lnTo>
                    <a:pt x="176" y="4"/>
                  </a:lnTo>
                  <a:lnTo>
                    <a:pt x="176" y="4"/>
                  </a:lnTo>
                  <a:lnTo>
                    <a:pt x="180" y="8"/>
                  </a:lnTo>
                  <a:lnTo>
                    <a:pt x="182" y="14"/>
                  </a:lnTo>
                  <a:lnTo>
                    <a:pt x="180" y="14"/>
                  </a:lnTo>
                  <a:lnTo>
                    <a:pt x="184" y="18"/>
                  </a:lnTo>
                  <a:lnTo>
                    <a:pt x="188" y="18"/>
                  </a:lnTo>
                  <a:lnTo>
                    <a:pt x="188" y="20"/>
                  </a:lnTo>
                  <a:lnTo>
                    <a:pt x="188" y="20"/>
                  </a:lnTo>
                  <a:lnTo>
                    <a:pt x="194" y="22"/>
                  </a:lnTo>
                  <a:lnTo>
                    <a:pt x="202" y="24"/>
                  </a:lnTo>
                  <a:lnTo>
                    <a:pt x="194" y="30"/>
                  </a:lnTo>
                  <a:lnTo>
                    <a:pt x="192" y="36"/>
                  </a:lnTo>
                  <a:lnTo>
                    <a:pt x="186" y="36"/>
                  </a:lnTo>
                  <a:lnTo>
                    <a:pt x="184" y="38"/>
                  </a:lnTo>
                  <a:lnTo>
                    <a:pt x="180" y="36"/>
                  </a:lnTo>
                  <a:lnTo>
                    <a:pt x="176" y="38"/>
                  </a:lnTo>
                  <a:lnTo>
                    <a:pt x="160" y="34"/>
                  </a:lnTo>
                  <a:lnTo>
                    <a:pt x="156" y="36"/>
                  </a:lnTo>
                  <a:lnTo>
                    <a:pt x="154" y="40"/>
                  </a:lnTo>
                  <a:lnTo>
                    <a:pt x="156" y="42"/>
                  </a:lnTo>
                  <a:lnTo>
                    <a:pt x="156" y="46"/>
                  </a:lnTo>
                  <a:lnTo>
                    <a:pt x="160" y="48"/>
                  </a:lnTo>
                  <a:lnTo>
                    <a:pt x="160" y="56"/>
                  </a:lnTo>
                  <a:lnTo>
                    <a:pt x="156" y="58"/>
                  </a:lnTo>
                  <a:lnTo>
                    <a:pt x="162" y="64"/>
                  </a:lnTo>
                  <a:lnTo>
                    <a:pt x="160" y="66"/>
                  </a:lnTo>
                  <a:lnTo>
                    <a:pt x="166" y="66"/>
                  </a:lnTo>
                  <a:lnTo>
                    <a:pt x="166" y="70"/>
                  </a:lnTo>
                  <a:lnTo>
                    <a:pt x="172" y="72"/>
                  </a:lnTo>
                  <a:lnTo>
                    <a:pt x="174" y="76"/>
                  </a:lnTo>
                  <a:lnTo>
                    <a:pt x="172" y="78"/>
                  </a:lnTo>
                  <a:lnTo>
                    <a:pt x="164" y="80"/>
                  </a:lnTo>
                  <a:lnTo>
                    <a:pt x="166" y="86"/>
                  </a:lnTo>
                  <a:lnTo>
                    <a:pt x="164" y="90"/>
                  </a:lnTo>
                  <a:lnTo>
                    <a:pt x="168" y="92"/>
                  </a:lnTo>
                  <a:lnTo>
                    <a:pt x="164" y="92"/>
                  </a:lnTo>
                  <a:lnTo>
                    <a:pt x="164" y="92"/>
                  </a:lnTo>
                  <a:lnTo>
                    <a:pt x="148" y="114"/>
                  </a:lnTo>
                  <a:lnTo>
                    <a:pt x="130" y="138"/>
                  </a:lnTo>
                  <a:lnTo>
                    <a:pt x="130" y="138"/>
                  </a:lnTo>
                  <a:lnTo>
                    <a:pt x="124" y="138"/>
                  </a:lnTo>
                  <a:lnTo>
                    <a:pt x="120" y="142"/>
                  </a:lnTo>
                  <a:lnTo>
                    <a:pt x="114" y="136"/>
                  </a:lnTo>
                  <a:lnTo>
                    <a:pt x="104" y="150"/>
                  </a:lnTo>
                  <a:lnTo>
                    <a:pt x="104" y="156"/>
                  </a:lnTo>
                  <a:lnTo>
                    <a:pt x="112" y="158"/>
                  </a:lnTo>
                  <a:lnTo>
                    <a:pt x="114" y="170"/>
                  </a:lnTo>
                  <a:lnTo>
                    <a:pt x="116" y="170"/>
                  </a:lnTo>
                  <a:lnTo>
                    <a:pt x="122" y="182"/>
                  </a:lnTo>
                  <a:lnTo>
                    <a:pt x="120" y="188"/>
                  </a:lnTo>
                  <a:lnTo>
                    <a:pt x="122" y="188"/>
                  </a:lnTo>
                  <a:lnTo>
                    <a:pt x="122" y="188"/>
                  </a:lnTo>
                  <a:lnTo>
                    <a:pt x="114" y="190"/>
                  </a:lnTo>
                  <a:lnTo>
                    <a:pt x="106" y="192"/>
                  </a:lnTo>
                  <a:lnTo>
                    <a:pt x="104" y="190"/>
                  </a:lnTo>
                  <a:lnTo>
                    <a:pt x="104" y="190"/>
                  </a:lnTo>
                  <a:lnTo>
                    <a:pt x="96" y="192"/>
                  </a:lnTo>
                  <a:lnTo>
                    <a:pt x="88" y="194"/>
                  </a:lnTo>
                  <a:lnTo>
                    <a:pt x="86" y="198"/>
                  </a:lnTo>
                  <a:lnTo>
                    <a:pt x="86" y="196"/>
                  </a:lnTo>
                  <a:lnTo>
                    <a:pt x="80" y="196"/>
                  </a:lnTo>
                  <a:lnTo>
                    <a:pt x="74" y="184"/>
                  </a:lnTo>
                  <a:lnTo>
                    <a:pt x="70" y="182"/>
                  </a:lnTo>
                  <a:lnTo>
                    <a:pt x="64" y="174"/>
                  </a:lnTo>
                  <a:lnTo>
                    <a:pt x="46" y="174"/>
                  </a:lnTo>
                  <a:lnTo>
                    <a:pt x="44" y="178"/>
                  </a:lnTo>
                  <a:lnTo>
                    <a:pt x="38" y="174"/>
                  </a:lnTo>
                  <a:lnTo>
                    <a:pt x="38" y="174"/>
                  </a:lnTo>
                  <a:lnTo>
                    <a:pt x="28" y="176"/>
                  </a:lnTo>
                  <a:lnTo>
                    <a:pt x="16" y="178"/>
                  </a:lnTo>
                  <a:lnTo>
                    <a:pt x="14" y="176"/>
                  </a:lnTo>
                  <a:lnTo>
                    <a:pt x="10" y="180"/>
                  </a:lnTo>
                  <a:lnTo>
                    <a:pt x="8" y="178"/>
                  </a:lnTo>
                  <a:lnTo>
                    <a:pt x="12" y="164"/>
                  </a:lnTo>
                  <a:lnTo>
                    <a:pt x="12" y="164"/>
                  </a:lnTo>
                  <a:lnTo>
                    <a:pt x="14" y="162"/>
                  </a:lnTo>
                  <a:lnTo>
                    <a:pt x="18" y="158"/>
                  </a:lnTo>
                  <a:lnTo>
                    <a:pt x="26" y="156"/>
                  </a:lnTo>
                  <a:lnTo>
                    <a:pt x="28" y="150"/>
                  </a:lnTo>
                  <a:lnTo>
                    <a:pt x="24" y="148"/>
                  </a:lnTo>
                  <a:lnTo>
                    <a:pt x="22" y="134"/>
                  </a:lnTo>
                  <a:lnTo>
                    <a:pt x="10" y="126"/>
                  </a:lnTo>
                  <a:lnTo>
                    <a:pt x="10" y="126"/>
                  </a:lnTo>
                  <a:lnTo>
                    <a:pt x="6" y="118"/>
                  </a:lnTo>
                  <a:lnTo>
                    <a:pt x="0" y="112"/>
                  </a:lnTo>
                  <a:lnTo>
                    <a:pt x="0" y="1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4" name="Freeform 1734">
              <a:extLst>
                <a:ext uri="{FF2B5EF4-FFF2-40B4-BE49-F238E27FC236}">
                  <a16:creationId xmlns:a16="http://schemas.microsoft.com/office/drawing/2014/main" id="{9EA3A2AE-1D0D-42F2-85DE-673AB2D9D862}"/>
                </a:ext>
              </a:extLst>
            </p:cNvPr>
            <p:cNvSpPr>
              <a:spLocks/>
            </p:cNvSpPr>
            <p:nvPr/>
          </p:nvSpPr>
          <p:spPr bwMode="auto">
            <a:xfrm>
              <a:off x="6557631" y="5173154"/>
              <a:ext cx="208462" cy="70685"/>
            </a:xfrm>
            <a:custGeom>
              <a:avLst/>
              <a:gdLst/>
              <a:ahLst/>
              <a:cxnLst>
                <a:cxn ang="0">
                  <a:pos x="82" y="30"/>
                </a:cxn>
                <a:cxn ang="0">
                  <a:pos x="78" y="32"/>
                </a:cxn>
                <a:cxn ang="0">
                  <a:pos x="78" y="32"/>
                </a:cxn>
                <a:cxn ang="0">
                  <a:pos x="60" y="26"/>
                </a:cxn>
                <a:cxn ang="0">
                  <a:pos x="42" y="22"/>
                </a:cxn>
                <a:cxn ang="0">
                  <a:pos x="40" y="24"/>
                </a:cxn>
                <a:cxn ang="0">
                  <a:pos x="40" y="24"/>
                </a:cxn>
                <a:cxn ang="0">
                  <a:pos x="26" y="22"/>
                </a:cxn>
                <a:cxn ang="0">
                  <a:pos x="20" y="20"/>
                </a:cxn>
                <a:cxn ang="0">
                  <a:pos x="14" y="18"/>
                </a:cxn>
                <a:cxn ang="0">
                  <a:pos x="16" y="14"/>
                </a:cxn>
                <a:cxn ang="0">
                  <a:pos x="2" y="12"/>
                </a:cxn>
                <a:cxn ang="0">
                  <a:pos x="0" y="8"/>
                </a:cxn>
                <a:cxn ang="0">
                  <a:pos x="2" y="10"/>
                </a:cxn>
                <a:cxn ang="0">
                  <a:pos x="6" y="10"/>
                </a:cxn>
                <a:cxn ang="0">
                  <a:pos x="10" y="2"/>
                </a:cxn>
                <a:cxn ang="0">
                  <a:pos x="10" y="2"/>
                </a:cxn>
                <a:cxn ang="0">
                  <a:pos x="12" y="0"/>
                </a:cxn>
                <a:cxn ang="0">
                  <a:pos x="16" y="2"/>
                </a:cxn>
                <a:cxn ang="0">
                  <a:pos x="20" y="2"/>
                </a:cxn>
                <a:cxn ang="0">
                  <a:pos x="26" y="0"/>
                </a:cxn>
                <a:cxn ang="0">
                  <a:pos x="28" y="4"/>
                </a:cxn>
                <a:cxn ang="0">
                  <a:pos x="36" y="4"/>
                </a:cxn>
                <a:cxn ang="0">
                  <a:pos x="42" y="12"/>
                </a:cxn>
                <a:cxn ang="0">
                  <a:pos x="42" y="12"/>
                </a:cxn>
                <a:cxn ang="0">
                  <a:pos x="50" y="12"/>
                </a:cxn>
                <a:cxn ang="0">
                  <a:pos x="62" y="14"/>
                </a:cxn>
                <a:cxn ang="0">
                  <a:pos x="62" y="12"/>
                </a:cxn>
                <a:cxn ang="0">
                  <a:pos x="66" y="8"/>
                </a:cxn>
                <a:cxn ang="0">
                  <a:pos x="68" y="6"/>
                </a:cxn>
                <a:cxn ang="0">
                  <a:pos x="72" y="10"/>
                </a:cxn>
                <a:cxn ang="0">
                  <a:pos x="76" y="8"/>
                </a:cxn>
                <a:cxn ang="0">
                  <a:pos x="76" y="8"/>
                </a:cxn>
                <a:cxn ang="0">
                  <a:pos x="82" y="12"/>
                </a:cxn>
                <a:cxn ang="0">
                  <a:pos x="88" y="14"/>
                </a:cxn>
                <a:cxn ang="0">
                  <a:pos x="88" y="14"/>
                </a:cxn>
                <a:cxn ang="0">
                  <a:pos x="90" y="18"/>
                </a:cxn>
                <a:cxn ang="0">
                  <a:pos x="92" y="22"/>
                </a:cxn>
                <a:cxn ang="0">
                  <a:pos x="92" y="22"/>
                </a:cxn>
                <a:cxn ang="0">
                  <a:pos x="94" y="22"/>
                </a:cxn>
                <a:cxn ang="0">
                  <a:pos x="100" y="22"/>
                </a:cxn>
                <a:cxn ang="0">
                  <a:pos x="106" y="22"/>
                </a:cxn>
                <a:cxn ang="0">
                  <a:pos x="110" y="24"/>
                </a:cxn>
                <a:cxn ang="0">
                  <a:pos x="110" y="24"/>
                </a:cxn>
                <a:cxn ang="0">
                  <a:pos x="110" y="32"/>
                </a:cxn>
                <a:cxn ang="0">
                  <a:pos x="112" y="38"/>
                </a:cxn>
                <a:cxn ang="0">
                  <a:pos x="112" y="38"/>
                </a:cxn>
                <a:cxn ang="0">
                  <a:pos x="108" y="36"/>
                </a:cxn>
                <a:cxn ang="0">
                  <a:pos x="104" y="34"/>
                </a:cxn>
                <a:cxn ang="0">
                  <a:pos x="94" y="30"/>
                </a:cxn>
                <a:cxn ang="0">
                  <a:pos x="90" y="32"/>
                </a:cxn>
                <a:cxn ang="0">
                  <a:pos x="82" y="30"/>
                </a:cxn>
              </a:cxnLst>
              <a:rect l="0" t="0" r="r" b="b"/>
              <a:pathLst>
                <a:path w="112" h="38">
                  <a:moveTo>
                    <a:pt x="82" y="30"/>
                  </a:moveTo>
                  <a:lnTo>
                    <a:pt x="78" y="32"/>
                  </a:lnTo>
                  <a:lnTo>
                    <a:pt x="78" y="32"/>
                  </a:lnTo>
                  <a:lnTo>
                    <a:pt x="60" y="26"/>
                  </a:lnTo>
                  <a:lnTo>
                    <a:pt x="42" y="22"/>
                  </a:lnTo>
                  <a:lnTo>
                    <a:pt x="40" y="24"/>
                  </a:lnTo>
                  <a:lnTo>
                    <a:pt x="40" y="24"/>
                  </a:lnTo>
                  <a:lnTo>
                    <a:pt x="26" y="22"/>
                  </a:lnTo>
                  <a:lnTo>
                    <a:pt x="20" y="20"/>
                  </a:lnTo>
                  <a:lnTo>
                    <a:pt x="14" y="18"/>
                  </a:lnTo>
                  <a:lnTo>
                    <a:pt x="16" y="14"/>
                  </a:lnTo>
                  <a:lnTo>
                    <a:pt x="2" y="12"/>
                  </a:lnTo>
                  <a:lnTo>
                    <a:pt x="0" y="8"/>
                  </a:lnTo>
                  <a:lnTo>
                    <a:pt x="2" y="10"/>
                  </a:lnTo>
                  <a:lnTo>
                    <a:pt x="6" y="10"/>
                  </a:lnTo>
                  <a:lnTo>
                    <a:pt x="10" y="2"/>
                  </a:lnTo>
                  <a:lnTo>
                    <a:pt x="10" y="2"/>
                  </a:lnTo>
                  <a:lnTo>
                    <a:pt x="12" y="0"/>
                  </a:lnTo>
                  <a:lnTo>
                    <a:pt x="16" y="2"/>
                  </a:lnTo>
                  <a:lnTo>
                    <a:pt x="20" y="2"/>
                  </a:lnTo>
                  <a:lnTo>
                    <a:pt x="26" y="0"/>
                  </a:lnTo>
                  <a:lnTo>
                    <a:pt x="28" y="4"/>
                  </a:lnTo>
                  <a:lnTo>
                    <a:pt x="36" y="4"/>
                  </a:lnTo>
                  <a:lnTo>
                    <a:pt x="42" y="12"/>
                  </a:lnTo>
                  <a:lnTo>
                    <a:pt x="42" y="12"/>
                  </a:lnTo>
                  <a:lnTo>
                    <a:pt x="50" y="12"/>
                  </a:lnTo>
                  <a:lnTo>
                    <a:pt x="62" y="14"/>
                  </a:lnTo>
                  <a:lnTo>
                    <a:pt x="62" y="12"/>
                  </a:lnTo>
                  <a:lnTo>
                    <a:pt x="66" y="8"/>
                  </a:lnTo>
                  <a:lnTo>
                    <a:pt x="68" y="6"/>
                  </a:lnTo>
                  <a:lnTo>
                    <a:pt x="72" y="10"/>
                  </a:lnTo>
                  <a:lnTo>
                    <a:pt x="76" y="8"/>
                  </a:lnTo>
                  <a:lnTo>
                    <a:pt x="76" y="8"/>
                  </a:lnTo>
                  <a:lnTo>
                    <a:pt x="82" y="12"/>
                  </a:lnTo>
                  <a:lnTo>
                    <a:pt x="88" y="14"/>
                  </a:lnTo>
                  <a:lnTo>
                    <a:pt x="88" y="14"/>
                  </a:lnTo>
                  <a:lnTo>
                    <a:pt x="90" y="18"/>
                  </a:lnTo>
                  <a:lnTo>
                    <a:pt x="92" y="22"/>
                  </a:lnTo>
                  <a:lnTo>
                    <a:pt x="92" y="22"/>
                  </a:lnTo>
                  <a:lnTo>
                    <a:pt x="94" y="22"/>
                  </a:lnTo>
                  <a:lnTo>
                    <a:pt x="100" y="22"/>
                  </a:lnTo>
                  <a:lnTo>
                    <a:pt x="106" y="22"/>
                  </a:lnTo>
                  <a:lnTo>
                    <a:pt x="110" y="24"/>
                  </a:lnTo>
                  <a:lnTo>
                    <a:pt x="110" y="24"/>
                  </a:lnTo>
                  <a:lnTo>
                    <a:pt x="110" y="32"/>
                  </a:lnTo>
                  <a:lnTo>
                    <a:pt x="112" y="38"/>
                  </a:lnTo>
                  <a:lnTo>
                    <a:pt x="112" y="38"/>
                  </a:lnTo>
                  <a:lnTo>
                    <a:pt x="108" y="36"/>
                  </a:lnTo>
                  <a:lnTo>
                    <a:pt x="104" y="34"/>
                  </a:lnTo>
                  <a:lnTo>
                    <a:pt x="94" y="30"/>
                  </a:lnTo>
                  <a:lnTo>
                    <a:pt x="90" y="32"/>
                  </a:lnTo>
                  <a:lnTo>
                    <a:pt x="82" y="3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5" name="Freeform 1735">
              <a:extLst>
                <a:ext uri="{FF2B5EF4-FFF2-40B4-BE49-F238E27FC236}">
                  <a16:creationId xmlns:a16="http://schemas.microsoft.com/office/drawing/2014/main" id="{7AD81028-EC09-4652-AC69-F5498F87CF8E}"/>
                </a:ext>
              </a:extLst>
            </p:cNvPr>
            <p:cNvSpPr>
              <a:spLocks/>
            </p:cNvSpPr>
            <p:nvPr/>
          </p:nvSpPr>
          <p:spPr bwMode="auto">
            <a:xfrm>
              <a:off x="6825653" y="4763925"/>
              <a:ext cx="52115" cy="70685"/>
            </a:xfrm>
            <a:custGeom>
              <a:avLst/>
              <a:gdLst/>
              <a:ahLst/>
              <a:cxnLst>
                <a:cxn ang="0">
                  <a:pos x="26" y="0"/>
                </a:cxn>
                <a:cxn ang="0">
                  <a:pos x="28" y="0"/>
                </a:cxn>
                <a:cxn ang="0">
                  <a:pos x="28" y="0"/>
                </a:cxn>
                <a:cxn ang="0">
                  <a:pos x="28" y="6"/>
                </a:cxn>
                <a:cxn ang="0">
                  <a:pos x="28" y="12"/>
                </a:cxn>
                <a:cxn ang="0">
                  <a:pos x="18" y="18"/>
                </a:cxn>
                <a:cxn ang="0">
                  <a:pos x="18" y="22"/>
                </a:cxn>
                <a:cxn ang="0">
                  <a:pos x="2" y="38"/>
                </a:cxn>
                <a:cxn ang="0">
                  <a:pos x="0" y="38"/>
                </a:cxn>
                <a:cxn ang="0">
                  <a:pos x="0" y="38"/>
                </a:cxn>
                <a:cxn ang="0">
                  <a:pos x="2" y="32"/>
                </a:cxn>
                <a:cxn ang="0">
                  <a:pos x="10" y="22"/>
                </a:cxn>
                <a:cxn ang="0">
                  <a:pos x="16" y="16"/>
                </a:cxn>
                <a:cxn ang="0">
                  <a:pos x="22" y="12"/>
                </a:cxn>
                <a:cxn ang="0">
                  <a:pos x="26" y="0"/>
                </a:cxn>
              </a:cxnLst>
              <a:rect l="0" t="0" r="r" b="b"/>
              <a:pathLst>
                <a:path w="28" h="38">
                  <a:moveTo>
                    <a:pt x="26" y="0"/>
                  </a:moveTo>
                  <a:lnTo>
                    <a:pt x="28" y="0"/>
                  </a:lnTo>
                  <a:lnTo>
                    <a:pt x="28" y="0"/>
                  </a:lnTo>
                  <a:lnTo>
                    <a:pt x="28" y="6"/>
                  </a:lnTo>
                  <a:lnTo>
                    <a:pt x="28" y="12"/>
                  </a:lnTo>
                  <a:lnTo>
                    <a:pt x="18" y="18"/>
                  </a:lnTo>
                  <a:lnTo>
                    <a:pt x="18" y="22"/>
                  </a:lnTo>
                  <a:lnTo>
                    <a:pt x="2" y="38"/>
                  </a:lnTo>
                  <a:lnTo>
                    <a:pt x="0" y="38"/>
                  </a:lnTo>
                  <a:lnTo>
                    <a:pt x="0" y="38"/>
                  </a:lnTo>
                  <a:lnTo>
                    <a:pt x="2" y="32"/>
                  </a:lnTo>
                  <a:lnTo>
                    <a:pt x="10" y="22"/>
                  </a:lnTo>
                  <a:lnTo>
                    <a:pt x="16" y="16"/>
                  </a:lnTo>
                  <a:lnTo>
                    <a:pt x="22" y="12"/>
                  </a:lnTo>
                  <a:lnTo>
                    <a:pt x="2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6" name="Freeform 1736">
              <a:extLst>
                <a:ext uri="{FF2B5EF4-FFF2-40B4-BE49-F238E27FC236}">
                  <a16:creationId xmlns:a16="http://schemas.microsoft.com/office/drawing/2014/main" id="{3E838E49-6424-49CD-8580-62789489B2E0}"/>
                </a:ext>
              </a:extLst>
            </p:cNvPr>
            <p:cNvSpPr>
              <a:spLocks/>
            </p:cNvSpPr>
            <p:nvPr/>
          </p:nvSpPr>
          <p:spPr bwMode="auto">
            <a:xfrm>
              <a:off x="6892659" y="4711842"/>
              <a:ext cx="26058" cy="29762"/>
            </a:xfrm>
            <a:custGeom>
              <a:avLst/>
              <a:gdLst/>
              <a:ahLst/>
              <a:cxnLst>
                <a:cxn ang="0">
                  <a:pos x="0" y="0"/>
                </a:cxn>
                <a:cxn ang="0">
                  <a:pos x="8" y="0"/>
                </a:cxn>
                <a:cxn ang="0">
                  <a:pos x="14" y="4"/>
                </a:cxn>
                <a:cxn ang="0">
                  <a:pos x="14" y="4"/>
                </a:cxn>
                <a:cxn ang="0">
                  <a:pos x="14" y="8"/>
                </a:cxn>
                <a:cxn ang="0">
                  <a:pos x="14" y="14"/>
                </a:cxn>
                <a:cxn ang="0">
                  <a:pos x="10" y="16"/>
                </a:cxn>
                <a:cxn ang="0">
                  <a:pos x="10" y="16"/>
                </a:cxn>
                <a:cxn ang="0">
                  <a:pos x="8" y="10"/>
                </a:cxn>
                <a:cxn ang="0">
                  <a:pos x="4" y="4"/>
                </a:cxn>
                <a:cxn ang="0">
                  <a:pos x="0" y="0"/>
                </a:cxn>
              </a:cxnLst>
              <a:rect l="0" t="0" r="r" b="b"/>
              <a:pathLst>
                <a:path w="14" h="16">
                  <a:moveTo>
                    <a:pt x="0" y="0"/>
                  </a:moveTo>
                  <a:lnTo>
                    <a:pt x="8" y="0"/>
                  </a:lnTo>
                  <a:lnTo>
                    <a:pt x="14" y="4"/>
                  </a:lnTo>
                  <a:lnTo>
                    <a:pt x="14" y="4"/>
                  </a:lnTo>
                  <a:lnTo>
                    <a:pt x="14" y="8"/>
                  </a:lnTo>
                  <a:lnTo>
                    <a:pt x="14" y="14"/>
                  </a:lnTo>
                  <a:lnTo>
                    <a:pt x="10" y="16"/>
                  </a:lnTo>
                  <a:lnTo>
                    <a:pt x="10" y="16"/>
                  </a:lnTo>
                  <a:lnTo>
                    <a:pt x="8" y="10"/>
                  </a:lnTo>
                  <a:lnTo>
                    <a:pt x="4" y="4"/>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7" name="Freeform 1737">
              <a:extLst>
                <a:ext uri="{FF2B5EF4-FFF2-40B4-BE49-F238E27FC236}">
                  <a16:creationId xmlns:a16="http://schemas.microsoft.com/office/drawing/2014/main" id="{A9965236-15BB-4B88-8FEC-8C5C1A0E4D0A}"/>
                </a:ext>
              </a:extLst>
            </p:cNvPr>
            <p:cNvSpPr>
              <a:spLocks/>
            </p:cNvSpPr>
            <p:nvPr/>
          </p:nvSpPr>
          <p:spPr bwMode="auto">
            <a:xfrm>
              <a:off x="6881491" y="4585353"/>
              <a:ext cx="96786" cy="148810"/>
            </a:xfrm>
            <a:custGeom>
              <a:avLst/>
              <a:gdLst/>
              <a:ahLst/>
              <a:cxnLst>
                <a:cxn ang="0">
                  <a:pos x="30" y="4"/>
                </a:cxn>
                <a:cxn ang="0">
                  <a:pos x="30" y="4"/>
                </a:cxn>
                <a:cxn ang="0">
                  <a:pos x="28" y="10"/>
                </a:cxn>
                <a:cxn ang="0">
                  <a:pos x="28" y="16"/>
                </a:cxn>
                <a:cxn ang="0">
                  <a:pos x="32" y="20"/>
                </a:cxn>
                <a:cxn ang="0">
                  <a:pos x="32" y="20"/>
                </a:cxn>
                <a:cxn ang="0">
                  <a:pos x="30" y="26"/>
                </a:cxn>
                <a:cxn ang="0">
                  <a:pos x="28" y="32"/>
                </a:cxn>
                <a:cxn ang="0">
                  <a:pos x="22" y="36"/>
                </a:cxn>
                <a:cxn ang="0">
                  <a:pos x="20" y="42"/>
                </a:cxn>
                <a:cxn ang="0">
                  <a:pos x="20" y="44"/>
                </a:cxn>
                <a:cxn ang="0">
                  <a:pos x="22" y="52"/>
                </a:cxn>
                <a:cxn ang="0">
                  <a:pos x="22" y="52"/>
                </a:cxn>
                <a:cxn ang="0">
                  <a:pos x="22" y="56"/>
                </a:cxn>
                <a:cxn ang="0">
                  <a:pos x="24" y="60"/>
                </a:cxn>
                <a:cxn ang="0">
                  <a:pos x="26" y="62"/>
                </a:cxn>
                <a:cxn ang="0">
                  <a:pos x="30" y="62"/>
                </a:cxn>
                <a:cxn ang="0">
                  <a:pos x="30" y="58"/>
                </a:cxn>
                <a:cxn ang="0">
                  <a:pos x="34" y="56"/>
                </a:cxn>
                <a:cxn ang="0">
                  <a:pos x="48" y="64"/>
                </a:cxn>
                <a:cxn ang="0">
                  <a:pos x="48" y="64"/>
                </a:cxn>
                <a:cxn ang="0">
                  <a:pos x="48" y="72"/>
                </a:cxn>
                <a:cxn ang="0">
                  <a:pos x="52" y="74"/>
                </a:cxn>
                <a:cxn ang="0">
                  <a:pos x="50" y="80"/>
                </a:cxn>
                <a:cxn ang="0">
                  <a:pos x="48" y="76"/>
                </a:cxn>
                <a:cxn ang="0">
                  <a:pos x="50" y="76"/>
                </a:cxn>
                <a:cxn ang="0">
                  <a:pos x="50" y="76"/>
                </a:cxn>
                <a:cxn ang="0">
                  <a:pos x="46" y="76"/>
                </a:cxn>
                <a:cxn ang="0">
                  <a:pos x="42" y="74"/>
                </a:cxn>
                <a:cxn ang="0">
                  <a:pos x="42" y="74"/>
                </a:cxn>
                <a:cxn ang="0">
                  <a:pos x="38" y="66"/>
                </a:cxn>
                <a:cxn ang="0">
                  <a:pos x="34" y="64"/>
                </a:cxn>
                <a:cxn ang="0">
                  <a:pos x="32" y="62"/>
                </a:cxn>
                <a:cxn ang="0">
                  <a:pos x="34" y="72"/>
                </a:cxn>
                <a:cxn ang="0">
                  <a:pos x="26" y="62"/>
                </a:cxn>
                <a:cxn ang="0">
                  <a:pos x="22" y="62"/>
                </a:cxn>
                <a:cxn ang="0">
                  <a:pos x="18" y="66"/>
                </a:cxn>
                <a:cxn ang="0">
                  <a:pos x="16" y="66"/>
                </a:cxn>
                <a:cxn ang="0">
                  <a:pos x="12" y="62"/>
                </a:cxn>
                <a:cxn ang="0">
                  <a:pos x="12" y="64"/>
                </a:cxn>
                <a:cxn ang="0">
                  <a:pos x="10" y="60"/>
                </a:cxn>
                <a:cxn ang="0">
                  <a:pos x="14" y="52"/>
                </a:cxn>
                <a:cxn ang="0">
                  <a:pos x="10" y="50"/>
                </a:cxn>
                <a:cxn ang="0">
                  <a:pos x="10" y="56"/>
                </a:cxn>
                <a:cxn ang="0">
                  <a:pos x="6" y="50"/>
                </a:cxn>
                <a:cxn ang="0">
                  <a:pos x="4" y="50"/>
                </a:cxn>
                <a:cxn ang="0">
                  <a:pos x="4" y="50"/>
                </a:cxn>
                <a:cxn ang="0">
                  <a:pos x="0" y="32"/>
                </a:cxn>
                <a:cxn ang="0">
                  <a:pos x="2" y="32"/>
                </a:cxn>
                <a:cxn ang="0">
                  <a:pos x="4" y="34"/>
                </a:cxn>
                <a:cxn ang="0">
                  <a:pos x="6" y="32"/>
                </a:cxn>
                <a:cxn ang="0">
                  <a:pos x="6" y="32"/>
                </a:cxn>
                <a:cxn ang="0">
                  <a:pos x="8" y="16"/>
                </a:cxn>
                <a:cxn ang="0">
                  <a:pos x="8" y="6"/>
                </a:cxn>
                <a:cxn ang="0">
                  <a:pos x="10" y="0"/>
                </a:cxn>
                <a:cxn ang="0">
                  <a:pos x="10" y="0"/>
                </a:cxn>
                <a:cxn ang="0">
                  <a:pos x="16" y="0"/>
                </a:cxn>
                <a:cxn ang="0">
                  <a:pos x="22" y="4"/>
                </a:cxn>
                <a:cxn ang="0">
                  <a:pos x="26" y="4"/>
                </a:cxn>
                <a:cxn ang="0">
                  <a:pos x="26" y="0"/>
                </a:cxn>
                <a:cxn ang="0">
                  <a:pos x="28" y="0"/>
                </a:cxn>
                <a:cxn ang="0">
                  <a:pos x="30" y="4"/>
                </a:cxn>
              </a:cxnLst>
              <a:rect l="0" t="0" r="r" b="b"/>
              <a:pathLst>
                <a:path w="52" h="80">
                  <a:moveTo>
                    <a:pt x="30" y="4"/>
                  </a:moveTo>
                  <a:lnTo>
                    <a:pt x="30" y="4"/>
                  </a:lnTo>
                  <a:lnTo>
                    <a:pt x="28" y="10"/>
                  </a:lnTo>
                  <a:lnTo>
                    <a:pt x="28" y="16"/>
                  </a:lnTo>
                  <a:lnTo>
                    <a:pt x="32" y="20"/>
                  </a:lnTo>
                  <a:lnTo>
                    <a:pt x="32" y="20"/>
                  </a:lnTo>
                  <a:lnTo>
                    <a:pt x="30" y="26"/>
                  </a:lnTo>
                  <a:lnTo>
                    <a:pt x="28" y="32"/>
                  </a:lnTo>
                  <a:lnTo>
                    <a:pt x="22" y="36"/>
                  </a:lnTo>
                  <a:lnTo>
                    <a:pt x="20" y="42"/>
                  </a:lnTo>
                  <a:lnTo>
                    <a:pt x="20" y="44"/>
                  </a:lnTo>
                  <a:lnTo>
                    <a:pt x="22" y="52"/>
                  </a:lnTo>
                  <a:lnTo>
                    <a:pt x="22" y="52"/>
                  </a:lnTo>
                  <a:lnTo>
                    <a:pt x="22" y="56"/>
                  </a:lnTo>
                  <a:lnTo>
                    <a:pt x="24" y="60"/>
                  </a:lnTo>
                  <a:lnTo>
                    <a:pt x="26" y="62"/>
                  </a:lnTo>
                  <a:lnTo>
                    <a:pt x="30" y="62"/>
                  </a:lnTo>
                  <a:lnTo>
                    <a:pt x="30" y="58"/>
                  </a:lnTo>
                  <a:lnTo>
                    <a:pt x="34" y="56"/>
                  </a:lnTo>
                  <a:lnTo>
                    <a:pt x="48" y="64"/>
                  </a:lnTo>
                  <a:lnTo>
                    <a:pt x="48" y="64"/>
                  </a:lnTo>
                  <a:lnTo>
                    <a:pt x="48" y="72"/>
                  </a:lnTo>
                  <a:lnTo>
                    <a:pt x="52" y="74"/>
                  </a:lnTo>
                  <a:lnTo>
                    <a:pt x="50" y="80"/>
                  </a:lnTo>
                  <a:lnTo>
                    <a:pt x="48" y="76"/>
                  </a:lnTo>
                  <a:lnTo>
                    <a:pt x="50" y="76"/>
                  </a:lnTo>
                  <a:lnTo>
                    <a:pt x="50" y="76"/>
                  </a:lnTo>
                  <a:lnTo>
                    <a:pt x="46" y="76"/>
                  </a:lnTo>
                  <a:lnTo>
                    <a:pt x="42" y="74"/>
                  </a:lnTo>
                  <a:lnTo>
                    <a:pt x="42" y="74"/>
                  </a:lnTo>
                  <a:lnTo>
                    <a:pt x="38" y="66"/>
                  </a:lnTo>
                  <a:lnTo>
                    <a:pt x="34" y="64"/>
                  </a:lnTo>
                  <a:lnTo>
                    <a:pt x="32" y="62"/>
                  </a:lnTo>
                  <a:lnTo>
                    <a:pt x="34" y="72"/>
                  </a:lnTo>
                  <a:lnTo>
                    <a:pt x="26" y="62"/>
                  </a:lnTo>
                  <a:lnTo>
                    <a:pt x="22" y="62"/>
                  </a:lnTo>
                  <a:lnTo>
                    <a:pt x="18" y="66"/>
                  </a:lnTo>
                  <a:lnTo>
                    <a:pt x="16" y="66"/>
                  </a:lnTo>
                  <a:lnTo>
                    <a:pt x="12" y="62"/>
                  </a:lnTo>
                  <a:lnTo>
                    <a:pt x="12" y="64"/>
                  </a:lnTo>
                  <a:lnTo>
                    <a:pt x="10" y="60"/>
                  </a:lnTo>
                  <a:lnTo>
                    <a:pt x="14" y="52"/>
                  </a:lnTo>
                  <a:lnTo>
                    <a:pt x="10" y="50"/>
                  </a:lnTo>
                  <a:lnTo>
                    <a:pt x="10" y="56"/>
                  </a:lnTo>
                  <a:lnTo>
                    <a:pt x="6" y="50"/>
                  </a:lnTo>
                  <a:lnTo>
                    <a:pt x="4" y="50"/>
                  </a:lnTo>
                  <a:lnTo>
                    <a:pt x="4" y="50"/>
                  </a:lnTo>
                  <a:lnTo>
                    <a:pt x="0" y="32"/>
                  </a:lnTo>
                  <a:lnTo>
                    <a:pt x="2" y="32"/>
                  </a:lnTo>
                  <a:lnTo>
                    <a:pt x="4" y="34"/>
                  </a:lnTo>
                  <a:lnTo>
                    <a:pt x="6" y="32"/>
                  </a:lnTo>
                  <a:lnTo>
                    <a:pt x="6" y="32"/>
                  </a:lnTo>
                  <a:lnTo>
                    <a:pt x="8" y="16"/>
                  </a:lnTo>
                  <a:lnTo>
                    <a:pt x="8" y="6"/>
                  </a:lnTo>
                  <a:lnTo>
                    <a:pt x="10" y="0"/>
                  </a:lnTo>
                  <a:lnTo>
                    <a:pt x="10" y="0"/>
                  </a:lnTo>
                  <a:lnTo>
                    <a:pt x="16" y="0"/>
                  </a:lnTo>
                  <a:lnTo>
                    <a:pt x="22" y="4"/>
                  </a:lnTo>
                  <a:lnTo>
                    <a:pt x="26" y="4"/>
                  </a:lnTo>
                  <a:lnTo>
                    <a:pt x="26" y="0"/>
                  </a:lnTo>
                  <a:lnTo>
                    <a:pt x="28" y="0"/>
                  </a:lnTo>
                  <a:lnTo>
                    <a:pt x="3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8" name="Freeform 1738">
              <a:extLst>
                <a:ext uri="{FF2B5EF4-FFF2-40B4-BE49-F238E27FC236}">
                  <a16:creationId xmlns:a16="http://schemas.microsoft.com/office/drawing/2014/main" id="{CFA8EEC4-D500-46A2-8609-3124E7D87B18}"/>
                </a:ext>
              </a:extLst>
            </p:cNvPr>
            <p:cNvSpPr>
              <a:spLocks/>
            </p:cNvSpPr>
            <p:nvPr/>
          </p:nvSpPr>
          <p:spPr bwMode="auto">
            <a:xfrm>
              <a:off x="6955942" y="4734163"/>
              <a:ext cx="18613" cy="18601"/>
            </a:xfrm>
            <a:custGeom>
              <a:avLst/>
              <a:gdLst/>
              <a:ahLst/>
              <a:cxnLst>
                <a:cxn ang="0">
                  <a:pos x="2" y="0"/>
                </a:cxn>
                <a:cxn ang="0">
                  <a:pos x="10" y="6"/>
                </a:cxn>
                <a:cxn ang="0">
                  <a:pos x="10" y="10"/>
                </a:cxn>
                <a:cxn ang="0">
                  <a:pos x="10" y="10"/>
                </a:cxn>
                <a:cxn ang="0">
                  <a:pos x="8" y="8"/>
                </a:cxn>
                <a:cxn ang="0">
                  <a:pos x="4" y="4"/>
                </a:cxn>
                <a:cxn ang="0">
                  <a:pos x="0" y="6"/>
                </a:cxn>
                <a:cxn ang="0">
                  <a:pos x="2" y="0"/>
                </a:cxn>
              </a:cxnLst>
              <a:rect l="0" t="0" r="r" b="b"/>
              <a:pathLst>
                <a:path w="10" h="10">
                  <a:moveTo>
                    <a:pt x="2" y="0"/>
                  </a:moveTo>
                  <a:lnTo>
                    <a:pt x="10" y="6"/>
                  </a:lnTo>
                  <a:lnTo>
                    <a:pt x="10" y="10"/>
                  </a:lnTo>
                  <a:lnTo>
                    <a:pt x="10" y="10"/>
                  </a:lnTo>
                  <a:lnTo>
                    <a:pt x="8" y="8"/>
                  </a:lnTo>
                  <a:lnTo>
                    <a:pt x="4" y="4"/>
                  </a:lnTo>
                  <a:lnTo>
                    <a:pt x="0" y="6"/>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69" name="Freeform 1739">
              <a:extLst>
                <a:ext uri="{FF2B5EF4-FFF2-40B4-BE49-F238E27FC236}">
                  <a16:creationId xmlns:a16="http://schemas.microsoft.com/office/drawing/2014/main" id="{FAD0156E-51C8-4464-8AF4-C72A99149097}"/>
                </a:ext>
              </a:extLst>
            </p:cNvPr>
            <p:cNvSpPr>
              <a:spLocks/>
            </p:cNvSpPr>
            <p:nvPr/>
          </p:nvSpPr>
          <p:spPr bwMode="auto">
            <a:xfrm>
              <a:off x="6989445" y="4734163"/>
              <a:ext cx="29780" cy="37203"/>
            </a:xfrm>
            <a:custGeom>
              <a:avLst/>
              <a:gdLst/>
              <a:ahLst/>
              <a:cxnLst>
                <a:cxn ang="0">
                  <a:pos x="0" y="0"/>
                </a:cxn>
                <a:cxn ang="0">
                  <a:pos x="8" y="0"/>
                </a:cxn>
                <a:cxn ang="0">
                  <a:pos x="14" y="4"/>
                </a:cxn>
                <a:cxn ang="0">
                  <a:pos x="16" y="20"/>
                </a:cxn>
                <a:cxn ang="0">
                  <a:pos x="6" y="14"/>
                </a:cxn>
                <a:cxn ang="0">
                  <a:pos x="8" y="10"/>
                </a:cxn>
                <a:cxn ang="0">
                  <a:pos x="0" y="0"/>
                </a:cxn>
              </a:cxnLst>
              <a:rect l="0" t="0" r="r" b="b"/>
              <a:pathLst>
                <a:path w="16" h="20">
                  <a:moveTo>
                    <a:pt x="0" y="0"/>
                  </a:moveTo>
                  <a:lnTo>
                    <a:pt x="8" y="0"/>
                  </a:lnTo>
                  <a:lnTo>
                    <a:pt x="14" y="4"/>
                  </a:lnTo>
                  <a:lnTo>
                    <a:pt x="16" y="20"/>
                  </a:lnTo>
                  <a:lnTo>
                    <a:pt x="6" y="14"/>
                  </a:lnTo>
                  <a:lnTo>
                    <a:pt x="8" y="1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0" name="Freeform 1740">
              <a:extLst>
                <a:ext uri="{FF2B5EF4-FFF2-40B4-BE49-F238E27FC236}">
                  <a16:creationId xmlns:a16="http://schemas.microsoft.com/office/drawing/2014/main" id="{56F4F24B-3FAD-45FE-B38E-024E8608FBF0}"/>
                </a:ext>
              </a:extLst>
            </p:cNvPr>
            <p:cNvSpPr>
              <a:spLocks/>
            </p:cNvSpPr>
            <p:nvPr/>
          </p:nvSpPr>
          <p:spPr bwMode="auto">
            <a:xfrm>
              <a:off x="6929884" y="4749044"/>
              <a:ext cx="26058" cy="37203"/>
            </a:xfrm>
            <a:custGeom>
              <a:avLst/>
              <a:gdLst/>
              <a:ahLst/>
              <a:cxnLst>
                <a:cxn ang="0">
                  <a:pos x="0" y="0"/>
                </a:cxn>
                <a:cxn ang="0">
                  <a:pos x="2" y="0"/>
                </a:cxn>
                <a:cxn ang="0">
                  <a:pos x="6" y="4"/>
                </a:cxn>
                <a:cxn ang="0">
                  <a:pos x="14" y="6"/>
                </a:cxn>
                <a:cxn ang="0">
                  <a:pos x="12" y="10"/>
                </a:cxn>
                <a:cxn ang="0">
                  <a:pos x="12" y="10"/>
                </a:cxn>
                <a:cxn ang="0">
                  <a:pos x="8" y="16"/>
                </a:cxn>
                <a:cxn ang="0">
                  <a:pos x="2" y="18"/>
                </a:cxn>
                <a:cxn ang="0">
                  <a:pos x="0" y="20"/>
                </a:cxn>
                <a:cxn ang="0">
                  <a:pos x="0" y="20"/>
                </a:cxn>
                <a:cxn ang="0">
                  <a:pos x="0" y="10"/>
                </a:cxn>
                <a:cxn ang="0">
                  <a:pos x="0" y="4"/>
                </a:cxn>
                <a:cxn ang="0">
                  <a:pos x="0" y="0"/>
                </a:cxn>
                <a:cxn ang="0">
                  <a:pos x="0" y="0"/>
                </a:cxn>
              </a:cxnLst>
              <a:rect l="0" t="0" r="r" b="b"/>
              <a:pathLst>
                <a:path w="14" h="20">
                  <a:moveTo>
                    <a:pt x="0" y="0"/>
                  </a:moveTo>
                  <a:lnTo>
                    <a:pt x="2" y="0"/>
                  </a:lnTo>
                  <a:lnTo>
                    <a:pt x="6" y="4"/>
                  </a:lnTo>
                  <a:lnTo>
                    <a:pt x="14" y="6"/>
                  </a:lnTo>
                  <a:lnTo>
                    <a:pt x="12" y="10"/>
                  </a:lnTo>
                  <a:lnTo>
                    <a:pt x="12" y="10"/>
                  </a:lnTo>
                  <a:lnTo>
                    <a:pt x="8" y="16"/>
                  </a:lnTo>
                  <a:lnTo>
                    <a:pt x="2" y="18"/>
                  </a:lnTo>
                  <a:lnTo>
                    <a:pt x="0" y="20"/>
                  </a:lnTo>
                  <a:lnTo>
                    <a:pt x="0" y="20"/>
                  </a:lnTo>
                  <a:lnTo>
                    <a:pt x="0" y="10"/>
                  </a:lnTo>
                  <a:lnTo>
                    <a:pt x="0" y="4"/>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1" name="Freeform 1741">
              <a:extLst>
                <a:ext uri="{FF2B5EF4-FFF2-40B4-BE49-F238E27FC236}">
                  <a16:creationId xmlns:a16="http://schemas.microsoft.com/office/drawing/2014/main" id="{B1013C8A-61A4-4429-89C7-99FA16B528D7}"/>
                </a:ext>
              </a:extLst>
            </p:cNvPr>
            <p:cNvSpPr>
              <a:spLocks/>
            </p:cNvSpPr>
            <p:nvPr/>
          </p:nvSpPr>
          <p:spPr bwMode="auto">
            <a:xfrm>
              <a:off x="6941052" y="4771366"/>
              <a:ext cx="22335" cy="48363"/>
            </a:xfrm>
            <a:custGeom>
              <a:avLst/>
              <a:gdLst/>
              <a:ahLst/>
              <a:cxnLst>
                <a:cxn ang="0">
                  <a:pos x="6" y="2"/>
                </a:cxn>
                <a:cxn ang="0">
                  <a:pos x="8" y="0"/>
                </a:cxn>
                <a:cxn ang="0">
                  <a:pos x="12" y="2"/>
                </a:cxn>
                <a:cxn ang="0">
                  <a:pos x="12" y="2"/>
                </a:cxn>
                <a:cxn ang="0">
                  <a:pos x="10" y="10"/>
                </a:cxn>
                <a:cxn ang="0">
                  <a:pos x="8" y="18"/>
                </a:cxn>
                <a:cxn ang="0">
                  <a:pos x="8" y="24"/>
                </a:cxn>
                <a:cxn ang="0">
                  <a:pos x="6" y="26"/>
                </a:cxn>
                <a:cxn ang="0">
                  <a:pos x="0" y="16"/>
                </a:cxn>
                <a:cxn ang="0">
                  <a:pos x="0" y="14"/>
                </a:cxn>
                <a:cxn ang="0">
                  <a:pos x="4" y="12"/>
                </a:cxn>
                <a:cxn ang="0">
                  <a:pos x="6" y="2"/>
                </a:cxn>
              </a:cxnLst>
              <a:rect l="0" t="0" r="r" b="b"/>
              <a:pathLst>
                <a:path w="12" h="26">
                  <a:moveTo>
                    <a:pt x="6" y="2"/>
                  </a:moveTo>
                  <a:lnTo>
                    <a:pt x="8" y="0"/>
                  </a:lnTo>
                  <a:lnTo>
                    <a:pt x="12" y="2"/>
                  </a:lnTo>
                  <a:lnTo>
                    <a:pt x="12" y="2"/>
                  </a:lnTo>
                  <a:lnTo>
                    <a:pt x="10" y="10"/>
                  </a:lnTo>
                  <a:lnTo>
                    <a:pt x="8" y="18"/>
                  </a:lnTo>
                  <a:lnTo>
                    <a:pt x="8" y="24"/>
                  </a:lnTo>
                  <a:lnTo>
                    <a:pt x="6" y="26"/>
                  </a:lnTo>
                  <a:lnTo>
                    <a:pt x="0" y="16"/>
                  </a:lnTo>
                  <a:lnTo>
                    <a:pt x="0" y="14"/>
                  </a:lnTo>
                  <a:lnTo>
                    <a:pt x="4" y="12"/>
                  </a:lnTo>
                  <a:lnTo>
                    <a:pt x="6"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2" name="Freeform 1742">
              <a:extLst>
                <a:ext uri="{FF2B5EF4-FFF2-40B4-BE49-F238E27FC236}">
                  <a16:creationId xmlns:a16="http://schemas.microsoft.com/office/drawing/2014/main" id="{1514D11D-65BF-4C47-9A54-D911093C81C0}"/>
                </a:ext>
              </a:extLst>
            </p:cNvPr>
            <p:cNvSpPr>
              <a:spLocks/>
            </p:cNvSpPr>
            <p:nvPr/>
          </p:nvSpPr>
          <p:spPr bwMode="auto">
            <a:xfrm>
              <a:off x="6982000" y="4760205"/>
              <a:ext cx="22335" cy="33482"/>
            </a:xfrm>
            <a:custGeom>
              <a:avLst/>
              <a:gdLst/>
              <a:ahLst/>
              <a:cxnLst>
                <a:cxn ang="0">
                  <a:pos x="0" y="0"/>
                </a:cxn>
                <a:cxn ang="0">
                  <a:pos x="2" y="2"/>
                </a:cxn>
                <a:cxn ang="0">
                  <a:pos x="6" y="2"/>
                </a:cxn>
                <a:cxn ang="0">
                  <a:pos x="8" y="4"/>
                </a:cxn>
                <a:cxn ang="0">
                  <a:pos x="8" y="4"/>
                </a:cxn>
                <a:cxn ang="0">
                  <a:pos x="8" y="10"/>
                </a:cxn>
                <a:cxn ang="0">
                  <a:pos x="12" y="16"/>
                </a:cxn>
                <a:cxn ang="0">
                  <a:pos x="8" y="16"/>
                </a:cxn>
                <a:cxn ang="0">
                  <a:pos x="8" y="18"/>
                </a:cxn>
                <a:cxn ang="0">
                  <a:pos x="6" y="16"/>
                </a:cxn>
                <a:cxn ang="0">
                  <a:pos x="4" y="6"/>
                </a:cxn>
                <a:cxn ang="0">
                  <a:pos x="2" y="8"/>
                </a:cxn>
                <a:cxn ang="0">
                  <a:pos x="0" y="0"/>
                </a:cxn>
              </a:cxnLst>
              <a:rect l="0" t="0" r="r" b="b"/>
              <a:pathLst>
                <a:path w="12" h="18">
                  <a:moveTo>
                    <a:pt x="0" y="0"/>
                  </a:moveTo>
                  <a:lnTo>
                    <a:pt x="2" y="2"/>
                  </a:lnTo>
                  <a:lnTo>
                    <a:pt x="6" y="2"/>
                  </a:lnTo>
                  <a:lnTo>
                    <a:pt x="8" y="4"/>
                  </a:lnTo>
                  <a:lnTo>
                    <a:pt x="8" y="4"/>
                  </a:lnTo>
                  <a:lnTo>
                    <a:pt x="8" y="10"/>
                  </a:lnTo>
                  <a:lnTo>
                    <a:pt x="12" y="16"/>
                  </a:lnTo>
                  <a:lnTo>
                    <a:pt x="8" y="16"/>
                  </a:lnTo>
                  <a:lnTo>
                    <a:pt x="8" y="18"/>
                  </a:lnTo>
                  <a:lnTo>
                    <a:pt x="6" y="16"/>
                  </a:lnTo>
                  <a:lnTo>
                    <a:pt x="4" y="6"/>
                  </a:lnTo>
                  <a:lnTo>
                    <a:pt x="2" y="8"/>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3" name="Freeform 1743">
              <a:extLst>
                <a:ext uri="{FF2B5EF4-FFF2-40B4-BE49-F238E27FC236}">
                  <a16:creationId xmlns:a16="http://schemas.microsoft.com/office/drawing/2014/main" id="{DEA4D0D2-9F81-4972-90D0-8F2161FB9C9D}"/>
                </a:ext>
              </a:extLst>
            </p:cNvPr>
            <p:cNvSpPr>
              <a:spLocks/>
            </p:cNvSpPr>
            <p:nvPr/>
          </p:nvSpPr>
          <p:spPr bwMode="auto">
            <a:xfrm>
              <a:off x="6959664" y="4767646"/>
              <a:ext cx="14890" cy="40923"/>
            </a:xfrm>
            <a:custGeom>
              <a:avLst/>
              <a:gdLst/>
              <a:ahLst/>
              <a:cxnLst>
                <a:cxn ang="0">
                  <a:pos x="8" y="0"/>
                </a:cxn>
                <a:cxn ang="0">
                  <a:pos x="8" y="10"/>
                </a:cxn>
                <a:cxn ang="0">
                  <a:pos x="8" y="10"/>
                </a:cxn>
                <a:cxn ang="0">
                  <a:pos x="4" y="16"/>
                </a:cxn>
                <a:cxn ang="0">
                  <a:pos x="2" y="22"/>
                </a:cxn>
                <a:cxn ang="0">
                  <a:pos x="0" y="16"/>
                </a:cxn>
                <a:cxn ang="0">
                  <a:pos x="8" y="0"/>
                </a:cxn>
              </a:cxnLst>
              <a:rect l="0" t="0" r="r" b="b"/>
              <a:pathLst>
                <a:path w="8" h="22">
                  <a:moveTo>
                    <a:pt x="8" y="0"/>
                  </a:moveTo>
                  <a:lnTo>
                    <a:pt x="8" y="10"/>
                  </a:lnTo>
                  <a:lnTo>
                    <a:pt x="8" y="10"/>
                  </a:lnTo>
                  <a:lnTo>
                    <a:pt x="4" y="16"/>
                  </a:lnTo>
                  <a:lnTo>
                    <a:pt x="2" y="22"/>
                  </a:lnTo>
                  <a:lnTo>
                    <a:pt x="0" y="16"/>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4" name="Freeform 1744">
              <a:extLst>
                <a:ext uri="{FF2B5EF4-FFF2-40B4-BE49-F238E27FC236}">
                  <a16:creationId xmlns:a16="http://schemas.microsoft.com/office/drawing/2014/main" id="{35BC3BAF-E217-47AF-AF1F-8AFE2861F479}"/>
                </a:ext>
              </a:extLst>
            </p:cNvPr>
            <p:cNvSpPr>
              <a:spLocks/>
            </p:cNvSpPr>
            <p:nvPr/>
          </p:nvSpPr>
          <p:spPr bwMode="auto">
            <a:xfrm>
              <a:off x="6970832" y="4789967"/>
              <a:ext cx="18613" cy="14881"/>
            </a:xfrm>
            <a:custGeom>
              <a:avLst/>
              <a:gdLst/>
              <a:ahLst/>
              <a:cxnLst>
                <a:cxn ang="0">
                  <a:pos x="0" y="4"/>
                </a:cxn>
                <a:cxn ang="0">
                  <a:pos x="4" y="0"/>
                </a:cxn>
                <a:cxn ang="0">
                  <a:pos x="10" y="2"/>
                </a:cxn>
                <a:cxn ang="0">
                  <a:pos x="8" y="8"/>
                </a:cxn>
                <a:cxn ang="0">
                  <a:pos x="2" y="8"/>
                </a:cxn>
                <a:cxn ang="0">
                  <a:pos x="0" y="4"/>
                </a:cxn>
              </a:cxnLst>
              <a:rect l="0" t="0" r="r" b="b"/>
              <a:pathLst>
                <a:path w="10" h="8">
                  <a:moveTo>
                    <a:pt x="0" y="4"/>
                  </a:moveTo>
                  <a:lnTo>
                    <a:pt x="4" y="0"/>
                  </a:lnTo>
                  <a:lnTo>
                    <a:pt x="10" y="2"/>
                  </a:lnTo>
                  <a:lnTo>
                    <a:pt x="8" y="8"/>
                  </a:lnTo>
                  <a:lnTo>
                    <a:pt x="2" y="8"/>
                  </a:lnTo>
                  <a:lnTo>
                    <a:pt x="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5" name="Freeform 1745">
              <a:extLst>
                <a:ext uri="{FF2B5EF4-FFF2-40B4-BE49-F238E27FC236}">
                  <a16:creationId xmlns:a16="http://schemas.microsoft.com/office/drawing/2014/main" id="{AAB49BA8-602F-4FE8-BB24-8A188A012A38}"/>
                </a:ext>
              </a:extLst>
            </p:cNvPr>
            <p:cNvSpPr>
              <a:spLocks/>
            </p:cNvSpPr>
            <p:nvPr/>
          </p:nvSpPr>
          <p:spPr bwMode="auto">
            <a:xfrm>
              <a:off x="6929884" y="4801128"/>
              <a:ext cx="104231" cy="100447"/>
            </a:xfrm>
            <a:custGeom>
              <a:avLst/>
              <a:gdLst/>
              <a:ahLst/>
              <a:cxnLst>
                <a:cxn ang="0">
                  <a:pos x="42" y="0"/>
                </a:cxn>
                <a:cxn ang="0">
                  <a:pos x="44" y="0"/>
                </a:cxn>
                <a:cxn ang="0">
                  <a:pos x="52" y="12"/>
                </a:cxn>
                <a:cxn ang="0">
                  <a:pos x="52" y="12"/>
                </a:cxn>
                <a:cxn ang="0">
                  <a:pos x="52" y="24"/>
                </a:cxn>
                <a:cxn ang="0">
                  <a:pos x="56" y="34"/>
                </a:cxn>
                <a:cxn ang="0">
                  <a:pos x="52" y="44"/>
                </a:cxn>
                <a:cxn ang="0">
                  <a:pos x="50" y="36"/>
                </a:cxn>
                <a:cxn ang="0">
                  <a:pos x="42" y="40"/>
                </a:cxn>
                <a:cxn ang="0">
                  <a:pos x="44" y="48"/>
                </a:cxn>
                <a:cxn ang="0">
                  <a:pos x="42" y="54"/>
                </a:cxn>
                <a:cxn ang="0">
                  <a:pos x="28" y="46"/>
                </a:cxn>
                <a:cxn ang="0">
                  <a:pos x="24" y="36"/>
                </a:cxn>
                <a:cxn ang="0">
                  <a:pos x="26" y="30"/>
                </a:cxn>
                <a:cxn ang="0">
                  <a:pos x="20" y="24"/>
                </a:cxn>
                <a:cxn ang="0">
                  <a:pos x="14" y="28"/>
                </a:cxn>
                <a:cxn ang="0">
                  <a:pos x="8" y="26"/>
                </a:cxn>
                <a:cxn ang="0">
                  <a:pos x="4" y="36"/>
                </a:cxn>
                <a:cxn ang="0">
                  <a:pos x="0" y="36"/>
                </a:cxn>
                <a:cxn ang="0">
                  <a:pos x="2" y="24"/>
                </a:cxn>
                <a:cxn ang="0">
                  <a:pos x="16" y="14"/>
                </a:cxn>
                <a:cxn ang="0">
                  <a:pos x="22" y="16"/>
                </a:cxn>
                <a:cxn ang="0">
                  <a:pos x="22" y="18"/>
                </a:cxn>
                <a:cxn ang="0">
                  <a:pos x="22" y="18"/>
                </a:cxn>
                <a:cxn ang="0">
                  <a:pos x="32" y="16"/>
                </a:cxn>
                <a:cxn ang="0">
                  <a:pos x="42" y="10"/>
                </a:cxn>
                <a:cxn ang="0">
                  <a:pos x="42" y="0"/>
                </a:cxn>
              </a:cxnLst>
              <a:rect l="0" t="0" r="r" b="b"/>
              <a:pathLst>
                <a:path w="56" h="54">
                  <a:moveTo>
                    <a:pt x="42" y="0"/>
                  </a:moveTo>
                  <a:lnTo>
                    <a:pt x="44" y="0"/>
                  </a:lnTo>
                  <a:lnTo>
                    <a:pt x="52" y="12"/>
                  </a:lnTo>
                  <a:lnTo>
                    <a:pt x="52" y="12"/>
                  </a:lnTo>
                  <a:lnTo>
                    <a:pt x="52" y="24"/>
                  </a:lnTo>
                  <a:lnTo>
                    <a:pt x="56" y="34"/>
                  </a:lnTo>
                  <a:lnTo>
                    <a:pt x="52" y="44"/>
                  </a:lnTo>
                  <a:lnTo>
                    <a:pt x="50" y="36"/>
                  </a:lnTo>
                  <a:lnTo>
                    <a:pt x="42" y="40"/>
                  </a:lnTo>
                  <a:lnTo>
                    <a:pt x="44" y="48"/>
                  </a:lnTo>
                  <a:lnTo>
                    <a:pt x="42" y="54"/>
                  </a:lnTo>
                  <a:lnTo>
                    <a:pt x="28" y="46"/>
                  </a:lnTo>
                  <a:lnTo>
                    <a:pt x="24" y="36"/>
                  </a:lnTo>
                  <a:lnTo>
                    <a:pt x="26" y="30"/>
                  </a:lnTo>
                  <a:lnTo>
                    <a:pt x="20" y="24"/>
                  </a:lnTo>
                  <a:lnTo>
                    <a:pt x="14" y="28"/>
                  </a:lnTo>
                  <a:lnTo>
                    <a:pt x="8" y="26"/>
                  </a:lnTo>
                  <a:lnTo>
                    <a:pt x="4" y="36"/>
                  </a:lnTo>
                  <a:lnTo>
                    <a:pt x="0" y="36"/>
                  </a:lnTo>
                  <a:lnTo>
                    <a:pt x="2" y="24"/>
                  </a:lnTo>
                  <a:lnTo>
                    <a:pt x="16" y="14"/>
                  </a:lnTo>
                  <a:lnTo>
                    <a:pt x="22" y="16"/>
                  </a:lnTo>
                  <a:lnTo>
                    <a:pt x="22" y="18"/>
                  </a:lnTo>
                  <a:lnTo>
                    <a:pt x="22" y="18"/>
                  </a:lnTo>
                  <a:lnTo>
                    <a:pt x="32" y="16"/>
                  </a:lnTo>
                  <a:lnTo>
                    <a:pt x="42" y="10"/>
                  </a:lnTo>
                  <a:lnTo>
                    <a:pt x="4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6" name="Freeform 1746">
              <a:extLst>
                <a:ext uri="{FF2B5EF4-FFF2-40B4-BE49-F238E27FC236}">
                  <a16:creationId xmlns:a16="http://schemas.microsoft.com/office/drawing/2014/main" id="{D806BEFC-0635-4BD3-810F-1CA8DF8B7CDB}"/>
                </a:ext>
              </a:extLst>
            </p:cNvPr>
            <p:cNvSpPr>
              <a:spLocks/>
            </p:cNvSpPr>
            <p:nvPr/>
          </p:nvSpPr>
          <p:spPr bwMode="auto">
            <a:xfrm>
              <a:off x="7063895" y="5098749"/>
              <a:ext cx="63283" cy="26042"/>
            </a:xfrm>
            <a:custGeom>
              <a:avLst/>
              <a:gdLst/>
              <a:ahLst/>
              <a:cxnLst>
                <a:cxn ang="0">
                  <a:pos x="0" y="10"/>
                </a:cxn>
                <a:cxn ang="0">
                  <a:pos x="0" y="6"/>
                </a:cxn>
                <a:cxn ang="0">
                  <a:pos x="2" y="2"/>
                </a:cxn>
                <a:cxn ang="0">
                  <a:pos x="2" y="2"/>
                </a:cxn>
                <a:cxn ang="0">
                  <a:pos x="10" y="2"/>
                </a:cxn>
                <a:cxn ang="0">
                  <a:pos x="18" y="0"/>
                </a:cxn>
                <a:cxn ang="0">
                  <a:pos x="18" y="0"/>
                </a:cxn>
                <a:cxn ang="0">
                  <a:pos x="24" y="4"/>
                </a:cxn>
                <a:cxn ang="0">
                  <a:pos x="30" y="4"/>
                </a:cxn>
                <a:cxn ang="0">
                  <a:pos x="32" y="8"/>
                </a:cxn>
                <a:cxn ang="0">
                  <a:pos x="34" y="10"/>
                </a:cxn>
                <a:cxn ang="0">
                  <a:pos x="34" y="10"/>
                </a:cxn>
                <a:cxn ang="0">
                  <a:pos x="34" y="12"/>
                </a:cxn>
                <a:cxn ang="0">
                  <a:pos x="34" y="14"/>
                </a:cxn>
                <a:cxn ang="0">
                  <a:pos x="20" y="8"/>
                </a:cxn>
                <a:cxn ang="0">
                  <a:pos x="16" y="8"/>
                </a:cxn>
                <a:cxn ang="0">
                  <a:pos x="10" y="6"/>
                </a:cxn>
                <a:cxn ang="0">
                  <a:pos x="6" y="10"/>
                </a:cxn>
                <a:cxn ang="0">
                  <a:pos x="2" y="6"/>
                </a:cxn>
                <a:cxn ang="0">
                  <a:pos x="0" y="10"/>
                </a:cxn>
              </a:cxnLst>
              <a:rect l="0" t="0" r="r" b="b"/>
              <a:pathLst>
                <a:path w="34" h="14">
                  <a:moveTo>
                    <a:pt x="0" y="10"/>
                  </a:moveTo>
                  <a:lnTo>
                    <a:pt x="0" y="6"/>
                  </a:lnTo>
                  <a:lnTo>
                    <a:pt x="2" y="2"/>
                  </a:lnTo>
                  <a:lnTo>
                    <a:pt x="2" y="2"/>
                  </a:lnTo>
                  <a:lnTo>
                    <a:pt x="10" y="2"/>
                  </a:lnTo>
                  <a:lnTo>
                    <a:pt x="18" y="0"/>
                  </a:lnTo>
                  <a:lnTo>
                    <a:pt x="18" y="0"/>
                  </a:lnTo>
                  <a:lnTo>
                    <a:pt x="24" y="4"/>
                  </a:lnTo>
                  <a:lnTo>
                    <a:pt x="30" y="4"/>
                  </a:lnTo>
                  <a:lnTo>
                    <a:pt x="32" y="8"/>
                  </a:lnTo>
                  <a:lnTo>
                    <a:pt x="34" y="10"/>
                  </a:lnTo>
                  <a:lnTo>
                    <a:pt x="34" y="10"/>
                  </a:lnTo>
                  <a:lnTo>
                    <a:pt x="34" y="12"/>
                  </a:lnTo>
                  <a:lnTo>
                    <a:pt x="34" y="14"/>
                  </a:lnTo>
                  <a:lnTo>
                    <a:pt x="20" y="8"/>
                  </a:lnTo>
                  <a:lnTo>
                    <a:pt x="16" y="8"/>
                  </a:lnTo>
                  <a:lnTo>
                    <a:pt x="10" y="6"/>
                  </a:lnTo>
                  <a:lnTo>
                    <a:pt x="6" y="10"/>
                  </a:lnTo>
                  <a:lnTo>
                    <a:pt x="2" y="6"/>
                  </a:lnTo>
                  <a:lnTo>
                    <a:pt x="0" y="1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7" name="Freeform 1747">
              <a:extLst>
                <a:ext uri="{FF2B5EF4-FFF2-40B4-BE49-F238E27FC236}">
                  <a16:creationId xmlns:a16="http://schemas.microsoft.com/office/drawing/2014/main" id="{5060D200-8DD3-492A-91A0-65D766BEED19}"/>
                </a:ext>
              </a:extLst>
            </p:cNvPr>
            <p:cNvSpPr>
              <a:spLocks/>
            </p:cNvSpPr>
            <p:nvPr/>
          </p:nvSpPr>
          <p:spPr bwMode="auto">
            <a:xfrm>
              <a:off x="7134623" y="5202916"/>
              <a:ext cx="11168" cy="22322"/>
            </a:xfrm>
            <a:custGeom>
              <a:avLst/>
              <a:gdLst/>
              <a:ahLst/>
              <a:cxnLst>
                <a:cxn ang="0">
                  <a:pos x="0" y="8"/>
                </a:cxn>
                <a:cxn ang="0">
                  <a:pos x="2" y="8"/>
                </a:cxn>
                <a:cxn ang="0">
                  <a:pos x="0" y="6"/>
                </a:cxn>
                <a:cxn ang="0">
                  <a:pos x="4" y="0"/>
                </a:cxn>
                <a:cxn ang="0">
                  <a:pos x="6" y="2"/>
                </a:cxn>
                <a:cxn ang="0">
                  <a:pos x="6" y="6"/>
                </a:cxn>
                <a:cxn ang="0">
                  <a:pos x="2" y="12"/>
                </a:cxn>
                <a:cxn ang="0">
                  <a:pos x="0" y="8"/>
                </a:cxn>
              </a:cxnLst>
              <a:rect l="0" t="0" r="r" b="b"/>
              <a:pathLst>
                <a:path w="6" h="12">
                  <a:moveTo>
                    <a:pt x="0" y="8"/>
                  </a:moveTo>
                  <a:lnTo>
                    <a:pt x="2" y="8"/>
                  </a:lnTo>
                  <a:lnTo>
                    <a:pt x="0" y="6"/>
                  </a:lnTo>
                  <a:lnTo>
                    <a:pt x="4" y="0"/>
                  </a:lnTo>
                  <a:lnTo>
                    <a:pt x="6" y="2"/>
                  </a:lnTo>
                  <a:lnTo>
                    <a:pt x="6" y="6"/>
                  </a:lnTo>
                  <a:lnTo>
                    <a:pt x="2" y="12"/>
                  </a:lnTo>
                  <a:lnTo>
                    <a:pt x="0" y="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8" name="Freeform 1748">
              <a:extLst>
                <a:ext uri="{FF2B5EF4-FFF2-40B4-BE49-F238E27FC236}">
                  <a16:creationId xmlns:a16="http://schemas.microsoft.com/office/drawing/2014/main" id="{14AE4A2C-C10C-4C90-8D43-FE5C44E74A7D}"/>
                </a:ext>
              </a:extLst>
            </p:cNvPr>
            <p:cNvSpPr>
              <a:spLocks/>
            </p:cNvSpPr>
            <p:nvPr/>
          </p:nvSpPr>
          <p:spPr bwMode="auto">
            <a:xfrm>
              <a:off x="7015502" y="5214077"/>
              <a:ext cx="22335" cy="11161"/>
            </a:xfrm>
            <a:custGeom>
              <a:avLst/>
              <a:gdLst/>
              <a:ahLst/>
              <a:cxnLst>
                <a:cxn ang="0">
                  <a:pos x="2" y="6"/>
                </a:cxn>
                <a:cxn ang="0">
                  <a:pos x="0" y="4"/>
                </a:cxn>
                <a:cxn ang="0">
                  <a:pos x="2" y="2"/>
                </a:cxn>
                <a:cxn ang="0">
                  <a:pos x="2" y="2"/>
                </a:cxn>
                <a:cxn ang="0">
                  <a:pos x="6" y="2"/>
                </a:cxn>
                <a:cxn ang="0">
                  <a:pos x="10" y="0"/>
                </a:cxn>
                <a:cxn ang="0">
                  <a:pos x="12" y="2"/>
                </a:cxn>
                <a:cxn ang="0">
                  <a:pos x="8" y="4"/>
                </a:cxn>
                <a:cxn ang="0">
                  <a:pos x="2" y="6"/>
                </a:cxn>
              </a:cxnLst>
              <a:rect l="0" t="0" r="r" b="b"/>
              <a:pathLst>
                <a:path w="12" h="6">
                  <a:moveTo>
                    <a:pt x="2" y="6"/>
                  </a:moveTo>
                  <a:lnTo>
                    <a:pt x="0" y="4"/>
                  </a:lnTo>
                  <a:lnTo>
                    <a:pt x="2" y="2"/>
                  </a:lnTo>
                  <a:lnTo>
                    <a:pt x="2" y="2"/>
                  </a:lnTo>
                  <a:lnTo>
                    <a:pt x="6" y="2"/>
                  </a:lnTo>
                  <a:lnTo>
                    <a:pt x="10" y="0"/>
                  </a:lnTo>
                  <a:lnTo>
                    <a:pt x="12" y="2"/>
                  </a:lnTo>
                  <a:lnTo>
                    <a:pt x="8" y="4"/>
                  </a:lnTo>
                  <a:lnTo>
                    <a:pt x="2"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79" name="Freeform 1749">
              <a:extLst>
                <a:ext uri="{FF2B5EF4-FFF2-40B4-BE49-F238E27FC236}">
                  <a16:creationId xmlns:a16="http://schemas.microsoft.com/office/drawing/2014/main" id="{78A3A4AF-CB8A-409A-849A-3088CAA44CDE}"/>
                </a:ext>
              </a:extLst>
            </p:cNvPr>
            <p:cNvSpPr>
              <a:spLocks/>
            </p:cNvSpPr>
            <p:nvPr/>
          </p:nvSpPr>
          <p:spPr bwMode="auto">
            <a:xfrm>
              <a:off x="6967109" y="5232678"/>
              <a:ext cx="78173" cy="48363"/>
            </a:xfrm>
            <a:custGeom>
              <a:avLst/>
              <a:gdLst/>
              <a:ahLst/>
              <a:cxnLst>
                <a:cxn ang="0">
                  <a:pos x="18" y="14"/>
                </a:cxn>
                <a:cxn ang="0">
                  <a:pos x="18" y="14"/>
                </a:cxn>
                <a:cxn ang="0">
                  <a:pos x="16" y="18"/>
                </a:cxn>
                <a:cxn ang="0">
                  <a:pos x="10" y="22"/>
                </a:cxn>
                <a:cxn ang="0">
                  <a:pos x="6" y="26"/>
                </a:cxn>
                <a:cxn ang="0">
                  <a:pos x="0" y="26"/>
                </a:cxn>
                <a:cxn ang="0">
                  <a:pos x="0" y="24"/>
                </a:cxn>
                <a:cxn ang="0">
                  <a:pos x="0" y="22"/>
                </a:cxn>
                <a:cxn ang="0">
                  <a:pos x="0" y="16"/>
                </a:cxn>
                <a:cxn ang="0">
                  <a:pos x="0" y="16"/>
                </a:cxn>
                <a:cxn ang="0">
                  <a:pos x="4" y="14"/>
                </a:cxn>
                <a:cxn ang="0">
                  <a:pos x="8" y="12"/>
                </a:cxn>
                <a:cxn ang="0">
                  <a:pos x="14" y="8"/>
                </a:cxn>
                <a:cxn ang="0">
                  <a:pos x="18" y="4"/>
                </a:cxn>
                <a:cxn ang="0">
                  <a:pos x="18" y="4"/>
                </a:cxn>
                <a:cxn ang="0">
                  <a:pos x="30" y="2"/>
                </a:cxn>
                <a:cxn ang="0">
                  <a:pos x="38" y="0"/>
                </a:cxn>
                <a:cxn ang="0">
                  <a:pos x="42" y="0"/>
                </a:cxn>
                <a:cxn ang="0">
                  <a:pos x="42" y="4"/>
                </a:cxn>
                <a:cxn ang="0">
                  <a:pos x="42" y="4"/>
                </a:cxn>
                <a:cxn ang="0">
                  <a:pos x="30" y="8"/>
                </a:cxn>
                <a:cxn ang="0">
                  <a:pos x="18" y="14"/>
                </a:cxn>
                <a:cxn ang="0">
                  <a:pos x="18" y="14"/>
                </a:cxn>
              </a:cxnLst>
              <a:rect l="0" t="0" r="r" b="b"/>
              <a:pathLst>
                <a:path w="42" h="26">
                  <a:moveTo>
                    <a:pt x="18" y="14"/>
                  </a:moveTo>
                  <a:lnTo>
                    <a:pt x="18" y="14"/>
                  </a:lnTo>
                  <a:lnTo>
                    <a:pt x="16" y="18"/>
                  </a:lnTo>
                  <a:lnTo>
                    <a:pt x="10" y="22"/>
                  </a:lnTo>
                  <a:lnTo>
                    <a:pt x="6" y="26"/>
                  </a:lnTo>
                  <a:lnTo>
                    <a:pt x="0" y="26"/>
                  </a:lnTo>
                  <a:lnTo>
                    <a:pt x="0" y="24"/>
                  </a:lnTo>
                  <a:lnTo>
                    <a:pt x="0" y="22"/>
                  </a:lnTo>
                  <a:lnTo>
                    <a:pt x="0" y="16"/>
                  </a:lnTo>
                  <a:lnTo>
                    <a:pt x="0" y="16"/>
                  </a:lnTo>
                  <a:lnTo>
                    <a:pt x="4" y="14"/>
                  </a:lnTo>
                  <a:lnTo>
                    <a:pt x="8" y="12"/>
                  </a:lnTo>
                  <a:lnTo>
                    <a:pt x="14" y="8"/>
                  </a:lnTo>
                  <a:lnTo>
                    <a:pt x="18" y="4"/>
                  </a:lnTo>
                  <a:lnTo>
                    <a:pt x="18" y="4"/>
                  </a:lnTo>
                  <a:lnTo>
                    <a:pt x="30" y="2"/>
                  </a:lnTo>
                  <a:lnTo>
                    <a:pt x="38" y="0"/>
                  </a:lnTo>
                  <a:lnTo>
                    <a:pt x="42" y="0"/>
                  </a:lnTo>
                  <a:lnTo>
                    <a:pt x="42" y="4"/>
                  </a:lnTo>
                  <a:lnTo>
                    <a:pt x="42" y="4"/>
                  </a:lnTo>
                  <a:lnTo>
                    <a:pt x="30" y="8"/>
                  </a:lnTo>
                  <a:lnTo>
                    <a:pt x="18" y="14"/>
                  </a:lnTo>
                  <a:lnTo>
                    <a:pt x="18"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0" name="Freeform 1750">
              <a:extLst>
                <a:ext uri="{FF2B5EF4-FFF2-40B4-BE49-F238E27FC236}">
                  <a16:creationId xmlns:a16="http://schemas.microsoft.com/office/drawing/2014/main" id="{683864B7-989C-49AE-B637-AA0AE43F34CF}"/>
                </a:ext>
              </a:extLst>
            </p:cNvPr>
            <p:cNvSpPr>
              <a:spLocks/>
            </p:cNvSpPr>
            <p:nvPr/>
          </p:nvSpPr>
          <p:spPr bwMode="auto">
            <a:xfrm>
              <a:off x="6881491" y="5225237"/>
              <a:ext cx="70728" cy="18601"/>
            </a:xfrm>
            <a:custGeom>
              <a:avLst/>
              <a:gdLst/>
              <a:ahLst/>
              <a:cxnLst>
                <a:cxn ang="0">
                  <a:pos x="10" y="2"/>
                </a:cxn>
                <a:cxn ang="0">
                  <a:pos x="10" y="2"/>
                </a:cxn>
                <a:cxn ang="0">
                  <a:pos x="16" y="4"/>
                </a:cxn>
                <a:cxn ang="0">
                  <a:pos x="20" y="6"/>
                </a:cxn>
                <a:cxn ang="0">
                  <a:pos x="26" y="4"/>
                </a:cxn>
                <a:cxn ang="0">
                  <a:pos x="32" y="6"/>
                </a:cxn>
                <a:cxn ang="0">
                  <a:pos x="38" y="2"/>
                </a:cxn>
                <a:cxn ang="0">
                  <a:pos x="36" y="0"/>
                </a:cxn>
                <a:cxn ang="0">
                  <a:pos x="38" y="4"/>
                </a:cxn>
                <a:cxn ang="0">
                  <a:pos x="34" y="8"/>
                </a:cxn>
                <a:cxn ang="0">
                  <a:pos x="34" y="8"/>
                </a:cxn>
                <a:cxn ang="0">
                  <a:pos x="24" y="10"/>
                </a:cxn>
                <a:cxn ang="0">
                  <a:pos x="16" y="10"/>
                </a:cxn>
                <a:cxn ang="0">
                  <a:pos x="10" y="10"/>
                </a:cxn>
                <a:cxn ang="0">
                  <a:pos x="2" y="10"/>
                </a:cxn>
                <a:cxn ang="0">
                  <a:pos x="0" y="6"/>
                </a:cxn>
                <a:cxn ang="0">
                  <a:pos x="10" y="2"/>
                </a:cxn>
              </a:cxnLst>
              <a:rect l="0" t="0" r="r" b="b"/>
              <a:pathLst>
                <a:path w="38" h="10">
                  <a:moveTo>
                    <a:pt x="10" y="2"/>
                  </a:moveTo>
                  <a:lnTo>
                    <a:pt x="10" y="2"/>
                  </a:lnTo>
                  <a:lnTo>
                    <a:pt x="16" y="4"/>
                  </a:lnTo>
                  <a:lnTo>
                    <a:pt x="20" y="6"/>
                  </a:lnTo>
                  <a:lnTo>
                    <a:pt x="26" y="4"/>
                  </a:lnTo>
                  <a:lnTo>
                    <a:pt x="32" y="6"/>
                  </a:lnTo>
                  <a:lnTo>
                    <a:pt x="38" y="2"/>
                  </a:lnTo>
                  <a:lnTo>
                    <a:pt x="36" y="0"/>
                  </a:lnTo>
                  <a:lnTo>
                    <a:pt x="38" y="4"/>
                  </a:lnTo>
                  <a:lnTo>
                    <a:pt x="34" y="8"/>
                  </a:lnTo>
                  <a:lnTo>
                    <a:pt x="34" y="8"/>
                  </a:lnTo>
                  <a:lnTo>
                    <a:pt x="24" y="10"/>
                  </a:lnTo>
                  <a:lnTo>
                    <a:pt x="16" y="10"/>
                  </a:lnTo>
                  <a:lnTo>
                    <a:pt x="10" y="10"/>
                  </a:lnTo>
                  <a:lnTo>
                    <a:pt x="2" y="10"/>
                  </a:lnTo>
                  <a:lnTo>
                    <a:pt x="0" y="6"/>
                  </a:lnTo>
                  <a:lnTo>
                    <a:pt x="1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1" name="Freeform 1751">
              <a:extLst>
                <a:ext uri="{FF2B5EF4-FFF2-40B4-BE49-F238E27FC236}">
                  <a16:creationId xmlns:a16="http://schemas.microsoft.com/office/drawing/2014/main" id="{5D9B8A3F-39EE-42C2-B10C-C8EC560ECCF0}"/>
                </a:ext>
              </a:extLst>
            </p:cNvPr>
            <p:cNvSpPr>
              <a:spLocks/>
            </p:cNvSpPr>
            <p:nvPr/>
          </p:nvSpPr>
          <p:spPr bwMode="auto">
            <a:xfrm>
              <a:off x="6866601" y="5254999"/>
              <a:ext cx="37225" cy="22322"/>
            </a:xfrm>
            <a:custGeom>
              <a:avLst/>
              <a:gdLst/>
              <a:ahLst/>
              <a:cxnLst>
                <a:cxn ang="0">
                  <a:pos x="10" y="0"/>
                </a:cxn>
                <a:cxn ang="0">
                  <a:pos x="10" y="0"/>
                </a:cxn>
                <a:cxn ang="0">
                  <a:pos x="16" y="4"/>
                </a:cxn>
                <a:cxn ang="0">
                  <a:pos x="20" y="10"/>
                </a:cxn>
                <a:cxn ang="0">
                  <a:pos x="16" y="12"/>
                </a:cxn>
                <a:cxn ang="0">
                  <a:pos x="14" y="12"/>
                </a:cxn>
                <a:cxn ang="0">
                  <a:pos x="6" y="6"/>
                </a:cxn>
                <a:cxn ang="0">
                  <a:pos x="2" y="6"/>
                </a:cxn>
                <a:cxn ang="0">
                  <a:pos x="0" y="2"/>
                </a:cxn>
                <a:cxn ang="0">
                  <a:pos x="10" y="0"/>
                </a:cxn>
              </a:cxnLst>
              <a:rect l="0" t="0" r="r" b="b"/>
              <a:pathLst>
                <a:path w="20" h="12">
                  <a:moveTo>
                    <a:pt x="10" y="0"/>
                  </a:moveTo>
                  <a:lnTo>
                    <a:pt x="10" y="0"/>
                  </a:lnTo>
                  <a:lnTo>
                    <a:pt x="16" y="4"/>
                  </a:lnTo>
                  <a:lnTo>
                    <a:pt x="20" y="10"/>
                  </a:lnTo>
                  <a:lnTo>
                    <a:pt x="16" y="12"/>
                  </a:lnTo>
                  <a:lnTo>
                    <a:pt x="14" y="12"/>
                  </a:lnTo>
                  <a:lnTo>
                    <a:pt x="6" y="6"/>
                  </a:lnTo>
                  <a:lnTo>
                    <a:pt x="2" y="6"/>
                  </a:lnTo>
                  <a:lnTo>
                    <a:pt x="0" y="2"/>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2" name="Freeform 1752">
              <a:extLst>
                <a:ext uri="{FF2B5EF4-FFF2-40B4-BE49-F238E27FC236}">
                  <a16:creationId xmlns:a16="http://schemas.microsoft.com/office/drawing/2014/main" id="{E34BCF60-5FC6-4AE4-9C8E-6BD07325F4C1}"/>
                </a:ext>
              </a:extLst>
            </p:cNvPr>
            <p:cNvSpPr>
              <a:spLocks/>
            </p:cNvSpPr>
            <p:nvPr/>
          </p:nvSpPr>
          <p:spPr bwMode="auto">
            <a:xfrm>
              <a:off x="6814486" y="5225237"/>
              <a:ext cx="52115" cy="26042"/>
            </a:xfrm>
            <a:custGeom>
              <a:avLst/>
              <a:gdLst/>
              <a:ahLst/>
              <a:cxnLst>
                <a:cxn ang="0">
                  <a:pos x="4" y="4"/>
                </a:cxn>
                <a:cxn ang="0">
                  <a:pos x="10" y="4"/>
                </a:cxn>
                <a:cxn ang="0">
                  <a:pos x="14" y="8"/>
                </a:cxn>
                <a:cxn ang="0">
                  <a:pos x="18" y="8"/>
                </a:cxn>
                <a:cxn ang="0">
                  <a:pos x="14" y="4"/>
                </a:cxn>
                <a:cxn ang="0">
                  <a:pos x="12" y="2"/>
                </a:cxn>
                <a:cxn ang="0">
                  <a:pos x="14" y="0"/>
                </a:cxn>
                <a:cxn ang="0">
                  <a:pos x="18" y="4"/>
                </a:cxn>
                <a:cxn ang="0">
                  <a:pos x="22" y="2"/>
                </a:cxn>
                <a:cxn ang="0">
                  <a:pos x="22" y="6"/>
                </a:cxn>
                <a:cxn ang="0">
                  <a:pos x="26" y="2"/>
                </a:cxn>
                <a:cxn ang="0">
                  <a:pos x="28" y="8"/>
                </a:cxn>
                <a:cxn ang="0">
                  <a:pos x="26" y="8"/>
                </a:cxn>
                <a:cxn ang="0">
                  <a:pos x="26" y="10"/>
                </a:cxn>
                <a:cxn ang="0">
                  <a:pos x="22" y="10"/>
                </a:cxn>
                <a:cxn ang="0">
                  <a:pos x="20" y="8"/>
                </a:cxn>
                <a:cxn ang="0">
                  <a:pos x="20" y="8"/>
                </a:cxn>
                <a:cxn ang="0">
                  <a:pos x="10" y="12"/>
                </a:cxn>
                <a:cxn ang="0">
                  <a:pos x="4" y="14"/>
                </a:cxn>
                <a:cxn ang="0">
                  <a:pos x="2" y="12"/>
                </a:cxn>
                <a:cxn ang="0">
                  <a:pos x="0" y="8"/>
                </a:cxn>
                <a:cxn ang="0">
                  <a:pos x="4" y="4"/>
                </a:cxn>
              </a:cxnLst>
              <a:rect l="0" t="0" r="r" b="b"/>
              <a:pathLst>
                <a:path w="28" h="14">
                  <a:moveTo>
                    <a:pt x="4" y="4"/>
                  </a:moveTo>
                  <a:lnTo>
                    <a:pt x="10" y="4"/>
                  </a:lnTo>
                  <a:lnTo>
                    <a:pt x="14" y="8"/>
                  </a:lnTo>
                  <a:lnTo>
                    <a:pt x="18" y="8"/>
                  </a:lnTo>
                  <a:lnTo>
                    <a:pt x="14" y="4"/>
                  </a:lnTo>
                  <a:lnTo>
                    <a:pt x="12" y="2"/>
                  </a:lnTo>
                  <a:lnTo>
                    <a:pt x="14" y="0"/>
                  </a:lnTo>
                  <a:lnTo>
                    <a:pt x="18" y="4"/>
                  </a:lnTo>
                  <a:lnTo>
                    <a:pt x="22" y="2"/>
                  </a:lnTo>
                  <a:lnTo>
                    <a:pt x="22" y="6"/>
                  </a:lnTo>
                  <a:lnTo>
                    <a:pt x="26" y="2"/>
                  </a:lnTo>
                  <a:lnTo>
                    <a:pt x="28" y="8"/>
                  </a:lnTo>
                  <a:lnTo>
                    <a:pt x="26" y="8"/>
                  </a:lnTo>
                  <a:lnTo>
                    <a:pt x="26" y="10"/>
                  </a:lnTo>
                  <a:lnTo>
                    <a:pt x="22" y="10"/>
                  </a:lnTo>
                  <a:lnTo>
                    <a:pt x="20" y="8"/>
                  </a:lnTo>
                  <a:lnTo>
                    <a:pt x="20" y="8"/>
                  </a:lnTo>
                  <a:lnTo>
                    <a:pt x="10" y="12"/>
                  </a:lnTo>
                  <a:lnTo>
                    <a:pt x="4" y="14"/>
                  </a:lnTo>
                  <a:lnTo>
                    <a:pt x="2" y="12"/>
                  </a:lnTo>
                  <a:lnTo>
                    <a:pt x="0" y="8"/>
                  </a:lnTo>
                  <a:lnTo>
                    <a:pt x="4"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3" name="Freeform 1753">
              <a:extLst>
                <a:ext uri="{FF2B5EF4-FFF2-40B4-BE49-F238E27FC236}">
                  <a16:creationId xmlns:a16="http://schemas.microsoft.com/office/drawing/2014/main" id="{CCCC6CF0-123B-4AAF-B293-8F735F189DD5}"/>
                </a:ext>
              </a:extLst>
            </p:cNvPr>
            <p:cNvSpPr>
              <a:spLocks/>
            </p:cNvSpPr>
            <p:nvPr/>
          </p:nvSpPr>
          <p:spPr bwMode="auto">
            <a:xfrm>
              <a:off x="6795873" y="5228958"/>
              <a:ext cx="18613" cy="14881"/>
            </a:xfrm>
            <a:custGeom>
              <a:avLst/>
              <a:gdLst/>
              <a:ahLst/>
              <a:cxnLst>
                <a:cxn ang="0">
                  <a:pos x="4" y="0"/>
                </a:cxn>
                <a:cxn ang="0">
                  <a:pos x="10" y="2"/>
                </a:cxn>
                <a:cxn ang="0">
                  <a:pos x="8" y="8"/>
                </a:cxn>
                <a:cxn ang="0">
                  <a:pos x="0" y="8"/>
                </a:cxn>
                <a:cxn ang="0">
                  <a:pos x="0" y="8"/>
                </a:cxn>
                <a:cxn ang="0">
                  <a:pos x="2" y="4"/>
                </a:cxn>
                <a:cxn ang="0">
                  <a:pos x="4" y="0"/>
                </a:cxn>
                <a:cxn ang="0">
                  <a:pos x="4" y="0"/>
                </a:cxn>
              </a:cxnLst>
              <a:rect l="0" t="0" r="r" b="b"/>
              <a:pathLst>
                <a:path w="10" h="8">
                  <a:moveTo>
                    <a:pt x="4" y="0"/>
                  </a:moveTo>
                  <a:lnTo>
                    <a:pt x="10" y="2"/>
                  </a:lnTo>
                  <a:lnTo>
                    <a:pt x="8" y="8"/>
                  </a:lnTo>
                  <a:lnTo>
                    <a:pt x="0" y="8"/>
                  </a:lnTo>
                  <a:lnTo>
                    <a:pt x="0" y="8"/>
                  </a:lnTo>
                  <a:lnTo>
                    <a:pt x="2" y="4"/>
                  </a:lnTo>
                  <a:lnTo>
                    <a:pt x="4" y="0"/>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4" name="Freeform 1754">
              <a:extLst>
                <a:ext uri="{FF2B5EF4-FFF2-40B4-BE49-F238E27FC236}">
                  <a16:creationId xmlns:a16="http://schemas.microsoft.com/office/drawing/2014/main" id="{EEA197DB-810A-4FFD-8A76-8491390B91D4}"/>
                </a:ext>
              </a:extLst>
            </p:cNvPr>
            <p:cNvSpPr>
              <a:spLocks/>
            </p:cNvSpPr>
            <p:nvPr/>
          </p:nvSpPr>
          <p:spPr bwMode="auto">
            <a:xfrm>
              <a:off x="6766093" y="5225237"/>
              <a:ext cx="22335" cy="18601"/>
            </a:xfrm>
            <a:custGeom>
              <a:avLst/>
              <a:gdLst/>
              <a:ahLst/>
              <a:cxnLst>
                <a:cxn ang="0">
                  <a:pos x="10" y="0"/>
                </a:cxn>
                <a:cxn ang="0">
                  <a:pos x="12" y="4"/>
                </a:cxn>
                <a:cxn ang="0">
                  <a:pos x="12" y="4"/>
                </a:cxn>
                <a:cxn ang="0">
                  <a:pos x="8" y="8"/>
                </a:cxn>
                <a:cxn ang="0">
                  <a:pos x="8" y="10"/>
                </a:cxn>
                <a:cxn ang="0">
                  <a:pos x="4" y="4"/>
                </a:cxn>
                <a:cxn ang="0">
                  <a:pos x="0" y="4"/>
                </a:cxn>
                <a:cxn ang="0">
                  <a:pos x="0" y="0"/>
                </a:cxn>
                <a:cxn ang="0">
                  <a:pos x="0" y="0"/>
                </a:cxn>
                <a:cxn ang="0">
                  <a:pos x="10" y="0"/>
                </a:cxn>
                <a:cxn ang="0">
                  <a:pos x="10" y="0"/>
                </a:cxn>
              </a:cxnLst>
              <a:rect l="0" t="0" r="r" b="b"/>
              <a:pathLst>
                <a:path w="12" h="10">
                  <a:moveTo>
                    <a:pt x="10" y="0"/>
                  </a:moveTo>
                  <a:lnTo>
                    <a:pt x="12" y="4"/>
                  </a:lnTo>
                  <a:lnTo>
                    <a:pt x="12" y="4"/>
                  </a:lnTo>
                  <a:lnTo>
                    <a:pt x="8" y="8"/>
                  </a:lnTo>
                  <a:lnTo>
                    <a:pt x="8" y="10"/>
                  </a:lnTo>
                  <a:lnTo>
                    <a:pt x="4" y="4"/>
                  </a:lnTo>
                  <a:lnTo>
                    <a:pt x="0" y="4"/>
                  </a:lnTo>
                  <a:lnTo>
                    <a:pt x="0" y="0"/>
                  </a:lnTo>
                  <a:lnTo>
                    <a:pt x="0" y="0"/>
                  </a:lnTo>
                  <a:lnTo>
                    <a:pt x="10" y="0"/>
                  </a:lnTo>
                  <a:lnTo>
                    <a:pt x="1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5" name="Freeform 1755">
              <a:extLst>
                <a:ext uri="{FF2B5EF4-FFF2-40B4-BE49-F238E27FC236}">
                  <a16:creationId xmlns:a16="http://schemas.microsoft.com/office/drawing/2014/main" id="{54141934-AE8A-4B72-8D62-9B50E2F70E68}"/>
                </a:ext>
              </a:extLst>
            </p:cNvPr>
            <p:cNvSpPr>
              <a:spLocks/>
            </p:cNvSpPr>
            <p:nvPr/>
          </p:nvSpPr>
          <p:spPr bwMode="auto">
            <a:xfrm>
              <a:off x="6725145" y="5195475"/>
              <a:ext cx="29780" cy="11161"/>
            </a:xfrm>
            <a:custGeom>
              <a:avLst/>
              <a:gdLst/>
              <a:ahLst/>
              <a:cxnLst>
                <a:cxn ang="0">
                  <a:pos x="0" y="2"/>
                </a:cxn>
                <a:cxn ang="0">
                  <a:pos x="14" y="0"/>
                </a:cxn>
                <a:cxn ang="0">
                  <a:pos x="16" y="4"/>
                </a:cxn>
                <a:cxn ang="0">
                  <a:pos x="16" y="4"/>
                </a:cxn>
                <a:cxn ang="0">
                  <a:pos x="8" y="6"/>
                </a:cxn>
                <a:cxn ang="0">
                  <a:pos x="2" y="4"/>
                </a:cxn>
                <a:cxn ang="0">
                  <a:pos x="0" y="2"/>
                </a:cxn>
              </a:cxnLst>
              <a:rect l="0" t="0" r="r" b="b"/>
              <a:pathLst>
                <a:path w="16" h="6">
                  <a:moveTo>
                    <a:pt x="0" y="2"/>
                  </a:moveTo>
                  <a:lnTo>
                    <a:pt x="14" y="0"/>
                  </a:lnTo>
                  <a:lnTo>
                    <a:pt x="16" y="4"/>
                  </a:lnTo>
                  <a:lnTo>
                    <a:pt x="16" y="4"/>
                  </a:lnTo>
                  <a:lnTo>
                    <a:pt x="8" y="6"/>
                  </a:lnTo>
                  <a:lnTo>
                    <a:pt x="2" y="4"/>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6" name="Freeform 1756">
              <a:extLst>
                <a:ext uri="{FF2B5EF4-FFF2-40B4-BE49-F238E27FC236}">
                  <a16:creationId xmlns:a16="http://schemas.microsoft.com/office/drawing/2014/main" id="{AFF4B1EF-F481-4968-B8BA-4A38BDDC696D}"/>
                </a:ext>
              </a:extLst>
            </p:cNvPr>
            <p:cNvSpPr>
              <a:spLocks/>
            </p:cNvSpPr>
            <p:nvPr/>
          </p:nvSpPr>
          <p:spPr bwMode="auto">
            <a:xfrm>
              <a:off x="6862879" y="4990861"/>
              <a:ext cx="137734" cy="178572"/>
            </a:xfrm>
            <a:custGeom>
              <a:avLst/>
              <a:gdLst/>
              <a:ahLst/>
              <a:cxnLst>
                <a:cxn ang="0">
                  <a:pos x="32" y="8"/>
                </a:cxn>
                <a:cxn ang="0">
                  <a:pos x="40" y="10"/>
                </a:cxn>
                <a:cxn ang="0">
                  <a:pos x="46" y="12"/>
                </a:cxn>
                <a:cxn ang="0">
                  <a:pos x="62" y="10"/>
                </a:cxn>
                <a:cxn ang="0">
                  <a:pos x="74" y="6"/>
                </a:cxn>
                <a:cxn ang="0">
                  <a:pos x="52" y="20"/>
                </a:cxn>
                <a:cxn ang="0">
                  <a:pos x="46" y="18"/>
                </a:cxn>
                <a:cxn ang="0">
                  <a:pos x="16" y="20"/>
                </a:cxn>
                <a:cxn ang="0">
                  <a:pos x="14" y="26"/>
                </a:cxn>
                <a:cxn ang="0">
                  <a:pos x="22" y="40"/>
                </a:cxn>
                <a:cxn ang="0">
                  <a:pos x="30" y="36"/>
                </a:cxn>
                <a:cxn ang="0">
                  <a:pos x="42" y="34"/>
                </a:cxn>
                <a:cxn ang="0">
                  <a:pos x="52" y="30"/>
                </a:cxn>
                <a:cxn ang="0">
                  <a:pos x="52" y="36"/>
                </a:cxn>
                <a:cxn ang="0">
                  <a:pos x="46" y="36"/>
                </a:cxn>
                <a:cxn ang="0">
                  <a:pos x="34" y="46"/>
                </a:cxn>
                <a:cxn ang="0">
                  <a:pos x="30" y="48"/>
                </a:cxn>
                <a:cxn ang="0">
                  <a:pos x="40" y="66"/>
                </a:cxn>
                <a:cxn ang="0">
                  <a:pos x="44" y="76"/>
                </a:cxn>
                <a:cxn ang="0">
                  <a:pos x="46" y="78"/>
                </a:cxn>
                <a:cxn ang="0">
                  <a:pos x="36" y="86"/>
                </a:cxn>
                <a:cxn ang="0">
                  <a:pos x="30" y="78"/>
                </a:cxn>
                <a:cxn ang="0">
                  <a:pos x="32" y="76"/>
                </a:cxn>
                <a:cxn ang="0">
                  <a:pos x="24" y="66"/>
                </a:cxn>
                <a:cxn ang="0">
                  <a:pos x="24" y="56"/>
                </a:cxn>
                <a:cxn ang="0">
                  <a:pos x="16" y="64"/>
                </a:cxn>
                <a:cxn ang="0">
                  <a:pos x="18" y="68"/>
                </a:cxn>
                <a:cxn ang="0">
                  <a:pos x="18" y="82"/>
                </a:cxn>
                <a:cxn ang="0">
                  <a:pos x="18" y="94"/>
                </a:cxn>
                <a:cxn ang="0">
                  <a:pos x="6" y="90"/>
                </a:cxn>
                <a:cxn ang="0">
                  <a:pos x="8" y="78"/>
                </a:cxn>
                <a:cxn ang="0">
                  <a:pos x="6" y="68"/>
                </a:cxn>
                <a:cxn ang="0">
                  <a:pos x="0" y="56"/>
                </a:cxn>
                <a:cxn ang="0">
                  <a:pos x="6" y="44"/>
                </a:cxn>
                <a:cxn ang="0">
                  <a:pos x="10" y="22"/>
                </a:cxn>
                <a:cxn ang="0">
                  <a:pos x="20" y="12"/>
                </a:cxn>
                <a:cxn ang="0">
                  <a:pos x="22" y="8"/>
                </a:cxn>
                <a:cxn ang="0">
                  <a:pos x="30" y="6"/>
                </a:cxn>
              </a:cxnLst>
              <a:rect l="0" t="0" r="r" b="b"/>
              <a:pathLst>
                <a:path w="74" h="96">
                  <a:moveTo>
                    <a:pt x="30" y="6"/>
                  </a:moveTo>
                  <a:lnTo>
                    <a:pt x="32" y="8"/>
                  </a:lnTo>
                  <a:lnTo>
                    <a:pt x="32" y="8"/>
                  </a:lnTo>
                  <a:lnTo>
                    <a:pt x="40" y="10"/>
                  </a:lnTo>
                  <a:lnTo>
                    <a:pt x="46" y="12"/>
                  </a:lnTo>
                  <a:lnTo>
                    <a:pt x="46" y="12"/>
                  </a:lnTo>
                  <a:lnTo>
                    <a:pt x="54" y="10"/>
                  </a:lnTo>
                  <a:lnTo>
                    <a:pt x="62" y="10"/>
                  </a:lnTo>
                  <a:lnTo>
                    <a:pt x="72" y="0"/>
                  </a:lnTo>
                  <a:lnTo>
                    <a:pt x="74" y="6"/>
                  </a:lnTo>
                  <a:lnTo>
                    <a:pt x="68" y="14"/>
                  </a:lnTo>
                  <a:lnTo>
                    <a:pt x="52" y="20"/>
                  </a:lnTo>
                  <a:lnTo>
                    <a:pt x="52" y="20"/>
                  </a:lnTo>
                  <a:lnTo>
                    <a:pt x="46" y="18"/>
                  </a:lnTo>
                  <a:lnTo>
                    <a:pt x="36" y="18"/>
                  </a:lnTo>
                  <a:lnTo>
                    <a:pt x="16" y="20"/>
                  </a:lnTo>
                  <a:lnTo>
                    <a:pt x="14" y="26"/>
                  </a:lnTo>
                  <a:lnTo>
                    <a:pt x="14" y="26"/>
                  </a:lnTo>
                  <a:lnTo>
                    <a:pt x="18" y="34"/>
                  </a:lnTo>
                  <a:lnTo>
                    <a:pt x="22" y="40"/>
                  </a:lnTo>
                  <a:lnTo>
                    <a:pt x="30" y="36"/>
                  </a:lnTo>
                  <a:lnTo>
                    <a:pt x="30" y="36"/>
                  </a:lnTo>
                  <a:lnTo>
                    <a:pt x="36" y="36"/>
                  </a:lnTo>
                  <a:lnTo>
                    <a:pt x="42" y="34"/>
                  </a:lnTo>
                  <a:lnTo>
                    <a:pt x="46" y="32"/>
                  </a:lnTo>
                  <a:lnTo>
                    <a:pt x="52" y="30"/>
                  </a:lnTo>
                  <a:lnTo>
                    <a:pt x="54" y="34"/>
                  </a:lnTo>
                  <a:lnTo>
                    <a:pt x="52" y="36"/>
                  </a:lnTo>
                  <a:lnTo>
                    <a:pt x="46" y="36"/>
                  </a:lnTo>
                  <a:lnTo>
                    <a:pt x="46" y="36"/>
                  </a:lnTo>
                  <a:lnTo>
                    <a:pt x="40" y="42"/>
                  </a:lnTo>
                  <a:lnTo>
                    <a:pt x="34" y="46"/>
                  </a:lnTo>
                  <a:lnTo>
                    <a:pt x="30" y="46"/>
                  </a:lnTo>
                  <a:lnTo>
                    <a:pt x="30" y="48"/>
                  </a:lnTo>
                  <a:lnTo>
                    <a:pt x="42" y="64"/>
                  </a:lnTo>
                  <a:lnTo>
                    <a:pt x="40" y="66"/>
                  </a:lnTo>
                  <a:lnTo>
                    <a:pt x="40" y="70"/>
                  </a:lnTo>
                  <a:lnTo>
                    <a:pt x="44" y="76"/>
                  </a:lnTo>
                  <a:lnTo>
                    <a:pt x="46" y="76"/>
                  </a:lnTo>
                  <a:lnTo>
                    <a:pt x="46" y="78"/>
                  </a:lnTo>
                  <a:lnTo>
                    <a:pt x="40" y="80"/>
                  </a:lnTo>
                  <a:lnTo>
                    <a:pt x="36" y="86"/>
                  </a:lnTo>
                  <a:lnTo>
                    <a:pt x="32" y="84"/>
                  </a:lnTo>
                  <a:lnTo>
                    <a:pt x="30" y="78"/>
                  </a:lnTo>
                  <a:lnTo>
                    <a:pt x="32" y="76"/>
                  </a:lnTo>
                  <a:lnTo>
                    <a:pt x="32" y="76"/>
                  </a:lnTo>
                  <a:lnTo>
                    <a:pt x="28" y="72"/>
                  </a:lnTo>
                  <a:lnTo>
                    <a:pt x="24" y="66"/>
                  </a:lnTo>
                  <a:lnTo>
                    <a:pt x="26" y="62"/>
                  </a:lnTo>
                  <a:lnTo>
                    <a:pt x="24" y="56"/>
                  </a:lnTo>
                  <a:lnTo>
                    <a:pt x="22" y="56"/>
                  </a:lnTo>
                  <a:lnTo>
                    <a:pt x="16" y="64"/>
                  </a:lnTo>
                  <a:lnTo>
                    <a:pt x="16" y="64"/>
                  </a:lnTo>
                  <a:lnTo>
                    <a:pt x="18" y="68"/>
                  </a:lnTo>
                  <a:lnTo>
                    <a:pt x="18" y="74"/>
                  </a:lnTo>
                  <a:lnTo>
                    <a:pt x="18" y="82"/>
                  </a:lnTo>
                  <a:lnTo>
                    <a:pt x="16" y="86"/>
                  </a:lnTo>
                  <a:lnTo>
                    <a:pt x="18" y="94"/>
                  </a:lnTo>
                  <a:lnTo>
                    <a:pt x="8" y="96"/>
                  </a:lnTo>
                  <a:lnTo>
                    <a:pt x="6" y="90"/>
                  </a:lnTo>
                  <a:lnTo>
                    <a:pt x="6" y="90"/>
                  </a:lnTo>
                  <a:lnTo>
                    <a:pt x="8" y="78"/>
                  </a:lnTo>
                  <a:lnTo>
                    <a:pt x="8" y="72"/>
                  </a:lnTo>
                  <a:lnTo>
                    <a:pt x="6" y="68"/>
                  </a:lnTo>
                  <a:lnTo>
                    <a:pt x="2" y="68"/>
                  </a:lnTo>
                  <a:lnTo>
                    <a:pt x="0" y="56"/>
                  </a:lnTo>
                  <a:lnTo>
                    <a:pt x="0" y="56"/>
                  </a:lnTo>
                  <a:lnTo>
                    <a:pt x="6" y="44"/>
                  </a:lnTo>
                  <a:lnTo>
                    <a:pt x="8" y="34"/>
                  </a:lnTo>
                  <a:lnTo>
                    <a:pt x="10" y="22"/>
                  </a:lnTo>
                  <a:lnTo>
                    <a:pt x="12" y="14"/>
                  </a:lnTo>
                  <a:lnTo>
                    <a:pt x="20" y="12"/>
                  </a:lnTo>
                  <a:lnTo>
                    <a:pt x="22" y="8"/>
                  </a:lnTo>
                  <a:lnTo>
                    <a:pt x="22" y="8"/>
                  </a:lnTo>
                  <a:lnTo>
                    <a:pt x="26" y="6"/>
                  </a:lnTo>
                  <a:lnTo>
                    <a:pt x="30" y="6"/>
                  </a:lnTo>
                  <a:lnTo>
                    <a:pt x="3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7" name="Freeform 1757">
              <a:extLst>
                <a:ext uri="{FF2B5EF4-FFF2-40B4-BE49-F238E27FC236}">
                  <a16:creationId xmlns:a16="http://schemas.microsoft.com/office/drawing/2014/main" id="{0AF2B7FF-0EA6-4922-9F28-6431F9633FD6}"/>
                </a:ext>
              </a:extLst>
            </p:cNvPr>
            <p:cNvSpPr>
              <a:spLocks/>
            </p:cNvSpPr>
            <p:nvPr/>
          </p:nvSpPr>
          <p:spPr bwMode="auto">
            <a:xfrm>
              <a:off x="7019225" y="5106189"/>
              <a:ext cx="26058" cy="18601"/>
            </a:xfrm>
            <a:custGeom>
              <a:avLst/>
              <a:gdLst/>
              <a:ahLst/>
              <a:cxnLst>
                <a:cxn ang="0">
                  <a:pos x="0" y="0"/>
                </a:cxn>
                <a:cxn ang="0">
                  <a:pos x="2" y="2"/>
                </a:cxn>
                <a:cxn ang="0">
                  <a:pos x="10" y="0"/>
                </a:cxn>
                <a:cxn ang="0">
                  <a:pos x="14" y="4"/>
                </a:cxn>
                <a:cxn ang="0">
                  <a:pos x="14" y="6"/>
                </a:cxn>
                <a:cxn ang="0">
                  <a:pos x="14" y="8"/>
                </a:cxn>
                <a:cxn ang="0">
                  <a:pos x="10" y="10"/>
                </a:cxn>
                <a:cxn ang="0">
                  <a:pos x="10" y="10"/>
                </a:cxn>
                <a:cxn ang="0">
                  <a:pos x="6" y="8"/>
                </a:cxn>
                <a:cxn ang="0">
                  <a:pos x="2" y="6"/>
                </a:cxn>
                <a:cxn ang="0">
                  <a:pos x="0" y="0"/>
                </a:cxn>
              </a:cxnLst>
              <a:rect l="0" t="0" r="r" b="b"/>
              <a:pathLst>
                <a:path w="14" h="10">
                  <a:moveTo>
                    <a:pt x="0" y="0"/>
                  </a:moveTo>
                  <a:lnTo>
                    <a:pt x="2" y="2"/>
                  </a:lnTo>
                  <a:lnTo>
                    <a:pt x="10" y="0"/>
                  </a:lnTo>
                  <a:lnTo>
                    <a:pt x="14" y="4"/>
                  </a:lnTo>
                  <a:lnTo>
                    <a:pt x="14" y="6"/>
                  </a:lnTo>
                  <a:lnTo>
                    <a:pt x="14" y="8"/>
                  </a:lnTo>
                  <a:lnTo>
                    <a:pt x="10" y="10"/>
                  </a:lnTo>
                  <a:lnTo>
                    <a:pt x="10" y="10"/>
                  </a:lnTo>
                  <a:lnTo>
                    <a:pt x="6" y="8"/>
                  </a:lnTo>
                  <a:lnTo>
                    <a:pt x="2" y="6"/>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8" name="Freeform 1758">
              <a:extLst>
                <a:ext uri="{FF2B5EF4-FFF2-40B4-BE49-F238E27FC236}">
                  <a16:creationId xmlns:a16="http://schemas.microsoft.com/office/drawing/2014/main" id="{D859A714-6A7D-4C25-A6A6-3FA17EA73390}"/>
                </a:ext>
              </a:extLst>
            </p:cNvPr>
            <p:cNvSpPr>
              <a:spLocks/>
            </p:cNvSpPr>
            <p:nvPr/>
          </p:nvSpPr>
          <p:spPr bwMode="auto">
            <a:xfrm>
              <a:off x="7049005" y="4979700"/>
              <a:ext cx="33503" cy="74405"/>
            </a:xfrm>
            <a:custGeom>
              <a:avLst/>
              <a:gdLst/>
              <a:ahLst/>
              <a:cxnLst>
                <a:cxn ang="0">
                  <a:pos x="8" y="0"/>
                </a:cxn>
                <a:cxn ang="0">
                  <a:pos x="8" y="2"/>
                </a:cxn>
                <a:cxn ang="0">
                  <a:pos x="6" y="6"/>
                </a:cxn>
                <a:cxn ang="0">
                  <a:pos x="6" y="6"/>
                </a:cxn>
                <a:cxn ang="0">
                  <a:pos x="8" y="8"/>
                </a:cxn>
                <a:cxn ang="0">
                  <a:pos x="8" y="12"/>
                </a:cxn>
                <a:cxn ang="0">
                  <a:pos x="4" y="18"/>
                </a:cxn>
                <a:cxn ang="0">
                  <a:pos x="6" y="18"/>
                </a:cxn>
                <a:cxn ang="0">
                  <a:pos x="12" y="10"/>
                </a:cxn>
                <a:cxn ang="0">
                  <a:pos x="16" y="10"/>
                </a:cxn>
                <a:cxn ang="0">
                  <a:pos x="16" y="12"/>
                </a:cxn>
                <a:cxn ang="0">
                  <a:pos x="16" y="16"/>
                </a:cxn>
                <a:cxn ang="0">
                  <a:pos x="12" y="20"/>
                </a:cxn>
                <a:cxn ang="0">
                  <a:pos x="12" y="20"/>
                </a:cxn>
                <a:cxn ang="0">
                  <a:pos x="16" y="22"/>
                </a:cxn>
                <a:cxn ang="0">
                  <a:pos x="18" y="26"/>
                </a:cxn>
                <a:cxn ang="0">
                  <a:pos x="8" y="22"/>
                </a:cxn>
                <a:cxn ang="0">
                  <a:pos x="8" y="24"/>
                </a:cxn>
                <a:cxn ang="0">
                  <a:pos x="8" y="32"/>
                </a:cxn>
                <a:cxn ang="0">
                  <a:pos x="12" y="40"/>
                </a:cxn>
                <a:cxn ang="0">
                  <a:pos x="12" y="40"/>
                </a:cxn>
                <a:cxn ang="0">
                  <a:pos x="6" y="32"/>
                </a:cxn>
                <a:cxn ang="0">
                  <a:pos x="6" y="32"/>
                </a:cxn>
                <a:cxn ang="0">
                  <a:pos x="4" y="24"/>
                </a:cxn>
                <a:cxn ang="0">
                  <a:pos x="2" y="18"/>
                </a:cxn>
                <a:cxn ang="0">
                  <a:pos x="0" y="14"/>
                </a:cxn>
                <a:cxn ang="0">
                  <a:pos x="0" y="14"/>
                </a:cxn>
                <a:cxn ang="0">
                  <a:pos x="2" y="6"/>
                </a:cxn>
                <a:cxn ang="0">
                  <a:pos x="8" y="0"/>
                </a:cxn>
                <a:cxn ang="0">
                  <a:pos x="8" y="0"/>
                </a:cxn>
              </a:cxnLst>
              <a:rect l="0" t="0" r="r" b="b"/>
              <a:pathLst>
                <a:path w="18" h="40">
                  <a:moveTo>
                    <a:pt x="8" y="0"/>
                  </a:moveTo>
                  <a:lnTo>
                    <a:pt x="8" y="2"/>
                  </a:lnTo>
                  <a:lnTo>
                    <a:pt x="6" y="6"/>
                  </a:lnTo>
                  <a:lnTo>
                    <a:pt x="6" y="6"/>
                  </a:lnTo>
                  <a:lnTo>
                    <a:pt x="8" y="8"/>
                  </a:lnTo>
                  <a:lnTo>
                    <a:pt x="8" y="12"/>
                  </a:lnTo>
                  <a:lnTo>
                    <a:pt x="4" y="18"/>
                  </a:lnTo>
                  <a:lnTo>
                    <a:pt x="6" y="18"/>
                  </a:lnTo>
                  <a:lnTo>
                    <a:pt x="12" y="10"/>
                  </a:lnTo>
                  <a:lnTo>
                    <a:pt x="16" y="10"/>
                  </a:lnTo>
                  <a:lnTo>
                    <a:pt x="16" y="12"/>
                  </a:lnTo>
                  <a:lnTo>
                    <a:pt x="16" y="16"/>
                  </a:lnTo>
                  <a:lnTo>
                    <a:pt x="12" y="20"/>
                  </a:lnTo>
                  <a:lnTo>
                    <a:pt x="12" y="20"/>
                  </a:lnTo>
                  <a:lnTo>
                    <a:pt x="16" y="22"/>
                  </a:lnTo>
                  <a:lnTo>
                    <a:pt x="18" y="26"/>
                  </a:lnTo>
                  <a:lnTo>
                    <a:pt x="8" y="22"/>
                  </a:lnTo>
                  <a:lnTo>
                    <a:pt x="8" y="24"/>
                  </a:lnTo>
                  <a:lnTo>
                    <a:pt x="8" y="32"/>
                  </a:lnTo>
                  <a:lnTo>
                    <a:pt x="12" y="40"/>
                  </a:lnTo>
                  <a:lnTo>
                    <a:pt x="12" y="40"/>
                  </a:lnTo>
                  <a:lnTo>
                    <a:pt x="6" y="32"/>
                  </a:lnTo>
                  <a:lnTo>
                    <a:pt x="6" y="32"/>
                  </a:lnTo>
                  <a:lnTo>
                    <a:pt x="4" y="24"/>
                  </a:lnTo>
                  <a:lnTo>
                    <a:pt x="2" y="18"/>
                  </a:lnTo>
                  <a:lnTo>
                    <a:pt x="0" y="14"/>
                  </a:lnTo>
                  <a:lnTo>
                    <a:pt x="0" y="14"/>
                  </a:lnTo>
                  <a:lnTo>
                    <a:pt x="2" y="6"/>
                  </a:lnTo>
                  <a:lnTo>
                    <a:pt x="8" y="0"/>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89" name="Freeform 1759">
              <a:extLst>
                <a:ext uri="{FF2B5EF4-FFF2-40B4-BE49-F238E27FC236}">
                  <a16:creationId xmlns:a16="http://schemas.microsoft.com/office/drawing/2014/main" id="{8E74C7CC-BF55-4503-8577-887787D51899}"/>
                </a:ext>
              </a:extLst>
            </p:cNvPr>
            <p:cNvSpPr>
              <a:spLocks/>
            </p:cNvSpPr>
            <p:nvPr/>
          </p:nvSpPr>
          <p:spPr bwMode="auto">
            <a:xfrm>
              <a:off x="6524128" y="4998302"/>
              <a:ext cx="7445" cy="3720"/>
            </a:xfrm>
            <a:custGeom>
              <a:avLst/>
              <a:gdLst/>
              <a:ahLst/>
              <a:cxnLst>
                <a:cxn ang="0">
                  <a:pos x="4" y="0"/>
                </a:cxn>
                <a:cxn ang="0">
                  <a:pos x="2" y="0"/>
                </a:cxn>
                <a:cxn ang="0">
                  <a:pos x="0" y="0"/>
                </a:cxn>
                <a:cxn ang="0">
                  <a:pos x="0" y="2"/>
                </a:cxn>
                <a:cxn ang="0">
                  <a:pos x="4" y="0"/>
                </a:cxn>
              </a:cxnLst>
              <a:rect l="0" t="0" r="r" b="b"/>
              <a:pathLst>
                <a:path w="4" h="2">
                  <a:moveTo>
                    <a:pt x="4" y="0"/>
                  </a:moveTo>
                  <a:lnTo>
                    <a:pt x="2" y="0"/>
                  </a:lnTo>
                  <a:lnTo>
                    <a:pt x="0" y="0"/>
                  </a:lnTo>
                  <a:lnTo>
                    <a:pt x="0" y="2"/>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0" name="Freeform 1760">
              <a:extLst>
                <a:ext uri="{FF2B5EF4-FFF2-40B4-BE49-F238E27FC236}">
                  <a16:creationId xmlns:a16="http://schemas.microsoft.com/office/drawing/2014/main" id="{3BCA30A2-38E7-4C63-A86E-4E92A0A89C5A}"/>
                </a:ext>
              </a:extLst>
            </p:cNvPr>
            <p:cNvSpPr>
              <a:spLocks/>
            </p:cNvSpPr>
            <p:nvPr/>
          </p:nvSpPr>
          <p:spPr bwMode="auto">
            <a:xfrm>
              <a:off x="6405007" y="4842051"/>
              <a:ext cx="1861" cy="3720"/>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1" name="Freeform 1761">
              <a:extLst>
                <a:ext uri="{FF2B5EF4-FFF2-40B4-BE49-F238E27FC236}">
                  <a16:creationId xmlns:a16="http://schemas.microsoft.com/office/drawing/2014/main" id="{86229C24-A8DC-473D-884D-BC0EC441A40B}"/>
                </a:ext>
              </a:extLst>
            </p:cNvPr>
            <p:cNvSpPr>
              <a:spLocks/>
            </p:cNvSpPr>
            <p:nvPr/>
          </p:nvSpPr>
          <p:spPr bwMode="auto">
            <a:xfrm>
              <a:off x="6397562" y="4752765"/>
              <a:ext cx="11168" cy="11161"/>
            </a:xfrm>
            <a:custGeom>
              <a:avLst/>
              <a:gdLst/>
              <a:ahLst/>
              <a:cxnLst>
                <a:cxn ang="0">
                  <a:pos x="4" y="0"/>
                </a:cxn>
                <a:cxn ang="0">
                  <a:pos x="0" y="6"/>
                </a:cxn>
                <a:cxn ang="0">
                  <a:pos x="6" y="4"/>
                </a:cxn>
                <a:cxn ang="0">
                  <a:pos x="4" y="0"/>
                </a:cxn>
              </a:cxnLst>
              <a:rect l="0" t="0" r="r" b="b"/>
              <a:pathLst>
                <a:path w="6" h="6">
                  <a:moveTo>
                    <a:pt x="4" y="0"/>
                  </a:moveTo>
                  <a:lnTo>
                    <a:pt x="0" y="6"/>
                  </a:lnTo>
                  <a:lnTo>
                    <a:pt x="6" y="4"/>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2" name="Freeform 1762">
              <a:extLst>
                <a:ext uri="{FF2B5EF4-FFF2-40B4-BE49-F238E27FC236}">
                  <a16:creationId xmlns:a16="http://schemas.microsoft.com/office/drawing/2014/main" id="{CE688643-8B84-4986-96B8-407C2843E427}"/>
                </a:ext>
              </a:extLst>
            </p:cNvPr>
            <p:cNvSpPr>
              <a:spLocks/>
            </p:cNvSpPr>
            <p:nvPr/>
          </p:nvSpPr>
          <p:spPr bwMode="auto">
            <a:xfrm>
              <a:off x="6334279" y="4901575"/>
              <a:ext cx="241965" cy="271579"/>
            </a:xfrm>
            <a:custGeom>
              <a:avLst/>
              <a:gdLst/>
              <a:ahLst/>
              <a:cxnLst>
                <a:cxn ang="0">
                  <a:pos x="6" y="0"/>
                </a:cxn>
                <a:cxn ang="0">
                  <a:pos x="10" y="2"/>
                </a:cxn>
                <a:cxn ang="0">
                  <a:pos x="28" y="6"/>
                </a:cxn>
                <a:cxn ang="0">
                  <a:pos x="32" y="8"/>
                </a:cxn>
                <a:cxn ang="0">
                  <a:pos x="38" y="18"/>
                </a:cxn>
                <a:cxn ang="0">
                  <a:pos x="42" y="22"/>
                </a:cxn>
                <a:cxn ang="0">
                  <a:pos x="52" y="30"/>
                </a:cxn>
                <a:cxn ang="0">
                  <a:pos x="56" y="32"/>
                </a:cxn>
                <a:cxn ang="0">
                  <a:pos x="60" y="36"/>
                </a:cxn>
                <a:cxn ang="0">
                  <a:pos x="64" y="40"/>
                </a:cxn>
                <a:cxn ang="0">
                  <a:pos x="68" y="42"/>
                </a:cxn>
                <a:cxn ang="0">
                  <a:pos x="74" y="48"/>
                </a:cxn>
                <a:cxn ang="0">
                  <a:pos x="82" y="52"/>
                </a:cxn>
                <a:cxn ang="0">
                  <a:pos x="84" y="56"/>
                </a:cxn>
                <a:cxn ang="0">
                  <a:pos x="88" y="58"/>
                </a:cxn>
                <a:cxn ang="0">
                  <a:pos x="94" y="60"/>
                </a:cxn>
                <a:cxn ang="0">
                  <a:pos x="94" y="66"/>
                </a:cxn>
                <a:cxn ang="0">
                  <a:pos x="98" y="64"/>
                </a:cxn>
                <a:cxn ang="0">
                  <a:pos x="102" y="70"/>
                </a:cxn>
                <a:cxn ang="0">
                  <a:pos x="102" y="74"/>
                </a:cxn>
                <a:cxn ang="0">
                  <a:pos x="98" y="80"/>
                </a:cxn>
                <a:cxn ang="0">
                  <a:pos x="104" y="84"/>
                </a:cxn>
                <a:cxn ang="0">
                  <a:pos x="112" y="94"/>
                </a:cxn>
                <a:cxn ang="0">
                  <a:pos x="116" y="100"/>
                </a:cxn>
                <a:cxn ang="0">
                  <a:pos x="126" y="102"/>
                </a:cxn>
                <a:cxn ang="0">
                  <a:pos x="128" y="106"/>
                </a:cxn>
                <a:cxn ang="0">
                  <a:pos x="128" y="118"/>
                </a:cxn>
                <a:cxn ang="0">
                  <a:pos x="128" y="144"/>
                </a:cxn>
                <a:cxn ang="0">
                  <a:pos x="120" y="144"/>
                </a:cxn>
                <a:cxn ang="0">
                  <a:pos x="114" y="142"/>
                </a:cxn>
                <a:cxn ang="0">
                  <a:pos x="114" y="146"/>
                </a:cxn>
                <a:cxn ang="0">
                  <a:pos x="114" y="146"/>
                </a:cxn>
                <a:cxn ang="0">
                  <a:pos x="102" y="134"/>
                </a:cxn>
                <a:cxn ang="0">
                  <a:pos x="88" y="124"/>
                </a:cxn>
                <a:cxn ang="0">
                  <a:pos x="70" y="100"/>
                </a:cxn>
                <a:cxn ang="0">
                  <a:pos x="68" y="92"/>
                </a:cxn>
                <a:cxn ang="0">
                  <a:pos x="58" y="78"/>
                </a:cxn>
                <a:cxn ang="0">
                  <a:pos x="48" y="68"/>
                </a:cxn>
                <a:cxn ang="0">
                  <a:pos x="48" y="58"/>
                </a:cxn>
                <a:cxn ang="0">
                  <a:pos x="38" y="44"/>
                </a:cxn>
                <a:cxn ang="0">
                  <a:pos x="30" y="34"/>
                </a:cxn>
                <a:cxn ang="0">
                  <a:pos x="28" y="34"/>
                </a:cxn>
                <a:cxn ang="0">
                  <a:pos x="20" y="24"/>
                </a:cxn>
                <a:cxn ang="0">
                  <a:pos x="18" y="24"/>
                </a:cxn>
                <a:cxn ang="0">
                  <a:pos x="2" y="6"/>
                </a:cxn>
                <a:cxn ang="0">
                  <a:pos x="0" y="0"/>
                </a:cxn>
              </a:cxnLst>
              <a:rect l="0" t="0" r="r" b="b"/>
              <a:pathLst>
                <a:path w="130" h="146">
                  <a:moveTo>
                    <a:pt x="0" y="0"/>
                  </a:moveTo>
                  <a:lnTo>
                    <a:pt x="6" y="0"/>
                  </a:lnTo>
                  <a:lnTo>
                    <a:pt x="10" y="2"/>
                  </a:lnTo>
                  <a:lnTo>
                    <a:pt x="10" y="2"/>
                  </a:lnTo>
                  <a:lnTo>
                    <a:pt x="20" y="4"/>
                  </a:lnTo>
                  <a:lnTo>
                    <a:pt x="28" y="6"/>
                  </a:lnTo>
                  <a:lnTo>
                    <a:pt x="28" y="6"/>
                  </a:lnTo>
                  <a:lnTo>
                    <a:pt x="32" y="8"/>
                  </a:lnTo>
                  <a:lnTo>
                    <a:pt x="34" y="10"/>
                  </a:lnTo>
                  <a:lnTo>
                    <a:pt x="38" y="18"/>
                  </a:lnTo>
                  <a:lnTo>
                    <a:pt x="38" y="18"/>
                  </a:lnTo>
                  <a:lnTo>
                    <a:pt x="42" y="22"/>
                  </a:lnTo>
                  <a:lnTo>
                    <a:pt x="46" y="24"/>
                  </a:lnTo>
                  <a:lnTo>
                    <a:pt x="52" y="30"/>
                  </a:lnTo>
                  <a:lnTo>
                    <a:pt x="52" y="30"/>
                  </a:lnTo>
                  <a:lnTo>
                    <a:pt x="56" y="32"/>
                  </a:lnTo>
                  <a:lnTo>
                    <a:pt x="58" y="36"/>
                  </a:lnTo>
                  <a:lnTo>
                    <a:pt x="60" y="36"/>
                  </a:lnTo>
                  <a:lnTo>
                    <a:pt x="60" y="36"/>
                  </a:lnTo>
                  <a:lnTo>
                    <a:pt x="64" y="40"/>
                  </a:lnTo>
                  <a:lnTo>
                    <a:pt x="68" y="44"/>
                  </a:lnTo>
                  <a:lnTo>
                    <a:pt x="68" y="42"/>
                  </a:lnTo>
                  <a:lnTo>
                    <a:pt x="70" y="42"/>
                  </a:lnTo>
                  <a:lnTo>
                    <a:pt x="74" y="48"/>
                  </a:lnTo>
                  <a:lnTo>
                    <a:pt x="82" y="52"/>
                  </a:lnTo>
                  <a:lnTo>
                    <a:pt x="82" y="52"/>
                  </a:lnTo>
                  <a:lnTo>
                    <a:pt x="84" y="54"/>
                  </a:lnTo>
                  <a:lnTo>
                    <a:pt x="84" y="56"/>
                  </a:lnTo>
                  <a:lnTo>
                    <a:pt x="86" y="54"/>
                  </a:lnTo>
                  <a:lnTo>
                    <a:pt x="88" y="58"/>
                  </a:lnTo>
                  <a:lnTo>
                    <a:pt x="94" y="58"/>
                  </a:lnTo>
                  <a:lnTo>
                    <a:pt x="94" y="60"/>
                  </a:lnTo>
                  <a:lnTo>
                    <a:pt x="94" y="60"/>
                  </a:lnTo>
                  <a:lnTo>
                    <a:pt x="94" y="66"/>
                  </a:lnTo>
                  <a:lnTo>
                    <a:pt x="98" y="64"/>
                  </a:lnTo>
                  <a:lnTo>
                    <a:pt x="98" y="64"/>
                  </a:lnTo>
                  <a:lnTo>
                    <a:pt x="102" y="66"/>
                  </a:lnTo>
                  <a:lnTo>
                    <a:pt x="102" y="70"/>
                  </a:lnTo>
                  <a:lnTo>
                    <a:pt x="100" y="74"/>
                  </a:lnTo>
                  <a:lnTo>
                    <a:pt x="102" y="74"/>
                  </a:lnTo>
                  <a:lnTo>
                    <a:pt x="98" y="80"/>
                  </a:lnTo>
                  <a:lnTo>
                    <a:pt x="98" y="80"/>
                  </a:lnTo>
                  <a:lnTo>
                    <a:pt x="100" y="82"/>
                  </a:lnTo>
                  <a:lnTo>
                    <a:pt x="104" y="84"/>
                  </a:lnTo>
                  <a:lnTo>
                    <a:pt x="110" y="84"/>
                  </a:lnTo>
                  <a:lnTo>
                    <a:pt x="112" y="94"/>
                  </a:lnTo>
                  <a:lnTo>
                    <a:pt x="116" y="98"/>
                  </a:lnTo>
                  <a:lnTo>
                    <a:pt x="116" y="100"/>
                  </a:lnTo>
                  <a:lnTo>
                    <a:pt x="116" y="100"/>
                  </a:lnTo>
                  <a:lnTo>
                    <a:pt x="126" y="102"/>
                  </a:lnTo>
                  <a:lnTo>
                    <a:pt x="126" y="102"/>
                  </a:lnTo>
                  <a:lnTo>
                    <a:pt x="128" y="106"/>
                  </a:lnTo>
                  <a:lnTo>
                    <a:pt x="130" y="112"/>
                  </a:lnTo>
                  <a:lnTo>
                    <a:pt x="128" y="118"/>
                  </a:lnTo>
                  <a:lnTo>
                    <a:pt x="130" y="120"/>
                  </a:lnTo>
                  <a:lnTo>
                    <a:pt x="128" y="144"/>
                  </a:lnTo>
                  <a:lnTo>
                    <a:pt x="122" y="142"/>
                  </a:lnTo>
                  <a:lnTo>
                    <a:pt x="120" y="144"/>
                  </a:lnTo>
                  <a:lnTo>
                    <a:pt x="120" y="144"/>
                  </a:lnTo>
                  <a:lnTo>
                    <a:pt x="114" y="142"/>
                  </a:lnTo>
                  <a:lnTo>
                    <a:pt x="114" y="142"/>
                  </a:lnTo>
                  <a:lnTo>
                    <a:pt x="114" y="146"/>
                  </a:lnTo>
                  <a:lnTo>
                    <a:pt x="114" y="146"/>
                  </a:lnTo>
                  <a:lnTo>
                    <a:pt x="114" y="146"/>
                  </a:lnTo>
                  <a:lnTo>
                    <a:pt x="108" y="140"/>
                  </a:lnTo>
                  <a:lnTo>
                    <a:pt x="102" y="134"/>
                  </a:lnTo>
                  <a:lnTo>
                    <a:pt x="88" y="124"/>
                  </a:lnTo>
                  <a:lnTo>
                    <a:pt x="88" y="124"/>
                  </a:lnTo>
                  <a:lnTo>
                    <a:pt x="80" y="112"/>
                  </a:lnTo>
                  <a:lnTo>
                    <a:pt x="70" y="100"/>
                  </a:lnTo>
                  <a:lnTo>
                    <a:pt x="70" y="100"/>
                  </a:lnTo>
                  <a:lnTo>
                    <a:pt x="68" y="92"/>
                  </a:lnTo>
                  <a:lnTo>
                    <a:pt x="62" y="84"/>
                  </a:lnTo>
                  <a:lnTo>
                    <a:pt x="58" y="78"/>
                  </a:lnTo>
                  <a:lnTo>
                    <a:pt x="56" y="70"/>
                  </a:lnTo>
                  <a:lnTo>
                    <a:pt x="48" y="68"/>
                  </a:lnTo>
                  <a:lnTo>
                    <a:pt x="48" y="68"/>
                  </a:lnTo>
                  <a:lnTo>
                    <a:pt x="48" y="58"/>
                  </a:lnTo>
                  <a:lnTo>
                    <a:pt x="44" y="50"/>
                  </a:lnTo>
                  <a:lnTo>
                    <a:pt x="38" y="44"/>
                  </a:lnTo>
                  <a:lnTo>
                    <a:pt x="30" y="42"/>
                  </a:lnTo>
                  <a:lnTo>
                    <a:pt x="30" y="34"/>
                  </a:lnTo>
                  <a:lnTo>
                    <a:pt x="28" y="34"/>
                  </a:lnTo>
                  <a:lnTo>
                    <a:pt x="28" y="34"/>
                  </a:lnTo>
                  <a:lnTo>
                    <a:pt x="24" y="28"/>
                  </a:lnTo>
                  <a:lnTo>
                    <a:pt x="20" y="24"/>
                  </a:lnTo>
                  <a:lnTo>
                    <a:pt x="18" y="24"/>
                  </a:lnTo>
                  <a:lnTo>
                    <a:pt x="18" y="24"/>
                  </a:lnTo>
                  <a:lnTo>
                    <a:pt x="6" y="12"/>
                  </a:lnTo>
                  <a:lnTo>
                    <a:pt x="2" y="6"/>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3" name="Freeform 1763">
              <a:extLst>
                <a:ext uri="{FF2B5EF4-FFF2-40B4-BE49-F238E27FC236}">
                  <a16:creationId xmlns:a16="http://schemas.microsoft.com/office/drawing/2014/main" id="{CBDC5A5B-0CC4-48EA-BB08-0CFFD75B7952}"/>
                </a:ext>
              </a:extLst>
            </p:cNvPr>
            <p:cNvSpPr>
              <a:spLocks/>
            </p:cNvSpPr>
            <p:nvPr/>
          </p:nvSpPr>
          <p:spPr bwMode="auto">
            <a:xfrm>
              <a:off x="6557631" y="5068986"/>
              <a:ext cx="33503" cy="37203"/>
            </a:xfrm>
            <a:custGeom>
              <a:avLst/>
              <a:gdLst/>
              <a:ahLst/>
              <a:cxnLst>
                <a:cxn ang="0">
                  <a:pos x="0" y="6"/>
                </a:cxn>
                <a:cxn ang="0">
                  <a:pos x="2" y="0"/>
                </a:cxn>
                <a:cxn ang="0">
                  <a:pos x="6" y="0"/>
                </a:cxn>
                <a:cxn ang="0">
                  <a:pos x="6" y="2"/>
                </a:cxn>
                <a:cxn ang="0">
                  <a:pos x="8" y="0"/>
                </a:cxn>
                <a:cxn ang="0">
                  <a:pos x="8" y="0"/>
                </a:cxn>
                <a:cxn ang="0">
                  <a:pos x="14" y="12"/>
                </a:cxn>
                <a:cxn ang="0">
                  <a:pos x="18" y="12"/>
                </a:cxn>
                <a:cxn ang="0">
                  <a:pos x="18" y="20"/>
                </a:cxn>
                <a:cxn ang="0">
                  <a:pos x="16" y="20"/>
                </a:cxn>
                <a:cxn ang="0">
                  <a:pos x="12" y="16"/>
                </a:cxn>
                <a:cxn ang="0">
                  <a:pos x="8" y="8"/>
                </a:cxn>
                <a:cxn ang="0">
                  <a:pos x="0" y="6"/>
                </a:cxn>
              </a:cxnLst>
              <a:rect l="0" t="0" r="r" b="b"/>
              <a:pathLst>
                <a:path w="18" h="20">
                  <a:moveTo>
                    <a:pt x="0" y="6"/>
                  </a:moveTo>
                  <a:lnTo>
                    <a:pt x="2" y="0"/>
                  </a:lnTo>
                  <a:lnTo>
                    <a:pt x="6" y="0"/>
                  </a:lnTo>
                  <a:lnTo>
                    <a:pt x="6" y="2"/>
                  </a:lnTo>
                  <a:lnTo>
                    <a:pt x="8" y="0"/>
                  </a:lnTo>
                  <a:lnTo>
                    <a:pt x="8" y="0"/>
                  </a:lnTo>
                  <a:lnTo>
                    <a:pt x="14" y="12"/>
                  </a:lnTo>
                  <a:lnTo>
                    <a:pt x="18" y="12"/>
                  </a:lnTo>
                  <a:lnTo>
                    <a:pt x="18" y="20"/>
                  </a:lnTo>
                  <a:lnTo>
                    <a:pt x="16" y="20"/>
                  </a:lnTo>
                  <a:lnTo>
                    <a:pt x="12" y="16"/>
                  </a:lnTo>
                  <a:lnTo>
                    <a:pt x="8" y="8"/>
                  </a:lnTo>
                  <a:lnTo>
                    <a:pt x="0"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4" name="Freeform 1764">
              <a:extLst>
                <a:ext uri="{FF2B5EF4-FFF2-40B4-BE49-F238E27FC236}">
                  <a16:creationId xmlns:a16="http://schemas.microsoft.com/office/drawing/2014/main" id="{3373DF16-3299-4E90-B6B9-8719EC78540D}"/>
                </a:ext>
              </a:extLst>
            </p:cNvPr>
            <p:cNvSpPr>
              <a:spLocks/>
            </p:cNvSpPr>
            <p:nvPr/>
          </p:nvSpPr>
          <p:spPr bwMode="auto">
            <a:xfrm>
              <a:off x="6609746" y="5095028"/>
              <a:ext cx="14890" cy="14881"/>
            </a:xfrm>
            <a:custGeom>
              <a:avLst/>
              <a:gdLst/>
              <a:ahLst/>
              <a:cxnLst>
                <a:cxn ang="0">
                  <a:pos x="2" y="0"/>
                </a:cxn>
                <a:cxn ang="0">
                  <a:pos x="4" y="0"/>
                </a:cxn>
                <a:cxn ang="0">
                  <a:pos x="8" y="2"/>
                </a:cxn>
                <a:cxn ang="0">
                  <a:pos x="8" y="8"/>
                </a:cxn>
                <a:cxn ang="0">
                  <a:pos x="2" y="6"/>
                </a:cxn>
                <a:cxn ang="0">
                  <a:pos x="0" y="2"/>
                </a:cxn>
                <a:cxn ang="0">
                  <a:pos x="2" y="0"/>
                </a:cxn>
              </a:cxnLst>
              <a:rect l="0" t="0" r="r" b="b"/>
              <a:pathLst>
                <a:path w="8" h="8">
                  <a:moveTo>
                    <a:pt x="2" y="0"/>
                  </a:moveTo>
                  <a:lnTo>
                    <a:pt x="4" y="0"/>
                  </a:lnTo>
                  <a:lnTo>
                    <a:pt x="8" y="2"/>
                  </a:lnTo>
                  <a:lnTo>
                    <a:pt x="8" y="8"/>
                  </a:lnTo>
                  <a:lnTo>
                    <a:pt x="2" y="6"/>
                  </a:lnTo>
                  <a:lnTo>
                    <a:pt x="0" y="2"/>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5" name="Freeform 1765">
              <a:extLst>
                <a:ext uri="{FF2B5EF4-FFF2-40B4-BE49-F238E27FC236}">
                  <a16:creationId xmlns:a16="http://schemas.microsoft.com/office/drawing/2014/main" id="{7097F31C-CD9B-440D-9170-2C86473AD517}"/>
                </a:ext>
              </a:extLst>
            </p:cNvPr>
            <p:cNvSpPr>
              <a:spLocks/>
            </p:cNvSpPr>
            <p:nvPr/>
          </p:nvSpPr>
          <p:spPr bwMode="auto">
            <a:xfrm>
              <a:off x="6233770" y="4484906"/>
              <a:ext cx="3723" cy="11161"/>
            </a:xfrm>
            <a:custGeom>
              <a:avLst/>
              <a:gdLst/>
              <a:ahLst/>
              <a:cxnLst>
                <a:cxn ang="0">
                  <a:pos x="0" y="0"/>
                </a:cxn>
                <a:cxn ang="0">
                  <a:pos x="0" y="6"/>
                </a:cxn>
                <a:cxn ang="0">
                  <a:pos x="2" y="6"/>
                </a:cxn>
                <a:cxn ang="0">
                  <a:pos x="2" y="2"/>
                </a:cxn>
                <a:cxn ang="0">
                  <a:pos x="2" y="0"/>
                </a:cxn>
                <a:cxn ang="0">
                  <a:pos x="0" y="0"/>
                </a:cxn>
              </a:cxnLst>
              <a:rect l="0" t="0" r="r" b="b"/>
              <a:pathLst>
                <a:path w="2" h="6">
                  <a:moveTo>
                    <a:pt x="0" y="0"/>
                  </a:moveTo>
                  <a:lnTo>
                    <a:pt x="0" y="6"/>
                  </a:lnTo>
                  <a:lnTo>
                    <a:pt x="2" y="6"/>
                  </a:lnTo>
                  <a:lnTo>
                    <a:pt x="2" y="2"/>
                  </a:lnTo>
                  <a:lnTo>
                    <a:pt x="2"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6" name="Freeform 1766">
              <a:extLst>
                <a:ext uri="{FF2B5EF4-FFF2-40B4-BE49-F238E27FC236}">
                  <a16:creationId xmlns:a16="http://schemas.microsoft.com/office/drawing/2014/main" id="{2015659E-CBCD-4370-95EA-B05C6B103E50}"/>
                </a:ext>
              </a:extLst>
            </p:cNvPr>
            <p:cNvSpPr>
              <a:spLocks/>
            </p:cNvSpPr>
            <p:nvPr/>
          </p:nvSpPr>
          <p:spPr bwMode="auto">
            <a:xfrm>
              <a:off x="5988083" y="4801128"/>
              <a:ext cx="44670" cy="89286"/>
            </a:xfrm>
            <a:custGeom>
              <a:avLst/>
              <a:gdLst/>
              <a:ahLst/>
              <a:cxnLst>
                <a:cxn ang="0">
                  <a:pos x="4" y="0"/>
                </a:cxn>
                <a:cxn ang="0">
                  <a:pos x="2" y="0"/>
                </a:cxn>
                <a:cxn ang="0">
                  <a:pos x="6" y="4"/>
                </a:cxn>
                <a:cxn ang="0">
                  <a:pos x="4" y="6"/>
                </a:cxn>
                <a:cxn ang="0">
                  <a:pos x="0" y="22"/>
                </a:cxn>
                <a:cxn ang="0">
                  <a:pos x="0" y="22"/>
                </a:cxn>
                <a:cxn ang="0">
                  <a:pos x="0" y="22"/>
                </a:cxn>
                <a:cxn ang="0">
                  <a:pos x="0" y="36"/>
                </a:cxn>
                <a:cxn ang="0">
                  <a:pos x="2" y="42"/>
                </a:cxn>
                <a:cxn ang="0">
                  <a:pos x="6" y="48"/>
                </a:cxn>
                <a:cxn ang="0">
                  <a:pos x="12" y="48"/>
                </a:cxn>
                <a:cxn ang="0">
                  <a:pos x="12" y="48"/>
                </a:cxn>
                <a:cxn ang="0">
                  <a:pos x="18" y="46"/>
                </a:cxn>
                <a:cxn ang="0">
                  <a:pos x="22" y="42"/>
                </a:cxn>
                <a:cxn ang="0">
                  <a:pos x="24" y="36"/>
                </a:cxn>
                <a:cxn ang="0">
                  <a:pos x="24" y="28"/>
                </a:cxn>
                <a:cxn ang="0">
                  <a:pos x="24" y="28"/>
                </a:cxn>
                <a:cxn ang="0">
                  <a:pos x="18" y="14"/>
                </a:cxn>
                <a:cxn ang="0">
                  <a:pos x="8" y="0"/>
                </a:cxn>
                <a:cxn ang="0">
                  <a:pos x="4" y="0"/>
                </a:cxn>
              </a:cxnLst>
              <a:rect l="0" t="0" r="r" b="b"/>
              <a:pathLst>
                <a:path w="24" h="48">
                  <a:moveTo>
                    <a:pt x="4" y="0"/>
                  </a:moveTo>
                  <a:lnTo>
                    <a:pt x="2" y="0"/>
                  </a:lnTo>
                  <a:lnTo>
                    <a:pt x="6" y="4"/>
                  </a:lnTo>
                  <a:lnTo>
                    <a:pt x="4" y="6"/>
                  </a:lnTo>
                  <a:lnTo>
                    <a:pt x="0" y="22"/>
                  </a:lnTo>
                  <a:lnTo>
                    <a:pt x="0" y="22"/>
                  </a:lnTo>
                  <a:lnTo>
                    <a:pt x="0" y="22"/>
                  </a:lnTo>
                  <a:lnTo>
                    <a:pt x="0" y="36"/>
                  </a:lnTo>
                  <a:lnTo>
                    <a:pt x="2" y="42"/>
                  </a:lnTo>
                  <a:lnTo>
                    <a:pt x="6" y="48"/>
                  </a:lnTo>
                  <a:lnTo>
                    <a:pt x="12" y="48"/>
                  </a:lnTo>
                  <a:lnTo>
                    <a:pt x="12" y="48"/>
                  </a:lnTo>
                  <a:lnTo>
                    <a:pt x="18" y="46"/>
                  </a:lnTo>
                  <a:lnTo>
                    <a:pt x="22" y="42"/>
                  </a:lnTo>
                  <a:lnTo>
                    <a:pt x="24" y="36"/>
                  </a:lnTo>
                  <a:lnTo>
                    <a:pt x="24" y="28"/>
                  </a:lnTo>
                  <a:lnTo>
                    <a:pt x="24" y="28"/>
                  </a:lnTo>
                  <a:lnTo>
                    <a:pt x="18" y="14"/>
                  </a:lnTo>
                  <a:lnTo>
                    <a:pt x="8" y="0"/>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7" name="Freeform 1767">
              <a:extLst>
                <a:ext uri="{FF2B5EF4-FFF2-40B4-BE49-F238E27FC236}">
                  <a16:creationId xmlns:a16="http://schemas.microsoft.com/office/drawing/2014/main" id="{DBC062C9-BA76-472C-94B5-6090CC9104FB}"/>
                </a:ext>
              </a:extLst>
            </p:cNvPr>
            <p:cNvSpPr>
              <a:spLocks/>
            </p:cNvSpPr>
            <p:nvPr/>
          </p:nvSpPr>
          <p:spPr bwMode="auto">
            <a:xfrm>
              <a:off x="6888936" y="4414221"/>
              <a:ext cx="37225" cy="74405"/>
            </a:xfrm>
            <a:custGeom>
              <a:avLst/>
              <a:gdLst/>
              <a:ahLst/>
              <a:cxnLst>
                <a:cxn ang="0">
                  <a:pos x="16" y="0"/>
                </a:cxn>
                <a:cxn ang="0">
                  <a:pos x="20" y="2"/>
                </a:cxn>
                <a:cxn ang="0">
                  <a:pos x="20" y="2"/>
                </a:cxn>
                <a:cxn ang="0">
                  <a:pos x="20" y="12"/>
                </a:cxn>
                <a:cxn ang="0">
                  <a:pos x="16" y="22"/>
                </a:cxn>
                <a:cxn ang="0">
                  <a:pos x="14" y="32"/>
                </a:cxn>
                <a:cxn ang="0">
                  <a:pos x="10" y="40"/>
                </a:cxn>
                <a:cxn ang="0">
                  <a:pos x="4" y="40"/>
                </a:cxn>
                <a:cxn ang="0">
                  <a:pos x="0" y="34"/>
                </a:cxn>
                <a:cxn ang="0">
                  <a:pos x="0" y="34"/>
                </a:cxn>
                <a:cxn ang="0">
                  <a:pos x="0" y="24"/>
                </a:cxn>
                <a:cxn ang="0">
                  <a:pos x="2" y="14"/>
                </a:cxn>
                <a:cxn ang="0">
                  <a:pos x="8" y="4"/>
                </a:cxn>
                <a:cxn ang="0">
                  <a:pos x="12" y="2"/>
                </a:cxn>
                <a:cxn ang="0">
                  <a:pos x="16" y="0"/>
                </a:cxn>
                <a:cxn ang="0">
                  <a:pos x="16" y="0"/>
                </a:cxn>
              </a:cxnLst>
              <a:rect l="0" t="0" r="r" b="b"/>
              <a:pathLst>
                <a:path w="20" h="40">
                  <a:moveTo>
                    <a:pt x="16" y="0"/>
                  </a:moveTo>
                  <a:lnTo>
                    <a:pt x="20" y="2"/>
                  </a:lnTo>
                  <a:lnTo>
                    <a:pt x="20" y="2"/>
                  </a:lnTo>
                  <a:lnTo>
                    <a:pt x="20" y="12"/>
                  </a:lnTo>
                  <a:lnTo>
                    <a:pt x="16" y="22"/>
                  </a:lnTo>
                  <a:lnTo>
                    <a:pt x="14" y="32"/>
                  </a:lnTo>
                  <a:lnTo>
                    <a:pt x="10" y="40"/>
                  </a:lnTo>
                  <a:lnTo>
                    <a:pt x="4" y="40"/>
                  </a:lnTo>
                  <a:lnTo>
                    <a:pt x="0" y="34"/>
                  </a:lnTo>
                  <a:lnTo>
                    <a:pt x="0" y="34"/>
                  </a:lnTo>
                  <a:lnTo>
                    <a:pt x="0" y="24"/>
                  </a:lnTo>
                  <a:lnTo>
                    <a:pt x="2" y="14"/>
                  </a:lnTo>
                  <a:lnTo>
                    <a:pt x="8" y="4"/>
                  </a:lnTo>
                  <a:lnTo>
                    <a:pt x="12" y="2"/>
                  </a:lnTo>
                  <a:lnTo>
                    <a:pt x="16" y="0"/>
                  </a:lnTo>
                  <a:lnTo>
                    <a:pt x="16"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8" name="Freeform 1768">
              <a:extLst>
                <a:ext uri="{FF2B5EF4-FFF2-40B4-BE49-F238E27FC236}">
                  <a16:creationId xmlns:a16="http://schemas.microsoft.com/office/drawing/2014/main" id="{C57C6A0D-ED95-45DE-92E7-058F16D269A8}"/>
                </a:ext>
              </a:extLst>
            </p:cNvPr>
            <p:cNvSpPr>
              <a:spLocks/>
            </p:cNvSpPr>
            <p:nvPr/>
          </p:nvSpPr>
          <p:spPr bwMode="auto">
            <a:xfrm>
              <a:off x="5999251" y="4280292"/>
              <a:ext cx="174959" cy="104167"/>
            </a:xfrm>
            <a:custGeom>
              <a:avLst/>
              <a:gdLst/>
              <a:ahLst/>
              <a:cxnLst>
                <a:cxn ang="0">
                  <a:pos x="92" y="48"/>
                </a:cxn>
                <a:cxn ang="0">
                  <a:pos x="94" y="50"/>
                </a:cxn>
                <a:cxn ang="0">
                  <a:pos x="92" y="56"/>
                </a:cxn>
                <a:cxn ang="0">
                  <a:pos x="92" y="56"/>
                </a:cxn>
                <a:cxn ang="0">
                  <a:pos x="82" y="56"/>
                </a:cxn>
                <a:cxn ang="0">
                  <a:pos x="68" y="54"/>
                </a:cxn>
                <a:cxn ang="0">
                  <a:pos x="56" y="50"/>
                </a:cxn>
                <a:cxn ang="0">
                  <a:pos x="52" y="46"/>
                </a:cxn>
                <a:cxn ang="0">
                  <a:pos x="48" y="44"/>
                </a:cxn>
                <a:cxn ang="0">
                  <a:pos x="30" y="42"/>
                </a:cxn>
                <a:cxn ang="0">
                  <a:pos x="30" y="42"/>
                </a:cxn>
                <a:cxn ang="0">
                  <a:pos x="16" y="34"/>
                </a:cxn>
                <a:cxn ang="0">
                  <a:pos x="0" y="22"/>
                </a:cxn>
                <a:cxn ang="0">
                  <a:pos x="2" y="8"/>
                </a:cxn>
                <a:cxn ang="0">
                  <a:pos x="8" y="0"/>
                </a:cxn>
                <a:cxn ang="0">
                  <a:pos x="10" y="0"/>
                </a:cxn>
                <a:cxn ang="0">
                  <a:pos x="12" y="4"/>
                </a:cxn>
                <a:cxn ang="0">
                  <a:pos x="14" y="0"/>
                </a:cxn>
                <a:cxn ang="0">
                  <a:pos x="14" y="0"/>
                </a:cxn>
                <a:cxn ang="0">
                  <a:pos x="20" y="0"/>
                </a:cxn>
                <a:cxn ang="0">
                  <a:pos x="26" y="2"/>
                </a:cxn>
                <a:cxn ang="0">
                  <a:pos x="32" y="6"/>
                </a:cxn>
                <a:cxn ang="0">
                  <a:pos x="36" y="10"/>
                </a:cxn>
                <a:cxn ang="0">
                  <a:pos x="38" y="16"/>
                </a:cxn>
                <a:cxn ang="0">
                  <a:pos x="40" y="18"/>
                </a:cxn>
                <a:cxn ang="0">
                  <a:pos x="44" y="14"/>
                </a:cxn>
                <a:cxn ang="0">
                  <a:pos x="48" y="14"/>
                </a:cxn>
                <a:cxn ang="0">
                  <a:pos x="48" y="22"/>
                </a:cxn>
                <a:cxn ang="0">
                  <a:pos x="58" y="24"/>
                </a:cxn>
                <a:cxn ang="0">
                  <a:pos x="58" y="28"/>
                </a:cxn>
                <a:cxn ang="0">
                  <a:pos x="62" y="30"/>
                </a:cxn>
                <a:cxn ang="0">
                  <a:pos x="66" y="30"/>
                </a:cxn>
                <a:cxn ang="0">
                  <a:pos x="68" y="34"/>
                </a:cxn>
                <a:cxn ang="0">
                  <a:pos x="70" y="34"/>
                </a:cxn>
                <a:cxn ang="0">
                  <a:pos x="74" y="34"/>
                </a:cxn>
                <a:cxn ang="0">
                  <a:pos x="76" y="32"/>
                </a:cxn>
                <a:cxn ang="0">
                  <a:pos x="90" y="36"/>
                </a:cxn>
                <a:cxn ang="0">
                  <a:pos x="94" y="36"/>
                </a:cxn>
                <a:cxn ang="0">
                  <a:pos x="94" y="36"/>
                </a:cxn>
                <a:cxn ang="0">
                  <a:pos x="92" y="42"/>
                </a:cxn>
                <a:cxn ang="0">
                  <a:pos x="92" y="48"/>
                </a:cxn>
                <a:cxn ang="0">
                  <a:pos x="92" y="48"/>
                </a:cxn>
              </a:cxnLst>
              <a:rect l="0" t="0" r="r" b="b"/>
              <a:pathLst>
                <a:path w="94" h="56">
                  <a:moveTo>
                    <a:pt x="92" y="48"/>
                  </a:moveTo>
                  <a:lnTo>
                    <a:pt x="94" y="50"/>
                  </a:lnTo>
                  <a:lnTo>
                    <a:pt x="92" y="56"/>
                  </a:lnTo>
                  <a:lnTo>
                    <a:pt x="92" y="56"/>
                  </a:lnTo>
                  <a:lnTo>
                    <a:pt x="82" y="56"/>
                  </a:lnTo>
                  <a:lnTo>
                    <a:pt x="68" y="54"/>
                  </a:lnTo>
                  <a:lnTo>
                    <a:pt x="56" y="50"/>
                  </a:lnTo>
                  <a:lnTo>
                    <a:pt x="52" y="46"/>
                  </a:lnTo>
                  <a:lnTo>
                    <a:pt x="48" y="44"/>
                  </a:lnTo>
                  <a:lnTo>
                    <a:pt x="30" y="42"/>
                  </a:lnTo>
                  <a:lnTo>
                    <a:pt x="30" y="42"/>
                  </a:lnTo>
                  <a:lnTo>
                    <a:pt x="16" y="34"/>
                  </a:lnTo>
                  <a:lnTo>
                    <a:pt x="0" y="22"/>
                  </a:lnTo>
                  <a:lnTo>
                    <a:pt x="2" y="8"/>
                  </a:lnTo>
                  <a:lnTo>
                    <a:pt x="8" y="0"/>
                  </a:lnTo>
                  <a:lnTo>
                    <a:pt x="10" y="0"/>
                  </a:lnTo>
                  <a:lnTo>
                    <a:pt x="12" y="4"/>
                  </a:lnTo>
                  <a:lnTo>
                    <a:pt x="14" y="0"/>
                  </a:lnTo>
                  <a:lnTo>
                    <a:pt x="14" y="0"/>
                  </a:lnTo>
                  <a:lnTo>
                    <a:pt x="20" y="0"/>
                  </a:lnTo>
                  <a:lnTo>
                    <a:pt x="26" y="2"/>
                  </a:lnTo>
                  <a:lnTo>
                    <a:pt x="32" y="6"/>
                  </a:lnTo>
                  <a:lnTo>
                    <a:pt x="36" y="10"/>
                  </a:lnTo>
                  <a:lnTo>
                    <a:pt x="38" y="16"/>
                  </a:lnTo>
                  <a:lnTo>
                    <a:pt x="40" y="18"/>
                  </a:lnTo>
                  <a:lnTo>
                    <a:pt x="44" y="14"/>
                  </a:lnTo>
                  <a:lnTo>
                    <a:pt x="48" y="14"/>
                  </a:lnTo>
                  <a:lnTo>
                    <a:pt x="48" y="22"/>
                  </a:lnTo>
                  <a:lnTo>
                    <a:pt x="58" y="24"/>
                  </a:lnTo>
                  <a:lnTo>
                    <a:pt x="58" y="28"/>
                  </a:lnTo>
                  <a:lnTo>
                    <a:pt x="62" y="30"/>
                  </a:lnTo>
                  <a:lnTo>
                    <a:pt x="66" y="30"/>
                  </a:lnTo>
                  <a:lnTo>
                    <a:pt x="68" y="34"/>
                  </a:lnTo>
                  <a:lnTo>
                    <a:pt x="70" y="34"/>
                  </a:lnTo>
                  <a:lnTo>
                    <a:pt x="74" y="34"/>
                  </a:lnTo>
                  <a:lnTo>
                    <a:pt x="76" y="32"/>
                  </a:lnTo>
                  <a:lnTo>
                    <a:pt x="90" y="36"/>
                  </a:lnTo>
                  <a:lnTo>
                    <a:pt x="94" y="36"/>
                  </a:lnTo>
                  <a:lnTo>
                    <a:pt x="94" y="36"/>
                  </a:lnTo>
                  <a:lnTo>
                    <a:pt x="92" y="42"/>
                  </a:lnTo>
                  <a:lnTo>
                    <a:pt x="92" y="48"/>
                  </a:lnTo>
                  <a:lnTo>
                    <a:pt x="92" y="4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299" name="Freeform 1769">
              <a:extLst>
                <a:ext uri="{FF2B5EF4-FFF2-40B4-BE49-F238E27FC236}">
                  <a16:creationId xmlns:a16="http://schemas.microsoft.com/office/drawing/2014/main" id="{A84649C8-0AE1-47DB-A0FC-4D8B7E7EB022}"/>
                </a:ext>
              </a:extLst>
            </p:cNvPr>
            <p:cNvSpPr>
              <a:spLocks/>
            </p:cNvSpPr>
            <p:nvPr/>
          </p:nvSpPr>
          <p:spPr bwMode="auto">
            <a:xfrm>
              <a:off x="6982000" y="3904546"/>
              <a:ext cx="141456" cy="163691"/>
            </a:xfrm>
            <a:custGeom>
              <a:avLst/>
              <a:gdLst/>
              <a:ahLst/>
              <a:cxnLst>
                <a:cxn ang="0">
                  <a:pos x="0" y="50"/>
                </a:cxn>
                <a:cxn ang="0">
                  <a:pos x="4" y="56"/>
                </a:cxn>
                <a:cxn ang="0">
                  <a:pos x="8" y="56"/>
                </a:cxn>
                <a:cxn ang="0">
                  <a:pos x="14" y="58"/>
                </a:cxn>
                <a:cxn ang="0">
                  <a:pos x="12" y="70"/>
                </a:cxn>
                <a:cxn ang="0">
                  <a:pos x="12" y="72"/>
                </a:cxn>
                <a:cxn ang="0">
                  <a:pos x="14" y="72"/>
                </a:cxn>
                <a:cxn ang="0">
                  <a:pos x="8" y="74"/>
                </a:cxn>
                <a:cxn ang="0">
                  <a:pos x="6" y="82"/>
                </a:cxn>
                <a:cxn ang="0">
                  <a:pos x="12" y="82"/>
                </a:cxn>
                <a:cxn ang="0">
                  <a:pos x="10" y="84"/>
                </a:cxn>
                <a:cxn ang="0">
                  <a:pos x="12" y="88"/>
                </a:cxn>
                <a:cxn ang="0">
                  <a:pos x="16" y="86"/>
                </a:cxn>
                <a:cxn ang="0">
                  <a:pos x="16" y="82"/>
                </a:cxn>
                <a:cxn ang="0">
                  <a:pos x="22" y="86"/>
                </a:cxn>
                <a:cxn ang="0">
                  <a:pos x="26" y="84"/>
                </a:cxn>
                <a:cxn ang="0">
                  <a:pos x="28" y="86"/>
                </a:cxn>
                <a:cxn ang="0">
                  <a:pos x="28" y="86"/>
                </a:cxn>
                <a:cxn ang="0">
                  <a:pos x="32" y="82"/>
                </a:cxn>
                <a:cxn ang="0">
                  <a:pos x="38" y="78"/>
                </a:cxn>
                <a:cxn ang="0">
                  <a:pos x="50" y="74"/>
                </a:cxn>
                <a:cxn ang="0">
                  <a:pos x="50" y="74"/>
                </a:cxn>
                <a:cxn ang="0">
                  <a:pos x="44" y="68"/>
                </a:cxn>
                <a:cxn ang="0">
                  <a:pos x="40" y="64"/>
                </a:cxn>
                <a:cxn ang="0">
                  <a:pos x="38" y="64"/>
                </a:cxn>
                <a:cxn ang="0">
                  <a:pos x="38" y="54"/>
                </a:cxn>
                <a:cxn ang="0">
                  <a:pos x="38" y="54"/>
                </a:cxn>
                <a:cxn ang="0">
                  <a:pos x="44" y="50"/>
                </a:cxn>
                <a:cxn ang="0">
                  <a:pos x="50" y="48"/>
                </a:cxn>
                <a:cxn ang="0">
                  <a:pos x="50" y="48"/>
                </a:cxn>
                <a:cxn ang="0">
                  <a:pos x="60" y="40"/>
                </a:cxn>
                <a:cxn ang="0">
                  <a:pos x="66" y="32"/>
                </a:cxn>
                <a:cxn ang="0">
                  <a:pos x="70" y="22"/>
                </a:cxn>
                <a:cxn ang="0">
                  <a:pos x="76" y="14"/>
                </a:cxn>
                <a:cxn ang="0">
                  <a:pos x="76" y="14"/>
                </a:cxn>
                <a:cxn ang="0">
                  <a:pos x="76" y="6"/>
                </a:cxn>
                <a:cxn ang="0">
                  <a:pos x="74" y="6"/>
                </a:cxn>
                <a:cxn ang="0">
                  <a:pos x="70" y="0"/>
                </a:cxn>
                <a:cxn ang="0">
                  <a:pos x="70" y="0"/>
                </a:cxn>
                <a:cxn ang="0">
                  <a:pos x="62" y="6"/>
                </a:cxn>
                <a:cxn ang="0">
                  <a:pos x="56" y="16"/>
                </a:cxn>
                <a:cxn ang="0">
                  <a:pos x="48" y="16"/>
                </a:cxn>
                <a:cxn ang="0">
                  <a:pos x="42" y="26"/>
                </a:cxn>
                <a:cxn ang="0">
                  <a:pos x="38" y="26"/>
                </a:cxn>
                <a:cxn ang="0">
                  <a:pos x="30" y="24"/>
                </a:cxn>
                <a:cxn ang="0">
                  <a:pos x="30" y="24"/>
                </a:cxn>
                <a:cxn ang="0">
                  <a:pos x="14" y="36"/>
                </a:cxn>
                <a:cxn ang="0">
                  <a:pos x="6" y="44"/>
                </a:cxn>
                <a:cxn ang="0">
                  <a:pos x="0" y="50"/>
                </a:cxn>
                <a:cxn ang="0">
                  <a:pos x="0" y="50"/>
                </a:cxn>
              </a:cxnLst>
              <a:rect l="0" t="0" r="r" b="b"/>
              <a:pathLst>
                <a:path w="76" h="88">
                  <a:moveTo>
                    <a:pt x="0" y="50"/>
                  </a:moveTo>
                  <a:lnTo>
                    <a:pt x="4" y="56"/>
                  </a:lnTo>
                  <a:lnTo>
                    <a:pt x="8" y="56"/>
                  </a:lnTo>
                  <a:lnTo>
                    <a:pt x="14" y="58"/>
                  </a:lnTo>
                  <a:lnTo>
                    <a:pt x="12" y="70"/>
                  </a:lnTo>
                  <a:lnTo>
                    <a:pt x="12" y="72"/>
                  </a:lnTo>
                  <a:lnTo>
                    <a:pt x="14" y="72"/>
                  </a:lnTo>
                  <a:lnTo>
                    <a:pt x="8" y="74"/>
                  </a:lnTo>
                  <a:lnTo>
                    <a:pt x="6" y="82"/>
                  </a:lnTo>
                  <a:lnTo>
                    <a:pt x="12" y="82"/>
                  </a:lnTo>
                  <a:lnTo>
                    <a:pt x="10" y="84"/>
                  </a:lnTo>
                  <a:lnTo>
                    <a:pt x="12" y="88"/>
                  </a:lnTo>
                  <a:lnTo>
                    <a:pt x="16" y="86"/>
                  </a:lnTo>
                  <a:lnTo>
                    <a:pt x="16" y="82"/>
                  </a:lnTo>
                  <a:lnTo>
                    <a:pt x="22" y="86"/>
                  </a:lnTo>
                  <a:lnTo>
                    <a:pt x="26" y="84"/>
                  </a:lnTo>
                  <a:lnTo>
                    <a:pt x="28" y="86"/>
                  </a:lnTo>
                  <a:lnTo>
                    <a:pt x="28" y="86"/>
                  </a:lnTo>
                  <a:lnTo>
                    <a:pt x="32" y="82"/>
                  </a:lnTo>
                  <a:lnTo>
                    <a:pt x="38" y="78"/>
                  </a:lnTo>
                  <a:lnTo>
                    <a:pt x="50" y="74"/>
                  </a:lnTo>
                  <a:lnTo>
                    <a:pt x="50" y="74"/>
                  </a:lnTo>
                  <a:lnTo>
                    <a:pt x="44" y="68"/>
                  </a:lnTo>
                  <a:lnTo>
                    <a:pt x="40" y="64"/>
                  </a:lnTo>
                  <a:lnTo>
                    <a:pt x="38" y="64"/>
                  </a:lnTo>
                  <a:lnTo>
                    <a:pt x="38" y="54"/>
                  </a:lnTo>
                  <a:lnTo>
                    <a:pt x="38" y="54"/>
                  </a:lnTo>
                  <a:lnTo>
                    <a:pt x="44" y="50"/>
                  </a:lnTo>
                  <a:lnTo>
                    <a:pt x="50" y="48"/>
                  </a:lnTo>
                  <a:lnTo>
                    <a:pt x="50" y="48"/>
                  </a:lnTo>
                  <a:lnTo>
                    <a:pt x="60" y="40"/>
                  </a:lnTo>
                  <a:lnTo>
                    <a:pt x="66" y="32"/>
                  </a:lnTo>
                  <a:lnTo>
                    <a:pt x="70" y="22"/>
                  </a:lnTo>
                  <a:lnTo>
                    <a:pt x="76" y="14"/>
                  </a:lnTo>
                  <a:lnTo>
                    <a:pt x="76" y="14"/>
                  </a:lnTo>
                  <a:lnTo>
                    <a:pt x="76" y="6"/>
                  </a:lnTo>
                  <a:lnTo>
                    <a:pt x="74" y="6"/>
                  </a:lnTo>
                  <a:lnTo>
                    <a:pt x="70" y="0"/>
                  </a:lnTo>
                  <a:lnTo>
                    <a:pt x="70" y="0"/>
                  </a:lnTo>
                  <a:lnTo>
                    <a:pt x="62" y="6"/>
                  </a:lnTo>
                  <a:lnTo>
                    <a:pt x="56" y="16"/>
                  </a:lnTo>
                  <a:lnTo>
                    <a:pt x="48" y="16"/>
                  </a:lnTo>
                  <a:lnTo>
                    <a:pt x="42" y="26"/>
                  </a:lnTo>
                  <a:lnTo>
                    <a:pt x="38" y="26"/>
                  </a:lnTo>
                  <a:lnTo>
                    <a:pt x="30" y="24"/>
                  </a:lnTo>
                  <a:lnTo>
                    <a:pt x="30" y="24"/>
                  </a:lnTo>
                  <a:lnTo>
                    <a:pt x="14" y="36"/>
                  </a:lnTo>
                  <a:lnTo>
                    <a:pt x="6" y="44"/>
                  </a:lnTo>
                  <a:lnTo>
                    <a:pt x="0" y="50"/>
                  </a:lnTo>
                  <a:lnTo>
                    <a:pt x="0"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0" name="Freeform 1770">
              <a:extLst>
                <a:ext uri="{FF2B5EF4-FFF2-40B4-BE49-F238E27FC236}">
                  <a16:creationId xmlns:a16="http://schemas.microsoft.com/office/drawing/2014/main" id="{8F831177-1B5B-42E6-B4D2-4C9C4F3E6EC4}"/>
                </a:ext>
              </a:extLst>
            </p:cNvPr>
            <p:cNvSpPr>
              <a:spLocks/>
            </p:cNvSpPr>
            <p:nvPr/>
          </p:nvSpPr>
          <p:spPr bwMode="auto">
            <a:xfrm>
              <a:off x="7022947" y="4042195"/>
              <a:ext cx="78173" cy="122769"/>
            </a:xfrm>
            <a:custGeom>
              <a:avLst/>
              <a:gdLst/>
              <a:ahLst/>
              <a:cxnLst>
                <a:cxn ang="0">
                  <a:pos x="4" y="14"/>
                </a:cxn>
                <a:cxn ang="0">
                  <a:pos x="8" y="22"/>
                </a:cxn>
                <a:cxn ang="0">
                  <a:pos x="0" y="30"/>
                </a:cxn>
                <a:cxn ang="0">
                  <a:pos x="8" y="44"/>
                </a:cxn>
                <a:cxn ang="0">
                  <a:pos x="8" y="44"/>
                </a:cxn>
                <a:cxn ang="0">
                  <a:pos x="6" y="46"/>
                </a:cxn>
                <a:cxn ang="0">
                  <a:pos x="4" y="54"/>
                </a:cxn>
                <a:cxn ang="0">
                  <a:pos x="2" y="66"/>
                </a:cxn>
                <a:cxn ang="0">
                  <a:pos x="2" y="66"/>
                </a:cxn>
                <a:cxn ang="0">
                  <a:pos x="2" y="66"/>
                </a:cxn>
                <a:cxn ang="0">
                  <a:pos x="10" y="60"/>
                </a:cxn>
                <a:cxn ang="0">
                  <a:pos x="20" y="56"/>
                </a:cxn>
                <a:cxn ang="0">
                  <a:pos x="26" y="58"/>
                </a:cxn>
                <a:cxn ang="0">
                  <a:pos x="26" y="58"/>
                </a:cxn>
                <a:cxn ang="0">
                  <a:pos x="30" y="54"/>
                </a:cxn>
                <a:cxn ang="0">
                  <a:pos x="34" y="54"/>
                </a:cxn>
                <a:cxn ang="0">
                  <a:pos x="38" y="50"/>
                </a:cxn>
                <a:cxn ang="0">
                  <a:pos x="38" y="50"/>
                </a:cxn>
                <a:cxn ang="0">
                  <a:pos x="40" y="46"/>
                </a:cxn>
                <a:cxn ang="0">
                  <a:pos x="42" y="38"/>
                </a:cxn>
                <a:cxn ang="0">
                  <a:pos x="40" y="24"/>
                </a:cxn>
                <a:cxn ang="0">
                  <a:pos x="34" y="10"/>
                </a:cxn>
                <a:cxn ang="0">
                  <a:pos x="28" y="0"/>
                </a:cxn>
                <a:cxn ang="0">
                  <a:pos x="28" y="0"/>
                </a:cxn>
                <a:cxn ang="0">
                  <a:pos x="14" y="4"/>
                </a:cxn>
                <a:cxn ang="0">
                  <a:pos x="8" y="8"/>
                </a:cxn>
                <a:cxn ang="0">
                  <a:pos x="4" y="14"/>
                </a:cxn>
                <a:cxn ang="0">
                  <a:pos x="4" y="14"/>
                </a:cxn>
              </a:cxnLst>
              <a:rect l="0" t="0" r="r" b="b"/>
              <a:pathLst>
                <a:path w="42" h="66">
                  <a:moveTo>
                    <a:pt x="4" y="14"/>
                  </a:moveTo>
                  <a:lnTo>
                    <a:pt x="8" y="22"/>
                  </a:lnTo>
                  <a:lnTo>
                    <a:pt x="0" y="30"/>
                  </a:lnTo>
                  <a:lnTo>
                    <a:pt x="8" y="44"/>
                  </a:lnTo>
                  <a:lnTo>
                    <a:pt x="8" y="44"/>
                  </a:lnTo>
                  <a:lnTo>
                    <a:pt x="6" y="46"/>
                  </a:lnTo>
                  <a:lnTo>
                    <a:pt x="4" y="54"/>
                  </a:lnTo>
                  <a:lnTo>
                    <a:pt x="2" y="66"/>
                  </a:lnTo>
                  <a:lnTo>
                    <a:pt x="2" y="66"/>
                  </a:lnTo>
                  <a:lnTo>
                    <a:pt x="2" y="66"/>
                  </a:lnTo>
                  <a:lnTo>
                    <a:pt x="10" y="60"/>
                  </a:lnTo>
                  <a:lnTo>
                    <a:pt x="20" y="56"/>
                  </a:lnTo>
                  <a:lnTo>
                    <a:pt x="26" y="58"/>
                  </a:lnTo>
                  <a:lnTo>
                    <a:pt x="26" y="58"/>
                  </a:lnTo>
                  <a:lnTo>
                    <a:pt x="30" y="54"/>
                  </a:lnTo>
                  <a:lnTo>
                    <a:pt x="34" y="54"/>
                  </a:lnTo>
                  <a:lnTo>
                    <a:pt x="38" y="50"/>
                  </a:lnTo>
                  <a:lnTo>
                    <a:pt x="38" y="50"/>
                  </a:lnTo>
                  <a:lnTo>
                    <a:pt x="40" y="46"/>
                  </a:lnTo>
                  <a:lnTo>
                    <a:pt x="42" y="38"/>
                  </a:lnTo>
                  <a:lnTo>
                    <a:pt x="40" y="24"/>
                  </a:lnTo>
                  <a:lnTo>
                    <a:pt x="34" y="10"/>
                  </a:lnTo>
                  <a:lnTo>
                    <a:pt x="28" y="0"/>
                  </a:lnTo>
                  <a:lnTo>
                    <a:pt x="28" y="0"/>
                  </a:lnTo>
                  <a:lnTo>
                    <a:pt x="14" y="4"/>
                  </a:lnTo>
                  <a:lnTo>
                    <a:pt x="8" y="8"/>
                  </a:lnTo>
                  <a:lnTo>
                    <a:pt x="4" y="14"/>
                  </a:lnTo>
                  <a:lnTo>
                    <a:pt x="4" y="1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1" name="Freeform 1771">
              <a:extLst>
                <a:ext uri="{FF2B5EF4-FFF2-40B4-BE49-F238E27FC236}">
                  <a16:creationId xmlns:a16="http://schemas.microsoft.com/office/drawing/2014/main" id="{6456D0FC-C9BE-4E9E-845C-74E25FD869C6}"/>
                </a:ext>
              </a:extLst>
            </p:cNvPr>
            <p:cNvSpPr>
              <a:spLocks/>
            </p:cNvSpPr>
            <p:nvPr/>
          </p:nvSpPr>
          <p:spPr bwMode="auto">
            <a:xfrm>
              <a:off x="7454761" y="3852462"/>
              <a:ext cx="18613" cy="29762"/>
            </a:xfrm>
            <a:custGeom>
              <a:avLst/>
              <a:gdLst/>
              <a:ahLst/>
              <a:cxnLst>
                <a:cxn ang="0">
                  <a:pos x="8" y="0"/>
                </a:cxn>
                <a:cxn ang="0">
                  <a:pos x="10" y="4"/>
                </a:cxn>
                <a:cxn ang="0">
                  <a:pos x="4" y="16"/>
                </a:cxn>
                <a:cxn ang="0">
                  <a:pos x="0" y="12"/>
                </a:cxn>
                <a:cxn ang="0">
                  <a:pos x="8" y="0"/>
                </a:cxn>
              </a:cxnLst>
              <a:rect l="0" t="0" r="r" b="b"/>
              <a:pathLst>
                <a:path w="10" h="16">
                  <a:moveTo>
                    <a:pt x="8" y="0"/>
                  </a:moveTo>
                  <a:lnTo>
                    <a:pt x="10" y="4"/>
                  </a:lnTo>
                  <a:lnTo>
                    <a:pt x="4" y="16"/>
                  </a:lnTo>
                  <a:lnTo>
                    <a:pt x="0" y="12"/>
                  </a:lnTo>
                  <a:lnTo>
                    <a:pt x="8"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2" name="Freeform 1772">
              <a:extLst>
                <a:ext uri="{FF2B5EF4-FFF2-40B4-BE49-F238E27FC236}">
                  <a16:creationId xmlns:a16="http://schemas.microsoft.com/office/drawing/2014/main" id="{4225D39F-0714-4C91-92F9-471F45175E26}"/>
                </a:ext>
              </a:extLst>
            </p:cNvPr>
            <p:cNvSpPr>
              <a:spLocks/>
            </p:cNvSpPr>
            <p:nvPr/>
          </p:nvSpPr>
          <p:spPr bwMode="auto">
            <a:xfrm>
              <a:off x="7331918" y="3822700"/>
              <a:ext cx="119121" cy="130209"/>
            </a:xfrm>
            <a:custGeom>
              <a:avLst/>
              <a:gdLst/>
              <a:ahLst/>
              <a:cxnLst>
                <a:cxn ang="0">
                  <a:pos x="64" y="36"/>
                </a:cxn>
                <a:cxn ang="0">
                  <a:pos x="64" y="36"/>
                </a:cxn>
                <a:cxn ang="0">
                  <a:pos x="58" y="40"/>
                </a:cxn>
                <a:cxn ang="0">
                  <a:pos x="50" y="46"/>
                </a:cxn>
                <a:cxn ang="0">
                  <a:pos x="44" y="54"/>
                </a:cxn>
                <a:cxn ang="0">
                  <a:pos x="40" y="60"/>
                </a:cxn>
                <a:cxn ang="0">
                  <a:pos x="24" y="50"/>
                </a:cxn>
                <a:cxn ang="0">
                  <a:pos x="6" y="52"/>
                </a:cxn>
                <a:cxn ang="0">
                  <a:pos x="14" y="62"/>
                </a:cxn>
                <a:cxn ang="0">
                  <a:pos x="14" y="64"/>
                </a:cxn>
                <a:cxn ang="0">
                  <a:pos x="2" y="70"/>
                </a:cxn>
                <a:cxn ang="0">
                  <a:pos x="0" y="50"/>
                </a:cxn>
                <a:cxn ang="0">
                  <a:pos x="0" y="50"/>
                </a:cxn>
                <a:cxn ang="0">
                  <a:pos x="2" y="44"/>
                </a:cxn>
                <a:cxn ang="0">
                  <a:pos x="6" y="38"/>
                </a:cxn>
                <a:cxn ang="0">
                  <a:pos x="12" y="32"/>
                </a:cxn>
                <a:cxn ang="0">
                  <a:pos x="18" y="30"/>
                </a:cxn>
                <a:cxn ang="0">
                  <a:pos x="18" y="30"/>
                </a:cxn>
                <a:cxn ang="0">
                  <a:pos x="22" y="16"/>
                </a:cxn>
                <a:cxn ang="0">
                  <a:pos x="22" y="8"/>
                </a:cxn>
                <a:cxn ang="0">
                  <a:pos x="20" y="2"/>
                </a:cxn>
                <a:cxn ang="0">
                  <a:pos x="26" y="0"/>
                </a:cxn>
                <a:cxn ang="0">
                  <a:pos x="26" y="0"/>
                </a:cxn>
                <a:cxn ang="0">
                  <a:pos x="30" y="6"/>
                </a:cxn>
                <a:cxn ang="0">
                  <a:pos x="36" y="12"/>
                </a:cxn>
                <a:cxn ang="0">
                  <a:pos x="46" y="20"/>
                </a:cxn>
                <a:cxn ang="0">
                  <a:pos x="56" y="28"/>
                </a:cxn>
                <a:cxn ang="0">
                  <a:pos x="62" y="32"/>
                </a:cxn>
                <a:cxn ang="0">
                  <a:pos x="64" y="36"/>
                </a:cxn>
                <a:cxn ang="0">
                  <a:pos x="64" y="36"/>
                </a:cxn>
              </a:cxnLst>
              <a:rect l="0" t="0" r="r" b="b"/>
              <a:pathLst>
                <a:path w="64" h="70">
                  <a:moveTo>
                    <a:pt x="64" y="36"/>
                  </a:moveTo>
                  <a:lnTo>
                    <a:pt x="64" y="36"/>
                  </a:lnTo>
                  <a:lnTo>
                    <a:pt x="58" y="40"/>
                  </a:lnTo>
                  <a:lnTo>
                    <a:pt x="50" y="46"/>
                  </a:lnTo>
                  <a:lnTo>
                    <a:pt x="44" y="54"/>
                  </a:lnTo>
                  <a:lnTo>
                    <a:pt x="40" y="60"/>
                  </a:lnTo>
                  <a:lnTo>
                    <a:pt x="24" y="50"/>
                  </a:lnTo>
                  <a:lnTo>
                    <a:pt x="6" y="52"/>
                  </a:lnTo>
                  <a:lnTo>
                    <a:pt x="14" y="62"/>
                  </a:lnTo>
                  <a:lnTo>
                    <a:pt x="14" y="64"/>
                  </a:lnTo>
                  <a:lnTo>
                    <a:pt x="2" y="70"/>
                  </a:lnTo>
                  <a:lnTo>
                    <a:pt x="0" y="50"/>
                  </a:lnTo>
                  <a:lnTo>
                    <a:pt x="0" y="50"/>
                  </a:lnTo>
                  <a:lnTo>
                    <a:pt x="2" y="44"/>
                  </a:lnTo>
                  <a:lnTo>
                    <a:pt x="6" y="38"/>
                  </a:lnTo>
                  <a:lnTo>
                    <a:pt x="12" y="32"/>
                  </a:lnTo>
                  <a:lnTo>
                    <a:pt x="18" y="30"/>
                  </a:lnTo>
                  <a:lnTo>
                    <a:pt x="18" y="30"/>
                  </a:lnTo>
                  <a:lnTo>
                    <a:pt x="22" y="16"/>
                  </a:lnTo>
                  <a:lnTo>
                    <a:pt x="22" y="8"/>
                  </a:lnTo>
                  <a:lnTo>
                    <a:pt x="20" y="2"/>
                  </a:lnTo>
                  <a:lnTo>
                    <a:pt x="26" y="0"/>
                  </a:lnTo>
                  <a:lnTo>
                    <a:pt x="26" y="0"/>
                  </a:lnTo>
                  <a:lnTo>
                    <a:pt x="30" y="6"/>
                  </a:lnTo>
                  <a:lnTo>
                    <a:pt x="36" y="12"/>
                  </a:lnTo>
                  <a:lnTo>
                    <a:pt x="46" y="20"/>
                  </a:lnTo>
                  <a:lnTo>
                    <a:pt x="56" y="28"/>
                  </a:lnTo>
                  <a:lnTo>
                    <a:pt x="62" y="32"/>
                  </a:lnTo>
                  <a:lnTo>
                    <a:pt x="64" y="36"/>
                  </a:lnTo>
                  <a:lnTo>
                    <a:pt x="64" y="3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3" name="Freeform 1773">
              <a:extLst>
                <a:ext uri="{FF2B5EF4-FFF2-40B4-BE49-F238E27FC236}">
                  <a16:creationId xmlns:a16="http://schemas.microsoft.com/office/drawing/2014/main" id="{A260A33B-D633-417A-B1F3-8473973AD9D6}"/>
                </a:ext>
              </a:extLst>
            </p:cNvPr>
            <p:cNvSpPr>
              <a:spLocks/>
            </p:cNvSpPr>
            <p:nvPr/>
          </p:nvSpPr>
          <p:spPr bwMode="auto">
            <a:xfrm>
              <a:off x="7130901" y="3956629"/>
              <a:ext cx="241965" cy="230656"/>
            </a:xfrm>
            <a:custGeom>
              <a:avLst/>
              <a:gdLst/>
              <a:ahLst/>
              <a:cxnLst>
                <a:cxn ang="0">
                  <a:pos x="124" y="48"/>
                </a:cxn>
                <a:cxn ang="0">
                  <a:pos x="120" y="56"/>
                </a:cxn>
                <a:cxn ang="0">
                  <a:pos x="120" y="82"/>
                </a:cxn>
                <a:cxn ang="0">
                  <a:pos x="112" y="100"/>
                </a:cxn>
                <a:cxn ang="0">
                  <a:pos x="106" y="100"/>
                </a:cxn>
                <a:cxn ang="0">
                  <a:pos x="98" y="108"/>
                </a:cxn>
                <a:cxn ang="0">
                  <a:pos x="84" y="110"/>
                </a:cxn>
                <a:cxn ang="0">
                  <a:pos x="64" y="114"/>
                </a:cxn>
                <a:cxn ang="0">
                  <a:pos x="50" y="118"/>
                </a:cxn>
                <a:cxn ang="0">
                  <a:pos x="54" y="108"/>
                </a:cxn>
                <a:cxn ang="0">
                  <a:pos x="54" y="108"/>
                </a:cxn>
                <a:cxn ang="0">
                  <a:pos x="42" y="106"/>
                </a:cxn>
                <a:cxn ang="0">
                  <a:pos x="34" y="110"/>
                </a:cxn>
                <a:cxn ang="0">
                  <a:pos x="18" y="112"/>
                </a:cxn>
                <a:cxn ang="0">
                  <a:pos x="10" y="118"/>
                </a:cxn>
                <a:cxn ang="0">
                  <a:pos x="0" y="118"/>
                </a:cxn>
                <a:cxn ang="0">
                  <a:pos x="0" y="112"/>
                </a:cxn>
                <a:cxn ang="0">
                  <a:pos x="12" y="106"/>
                </a:cxn>
                <a:cxn ang="0">
                  <a:pos x="24" y="94"/>
                </a:cxn>
                <a:cxn ang="0">
                  <a:pos x="52" y="90"/>
                </a:cxn>
                <a:cxn ang="0">
                  <a:pos x="58" y="94"/>
                </a:cxn>
                <a:cxn ang="0">
                  <a:pos x="62" y="84"/>
                </a:cxn>
                <a:cxn ang="0">
                  <a:pos x="66" y="80"/>
                </a:cxn>
                <a:cxn ang="0">
                  <a:pos x="70" y="66"/>
                </a:cxn>
                <a:cxn ang="0">
                  <a:pos x="76" y="64"/>
                </a:cxn>
                <a:cxn ang="0">
                  <a:pos x="72" y="70"/>
                </a:cxn>
                <a:cxn ang="0">
                  <a:pos x="78" y="74"/>
                </a:cxn>
                <a:cxn ang="0">
                  <a:pos x="88" y="66"/>
                </a:cxn>
                <a:cxn ang="0">
                  <a:pos x="106" y="38"/>
                </a:cxn>
                <a:cxn ang="0">
                  <a:pos x="106" y="22"/>
                </a:cxn>
                <a:cxn ang="0">
                  <a:pos x="108" y="14"/>
                </a:cxn>
                <a:cxn ang="0">
                  <a:pos x="124" y="0"/>
                </a:cxn>
                <a:cxn ang="0">
                  <a:pos x="128" y="10"/>
                </a:cxn>
                <a:cxn ang="0">
                  <a:pos x="130" y="38"/>
                </a:cxn>
                <a:cxn ang="0">
                  <a:pos x="128" y="50"/>
                </a:cxn>
              </a:cxnLst>
              <a:rect l="0" t="0" r="r" b="b"/>
              <a:pathLst>
                <a:path w="130" h="124">
                  <a:moveTo>
                    <a:pt x="128" y="50"/>
                  </a:moveTo>
                  <a:lnTo>
                    <a:pt x="124" y="48"/>
                  </a:lnTo>
                  <a:lnTo>
                    <a:pt x="120" y="56"/>
                  </a:lnTo>
                  <a:lnTo>
                    <a:pt x="120" y="56"/>
                  </a:lnTo>
                  <a:lnTo>
                    <a:pt x="122" y="68"/>
                  </a:lnTo>
                  <a:lnTo>
                    <a:pt x="120" y="82"/>
                  </a:lnTo>
                  <a:lnTo>
                    <a:pt x="116" y="96"/>
                  </a:lnTo>
                  <a:lnTo>
                    <a:pt x="112" y="100"/>
                  </a:lnTo>
                  <a:lnTo>
                    <a:pt x="108" y="104"/>
                  </a:lnTo>
                  <a:lnTo>
                    <a:pt x="106" y="100"/>
                  </a:lnTo>
                  <a:lnTo>
                    <a:pt x="98" y="108"/>
                  </a:lnTo>
                  <a:lnTo>
                    <a:pt x="98" y="108"/>
                  </a:lnTo>
                  <a:lnTo>
                    <a:pt x="92" y="108"/>
                  </a:lnTo>
                  <a:lnTo>
                    <a:pt x="84" y="110"/>
                  </a:lnTo>
                  <a:lnTo>
                    <a:pt x="74" y="118"/>
                  </a:lnTo>
                  <a:lnTo>
                    <a:pt x="64" y="114"/>
                  </a:lnTo>
                  <a:lnTo>
                    <a:pt x="54" y="124"/>
                  </a:lnTo>
                  <a:lnTo>
                    <a:pt x="50" y="118"/>
                  </a:lnTo>
                  <a:lnTo>
                    <a:pt x="52" y="114"/>
                  </a:lnTo>
                  <a:lnTo>
                    <a:pt x="54" y="108"/>
                  </a:lnTo>
                  <a:lnTo>
                    <a:pt x="54" y="108"/>
                  </a:lnTo>
                  <a:lnTo>
                    <a:pt x="54" y="108"/>
                  </a:lnTo>
                  <a:lnTo>
                    <a:pt x="48" y="108"/>
                  </a:lnTo>
                  <a:lnTo>
                    <a:pt x="42" y="106"/>
                  </a:lnTo>
                  <a:lnTo>
                    <a:pt x="36" y="110"/>
                  </a:lnTo>
                  <a:lnTo>
                    <a:pt x="34" y="110"/>
                  </a:lnTo>
                  <a:lnTo>
                    <a:pt x="20" y="114"/>
                  </a:lnTo>
                  <a:lnTo>
                    <a:pt x="18" y="112"/>
                  </a:lnTo>
                  <a:lnTo>
                    <a:pt x="14" y="120"/>
                  </a:lnTo>
                  <a:lnTo>
                    <a:pt x="10" y="118"/>
                  </a:lnTo>
                  <a:lnTo>
                    <a:pt x="4" y="118"/>
                  </a:lnTo>
                  <a:lnTo>
                    <a:pt x="0" y="118"/>
                  </a:lnTo>
                  <a:lnTo>
                    <a:pt x="0" y="112"/>
                  </a:lnTo>
                  <a:lnTo>
                    <a:pt x="0" y="112"/>
                  </a:lnTo>
                  <a:lnTo>
                    <a:pt x="6" y="110"/>
                  </a:lnTo>
                  <a:lnTo>
                    <a:pt x="12" y="106"/>
                  </a:lnTo>
                  <a:lnTo>
                    <a:pt x="24" y="94"/>
                  </a:lnTo>
                  <a:lnTo>
                    <a:pt x="24" y="94"/>
                  </a:lnTo>
                  <a:lnTo>
                    <a:pt x="38" y="94"/>
                  </a:lnTo>
                  <a:lnTo>
                    <a:pt x="52" y="90"/>
                  </a:lnTo>
                  <a:lnTo>
                    <a:pt x="52" y="94"/>
                  </a:lnTo>
                  <a:lnTo>
                    <a:pt x="58" y="94"/>
                  </a:lnTo>
                  <a:lnTo>
                    <a:pt x="62" y="92"/>
                  </a:lnTo>
                  <a:lnTo>
                    <a:pt x="62" y="84"/>
                  </a:lnTo>
                  <a:lnTo>
                    <a:pt x="62" y="84"/>
                  </a:lnTo>
                  <a:lnTo>
                    <a:pt x="66" y="80"/>
                  </a:lnTo>
                  <a:lnTo>
                    <a:pt x="68" y="76"/>
                  </a:lnTo>
                  <a:lnTo>
                    <a:pt x="70" y="66"/>
                  </a:lnTo>
                  <a:lnTo>
                    <a:pt x="74" y="62"/>
                  </a:lnTo>
                  <a:lnTo>
                    <a:pt x="76" y="64"/>
                  </a:lnTo>
                  <a:lnTo>
                    <a:pt x="76" y="66"/>
                  </a:lnTo>
                  <a:lnTo>
                    <a:pt x="72" y="70"/>
                  </a:lnTo>
                  <a:lnTo>
                    <a:pt x="74" y="74"/>
                  </a:lnTo>
                  <a:lnTo>
                    <a:pt x="78" y="74"/>
                  </a:lnTo>
                  <a:lnTo>
                    <a:pt x="78" y="74"/>
                  </a:lnTo>
                  <a:lnTo>
                    <a:pt x="88" y="66"/>
                  </a:lnTo>
                  <a:lnTo>
                    <a:pt x="98" y="52"/>
                  </a:lnTo>
                  <a:lnTo>
                    <a:pt x="106" y="38"/>
                  </a:lnTo>
                  <a:lnTo>
                    <a:pt x="110" y="26"/>
                  </a:lnTo>
                  <a:lnTo>
                    <a:pt x="106" y="22"/>
                  </a:lnTo>
                  <a:lnTo>
                    <a:pt x="106" y="22"/>
                  </a:lnTo>
                  <a:lnTo>
                    <a:pt x="108" y="14"/>
                  </a:lnTo>
                  <a:lnTo>
                    <a:pt x="112" y="4"/>
                  </a:lnTo>
                  <a:lnTo>
                    <a:pt x="124" y="0"/>
                  </a:lnTo>
                  <a:lnTo>
                    <a:pt x="124" y="0"/>
                  </a:lnTo>
                  <a:lnTo>
                    <a:pt x="128" y="10"/>
                  </a:lnTo>
                  <a:lnTo>
                    <a:pt x="130" y="24"/>
                  </a:lnTo>
                  <a:lnTo>
                    <a:pt x="130" y="38"/>
                  </a:lnTo>
                  <a:lnTo>
                    <a:pt x="128" y="50"/>
                  </a:lnTo>
                  <a:lnTo>
                    <a:pt x="128" y="5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4" name="Freeform 1774">
              <a:extLst>
                <a:ext uri="{FF2B5EF4-FFF2-40B4-BE49-F238E27FC236}">
                  <a16:creationId xmlns:a16="http://schemas.microsoft.com/office/drawing/2014/main" id="{CBF2785D-D2A1-4133-B35D-6CE0E2EC7868}"/>
                </a:ext>
              </a:extLst>
            </p:cNvPr>
            <p:cNvSpPr>
              <a:spLocks/>
            </p:cNvSpPr>
            <p:nvPr/>
          </p:nvSpPr>
          <p:spPr bwMode="auto">
            <a:xfrm>
              <a:off x="7156959" y="4172404"/>
              <a:ext cx="59561" cy="48363"/>
            </a:xfrm>
            <a:custGeom>
              <a:avLst/>
              <a:gdLst/>
              <a:ahLst/>
              <a:cxnLst>
                <a:cxn ang="0">
                  <a:pos x="26" y="16"/>
                </a:cxn>
                <a:cxn ang="0">
                  <a:pos x="20" y="14"/>
                </a:cxn>
                <a:cxn ang="0">
                  <a:pos x="8" y="26"/>
                </a:cxn>
                <a:cxn ang="0">
                  <a:pos x="0" y="14"/>
                </a:cxn>
                <a:cxn ang="0">
                  <a:pos x="8" y="6"/>
                </a:cxn>
                <a:cxn ang="0">
                  <a:pos x="16" y="6"/>
                </a:cxn>
                <a:cxn ang="0">
                  <a:pos x="22" y="0"/>
                </a:cxn>
                <a:cxn ang="0">
                  <a:pos x="32" y="8"/>
                </a:cxn>
                <a:cxn ang="0">
                  <a:pos x="26" y="16"/>
                </a:cxn>
              </a:cxnLst>
              <a:rect l="0" t="0" r="r" b="b"/>
              <a:pathLst>
                <a:path w="32" h="26">
                  <a:moveTo>
                    <a:pt x="26" y="16"/>
                  </a:moveTo>
                  <a:lnTo>
                    <a:pt x="20" y="14"/>
                  </a:lnTo>
                  <a:lnTo>
                    <a:pt x="8" y="26"/>
                  </a:lnTo>
                  <a:lnTo>
                    <a:pt x="0" y="14"/>
                  </a:lnTo>
                  <a:lnTo>
                    <a:pt x="8" y="6"/>
                  </a:lnTo>
                  <a:lnTo>
                    <a:pt x="16" y="6"/>
                  </a:lnTo>
                  <a:lnTo>
                    <a:pt x="22" y="0"/>
                  </a:lnTo>
                  <a:lnTo>
                    <a:pt x="32" y="8"/>
                  </a:lnTo>
                  <a:lnTo>
                    <a:pt x="26" y="1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5" name="Freeform 1775">
              <a:extLst>
                <a:ext uri="{FF2B5EF4-FFF2-40B4-BE49-F238E27FC236}">
                  <a16:creationId xmlns:a16="http://schemas.microsoft.com/office/drawing/2014/main" id="{843762E5-AC69-4CF7-A721-762EDA4ADA97}"/>
                </a:ext>
              </a:extLst>
            </p:cNvPr>
            <p:cNvSpPr>
              <a:spLocks/>
            </p:cNvSpPr>
            <p:nvPr/>
          </p:nvSpPr>
          <p:spPr bwMode="auto">
            <a:xfrm>
              <a:off x="7101121" y="4179845"/>
              <a:ext cx="52115" cy="81846"/>
            </a:xfrm>
            <a:custGeom>
              <a:avLst/>
              <a:gdLst/>
              <a:ahLst/>
              <a:cxnLst>
                <a:cxn ang="0">
                  <a:pos x="12" y="0"/>
                </a:cxn>
                <a:cxn ang="0">
                  <a:pos x="10" y="6"/>
                </a:cxn>
                <a:cxn ang="0">
                  <a:pos x="4" y="6"/>
                </a:cxn>
                <a:cxn ang="0">
                  <a:pos x="0" y="10"/>
                </a:cxn>
                <a:cxn ang="0">
                  <a:pos x="4" y="14"/>
                </a:cxn>
                <a:cxn ang="0">
                  <a:pos x="4" y="16"/>
                </a:cxn>
                <a:cxn ang="0">
                  <a:pos x="2" y="14"/>
                </a:cxn>
                <a:cxn ang="0">
                  <a:pos x="2" y="20"/>
                </a:cxn>
                <a:cxn ang="0">
                  <a:pos x="6" y="18"/>
                </a:cxn>
                <a:cxn ang="0">
                  <a:pos x="8" y="20"/>
                </a:cxn>
                <a:cxn ang="0">
                  <a:pos x="10" y="18"/>
                </a:cxn>
                <a:cxn ang="0">
                  <a:pos x="6" y="16"/>
                </a:cxn>
                <a:cxn ang="0">
                  <a:pos x="6" y="12"/>
                </a:cxn>
                <a:cxn ang="0">
                  <a:pos x="8" y="12"/>
                </a:cxn>
                <a:cxn ang="0">
                  <a:pos x="8" y="12"/>
                </a:cxn>
                <a:cxn ang="0">
                  <a:pos x="10" y="16"/>
                </a:cxn>
                <a:cxn ang="0">
                  <a:pos x="12" y="22"/>
                </a:cxn>
                <a:cxn ang="0">
                  <a:pos x="8" y="30"/>
                </a:cxn>
                <a:cxn ang="0">
                  <a:pos x="8" y="38"/>
                </a:cxn>
                <a:cxn ang="0">
                  <a:pos x="12" y="42"/>
                </a:cxn>
                <a:cxn ang="0">
                  <a:pos x="12" y="34"/>
                </a:cxn>
                <a:cxn ang="0">
                  <a:pos x="14" y="34"/>
                </a:cxn>
                <a:cxn ang="0">
                  <a:pos x="14" y="38"/>
                </a:cxn>
                <a:cxn ang="0">
                  <a:pos x="14" y="44"/>
                </a:cxn>
                <a:cxn ang="0">
                  <a:pos x="18" y="42"/>
                </a:cxn>
                <a:cxn ang="0">
                  <a:pos x="20" y="38"/>
                </a:cxn>
                <a:cxn ang="0">
                  <a:pos x="20" y="38"/>
                </a:cxn>
                <a:cxn ang="0">
                  <a:pos x="20" y="38"/>
                </a:cxn>
                <a:cxn ang="0">
                  <a:pos x="24" y="26"/>
                </a:cxn>
                <a:cxn ang="0">
                  <a:pos x="28" y="16"/>
                </a:cxn>
                <a:cxn ang="0">
                  <a:pos x="28" y="10"/>
                </a:cxn>
                <a:cxn ang="0">
                  <a:pos x="24" y="10"/>
                </a:cxn>
                <a:cxn ang="0">
                  <a:pos x="24" y="4"/>
                </a:cxn>
                <a:cxn ang="0">
                  <a:pos x="18" y="4"/>
                </a:cxn>
                <a:cxn ang="0">
                  <a:pos x="16" y="0"/>
                </a:cxn>
                <a:cxn ang="0">
                  <a:pos x="16" y="0"/>
                </a:cxn>
                <a:cxn ang="0">
                  <a:pos x="12" y="0"/>
                </a:cxn>
                <a:cxn ang="0">
                  <a:pos x="12" y="0"/>
                </a:cxn>
              </a:cxnLst>
              <a:rect l="0" t="0" r="r" b="b"/>
              <a:pathLst>
                <a:path w="28" h="44">
                  <a:moveTo>
                    <a:pt x="12" y="0"/>
                  </a:moveTo>
                  <a:lnTo>
                    <a:pt x="10" y="6"/>
                  </a:lnTo>
                  <a:lnTo>
                    <a:pt x="4" y="6"/>
                  </a:lnTo>
                  <a:lnTo>
                    <a:pt x="0" y="10"/>
                  </a:lnTo>
                  <a:lnTo>
                    <a:pt x="4" y="14"/>
                  </a:lnTo>
                  <a:lnTo>
                    <a:pt x="4" y="16"/>
                  </a:lnTo>
                  <a:lnTo>
                    <a:pt x="2" y="14"/>
                  </a:lnTo>
                  <a:lnTo>
                    <a:pt x="2" y="20"/>
                  </a:lnTo>
                  <a:lnTo>
                    <a:pt x="6" y="18"/>
                  </a:lnTo>
                  <a:lnTo>
                    <a:pt x="8" y="20"/>
                  </a:lnTo>
                  <a:lnTo>
                    <a:pt x="10" y="18"/>
                  </a:lnTo>
                  <a:lnTo>
                    <a:pt x="6" y="16"/>
                  </a:lnTo>
                  <a:lnTo>
                    <a:pt x="6" y="12"/>
                  </a:lnTo>
                  <a:lnTo>
                    <a:pt x="8" y="12"/>
                  </a:lnTo>
                  <a:lnTo>
                    <a:pt x="8" y="12"/>
                  </a:lnTo>
                  <a:lnTo>
                    <a:pt x="10" y="16"/>
                  </a:lnTo>
                  <a:lnTo>
                    <a:pt x="12" y="22"/>
                  </a:lnTo>
                  <a:lnTo>
                    <a:pt x="8" y="30"/>
                  </a:lnTo>
                  <a:lnTo>
                    <a:pt x="8" y="38"/>
                  </a:lnTo>
                  <a:lnTo>
                    <a:pt x="12" y="42"/>
                  </a:lnTo>
                  <a:lnTo>
                    <a:pt x="12" y="34"/>
                  </a:lnTo>
                  <a:lnTo>
                    <a:pt x="14" y="34"/>
                  </a:lnTo>
                  <a:lnTo>
                    <a:pt x="14" y="38"/>
                  </a:lnTo>
                  <a:lnTo>
                    <a:pt x="14" y="44"/>
                  </a:lnTo>
                  <a:lnTo>
                    <a:pt x="18" y="42"/>
                  </a:lnTo>
                  <a:lnTo>
                    <a:pt x="20" y="38"/>
                  </a:lnTo>
                  <a:lnTo>
                    <a:pt x="20" y="38"/>
                  </a:lnTo>
                  <a:lnTo>
                    <a:pt x="20" y="38"/>
                  </a:lnTo>
                  <a:lnTo>
                    <a:pt x="24" y="26"/>
                  </a:lnTo>
                  <a:lnTo>
                    <a:pt x="28" y="16"/>
                  </a:lnTo>
                  <a:lnTo>
                    <a:pt x="28" y="10"/>
                  </a:lnTo>
                  <a:lnTo>
                    <a:pt x="24" y="10"/>
                  </a:lnTo>
                  <a:lnTo>
                    <a:pt x="24" y="4"/>
                  </a:lnTo>
                  <a:lnTo>
                    <a:pt x="18" y="4"/>
                  </a:lnTo>
                  <a:lnTo>
                    <a:pt x="16" y="0"/>
                  </a:lnTo>
                  <a:lnTo>
                    <a:pt x="16" y="0"/>
                  </a:lnTo>
                  <a:lnTo>
                    <a:pt x="12" y="0"/>
                  </a:lnTo>
                  <a:lnTo>
                    <a:pt x="1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6" name="Freeform 1776">
              <a:extLst>
                <a:ext uri="{FF2B5EF4-FFF2-40B4-BE49-F238E27FC236}">
                  <a16:creationId xmlns:a16="http://schemas.microsoft.com/office/drawing/2014/main" id="{703A92E2-3AF5-4727-80FC-E4EA79ACB338}"/>
                </a:ext>
              </a:extLst>
            </p:cNvPr>
            <p:cNvSpPr>
              <a:spLocks/>
            </p:cNvSpPr>
            <p:nvPr/>
          </p:nvSpPr>
          <p:spPr bwMode="auto">
            <a:xfrm>
              <a:off x="7026670" y="4191006"/>
              <a:ext cx="14890" cy="7441"/>
            </a:xfrm>
            <a:custGeom>
              <a:avLst/>
              <a:gdLst/>
              <a:ahLst/>
              <a:cxnLst>
                <a:cxn ang="0">
                  <a:pos x="0" y="2"/>
                </a:cxn>
                <a:cxn ang="0">
                  <a:pos x="0" y="4"/>
                </a:cxn>
                <a:cxn ang="0">
                  <a:pos x="0" y="4"/>
                </a:cxn>
                <a:cxn ang="0">
                  <a:pos x="4" y="4"/>
                </a:cxn>
                <a:cxn ang="0">
                  <a:pos x="8" y="2"/>
                </a:cxn>
                <a:cxn ang="0">
                  <a:pos x="6" y="0"/>
                </a:cxn>
                <a:cxn ang="0">
                  <a:pos x="0" y="2"/>
                </a:cxn>
              </a:cxnLst>
              <a:rect l="0" t="0" r="r" b="b"/>
              <a:pathLst>
                <a:path w="8" h="4">
                  <a:moveTo>
                    <a:pt x="0" y="2"/>
                  </a:moveTo>
                  <a:lnTo>
                    <a:pt x="0" y="4"/>
                  </a:lnTo>
                  <a:lnTo>
                    <a:pt x="0" y="4"/>
                  </a:lnTo>
                  <a:lnTo>
                    <a:pt x="4" y="4"/>
                  </a:lnTo>
                  <a:lnTo>
                    <a:pt x="8" y="2"/>
                  </a:lnTo>
                  <a:lnTo>
                    <a:pt x="6" y="0"/>
                  </a:lnTo>
                  <a:lnTo>
                    <a:pt x="0" y="2"/>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7" name="Freeform 1777">
              <a:extLst>
                <a:ext uri="{FF2B5EF4-FFF2-40B4-BE49-F238E27FC236}">
                  <a16:creationId xmlns:a16="http://schemas.microsoft.com/office/drawing/2014/main" id="{14D83B92-7FE0-4337-9C91-804212F0AF74}"/>
                </a:ext>
              </a:extLst>
            </p:cNvPr>
            <p:cNvSpPr>
              <a:spLocks/>
            </p:cNvSpPr>
            <p:nvPr/>
          </p:nvSpPr>
          <p:spPr bwMode="auto">
            <a:xfrm>
              <a:off x="7354253" y="5095028"/>
              <a:ext cx="223352" cy="193453"/>
            </a:xfrm>
            <a:custGeom>
              <a:avLst/>
              <a:gdLst/>
              <a:ahLst/>
              <a:cxnLst>
                <a:cxn ang="0">
                  <a:pos x="2" y="0"/>
                </a:cxn>
                <a:cxn ang="0">
                  <a:pos x="2" y="0"/>
                </a:cxn>
                <a:cxn ang="0">
                  <a:pos x="2" y="28"/>
                </a:cxn>
                <a:cxn ang="0">
                  <a:pos x="2" y="44"/>
                </a:cxn>
                <a:cxn ang="0">
                  <a:pos x="0" y="54"/>
                </a:cxn>
                <a:cxn ang="0">
                  <a:pos x="0" y="54"/>
                </a:cxn>
                <a:cxn ang="0">
                  <a:pos x="2" y="60"/>
                </a:cxn>
                <a:cxn ang="0">
                  <a:pos x="4" y="68"/>
                </a:cxn>
                <a:cxn ang="0">
                  <a:pos x="4" y="84"/>
                </a:cxn>
                <a:cxn ang="0">
                  <a:pos x="22" y="86"/>
                </a:cxn>
                <a:cxn ang="0">
                  <a:pos x="30" y="80"/>
                </a:cxn>
                <a:cxn ang="0">
                  <a:pos x="26" y="74"/>
                </a:cxn>
                <a:cxn ang="0">
                  <a:pos x="32" y="70"/>
                </a:cxn>
                <a:cxn ang="0">
                  <a:pos x="36" y="68"/>
                </a:cxn>
                <a:cxn ang="0">
                  <a:pos x="34" y="64"/>
                </a:cxn>
                <a:cxn ang="0">
                  <a:pos x="38" y="66"/>
                </a:cxn>
                <a:cxn ang="0">
                  <a:pos x="42" y="62"/>
                </a:cxn>
                <a:cxn ang="0">
                  <a:pos x="64" y="72"/>
                </a:cxn>
                <a:cxn ang="0">
                  <a:pos x="70" y="82"/>
                </a:cxn>
                <a:cxn ang="0">
                  <a:pos x="74" y="84"/>
                </a:cxn>
                <a:cxn ang="0">
                  <a:pos x="74" y="86"/>
                </a:cxn>
                <a:cxn ang="0">
                  <a:pos x="82" y="96"/>
                </a:cxn>
                <a:cxn ang="0">
                  <a:pos x="110" y="100"/>
                </a:cxn>
                <a:cxn ang="0">
                  <a:pos x="110" y="102"/>
                </a:cxn>
                <a:cxn ang="0">
                  <a:pos x="112" y="104"/>
                </a:cxn>
                <a:cxn ang="0">
                  <a:pos x="116" y="102"/>
                </a:cxn>
                <a:cxn ang="0">
                  <a:pos x="114" y="100"/>
                </a:cxn>
                <a:cxn ang="0">
                  <a:pos x="114" y="100"/>
                </a:cxn>
                <a:cxn ang="0">
                  <a:pos x="116" y="100"/>
                </a:cxn>
                <a:cxn ang="0">
                  <a:pos x="120" y="100"/>
                </a:cxn>
                <a:cxn ang="0">
                  <a:pos x="120" y="98"/>
                </a:cxn>
                <a:cxn ang="0">
                  <a:pos x="120" y="98"/>
                </a:cxn>
                <a:cxn ang="0">
                  <a:pos x="114" y="96"/>
                </a:cxn>
                <a:cxn ang="0">
                  <a:pos x="108" y="94"/>
                </a:cxn>
                <a:cxn ang="0">
                  <a:pos x="110" y="92"/>
                </a:cxn>
                <a:cxn ang="0">
                  <a:pos x="100" y="88"/>
                </a:cxn>
                <a:cxn ang="0">
                  <a:pos x="100" y="84"/>
                </a:cxn>
                <a:cxn ang="0">
                  <a:pos x="100" y="82"/>
                </a:cxn>
                <a:cxn ang="0">
                  <a:pos x="94" y="84"/>
                </a:cxn>
                <a:cxn ang="0">
                  <a:pos x="94" y="84"/>
                </a:cxn>
                <a:cxn ang="0">
                  <a:pos x="90" y="80"/>
                </a:cxn>
                <a:cxn ang="0">
                  <a:pos x="88" y="76"/>
                </a:cxn>
                <a:cxn ang="0">
                  <a:pos x="88" y="70"/>
                </a:cxn>
                <a:cxn ang="0">
                  <a:pos x="88" y="70"/>
                </a:cxn>
                <a:cxn ang="0">
                  <a:pos x="84" y="68"/>
                </a:cxn>
                <a:cxn ang="0">
                  <a:pos x="80" y="64"/>
                </a:cxn>
                <a:cxn ang="0">
                  <a:pos x="76" y="60"/>
                </a:cxn>
                <a:cxn ang="0">
                  <a:pos x="74" y="56"/>
                </a:cxn>
                <a:cxn ang="0">
                  <a:pos x="76" y="54"/>
                </a:cxn>
                <a:cxn ang="0">
                  <a:pos x="84" y="52"/>
                </a:cxn>
                <a:cxn ang="0">
                  <a:pos x="84" y="50"/>
                </a:cxn>
                <a:cxn ang="0">
                  <a:pos x="82" y="44"/>
                </a:cxn>
                <a:cxn ang="0">
                  <a:pos x="60" y="38"/>
                </a:cxn>
                <a:cxn ang="0">
                  <a:pos x="60" y="38"/>
                </a:cxn>
                <a:cxn ang="0">
                  <a:pos x="60" y="32"/>
                </a:cxn>
                <a:cxn ang="0">
                  <a:pos x="58" y="30"/>
                </a:cxn>
                <a:cxn ang="0">
                  <a:pos x="52" y="24"/>
                </a:cxn>
                <a:cxn ang="0">
                  <a:pos x="46" y="20"/>
                </a:cxn>
                <a:cxn ang="0">
                  <a:pos x="42" y="14"/>
                </a:cxn>
                <a:cxn ang="0">
                  <a:pos x="2" y="0"/>
                </a:cxn>
              </a:cxnLst>
              <a:rect l="0" t="0" r="r" b="b"/>
              <a:pathLst>
                <a:path w="120" h="104">
                  <a:moveTo>
                    <a:pt x="2" y="0"/>
                  </a:moveTo>
                  <a:lnTo>
                    <a:pt x="2" y="0"/>
                  </a:lnTo>
                  <a:lnTo>
                    <a:pt x="2" y="28"/>
                  </a:lnTo>
                  <a:lnTo>
                    <a:pt x="2" y="44"/>
                  </a:lnTo>
                  <a:lnTo>
                    <a:pt x="0" y="54"/>
                  </a:lnTo>
                  <a:lnTo>
                    <a:pt x="0" y="54"/>
                  </a:lnTo>
                  <a:lnTo>
                    <a:pt x="2" y="60"/>
                  </a:lnTo>
                  <a:lnTo>
                    <a:pt x="4" y="68"/>
                  </a:lnTo>
                  <a:lnTo>
                    <a:pt x="4" y="84"/>
                  </a:lnTo>
                  <a:lnTo>
                    <a:pt x="22" y="86"/>
                  </a:lnTo>
                  <a:lnTo>
                    <a:pt x="30" y="80"/>
                  </a:lnTo>
                  <a:lnTo>
                    <a:pt x="26" y="74"/>
                  </a:lnTo>
                  <a:lnTo>
                    <a:pt x="32" y="70"/>
                  </a:lnTo>
                  <a:lnTo>
                    <a:pt x="36" y="68"/>
                  </a:lnTo>
                  <a:lnTo>
                    <a:pt x="34" y="64"/>
                  </a:lnTo>
                  <a:lnTo>
                    <a:pt x="38" y="66"/>
                  </a:lnTo>
                  <a:lnTo>
                    <a:pt x="42" y="62"/>
                  </a:lnTo>
                  <a:lnTo>
                    <a:pt x="64" y="72"/>
                  </a:lnTo>
                  <a:lnTo>
                    <a:pt x="70" y="82"/>
                  </a:lnTo>
                  <a:lnTo>
                    <a:pt x="74" y="84"/>
                  </a:lnTo>
                  <a:lnTo>
                    <a:pt x="74" y="86"/>
                  </a:lnTo>
                  <a:lnTo>
                    <a:pt x="82" y="96"/>
                  </a:lnTo>
                  <a:lnTo>
                    <a:pt x="110" y="100"/>
                  </a:lnTo>
                  <a:lnTo>
                    <a:pt x="110" y="102"/>
                  </a:lnTo>
                  <a:lnTo>
                    <a:pt x="112" y="104"/>
                  </a:lnTo>
                  <a:lnTo>
                    <a:pt x="116" y="102"/>
                  </a:lnTo>
                  <a:lnTo>
                    <a:pt x="114" y="100"/>
                  </a:lnTo>
                  <a:lnTo>
                    <a:pt x="114" y="100"/>
                  </a:lnTo>
                  <a:lnTo>
                    <a:pt x="116" y="100"/>
                  </a:lnTo>
                  <a:lnTo>
                    <a:pt x="120" y="100"/>
                  </a:lnTo>
                  <a:lnTo>
                    <a:pt x="120" y="98"/>
                  </a:lnTo>
                  <a:lnTo>
                    <a:pt x="120" y="98"/>
                  </a:lnTo>
                  <a:lnTo>
                    <a:pt x="114" y="96"/>
                  </a:lnTo>
                  <a:lnTo>
                    <a:pt x="108" y="94"/>
                  </a:lnTo>
                  <a:lnTo>
                    <a:pt x="110" y="92"/>
                  </a:lnTo>
                  <a:lnTo>
                    <a:pt x="100" y="88"/>
                  </a:lnTo>
                  <a:lnTo>
                    <a:pt x="100" y="84"/>
                  </a:lnTo>
                  <a:lnTo>
                    <a:pt x="100" y="82"/>
                  </a:lnTo>
                  <a:lnTo>
                    <a:pt x="94" y="84"/>
                  </a:lnTo>
                  <a:lnTo>
                    <a:pt x="94" y="84"/>
                  </a:lnTo>
                  <a:lnTo>
                    <a:pt x="90" y="80"/>
                  </a:lnTo>
                  <a:lnTo>
                    <a:pt x="88" y="76"/>
                  </a:lnTo>
                  <a:lnTo>
                    <a:pt x="88" y="70"/>
                  </a:lnTo>
                  <a:lnTo>
                    <a:pt x="88" y="70"/>
                  </a:lnTo>
                  <a:lnTo>
                    <a:pt x="84" y="68"/>
                  </a:lnTo>
                  <a:lnTo>
                    <a:pt x="80" y="64"/>
                  </a:lnTo>
                  <a:lnTo>
                    <a:pt x="76" y="60"/>
                  </a:lnTo>
                  <a:lnTo>
                    <a:pt x="74" y="56"/>
                  </a:lnTo>
                  <a:lnTo>
                    <a:pt x="76" y="54"/>
                  </a:lnTo>
                  <a:lnTo>
                    <a:pt x="84" y="52"/>
                  </a:lnTo>
                  <a:lnTo>
                    <a:pt x="84" y="50"/>
                  </a:lnTo>
                  <a:lnTo>
                    <a:pt x="82" y="44"/>
                  </a:lnTo>
                  <a:lnTo>
                    <a:pt x="60" y="38"/>
                  </a:lnTo>
                  <a:lnTo>
                    <a:pt x="60" y="38"/>
                  </a:lnTo>
                  <a:lnTo>
                    <a:pt x="60" y="32"/>
                  </a:lnTo>
                  <a:lnTo>
                    <a:pt x="58" y="30"/>
                  </a:lnTo>
                  <a:lnTo>
                    <a:pt x="52" y="24"/>
                  </a:lnTo>
                  <a:lnTo>
                    <a:pt x="46" y="20"/>
                  </a:lnTo>
                  <a:lnTo>
                    <a:pt x="42" y="14"/>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8" name="Freeform 1778">
              <a:extLst>
                <a:ext uri="{FF2B5EF4-FFF2-40B4-BE49-F238E27FC236}">
                  <a16:creationId xmlns:a16="http://schemas.microsoft.com/office/drawing/2014/main" id="{920184B2-EB1E-4DA6-893B-49BAAB48DE57}"/>
                </a:ext>
              </a:extLst>
            </p:cNvPr>
            <p:cNvSpPr>
              <a:spLocks/>
            </p:cNvSpPr>
            <p:nvPr/>
          </p:nvSpPr>
          <p:spPr bwMode="auto">
            <a:xfrm>
              <a:off x="7622275" y="5641906"/>
              <a:ext cx="3723" cy="22322"/>
            </a:xfrm>
            <a:custGeom>
              <a:avLst/>
              <a:gdLst/>
              <a:ahLst/>
              <a:cxnLst>
                <a:cxn ang="0">
                  <a:pos x="0" y="0"/>
                </a:cxn>
                <a:cxn ang="0">
                  <a:pos x="2" y="2"/>
                </a:cxn>
                <a:cxn ang="0">
                  <a:pos x="2" y="2"/>
                </a:cxn>
                <a:cxn ang="0">
                  <a:pos x="2" y="8"/>
                </a:cxn>
                <a:cxn ang="0">
                  <a:pos x="0" y="12"/>
                </a:cxn>
                <a:cxn ang="0">
                  <a:pos x="0" y="6"/>
                </a:cxn>
                <a:cxn ang="0">
                  <a:pos x="2" y="2"/>
                </a:cxn>
                <a:cxn ang="0">
                  <a:pos x="0" y="0"/>
                </a:cxn>
              </a:cxnLst>
              <a:rect l="0" t="0" r="r" b="b"/>
              <a:pathLst>
                <a:path w="2" h="12">
                  <a:moveTo>
                    <a:pt x="0" y="0"/>
                  </a:moveTo>
                  <a:lnTo>
                    <a:pt x="2" y="2"/>
                  </a:lnTo>
                  <a:lnTo>
                    <a:pt x="2" y="2"/>
                  </a:lnTo>
                  <a:lnTo>
                    <a:pt x="2" y="8"/>
                  </a:lnTo>
                  <a:lnTo>
                    <a:pt x="0" y="12"/>
                  </a:lnTo>
                  <a:lnTo>
                    <a:pt x="0" y="6"/>
                  </a:lnTo>
                  <a:lnTo>
                    <a:pt x="2" y="2"/>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09" name="Freeform 1779">
              <a:extLst>
                <a:ext uri="{FF2B5EF4-FFF2-40B4-BE49-F238E27FC236}">
                  <a16:creationId xmlns:a16="http://schemas.microsoft.com/office/drawing/2014/main" id="{85A9885A-9E35-4C65-91FC-19DDABE8A540}"/>
                </a:ext>
              </a:extLst>
            </p:cNvPr>
            <p:cNvSpPr>
              <a:spLocks/>
            </p:cNvSpPr>
            <p:nvPr/>
          </p:nvSpPr>
          <p:spPr bwMode="auto">
            <a:xfrm>
              <a:off x="7633443" y="5708871"/>
              <a:ext cx="1861" cy="7441"/>
            </a:xfrm>
            <a:custGeom>
              <a:avLst/>
              <a:gdLst/>
              <a:ahLst/>
              <a:cxnLst>
                <a:cxn ang="0">
                  <a:pos x="0" y="0"/>
                </a:cxn>
                <a:cxn ang="0">
                  <a:pos x="0" y="0"/>
                </a:cxn>
                <a:cxn ang="0">
                  <a:pos x="0" y="4"/>
                </a:cxn>
                <a:cxn ang="0">
                  <a:pos x="0" y="0"/>
                </a:cxn>
              </a:cxnLst>
              <a:rect l="0" t="0" r="r" b="b"/>
              <a:pathLst>
                <a:path h="4">
                  <a:moveTo>
                    <a:pt x="0" y="0"/>
                  </a:moveTo>
                  <a:lnTo>
                    <a:pt x="0" y="0"/>
                  </a:lnTo>
                  <a:lnTo>
                    <a:pt x="0" y="4"/>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0" name="Freeform 1780">
              <a:extLst>
                <a:ext uri="{FF2B5EF4-FFF2-40B4-BE49-F238E27FC236}">
                  <a16:creationId xmlns:a16="http://schemas.microsoft.com/office/drawing/2014/main" id="{E912E522-8CF8-4CE4-A7C2-DCA06E7CC26B}"/>
                </a:ext>
              </a:extLst>
            </p:cNvPr>
            <p:cNvSpPr>
              <a:spLocks/>
            </p:cNvSpPr>
            <p:nvPr/>
          </p:nvSpPr>
          <p:spPr bwMode="auto">
            <a:xfrm>
              <a:off x="7439871" y="6092057"/>
              <a:ext cx="81896" cy="93006"/>
            </a:xfrm>
            <a:custGeom>
              <a:avLst/>
              <a:gdLst/>
              <a:ahLst/>
              <a:cxnLst>
                <a:cxn ang="0">
                  <a:pos x="0" y="0"/>
                </a:cxn>
                <a:cxn ang="0">
                  <a:pos x="0" y="0"/>
                </a:cxn>
                <a:cxn ang="0">
                  <a:pos x="20" y="8"/>
                </a:cxn>
                <a:cxn ang="0">
                  <a:pos x="32" y="6"/>
                </a:cxn>
                <a:cxn ang="0">
                  <a:pos x="34" y="2"/>
                </a:cxn>
                <a:cxn ang="0">
                  <a:pos x="36" y="4"/>
                </a:cxn>
                <a:cxn ang="0">
                  <a:pos x="38" y="2"/>
                </a:cxn>
                <a:cxn ang="0">
                  <a:pos x="42" y="4"/>
                </a:cxn>
                <a:cxn ang="0">
                  <a:pos x="44" y="26"/>
                </a:cxn>
                <a:cxn ang="0">
                  <a:pos x="40" y="24"/>
                </a:cxn>
                <a:cxn ang="0">
                  <a:pos x="40" y="24"/>
                </a:cxn>
                <a:cxn ang="0">
                  <a:pos x="38" y="30"/>
                </a:cxn>
                <a:cxn ang="0">
                  <a:pos x="38" y="36"/>
                </a:cxn>
                <a:cxn ang="0">
                  <a:pos x="34" y="36"/>
                </a:cxn>
                <a:cxn ang="0">
                  <a:pos x="30" y="44"/>
                </a:cxn>
                <a:cxn ang="0">
                  <a:pos x="28" y="42"/>
                </a:cxn>
                <a:cxn ang="0">
                  <a:pos x="28" y="42"/>
                </a:cxn>
                <a:cxn ang="0">
                  <a:pos x="26" y="46"/>
                </a:cxn>
                <a:cxn ang="0">
                  <a:pos x="24" y="50"/>
                </a:cxn>
                <a:cxn ang="0">
                  <a:pos x="16" y="48"/>
                </a:cxn>
                <a:cxn ang="0">
                  <a:pos x="14" y="48"/>
                </a:cxn>
                <a:cxn ang="0">
                  <a:pos x="16" y="46"/>
                </a:cxn>
                <a:cxn ang="0">
                  <a:pos x="12" y="44"/>
                </a:cxn>
                <a:cxn ang="0">
                  <a:pos x="12" y="44"/>
                </a:cxn>
                <a:cxn ang="0">
                  <a:pos x="8" y="36"/>
                </a:cxn>
                <a:cxn ang="0">
                  <a:pos x="4" y="28"/>
                </a:cxn>
                <a:cxn ang="0">
                  <a:pos x="8" y="30"/>
                </a:cxn>
                <a:cxn ang="0">
                  <a:pos x="8" y="28"/>
                </a:cxn>
                <a:cxn ang="0">
                  <a:pos x="8" y="28"/>
                </a:cxn>
                <a:cxn ang="0">
                  <a:pos x="4" y="22"/>
                </a:cxn>
                <a:cxn ang="0">
                  <a:pos x="2" y="14"/>
                </a:cxn>
                <a:cxn ang="0">
                  <a:pos x="0" y="6"/>
                </a:cxn>
                <a:cxn ang="0">
                  <a:pos x="0" y="0"/>
                </a:cxn>
                <a:cxn ang="0">
                  <a:pos x="0" y="0"/>
                </a:cxn>
              </a:cxnLst>
              <a:rect l="0" t="0" r="r" b="b"/>
              <a:pathLst>
                <a:path w="44" h="50">
                  <a:moveTo>
                    <a:pt x="0" y="0"/>
                  </a:moveTo>
                  <a:lnTo>
                    <a:pt x="0" y="0"/>
                  </a:lnTo>
                  <a:lnTo>
                    <a:pt x="20" y="8"/>
                  </a:lnTo>
                  <a:lnTo>
                    <a:pt x="32" y="6"/>
                  </a:lnTo>
                  <a:lnTo>
                    <a:pt x="34" y="2"/>
                  </a:lnTo>
                  <a:lnTo>
                    <a:pt x="36" y="4"/>
                  </a:lnTo>
                  <a:lnTo>
                    <a:pt x="38" y="2"/>
                  </a:lnTo>
                  <a:lnTo>
                    <a:pt x="42" y="4"/>
                  </a:lnTo>
                  <a:lnTo>
                    <a:pt x="44" y="26"/>
                  </a:lnTo>
                  <a:lnTo>
                    <a:pt x="40" y="24"/>
                  </a:lnTo>
                  <a:lnTo>
                    <a:pt x="40" y="24"/>
                  </a:lnTo>
                  <a:lnTo>
                    <a:pt x="38" y="30"/>
                  </a:lnTo>
                  <a:lnTo>
                    <a:pt x="38" y="36"/>
                  </a:lnTo>
                  <a:lnTo>
                    <a:pt x="34" y="36"/>
                  </a:lnTo>
                  <a:lnTo>
                    <a:pt x="30" y="44"/>
                  </a:lnTo>
                  <a:lnTo>
                    <a:pt x="28" y="42"/>
                  </a:lnTo>
                  <a:lnTo>
                    <a:pt x="28" y="42"/>
                  </a:lnTo>
                  <a:lnTo>
                    <a:pt x="26" y="46"/>
                  </a:lnTo>
                  <a:lnTo>
                    <a:pt x="24" y="50"/>
                  </a:lnTo>
                  <a:lnTo>
                    <a:pt x="16" y="48"/>
                  </a:lnTo>
                  <a:lnTo>
                    <a:pt x="14" y="48"/>
                  </a:lnTo>
                  <a:lnTo>
                    <a:pt x="16" y="46"/>
                  </a:lnTo>
                  <a:lnTo>
                    <a:pt x="12" y="44"/>
                  </a:lnTo>
                  <a:lnTo>
                    <a:pt x="12" y="44"/>
                  </a:lnTo>
                  <a:lnTo>
                    <a:pt x="8" y="36"/>
                  </a:lnTo>
                  <a:lnTo>
                    <a:pt x="4" y="28"/>
                  </a:lnTo>
                  <a:lnTo>
                    <a:pt x="8" y="30"/>
                  </a:lnTo>
                  <a:lnTo>
                    <a:pt x="8" y="28"/>
                  </a:lnTo>
                  <a:lnTo>
                    <a:pt x="8" y="28"/>
                  </a:lnTo>
                  <a:lnTo>
                    <a:pt x="4" y="22"/>
                  </a:lnTo>
                  <a:lnTo>
                    <a:pt x="2" y="14"/>
                  </a:lnTo>
                  <a:lnTo>
                    <a:pt x="0" y="6"/>
                  </a:lnTo>
                  <a:lnTo>
                    <a:pt x="0" y="0"/>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1" name="Freeform 1781">
              <a:extLst>
                <a:ext uri="{FF2B5EF4-FFF2-40B4-BE49-F238E27FC236}">
                  <a16:creationId xmlns:a16="http://schemas.microsoft.com/office/drawing/2014/main" id="{CEC58041-99B0-45BA-B86E-C7CF71204E04}"/>
                </a:ext>
              </a:extLst>
            </p:cNvPr>
            <p:cNvSpPr>
              <a:spLocks/>
            </p:cNvSpPr>
            <p:nvPr/>
          </p:nvSpPr>
          <p:spPr bwMode="auto">
            <a:xfrm>
              <a:off x="7864240" y="5522858"/>
              <a:ext cx="67006" cy="59524"/>
            </a:xfrm>
            <a:custGeom>
              <a:avLst/>
              <a:gdLst/>
              <a:ahLst/>
              <a:cxnLst>
                <a:cxn ang="0">
                  <a:pos x="14" y="16"/>
                </a:cxn>
                <a:cxn ang="0">
                  <a:pos x="14" y="16"/>
                </a:cxn>
                <a:cxn ang="0">
                  <a:pos x="10" y="14"/>
                </a:cxn>
                <a:cxn ang="0">
                  <a:pos x="6" y="10"/>
                </a:cxn>
                <a:cxn ang="0">
                  <a:pos x="2" y="4"/>
                </a:cxn>
                <a:cxn ang="0">
                  <a:pos x="0" y="0"/>
                </a:cxn>
                <a:cxn ang="0">
                  <a:pos x="0" y="0"/>
                </a:cxn>
                <a:cxn ang="0">
                  <a:pos x="6" y="2"/>
                </a:cxn>
                <a:cxn ang="0">
                  <a:pos x="10" y="4"/>
                </a:cxn>
                <a:cxn ang="0">
                  <a:pos x="10" y="6"/>
                </a:cxn>
                <a:cxn ang="0">
                  <a:pos x="14" y="8"/>
                </a:cxn>
                <a:cxn ang="0">
                  <a:pos x="14" y="8"/>
                </a:cxn>
                <a:cxn ang="0">
                  <a:pos x="20" y="16"/>
                </a:cxn>
                <a:cxn ang="0">
                  <a:pos x="24" y="20"/>
                </a:cxn>
                <a:cxn ang="0">
                  <a:pos x="28" y="20"/>
                </a:cxn>
                <a:cxn ang="0">
                  <a:pos x="28" y="20"/>
                </a:cxn>
                <a:cxn ang="0">
                  <a:pos x="30" y="24"/>
                </a:cxn>
                <a:cxn ang="0">
                  <a:pos x="36" y="26"/>
                </a:cxn>
                <a:cxn ang="0">
                  <a:pos x="36" y="28"/>
                </a:cxn>
                <a:cxn ang="0">
                  <a:pos x="34" y="32"/>
                </a:cxn>
                <a:cxn ang="0">
                  <a:pos x="30" y="28"/>
                </a:cxn>
                <a:cxn ang="0">
                  <a:pos x="26" y="28"/>
                </a:cxn>
                <a:cxn ang="0">
                  <a:pos x="26" y="24"/>
                </a:cxn>
                <a:cxn ang="0">
                  <a:pos x="16" y="20"/>
                </a:cxn>
                <a:cxn ang="0">
                  <a:pos x="14" y="16"/>
                </a:cxn>
              </a:cxnLst>
              <a:rect l="0" t="0" r="r" b="b"/>
              <a:pathLst>
                <a:path w="36" h="32">
                  <a:moveTo>
                    <a:pt x="14" y="16"/>
                  </a:moveTo>
                  <a:lnTo>
                    <a:pt x="14" y="16"/>
                  </a:lnTo>
                  <a:lnTo>
                    <a:pt x="10" y="14"/>
                  </a:lnTo>
                  <a:lnTo>
                    <a:pt x="6" y="10"/>
                  </a:lnTo>
                  <a:lnTo>
                    <a:pt x="2" y="4"/>
                  </a:lnTo>
                  <a:lnTo>
                    <a:pt x="0" y="0"/>
                  </a:lnTo>
                  <a:lnTo>
                    <a:pt x="0" y="0"/>
                  </a:lnTo>
                  <a:lnTo>
                    <a:pt x="6" y="2"/>
                  </a:lnTo>
                  <a:lnTo>
                    <a:pt x="10" y="4"/>
                  </a:lnTo>
                  <a:lnTo>
                    <a:pt x="10" y="6"/>
                  </a:lnTo>
                  <a:lnTo>
                    <a:pt x="14" y="8"/>
                  </a:lnTo>
                  <a:lnTo>
                    <a:pt x="14" y="8"/>
                  </a:lnTo>
                  <a:lnTo>
                    <a:pt x="20" y="16"/>
                  </a:lnTo>
                  <a:lnTo>
                    <a:pt x="24" y="20"/>
                  </a:lnTo>
                  <a:lnTo>
                    <a:pt x="28" y="20"/>
                  </a:lnTo>
                  <a:lnTo>
                    <a:pt x="28" y="20"/>
                  </a:lnTo>
                  <a:lnTo>
                    <a:pt x="30" y="24"/>
                  </a:lnTo>
                  <a:lnTo>
                    <a:pt x="36" y="26"/>
                  </a:lnTo>
                  <a:lnTo>
                    <a:pt x="36" y="28"/>
                  </a:lnTo>
                  <a:lnTo>
                    <a:pt x="34" y="32"/>
                  </a:lnTo>
                  <a:lnTo>
                    <a:pt x="30" y="28"/>
                  </a:lnTo>
                  <a:lnTo>
                    <a:pt x="26" y="28"/>
                  </a:lnTo>
                  <a:lnTo>
                    <a:pt x="26" y="24"/>
                  </a:lnTo>
                  <a:lnTo>
                    <a:pt x="16" y="20"/>
                  </a:lnTo>
                  <a:lnTo>
                    <a:pt x="14" y="1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2" name="Freeform 1782">
              <a:extLst>
                <a:ext uri="{FF2B5EF4-FFF2-40B4-BE49-F238E27FC236}">
                  <a16:creationId xmlns:a16="http://schemas.microsoft.com/office/drawing/2014/main" id="{508D9666-A502-4F07-894A-02BAB327E52D}"/>
                </a:ext>
              </a:extLst>
            </p:cNvPr>
            <p:cNvSpPr>
              <a:spLocks/>
            </p:cNvSpPr>
            <p:nvPr/>
          </p:nvSpPr>
          <p:spPr bwMode="auto">
            <a:xfrm>
              <a:off x="7946136" y="6292951"/>
              <a:ext cx="11168" cy="18601"/>
            </a:xfrm>
            <a:custGeom>
              <a:avLst/>
              <a:gdLst/>
              <a:ahLst/>
              <a:cxnLst>
                <a:cxn ang="0">
                  <a:pos x="4" y="0"/>
                </a:cxn>
                <a:cxn ang="0">
                  <a:pos x="6" y="2"/>
                </a:cxn>
                <a:cxn ang="0">
                  <a:pos x="4" y="4"/>
                </a:cxn>
                <a:cxn ang="0">
                  <a:pos x="6" y="6"/>
                </a:cxn>
                <a:cxn ang="0">
                  <a:pos x="0" y="10"/>
                </a:cxn>
                <a:cxn ang="0">
                  <a:pos x="2" y="0"/>
                </a:cxn>
                <a:cxn ang="0">
                  <a:pos x="4" y="0"/>
                </a:cxn>
              </a:cxnLst>
              <a:rect l="0" t="0" r="r" b="b"/>
              <a:pathLst>
                <a:path w="6" h="10">
                  <a:moveTo>
                    <a:pt x="4" y="0"/>
                  </a:moveTo>
                  <a:lnTo>
                    <a:pt x="6" y="2"/>
                  </a:lnTo>
                  <a:lnTo>
                    <a:pt x="4" y="4"/>
                  </a:lnTo>
                  <a:lnTo>
                    <a:pt x="6" y="6"/>
                  </a:lnTo>
                  <a:lnTo>
                    <a:pt x="0" y="10"/>
                  </a:lnTo>
                  <a:lnTo>
                    <a:pt x="2" y="0"/>
                  </a:lnTo>
                  <a:lnTo>
                    <a:pt x="4"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3" name="Freeform 1783">
              <a:extLst>
                <a:ext uri="{FF2B5EF4-FFF2-40B4-BE49-F238E27FC236}">
                  <a16:creationId xmlns:a16="http://schemas.microsoft.com/office/drawing/2014/main" id="{D4C12576-97CC-463F-AC52-4D822AC5F9BA}"/>
                </a:ext>
              </a:extLst>
            </p:cNvPr>
            <p:cNvSpPr>
              <a:spLocks/>
            </p:cNvSpPr>
            <p:nvPr/>
          </p:nvSpPr>
          <p:spPr bwMode="auto">
            <a:xfrm>
              <a:off x="7920078" y="6088337"/>
              <a:ext cx="174959" cy="200894"/>
            </a:xfrm>
            <a:custGeom>
              <a:avLst/>
              <a:gdLst/>
              <a:ahLst/>
              <a:cxnLst>
                <a:cxn ang="0">
                  <a:pos x="68" y="6"/>
                </a:cxn>
                <a:cxn ang="0">
                  <a:pos x="74" y="0"/>
                </a:cxn>
                <a:cxn ang="0">
                  <a:pos x="74" y="4"/>
                </a:cxn>
                <a:cxn ang="0">
                  <a:pos x="78" y="6"/>
                </a:cxn>
                <a:cxn ang="0">
                  <a:pos x="80" y="10"/>
                </a:cxn>
                <a:cxn ang="0">
                  <a:pos x="82" y="14"/>
                </a:cxn>
                <a:cxn ang="0">
                  <a:pos x="86" y="8"/>
                </a:cxn>
                <a:cxn ang="0">
                  <a:pos x="88" y="8"/>
                </a:cxn>
                <a:cxn ang="0">
                  <a:pos x="88" y="12"/>
                </a:cxn>
                <a:cxn ang="0">
                  <a:pos x="90" y="12"/>
                </a:cxn>
                <a:cxn ang="0">
                  <a:pos x="92" y="14"/>
                </a:cxn>
                <a:cxn ang="0">
                  <a:pos x="92" y="16"/>
                </a:cxn>
                <a:cxn ang="0">
                  <a:pos x="94" y="22"/>
                </a:cxn>
                <a:cxn ang="0">
                  <a:pos x="94" y="22"/>
                </a:cxn>
                <a:cxn ang="0">
                  <a:pos x="86" y="34"/>
                </a:cxn>
                <a:cxn ang="0">
                  <a:pos x="82" y="40"/>
                </a:cxn>
                <a:cxn ang="0">
                  <a:pos x="76" y="46"/>
                </a:cxn>
                <a:cxn ang="0">
                  <a:pos x="76" y="54"/>
                </a:cxn>
                <a:cxn ang="0">
                  <a:pos x="80" y="56"/>
                </a:cxn>
                <a:cxn ang="0">
                  <a:pos x="80" y="58"/>
                </a:cxn>
                <a:cxn ang="0">
                  <a:pos x="72" y="56"/>
                </a:cxn>
                <a:cxn ang="0">
                  <a:pos x="70" y="58"/>
                </a:cxn>
                <a:cxn ang="0">
                  <a:pos x="70" y="58"/>
                </a:cxn>
                <a:cxn ang="0">
                  <a:pos x="64" y="62"/>
                </a:cxn>
                <a:cxn ang="0">
                  <a:pos x="60" y="60"/>
                </a:cxn>
                <a:cxn ang="0">
                  <a:pos x="60" y="60"/>
                </a:cxn>
                <a:cxn ang="0">
                  <a:pos x="56" y="78"/>
                </a:cxn>
                <a:cxn ang="0">
                  <a:pos x="52" y="90"/>
                </a:cxn>
                <a:cxn ang="0">
                  <a:pos x="52" y="96"/>
                </a:cxn>
                <a:cxn ang="0">
                  <a:pos x="52" y="96"/>
                </a:cxn>
                <a:cxn ang="0">
                  <a:pos x="42" y="102"/>
                </a:cxn>
                <a:cxn ang="0">
                  <a:pos x="30" y="108"/>
                </a:cxn>
                <a:cxn ang="0">
                  <a:pos x="30" y="106"/>
                </a:cxn>
                <a:cxn ang="0">
                  <a:pos x="24" y="106"/>
                </a:cxn>
                <a:cxn ang="0">
                  <a:pos x="16" y="104"/>
                </a:cxn>
                <a:cxn ang="0">
                  <a:pos x="14" y="100"/>
                </a:cxn>
                <a:cxn ang="0">
                  <a:pos x="10" y="100"/>
                </a:cxn>
                <a:cxn ang="0">
                  <a:pos x="4" y="98"/>
                </a:cxn>
                <a:cxn ang="0">
                  <a:pos x="4" y="94"/>
                </a:cxn>
                <a:cxn ang="0">
                  <a:pos x="2" y="96"/>
                </a:cxn>
                <a:cxn ang="0">
                  <a:pos x="0" y="94"/>
                </a:cxn>
                <a:cxn ang="0">
                  <a:pos x="6" y="90"/>
                </a:cxn>
                <a:cxn ang="0">
                  <a:pos x="6" y="88"/>
                </a:cxn>
                <a:cxn ang="0">
                  <a:pos x="4" y="86"/>
                </a:cxn>
                <a:cxn ang="0">
                  <a:pos x="10" y="84"/>
                </a:cxn>
                <a:cxn ang="0">
                  <a:pos x="8" y="82"/>
                </a:cxn>
                <a:cxn ang="0">
                  <a:pos x="8" y="78"/>
                </a:cxn>
                <a:cxn ang="0">
                  <a:pos x="10" y="76"/>
                </a:cxn>
                <a:cxn ang="0">
                  <a:pos x="12" y="78"/>
                </a:cxn>
                <a:cxn ang="0">
                  <a:pos x="12" y="78"/>
                </a:cxn>
                <a:cxn ang="0">
                  <a:pos x="20" y="62"/>
                </a:cxn>
                <a:cxn ang="0">
                  <a:pos x="20" y="62"/>
                </a:cxn>
                <a:cxn ang="0">
                  <a:pos x="26" y="60"/>
                </a:cxn>
                <a:cxn ang="0">
                  <a:pos x="32" y="58"/>
                </a:cxn>
                <a:cxn ang="0">
                  <a:pos x="46" y="48"/>
                </a:cxn>
                <a:cxn ang="0">
                  <a:pos x="54" y="36"/>
                </a:cxn>
                <a:cxn ang="0">
                  <a:pos x="58" y="28"/>
                </a:cxn>
                <a:cxn ang="0">
                  <a:pos x="60" y="22"/>
                </a:cxn>
                <a:cxn ang="0">
                  <a:pos x="66" y="18"/>
                </a:cxn>
                <a:cxn ang="0">
                  <a:pos x="66" y="18"/>
                </a:cxn>
                <a:cxn ang="0">
                  <a:pos x="68" y="6"/>
                </a:cxn>
                <a:cxn ang="0">
                  <a:pos x="68" y="6"/>
                </a:cxn>
              </a:cxnLst>
              <a:rect l="0" t="0" r="r" b="b"/>
              <a:pathLst>
                <a:path w="94" h="108">
                  <a:moveTo>
                    <a:pt x="68" y="6"/>
                  </a:moveTo>
                  <a:lnTo>
                    <a:pt x="74" y="0"/>
                  </a:lnTo>
                  <a:lnTo>
                    <a:pt x="74" y="4"/>
                  </a:lnTo>
                  <a:lnTo>
                    <a:pt x="78" y="6"/>
                  </a:lnTo>
                  <a:lnTo>
                    <a:pt x="80" y="10"/>
                  </a:lnTo>
                  <a:lnTo>
                    <a:pt x="82" y="14"/>
                  </a:lnTo>
                  <a:lnTo>
                    <a:pt x="86" y="8"/>
                  </a:lnTo>
                  <a:lnTo>
                    <a:pt x="88" y="8"/>
                  </a:lnTo>
                  <a:lnTo>
                    <a:pt x="88" y="12"/>
                  </a:lnTo>
                  <a:lnTo>
                    <a:pt x="90" y="12"/>
                  </a:lnTo>
                  <a:lnTo>
                    <a:pt x="92" y="14"/>
                  </a:lnTo>
                  <a:lnTo>
                    <a:pt x="92" y="16"/>
                  </a:lnTo>
                  <a:lnTo>
                    <a:pt x="94" y="22"/>
                  </a:lnTo>
                  <a:lnTo>
                    <a:pt x="94" y="22"/>
                  </a:lnTo>
                  <a:lnTo>
                    <a:pt x="86" y="34"/>
                  </a:lnTo>
                  <a:lnTo>
                    <a:pt x="82" y="40"/>
                  </a:lnTo>
                  <a:lnTo>
                    <a:pt x="76" y="46"/>
                  </a:lnTo>
                  <a:lnTo>
                    <a:pt x="76" y="54"/>
                  </a:lnTo>
                  <a:lnTo>
                    <a:pt x="80" y="56"/>
                  </a:lnTo>
                  <a:lnTo>
                    <a:pt x="80" y="58"/>
                  </a:lnTo>
                  <a:lnTo>
                    <a:pt x="72" y="56"/>
                  </a:lnTo>
                  <a:lnTo>
                    <a:pt x="70" y="58"/>
                  </a:lnTo>
                  <a:lnTo>
                    <a:pt x="70" y="58"/>
                  </a:lnTo>
                  <a:lnTo>
                    <a:pt x="64" y="62"/>
                  </a:lnTo>
                  <a:lnTo>
                    <a:pt x="60" y="60"/>
                  </a:lnTo>
                  <a:lnTo>
                    <a:pt x="60" y="60"/>
                  </a:lnTo>
                  <a:lnTo>
                    <a:pt x="56" y="78"/>
                  </a:lnTo>
                  <a:lnTo>
                    <a:pt x="52" y="90"/>
                  </a:lnTo>
                  <a:lnTo>
                    <a:pt x="52" y="96"/>
                  </a:lnTo>
                  <a:lnTo>
                    <a:pt x="52" y="96"/>
                  </a:lnTo>
                  <a:lnTo>
                    <a:pt x="42" y="102"/>
                  </a:lnTo>
                  <a:lnTo>
                    <a:pt x="30" y="108"/>
                  </a:lnTo>
                  <a:lnTo>
                    <a:pt x="30" y="106"/>
                  </a:lnTo>
                  <a:lnTo>
                    <a:pt x="24" y="106"/>
                  </a:lnTo>
                  <a:lnTo>
                    <a:pt x="16" y="104"/>
                  </a:lnTo>
                  <a:lnTo>
                    <a:pt x="14" y="100"/>
                  </a:lnTo>
                  <a:lnTo>
                    <a:pt x="10" y="100"/>
                  </a:lnTo>
                  <a:lnTo>
                    <a:pt x="4" y="98"/>
                  </a:lnTo>
                  <a:lnTo>
                    <a:pt x="4" y="94"/>
                  </a:lnTo>
                  <a:lnTo>
                    <a:pt x="2" y="96"/>
                  </a:lnTo>
                  <a:lnTo>
                    <a:pt x="0" y="94"/>
                  </a:lnTo>
                  <a:lnTo>
                    <a:pt x="6" y="90"/>
                  </a:lnTo>
                  <a:lnTo>
                    <a:pt x="6" y="88"/>
                  </a:lnTo>
                  <a:lnTo>
                    <a:pt x="4" y="86"/>
                  </a:lnTo>
                  <a:lnTo>
                    <a:pt x="10" y="84"/>
                  </a:lnTo>
                  <a:lnTo>
                    <a:pt x="8" y="82"/>
                  </a:lnTo>
                  <a:lnTo>
                    <a:pt x="8" y="78"/>
                  </a:lnTo>
                  <a:lnTo>
                    <a:pt x="10" y="76"/>
                  </a:lnTo>
                  <a:lnTo>
                    <a:pt x="12" y="78"/>
                  </a:lnTo>
                  <a:lnTo>
                    <a:pt x="12" y="78"/>
                  </a:lnTo>
                  <a:lnTo>
                    <a:pt x="20" y="62"/>
                  </a:lnTo>
                  <a:lnTo>
                    <a:pt x="20" y="62"/>
                  </a:lnTo>
                  <a:lnTo>
                    <a:pt x="26" y="60"/>
                  </a:lnTo>
                  <a:lnTo>
                    <a:pt x="32" y="58"/>
                  </a:lnTo>
                  <a:lnTo>
                    <a:pt x="46" y="48"/>
                  </a:lnTo>
                  <a:lnTo>
                    <a:pt x="54" y="36"/>
                  </a:lnTo>
                  <a:lnTo>
                    <a:pt x="58" y="28"/>
                  </a:lnTo>
                  <a:lnTo>
                    <a:pt x="60" y="22"/>
                  </a:lnTo>
                  <a:lnTo>
                    <a:pt x="66" y="18"/>
                  </a:lnTo>
                  <a:lnTo>
                    <a:pt x="66" y="18"/>
                  </a:lnTo>
                  <a:lnTo>
                    <a:pt x="68" y="6"/>
                  </a:lnTo>
                  <a:lnTo>
                    <a:pt x="68" y="6"/>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4" name="Freeform 1784">
              <a:extLst>
                <a:ext uri="{FF2B5EF4-FFF2-40B4-BE49-F238E27FC236}">
                  <a16:creationId xmlns:a16="http://schemas.microsoft.com/office/drawing/2014/main" id="{0542BFF0-98BE-448D-AB12-282A621748BF}"/>
                </a:ext>
              </a:extLst>
            </p:cNvPr>
            <p:cNvSpPr>
              <a:spLocks/>
            </p:cNvSpPr>
            <p:nvPr/>
          </p:nvSpPr>
          <p:spPr bwMode="auto">
            <a:xfrm>
              <a:off x="8061534" y="5906044"/>
              <a:ext cx="126566" cy="215775"/>
            </a:xfrm>
            <a:custGeom>
              <a:avLst/>
              <a:gdLst/>
              <a:ahLst/>
              <a:cxnLst>
                <a:cxn ang="0">
                  <a:pos x="4" y="8"/>
                </a:cxn>
                <a:cxn ang="0">
                  <a:pos x="6" y="8"/>
                </a:cxn>
                <a:cxn ang="0">
                  <a:pos x="16" y="10"/>
                </a:cxn>
                <a:cxn ang="0">
                  <a:pos x="18" y="14"/>
                </a:cxn>
                <a:cxn ang="0">
                  <a:pos x="20" y="24"/>
                </a:cxn>
                <a:cxn ang="0">
                  <a:pos x="22" y="38"/>
                </a:cxn>
                <a:cxn ang="0">
                  <a:pos x="30" y="42"/>
                </a:cxn>
                <a:cxn ang="0">
                  <a:pos x="32" y="42"/>
                </a:cxn>
                <a:cxn ang="0">
                  <a:pos x="30" y="32"/>
                </a:cxn>
                <a:cxn ang="0">
                  <a:pos x="36" y="34"/>
                </a:cxn>
                <a:cxn ang="0">
                  <a:pos x="54" y="56"/>
                </a:cxn>
                <a:cxn ang="0">
                  <a:pos x="68" y="50"/>
                </a:cxn>
                <a:cxn ang="0">
                  <a:pos x="62" y="68"/>
                </a:cxn>
                <a:cxn ang="0">
                  <a:pos x="60" y="76"/>
                </a:cxn>
                <a:cxn ang="0">
                  <a:pos x="60" y="74"/>
                </a:cxn>
                <a:cxn ang="0">
                  <a:pos x="52" y="76"/>
                </a:cxn>
                <a:cxn ang="0">
                  <a:pos x="50" y="84"/>
                </a:cxn>
                <a:cxn ang="0">
                  <a:pos x="50" y="90"/>
                </a:cxn>
                <a:cxn ang="0">
                  <a:pos x="36" y="110"/>
                </a:cxn>
                <a:cxn ang="0">
                  <a:pos x="28" y="112"/>
                </a:cxn>
                <a:cxn ang="0">
                  <a:pos x="24" y="112"/>
                </a:cxn>
                <a:cxn ang="0">
                  <a:pos x="24" y="108"/>
                </a:cxn>
                <a:cxn ang="0">
                  <a:pos x="28" y="98"/>
                </a:cxn>
                <a:cxn ang="0">
                  <a:pos x="26" y="88"/>
                </a:cxn>
                <a:cxn ang="0">
                  <a:pos x="18" y="84"/>
                </a:cxn>
                <a:cxn ang="0">
                  <a:pos x="12" y="76"/>
                </a:cxn>
                <a:cxn ang="0">
                  <a:pos x="16" y="72"/>
                </a:cxn>
                <a:cxn ang="0">
                  <a:pos x="24" y="58"/>
                </a:cxn>
                <a:cxn ang="0">
                  <a:pos x="24" y="46"/>
                </a:cxn>
                <a:cxn ang="0">
                  <a:pos x="24" y="40"/>
                </a:cxn>
                <a:cxn ang="0">
                  <a:pos x="20" y="40"/>
                </a:cxn>
                <a:cxn ang="0">
                  <a:pos x="18" y="32"/>
                </a:cxn>
                <a:cxn ang="0">
                  <a:pos x="18" y="26"/>
                </a:cxn>
                <a:cxn ang="0">
                  <a:pos x="16" y="30"/>
                </a:cxn>
                <a:cxn ang="0">
                  <a:pos x="10" y="16"/>
                </a:cxn>
                <a:cxn ang="0">
                  <a:pos x="6" y="16"/>
                </a:cxn>
                <a:cxn ang="0">
                  <a:pos x="0" y="0"/>
                </a:cxn>
                <a:cxn ang="0">
                  <a:pos x="2" y="0"/>
                </a:cxn>
              </a:cxnLst>
              <a:rect l="0" t="0" r="r" b="b"/>
              <a:pathLst>
                <a:path w="68" h="116">
                  <a:moveTo>
                    <a:pt x="2" y="0"/>
                  </a:moveTo>
                  <a:lnTo>
                    <a:pt x="4" y="8"/>
                  </a:lnTo>
                  <a:lnTo>
                    <a:pt x="6" y="6"/>
                  </a:lnTo>
                  <a:lnTo>
                    <a:pt x="6" y="8"/>
                  </a:lnTo>
                  <a:lnTo>
                    <a:pt x="14" y="8"/>
                  </a:lnTo>
                  <a:lnTo>
                    <a:pt x="16" y="10"/>
                  </a:lnTo>
                  <a:lnTo>
                    <a:pt x="14" y="12"/>
                  </a:lnTo>
                  <a:lnTo>
                    <a:pt x="18" y="14"/>
                  </a:lnTo>
                  <a:lnTo>
                    <a:pt x="22" y="22"/>
                  </a:lnTo>
                  <a:lnTo>
                    <a:pt x="20" y="24"/>
                  </a:lnTo>
                  <a:lnTo>
                    <a:pt x="24" y="32"/>
                  </a:lnTo>
                  <a:lnTo>
                    <a:pt x="22" y="38"/>
                  </a:lnTo>
                  <a:lnTo>
                    <a:pt x="30" y="40"/>
                  </a:lnTo>
                  <a:lnTo>
                    <a:pt x="30" y="42"/>
                  </a:lnTo>
                  <a:lnTo>
                    <a:pt x="32" y="42"/>
                  </a:lnTo>
                  <a:lnTo>
                    <a:pt x="32" y="42"/>
                  </a:lnTo>
                  <a:lnTo>
                    <a:pt x="32" y="38"/>
                  </a:lnTo>
                  <a:lnTo>
                    <a:pt x="30" y="32"/>
                  </a:lnTo>
                  <a:lnTo>
                    <a:pt x="32" y="32"/>
                  </a:lnTo>
                  <a:lnTo>
                    <a:pt x="36" y="34"/>
                  </a:lnTo>
                  <a:lnTo>
                    <a:pt x="38" y="50"/>
                  </a:lnTo>
                  <a:lnTo>
                    <a:pt x="54" y="56"/>
                  </a:lnTo>
                  <a:lnTo>
                    <a:pt x="64" y="48"/>
                  </a:lnTo>
                  <a:lnTo>
                    <a:pt x="68" y="50"/>
                  </a:lnTo>
                  <a:lnTo>
                    <a:pt x="66" y="66"/>
                  </a:lnTo>
                  <a:lnTo>
                    <a:pt x="62" y="68"/>
                  </a:lnTo>
                  <a:lnTo>
                    <a:pt x="62" y="74"/>
                  </a:lnTo>
                  <a:lnTo>
                    <a:pt x="60" y="76"/>
                  </a:lnTo>
                  <a:lnTo>
                    <a:pt x="60" y="74"/>
                  </a:lnTo>
                  <a:lnTo>
                    <a:pt x="60" y="74"/>
                  </a:lnTo>
                  <a:lnTo>
                    <a:pt x="56" y="74"/>
                  </a:lnTo>
                  <a:lnTo>
                    <a:pt x="52" y="76"/>
                  </a:lnTo>
                  <a:lnTo>
                    <a:pt x="48" y="80"/>
                  </a:lnTo>
                  <a:lnTo>
                    <a:pt x="50" y="84"/>
                  </a:lnTo>
                  <a:lnTo>
                    <a:pt x="50" y="84"/>
                  </a:lnTo>
                  <a:lnTo>
                    <a:pt x="50" y="90"/>
                  </a:lnTo>
                  <a:lnTo>
                    <a:pt x="44" y="102"/>
                  </a:lnTo>
                  <a:lnTo>
                    <a:pt x="36" y="110"/>
                  </a:lnTo>
                  <a:lnTo>
                    <a:pt x="30" y="116"/>
                  </a:lnTo>
                  <a:lnTo>
                    <a:pt x="28" y="112"/>
                  </a:lnTo>
                  <a:lnTo>
                    <a:pt x="24" y="112"/>
                  </a:lnTo>
                  <a:lnTo>
                    <a:pt x="24" y="112"/>
                  </a:lnTo>
                  <a:lnTo>
                    <a:pt x="24" y="108"/>
                  </a:lnTo>
                  <a:lnTo>
                    <a:pt x="24" y="108"/>
                  </a:lnTo>
                  <a:lnTo>
                    <a:pt x="26" y="104"/>
                  </a:lnTo>
                  <a:lnTo>
                    <a:pt x="28" y="98"/>
                  </a:lnTo>
                  <a:lnTo>
                    <a:pt x="28" y="92"/>
                  </a:lnTo>
                  <a:lnTo>
                    <a:pt x="26" y="88"/>
                  </a:lnTo>
                  <a:lnTo>
                    <a:pt x="26" y="88"/>
                  </a:lnTo>
                  <a:lnTo>
                    <a:pt x="18" y="84"/>
                  </a:lnTo>
                  <a:lnTo>
                    <a:pt x="12" y="78"/>
                  </a:lnTo>
                  <a:lnTo>
                    <a:pt x="12" y="76"/>
                  </a:lnTo>
                  <a:lnTo>
                    <a:pt x="12" y="76"/>
                  </a:lnTo>
                  <a:lnTo>
                    <a:pt x="16" y="72"/>
                  </a:lnTo>
                  <a:lnTo>
                    <a:pt x="22" y="68"/>
                  </a:lnTo>
                  <a:lnTo>
                    <a:pt x="24" y="58"/>
                  </a:lnTo>
                  <a:lnTo>
                    <a:pt x="24" y="58"/>
                  </a:lnTo>
                  <a:lnTo>
                    <a:pt x="24" y="46"/>
                  </a:lnTo>
                  <a:lnTo>
                    <a:pt x="22" y="42"/>
                  </a:lnTo>
                  <a:lnTo>
                    <a:pt x="24" y="40"/>
                  </a:lnTo>
                  <a:lnTo>
                    <a:pt x="20" y="40"/>
                  </a:lnTo>
                  <a:lnTo>
                    <a:pt x="20" y="40"/>
                  </a:lnTo>
                  <a:lnTo>
                    <a:pt x="18" y="36"/>
                  </a:lnTo>
                  <a:lnTo>
                    <a:pt x="18" y="32"/>
                  </a:lnTo>
                  <a:lnTo>
                    <a:pt x="20" y="34"/>
                  </a:lnTo>
                  <a:lnTo>
                    <a:pt x="18" y="26"/>
                  </a:lnTo>
                  <a:lnTo>
                    <a:pt x="16" y="28"/>
                  </a:lnTo>
                  <a:lnTo>
                    <a:pt x="16" y="30"/>
                  </a:lnTo>
                  <a:lnTo>
                    <a:pt x="8" y="20"/>
                  </a:lnTo>
                  <a:lnTo>
                    <a:pt x="10" y="16"/>
                  </a:lnTo>
                  <a:lnTo>
                    <a:pt x="6" y="16"/>
                  </a:lnTo>
                  <a:lnTo>
                    <a:pt x="6" y="16"/>
                  </a:lnTo>
                  <a:lnTo>
                    <a:pt x="2" y="8"/>
                  </a:lnTo>
                  <a:lnTo>
                    <a:pt x="0" y="0"/>
                  </a:lnTo>
                  <a:lnTo>
                    <a:pt x="0" y="0"/>
                  </a:lnTo>
                  <a:lnTo>
                    <a:pt x="2" y="0"/>
                  </a:lnTo>
                  <a:lnTo>
                    <a:pt x="2"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5" name="Freeform 1785">
              <a:extLst>
                <a:ext uri="{FF2B5EF4-FFF2-40B4-BE49-F238E27FC236}">
                  <a16:creationId xmlns:a16="http://schemas.microsoft.com/office/drawing/2014/main" id="{4FAD1641-C61B-41ED-AB8B-85946C29795A}"/>
                </a:ext>
              </a:extLst>
            </p:cNvPr>
            <p:cNvSpPr>
              <a:spLocks/>
            </p:cNvSpPr>
            <p:nvPr/>
          </p:nvSpPr>
          <p:spPr bwMode="auto">
            <a:xfrm>
              <a:off x="6732590" y="5288482"/>
              <a:ext cx="900853" cy="755212"/>
            </a:xfrm>
            <a:custGeom>
              <a:avLst/>
              <a:gdLst/>
              <a:ahLst/>
              <a:cxnLst>
                <a:cxn ang="0">
                  <a:pos x="52" y="340"/>
                </a:cxn>
                <a:cxn ang="0">
                  <a:pos x="68" y="332"/>
                </a:cxn>
                <a:cxn ang="0">
                  <a:pos x="144" y="302"/>
                </a:cxn>
                <a:cxn ang="0">
                  <a:pos x="208" y="288"/>
                </a:cxn>
                <a:cxn ang="0">
                  <a:pos x="252" y="308"/>
                </a:cxn>
                <a:cxn ang="0">
                  <a:pos x="264" y="332"/>
                </a:cxn>
                <a:cxn ang="0">
                  <a:pos x="284" y="320"/>
                </a:cxn>
                <a:cxn ang="0">
                  <a:pos x="286" y="340"/>
                </a:cxn>
                <a:cxn ang="0">
                  <a:pos x="304" y="336"/>
                </a:cxn>
                <a:cxn ang="0">
                  <a:pos x="314" y="346"/>
                </a:cxn>
                <a:cxn ang="0">
                  <a:pos x="326" y="386"/>
                </a:cxn>
                <a:cxn ang="0">
                  <a:pos x="362" y="402"/>
                </a:cxn>
                <a:cxn ang="0">
                  <a:pos x="380" y="392"/>
                </a:cxn>
                <a:cxn ang="0">
                  <a:pos x="400" y="402"/>
                </a:cxn>
                <a:cxn ang="0">
                  <a:pos x="428" y="386"/>
                </a:cxn>
                <a:cxn ang="0">
                  <a:pos x="446" y="350"/>
                </a:cxn>
                <a:cxn ang="0">
                  <a:pos x="456" y="318"/>
                </a:cxn>
                <a:cxn ang="0">
                  <a:pos x="472" y="298"/>
                </a:cxn>
                <a:cxn ang="0">
                  <a:pos x="480" y="222"/>
                </a:cxn>
                <a:cxn ang="0">
                  <a:pos x="472" y="194"/>
                </a:cxn>
                <a:cxn ang="0">
                  <a:pos x="462" y="180"/>
                </a:cxn>
                <a:cxn ang="0">
                  <a:pos x="442" y="154"/>
                </a:cxn>
                <a:cxn ang="0">
                  <a:pos x="436" y="144"/>
                </a:cxn>
                <a:cxn ang="0">
                  <a:pos x="424" y="124"/>
                </a:cxn>
                <a:cxn ang="0">
                  <a:pos x="408" y="114"/>
                </a:cxn>
                <a:cxn ang="0">
                  <a:pos x="398" y="104"/>
                </a:cxn>
                <a:cxn ang="0">
                  <a:pos x="388" y="78"/>
                </a:cxn>
                <a:cxn ang="0">
                  <a:pos x="374" y="46"/>
                </a:cxn>
                <a:cxn ang="0">
                  <a:pos x="358" y="16"/>
                </a:cxn>
                <a:cxn ang="0">
                  <a:pos x="348" y="8"/>
                </a:cxn>
                <a:cxn ang="0">
                  <a:pos x="342" y="26"/>
                </a:cxn>
                <a:cxn ang="0">
                  <a:pos x="338" y="72"/>
                </a:cxn>
                <a:cxn ang="0">
                  <a:pos x="308" y="82"/>
                </a:cxn>
                <a:cxn ang="0">
                  <a:pos x="272" y="58"/>
                </a:cxn>
                <a:cxn ang="0">
                  <a:pos x="280" y="30"/>
                </a:cxn>
                <a:cxn ang="0">
                  <a:pos x="276" y="24"/>
                </a:cxn>
                <a:cxn ang="0">
                  <a:pos x="258" y="18"/>
                </a:cxn>
                <a:cxn ang="0">
                  <a:pos x="228" y="8"/>
                </a:cxn>
                <a:cxn ang="0">
                  <a:pos x="228" y="20"/>
                </a:cxn>
                <a:cxn ang="0">
                  <a:pos x="208" y="24"/>
                </a:cxn>
                <a:cxn ang="0">
                  <a:pos x="200" y="38"/>
                </a:cxn>
                <a:cxn ang="0">
                  <a:pos x="190" y="54"/>
                </a:cxn>
                <a:cxn ang="0">
                  <a:pos x="164" y="42"/>
                </a:cxn>
                <a:cxn ang="0">
                  <a:pos x="152" y="44"/>
                </a:cxn>
                <a:cxn ang="0">
                  <a:pos x="136" y="68"/>
                </a:cxn>
                <a:cxn ang="0">
                  <a:pos x="124" y="72"/>
                </a:cxn>
                <a:cxn ang="0">
                  <a:pos x="114" y="80"/>
                </a:cxn>
                <a:cxn ang="0">
                  <a:pos x="102" y="108"/>
                </a:cxn>
                <a:cxn ang="0">
                  <a:pos x="66" y="128"/>
                </a:cxn>
                <a:cxn ang="0">
                  <a:pos x="26" y="144"/>
                </a:cxn>
                <a:cxn ang="0">
                  <a:pos x="10" y="148"/>
                </a:cxn>
                <a:cxn ang="0">
                  <a:pos x="2" y="178"/>
                </a:cxn>
                <a:cxn ang="0">
                  <a:pos x="12" y="208"/>
                </a:cxn>
                <a:cxn ang="0">
                  <a:pos x="0" y="210"/>
                </a:cxn>
                <a:cxn ang="0">
                  <a:pos x="18" y="248"/>
                </a:cxn>
                <a:cxn ang="0">
                  <a:pos x="30" y="290"/>
                </a:cxn>
              </a:cxnLst>
              <a:rect l="0" t="0" r="r" b="b"/>
              <a:pathLst>
                <a:path w="484" h="406">
                  <a:moveTo>
                    <a:pt x="24" y="318"/>
                  </a:moveTo>
                  <a:lnTo>
                    <a:pt x="24" y="328"/>
                  </a:lnTo>
                  <a:lnTo>
                    <a:pt x="24" y="328"/>
                  </a:lnTo>
                  <a:lnTo>
                    <a:pt x="26" y="328"/>
                  </a:lnTo>
                  <a:lnTo>
                    <a:pt x="30" y="332"/>
                  </a:lnTo>
                  <a:lnTo>
                    <a:pt x="36" y="338"/>
                  </a:lnTo>
                  <a:lnTo>
                    <a:pt x="52" y="340"/>
                  </a:lnTo>
                  <a:lnTo>
                    <a:pt x="54" y="342"/>
                  </a:lnTo>
                  <a:lnTo>
                    <a:pt x="56" y="342"/>
                  </a:lnTo>
                  <a:lnTo>
                    <a:pt x="58" y="338"/>
                  </a:lnTo>
                  <a:lnTo>
                    <a:pt x="62" y="340"/>
                  </a:lnTo>
                  <a:lnTo>
                    <a:pt x="62" y="340"/>
                  </a:lnTo>
                  <a:lnTo>
                    <a:pt x="64" y="336"/>
                  </a:lnTo>
                  <a:lnTo>
                    <a:pt x="68" y="332"/>
                  </a:lnTo>
                  <a:lnTo>
                    <a:pt x="82" y="328"/>
                  </a:lnTo>
                  <a:lnTo>
                    <a:pt x="106" y="322"/>
                  </a:lnTo>
                  <a:lnTo>
                    <a:pt x="108" y="324"/>
                  </a:lnTo>
                  <a:lnTo>
                    <a:pt x="126" y="322"/>
                  </a:lnTo>
                  <a:lnTo>
                    <a:pt x="132" y="310"/>
                  </a:lnTo>
                  <a:lnTo>
                    <a:pt x="132" y="310"/>
                  </a:lnTo>
                  <a:lnTo>
                    <a:pt x="144" y="302"/>
                  </a:lnTo>
                  <a:lnTo>
                    <a:pt x="156" y="298"/>
                  </a:lnTo>
                  <a:lnTo>
                    <a:pt x="166" y="298"/>
                  </a:lnTo>
                  <a:lnTo>
                    <a:pt x="180" y="296"/>
                  </a:lnTo>
                  <a:lnTo>
                    <a:pt x="180" y="296"/>
                  </a:lnTo>
                  <a:lnTo>
                    <a:pt x="192" y="288"/>
                  </a:lnTo>
                  <a:lnTo>
                    <a:pt x="192" y="288"/>
                  </a:lnTo>
                  <a:lnTo>
                    <a:pt x="208" y="288"/>
                  </a:lnTo>
                  <a:lnTo>
                    <a:pt x="222" y="288"/>
                  </a:lnTo>
                  <a:lnTo>
                    <a:pt x="230" y="294"/>
                  </a:lnTo>
                  <a:lnTo>
                    <a:pt x="234" y="294"/>
                  </a:lnTo>
                  <a:lnTo>
                    <a:pt x="234" y="294"/>
                  </a:lnTo>
                  <a:lnTo>
                    <a:pt x="242" y="298"/>
                  </a:lnTo>
                  <a:lnTo>
                    <a:pt x="252" y="302"/>
                  </a:lnTo>
                  <a:lnTo>
                    <a:pt x="252" y="308"/>
                  </a:lnTo>
                  <a:lnTo>
                    <a:pt x="254" y="312"/>
                  </a:lnTo>
                  <a:lnTo>
                    <a:pt x="258" y="312"/>
                  </a:lnTo>
                  <a:lnTo>
                    <a:pt x="258" y="312"/>
                  </a:lnTo>
                  <a:lnTo>
                    <a:pt x="264" y="322"/>
                  </a:lnTo>
                  <a:lnTo>
                    <a:pt x="266" y="330"/>
                  </a:lnTo>
                  <a:lnTo>
                    <a:pt x="266" y="334"/>
                  </a:lnTo>
                  <a:lnTo>
                    <a:pt x="264" y="332"/>
                  </a:lnTo>
                  <a:lnTo>
                    <a:pt x="264" y="338"/>
                  </a:lnTo>
                  <a:lnTo>
                    <a:pt x="274" y="340"/>
                  </a:lnTo>
                  <a:lnTo>
                    <a:pt x="272" y="336"/>
                  </a:lnTo>
                  <a:lnTo>
                    <a:pt x="272" y="336"/>
                  </a:lnTo>
                  <a:lnTo>
                    <a:pt x="274" y="334"/>
                  </a:lnTo>
                  <a:lnTo>
                    <a:pt x="278" y="328"/>
                  </a:lnTo>
                  <a:lnTo>
                    <a:pt x="284" y="320"/>
                  </a:lnTo>
                  <a:lnTo>
                    <a:pt x="288" y="320"/>
                  </a:lnTo>
                  <a:lnTo>
                    <a:pt x="296" y="302"/>
                  </a:lnTo>
                  <a:lnTo>
                    <a:pt x="296" y="318"/>
                  </a:lnTo>
                  <a:lnTo>
                    <a:pt x="296" y="318"/>
                  </a:lnTo>
                  <a:lnTo>
                    <a:pt x="292" y="326"/>
                  </a:lnTo>
                  <a:lnTo>
                    <a:pt x="290" y="338"/>
                  </a:lnTo>
                  <a:lnTo>
                    <a:pt x="286" y="340"/>
                  </a:lnTo>
                  <a:lnTo>
                    <a:pt x="284" y="344"/>
                  </a:lnTo>
                  <a:lnTo>
                    <a:pt x="286" y="344"/>
                  </a:lnTo>
                  <a:lnTo>
                    <a:pt x="294" y="342"/>
                  </a:lnTo>
                  <a:lnTo>
                    <a:pt x="294" y="342"/>
                  </a:lnTo>
                  <a:lnTo>
                    <a:pt x="296" y="336"/>
                  </a:lnTo>
                  <a:lnTo>
                    <a:pt x="300" y="328"/>
                  </a:lnTo>
                  <a:lnTo>
                    <a:pt x="304" y="336"/>
                  </a:lnTo>
                  <a:lnTo>
                    <a:pt x="304" y="336"/>
                  </a:lnTo>
                  <a:lnTo>
                    <a:pt x="302" y="344"/>
                  </a:lnTo>
                  <a:lnTo>
                    <a:pt x="300" y="350"/>
                  </a:lnTo>
                  <a:lnTo>
                    <a:pt x="300" y="350"/>
                  </a:lnTo>
                  <a:lnTo>
                    <a:pt x="302" y="350"/>
                  </a:lnTo>
                  <a:lnTo>
                    <a:pt x="306" y="350"/>
                  </a:lnTo>
                  <a:lnTo>
                    <a:pt x="314" y="346"/>
                  </a:lnTo>
                  <a:lnTo>
                    <a:pt x="312" y="352"/>
                  </a:lnTo>
                  <a:lnTo>
                    <a:pt x="312" y="352"/>
                  </a:lnTo>
                  <a:lnTo>
                    <a:pt x="318" y="360"/>
                  </a:lnTo>
                  <a:lnTo>
                    <a:pt x="320" y="366"/>
                  </a:lnTo>
                  <a:lnTo>
                    <a:pt x="318" y="372"/>
                  </a:lnTo>
                  <a:lnTo>
                    <a:pt x="326" y="386"/>
                  </a:lnTo>
                  <a:lnTo>
                    <a:pt x="326" y="386"/>
                  </a:lnTo>
                  <a:lnTo>
                    <a:pt x="334" y="388"/>
                  </a:lnTo>
                  <a:lnTo>
                    <a:pt x="340" y="394"/>
                  </a:lnTo>
                  <a:lnTo>
                    <a:pt x="340" y="394"/>
                  </a:lnTo>
                  <a:lnTo>
                    <a:pt x="346" y="394"/>
                  </a:lnTo>
                  <a:lnTo>
                    <a:pt x="352" y="394"/>
                  </a:lnTo>
                  <a:lnTo>
                    <a:pt x="358" y="398"/>
                  </a:lnTo>
                  <a:lnTo>
                    <a:pt x="362" y="402"/>
                  </a:lnTo>
                  <a:lnTo>
                    <a:pt x="374" y="392"/>
                  </a:lnTo>
                  <a:lnTo>
                    <a:pt x="374" y="388"/>
                  </a:lnTo>
                  <a:lnTo>
                    <a:pt x="380" y="386"/>
                  </a:lnTo>
                  <a:lnTo>
                    <a:pt x="382" y="386"/>
                  </a:lnTo>
                  <a:lnTo>
                    <a:pt x="382" y="386"/>
                  </a:lnTo>
                  <a:lnTo>
                    <a:pt x="382" y="392"/>
                  </a:lnTo>
                  <a:lnTo>
                    <a:pt x="380" y="392"/>
                  </a:lnTo>
                  <a:lnTo>
                    <a:pt x="380" y="392"/>
                  </a:lnTo>
                  <a:lnTo>
                    <a:pt x="382" y="394"/>
                  </a:lnTo>
                  <a:lnTo>
                    <a:pt x="388" y="392"/>
                  </a:lnTo>
                  <a:lnTo>
                    <a:pt x="388" y="394"/>
                  </a:lnTo>
                  <a:lnTo>
                    <a:pt x="388" y="398"/>
                  </a:lnTo>
                  <a:lnTo>
                    <a:pt x="400" y="406"/>
                  </a:lnTo>
                  <a:lnTo>
                    <a:pt x="400" y="402"/>
                  </a:lnTo>
                  <a:lnTo>
                    <a:pt x="398" y="402"/>
                  </a:lnTo>
                  <a:lnTo>
                    <a:pt x="398" y="400"/>
                  </a:lnTo>
                  <a:lnTo>
                    <a:pt x="404" y="400"/>
                  </a:lnTo>
                  <a:lnTo>
                    <a:pt x="404" y="400"/>
                  </a:lnTo>
                  <a:lnTo>
                    <a:pt x="414" y="390"/>
                  </a:lnTo>
                  <a:lnTo>
                    <a:pt x="422" y="386"/>
                  </a:lnTo>
                  <a:lnTo>
                    <a:pt x="428" y="386"/>
                  </a:lnTo>
                  <a:lnTo>
                    <a:pt x="438" y="384"/>
                  </a:lnTo>
                  <a:lnTo>
                    <a:pt x="438" y="380"/>
                  </a:lnTo>
                  <a:lnTo>
                    <a:pt x="442" y="380"/>
                  </a:lnTo>
                  <a:lnTo>
                    <a:pt x="442" y="380"/>
                  </a:lnTo>
                  <a:lnTo>
                    <a:pt x="442" y="372"/>
                  </a:lnTo>
                  <a:lnTo>
                    <a:pt x="444" y="360"/>
                  </a:lnTo>
                  <a:lnTo>
                    <a:pt x="446" y="350"/>
                  </a:lnTo>
                  <a:lnTo>
                    <a:pt x="450" y="342"/>
                  </a:lnTo>
                  <a:lnTo>
                    <a:pt x="452" y="344"/>
                  </a:lnTo>
                  <a:lnTo>
                    <a:pt x="452" y="344"/>
                  </a:lnTo>
                  <a:lnTo>
                    <a:pt x="454" y="334"/>
                  </a:lnTo>
                  <a:lnTo>
                    <a:pt x="458" y="324"/>
                  </a:lnTo>
                  <a:lnTo>
                    <a:pt x="456" y="318"/>
                  </a:lnTo>
                  <a:lnTo>
                    <a:pt x="456" y="318"/>
                  </a:lnTo>
                  <a:lnTo>
                    <a:pt x="462" y="314"/>
                  </a:lnTo>
                  <a:lnTo>
                    <a:pt x="464" y="308"/>
                  </a:lnTo>
                  <a:lnTo>
                    <a:pt x="468" y="306"/>
                  </a:lnTo>
                  <a:lnTo>
                    <a:pt x="466" y="304"/>
                  </a:lnTo>
                  <a:lnTo>
                    <a:pt x="472" y="302"/>
                  </a:lnTo>
                  <a:lnTo>
                    <a:pt x="472" y="298"/>
                  </a:lnTo>
                  <a:lnTo>
                    <a:pt x="472" y="298"/>
                  </a:lnTo>
                  <a:lnTo>
                    <a:pt x="476" y="288"/>
                  </a:lnTo>
                  <a:lnTo>
                    <a:pt x="480" y="268"/>
                  </a:lnTo>
                  <a:lnTo>
                    <a:pt x="484" y="250"/>
                  </a:lnTo>
                  <a:lnTo>
                    <a:pt x="484" y="240"/>
                  </a:lnTo>
                  <a:lnTo>
                    <a:pt x="484" y="240"/>
                  </a:lnTo>
                  <a:lnTo>
                    <a:pt x="478" y="224"/>
                  </a:lnTo>
                  <a:lnTo>
                    <a:pt x="480" y="222"/>
                  </a:lnTo>
                  <a:lnTo>
                    <a:pt x="480" y="222"/>
                  </a:lnTo>
                  <a:lnTo>
                    <a:pt x="480" y="222"/>
                  </a:lnTo>
                  <a:lnTo>
                    <a:pt x="478" y="214"/>
                  </a:lnTo>
                  <a:lnTo>
                    <a:pt x="478" y="204"/>
                  </a:lnTo>
                  <a:lnTo>
                    <a:pt x="478" y="204"/>
                  </a:lnTo>
                  <a:lnTo>
                    <a:pt x="474" y="196"/>
                  </a:lnTo>
                  <a:lnTo>
                    <a:pt x="472" y="194"/>
                  </a:lnTo>
                  <a:lnTo>
                    <a:pt x="472" y="194"/>
                  </a:lnTo>
                  <a:lnTo>
                    <a:pt x="472" y="194"/>
                  </a:lnTo>
                  <a:lnTo>
                    <a:pt x="470" y="190"/>
                  </a:lnTo>
                  <a:lnTo>
                    <a:pt x="468" y="186"/>
                  </a:lnTo>
                  <a:lnTo>
                    <a:pt x="464" y="184"/>
                  </a:lnTo>
                  <a:lnTo>
                    <a:pt x="462" y="180"/>
                  </a:lnTo>
                  <a:lnTo>
                    <a:pt x="462" y="180"/>
                  </a:lnTo>
                  <a:lnTo>
                    <a:pt x="460" y="178"/>
                  </a:lnTo>
                  <a:lnTo>
                    <a:pt x="456" y="176"/>
                  </a:lnTo>
                  <a:lnTo>
                    <a:pt x="452" y="172"/>
                  </a:lnTo>
                  <a:lnTo>
                    <a:pt x="450" y="156"/>
                  </a:lnTo>
                  <a:lnTo>
                    <a:pt x="448" y="154"/>
                  </a:lnTo>
                  <a:lnTo>
                    <a:pt x="448" y="158"/>
                  </a:lnTo>
                  <a:lnTo>
                    <a:pt x="442" y="154"/>
                  </a:lnTo>
                  <a:lnTo>
                    <a:pt x="442" y="152"/>
                  </a:lnTo>
                  <a:lnTo>
                    <a:pt x="440" y="154"/>
                  </a:lnTo>
                  <a:lnTo>
                    <a:pt x="440" y="156"/>
                  </a:lnTo>
                  <a:lnTo>
                    <a:pt x="438" y="158"/>
                  </a:lnTo>
                  <a:lnTo>
                    <a:pt x="438" y="158"/>
                  </a:lnTo>
                  <a:lnTo>
                    <a:pt x="436" y="150"/>
                  </a:lnTo>
                  <a:lnTo>
                    <a:pt x="436" y="144"/>
                  </a:lnTo>
                  <a:lnTo>
                    <a:pt x="434" y="144"/>
                  </a:lnTo>
                  <a:lnTo>
                    <a:pt x="430" y="134"/>
                  </a:lnTo>
                  <a:lnTo>
                    <a:pt x="426" y="132"/>
                  </a:lnTo>
                  <a:lnTo>
                    <a:pt x="426" y="130"/>
                  </a:lnTo>
                  <a:lnTo>
                    <a:pt x="428" y="130"/>
                  </a:lnTo>
                  <a:lnTo>
                    <a:pt x="428" y="128"/>
                  </a:lnTo>
                  <a:lnTo>
                    <a:pt x="424" y="124"/>
                  </a:lnTo>
                  <a:lnTo>
                    <a:pt x="422" y="126"/>
                  </a:lnTo>
                  <a:lnTo>
                    <a:pt x="422" y="126"/>
                  </a:lnTo>
                  <a:lnTo>
                    <a:pt x="420" y="122"/>
                  </a:lnTo>
                  <a:lnTo>
                    <a:pt x="416" y="120"/>
                  </a:lnTo>
                  <a:lnTo>
                    <a:pt x="414" y="120"/>
                  </a:lnTo>
                  <a:lnTo>
                    <a:pt x="410" y="114"/>
                  </a:lnTo>
                  <a:lnTo>
                    <a:pt x="408" y="114"/>
                  </a:lnTo>
                  <a:lnTo>
                    <a:pt x="408" y="114"/>
                  </a:lnTo>
                  <a:lnTo>
                    <a:pt x="404" y="114"/>
                  </a:lnTo>
                  <a:lnTo>
                    <a:pt x="398" y="110"/>
                  </a:lnTo>
                  <a:lnTo>
                    <a:pt x="398" y="104"/>
                  </a:lnTo>
                  <a:lnTo>
                    <a:pt x="398" y="104"/>
                  </a:lnTo>
                  <a:lnTo>
                    <a:pt x="398" y="104"/>
                  </a:lnTo>
                  <a:lnTo>
                    <a:pt x="398" y="104"/>
                  </a:lnTo>
                  <a:lnTo>
                    <a:pt x="396" y="102"/>
                  </a:lnTo>
                  <a:lnTo>
                    <a:pt x="396" y="102"/>
                  </a:lnTo>
                  <a:lnTo>
                    <a:pt x="394" y="92"/>
                  </a:lnTo>
                  <a:lnTo>
                    <a:pt x="392" y="82"/>
                  </a:lnTo>
                  <a:lnTo>
                    <a:pt x="390" y="82"/>
                  </a:lnTo>
                  <a:lnTo>
                    <a:pt x="390" y="82"/>
                  </a:lnTo>
                  <a:lnTo>
                    <a:pt x="388" y="78"/>
                  </a:lnTo>
                  <a:lnTo>
                    <a:pt x="386" y="70"/>
                  </a:lnTo>
                  <a:lnTo>
                    <a:pt x="386" y="56"/>
                  </a:lnTo>
                  <a:lnTo>
                    <a:pt x="386" y="56"/>
                  </a:lnTo>
                  <a:lnTo>
                    <a:pt x="380" y="52"/>
                  </a:lnTo>
                  <a:lnTo>
                    <a:pt x="378" y="50"/>
                  </a:lnTo>
                  <a:lnTo>
                    <a:pt x="376" y="46"/>
                  </a:lnTo>
                  <a:lnTo>
                    <a:pt x="374" y="46"/>
                  </a:lnTo>
                  <a:lnTo>
                    <a:pt x="370" y="50"/>
                  </a:lnTo>
                  <a:lnTo>
                    <a:pt x="366" y="48"/>
                  </a:lnTo>
                  <a:lnTo>
                    <a:pt x="366" y="48"/>
                  </a:lnTo>
                  <a:lnTo>
                    <a:pt x="364" y="34"/>
                  </a:lnTo>
                  <a:lnTo>
                    <a:pt x="362" y="26"/>
                  </a:lnTo>
                  <a:lnTo>
                    <a:pt x="358" y="20"/>
                  </a:lnTo>
                  <a:lnTo>
                    <a:pt x="358" y="16"/>
                  </a:lnTo>
                  <a:lnTo>
                    <a:pt x="356" y="16"/>
                  </a:lnTo>
                  <a:lnTo>
                    <a:pt x="356" y="16"/>
                  </a:lnTo>
                  <a:lnTo>
                    <a:pt x="354" y="8"/>
                  </a:lnTo>
                  <a:lnTo>
                    <a:pt x="354" y="0"/>
                  </a:lnTo>
                  <a:lnTo>
                    <a:pt x="354" y="0"/>
                  </a:lnTo>
                  <a:lnTo>
                    <a:pt x="348" y="4"/>
                  </a:lnTo>
                  <a:lnTo>
                    <a:pt x="348" y="8"/>
                  </a:lnTo>
                  <a:lnTo>
                    <a:pt x="348" y="8"/>
                  </a:lnTo>
                  <a:lnTo>
                    <a:pt x="346" y="12"/>
                  </a:lnTo>
                  <a:lnTo>
                    <a:pt x="344" y="18"/>
                  </a:lnTo>
                  <a:lnTo>
                    <a:pt x="342" y="18"/>
                  </a:lnTo>
                  <a:lnTo>
                    <a:pt x="342" y="18"/>
                  </a:lnTo>
                  <a:lnTo>
                    <a:pt x="340" y="26"/>
                  </a:lnTo>
                  <a:lnTo>
                    <a:pt x="342" y="26"/>
                  </a:lnTo>
                  <a:lnTo>
                    <a:pt x="342" y="26"/>
                  </a:lnTo>
                  <a:lnTo>
                    <a:pt x="340" y="32"/>
                  </a:lnTo>
                  <a:lnTo>
                    <a:pt x="340" y="38"/>
                  </a:lnTo>
                  <a:lnTo>
                    <a:pt x="340" y="38"/>
                  </a:lnTo>
                  <a:lnTo>
                    <a:pt x="338" y="52"/>
                  </a:lnTo>
                  <a:lnTo>
                    <a:pt x="340" y="62"/>
                  </a:lnTo>
                  <a:lnTo>
                    <a:pt x="338" y="72"/>
                  </a:lnTo>
                  <a:lnTo>
                    <a:pt x="332" y="90"/>
                  </a:lnTo>
                  <a:lnTo>
                    <a:pt x="322" y="94"/>
                  </a:lnTo>
                  <a:lnTo>
                    <a:pt x="322" y="94"/>
                  </a:lnTo>
                  <a:lnTo>
                    <a:pt x="314" y="88"/>
                  </a:lnTo>
                  <a:lnTo>
                    <a:pt x="310" y="86"/>
                  </a:lnTo>
                  <a:lnTo>
                    <a:pt x="308" y="82"/>
                  </a:lnTo>
                  <a:lnTo>
                    <a:pt x="308" y="82"/>
                  </a:lnTo>
                  <a:lnTo>
                    <a:pt x="304" y="80"/>
                  </a:lnTo>
                  <a:lnTo>
                    <a:pt x="298" y="78"/>
                  </a:lnTo>
                  <a:lnTo>
                    <a:pt x="288" y="70"/>
                  </a:lnTo>
                  <a:lnTo>
                    <a:pt x="280" y="68"/>
                  </a:lnTo>
                  <a:lnTo>
                    <a:pt x="278" y="70"/>
                  </a:lnTo>
                  <a:lnTo>
                    <a:pt x="278" y="62"/>
                  </a:lnTo>
                  <a:lnTo>
                    <a:pt x="272" y="58"/>
                  </a:lnTo>
                  <a:lnTo>
                    <a:pt x="270" y="60"/>
                  </a:lnTo>
                  <a:lnTo>
                    <a:pt x="268" y="56"/>
                  </a:lnTo>
                  <a:lnTo>
                    <a:pt x="274" y="40"/>
                  </a:lnTo>
                  <a:lnTo>
                    <a:pt x="272" y="40"/>
                  </a:lnTo>
                  <a:lnTo>
                    <a:pt x="272" y="34"/>
                  </a:lnTo>
                  <a:lnTo>
                    <a:pt x="280" y="34"/>
                  </a:lnTo>
                  <a:lnTo>
                    <a:pt x="280" y="30"/>
                  </a:lnTo>
                  <a:lnTo>
                    <a:pt x="280" y="28"/>
                  </a:lnTo>
                  <a:lnTo>
                    <a:pt x="284" y="22"/>
                  </a:lnTo>
                  <a:lnTo>
                    <a:pt x="282" y="20"/>
                  </a:lnTo>
                  <a:lnTo>
                    <a:pt x="280" y="22"/>
                  </a:lnTo>
                  <a:lnTo>
                    <a:pt x="278" y="16"/>
                  </a:lnTo>
                  <a:lnTo>
                    <a:pt x="276" y="18"/>
                  </a:lnTo>
                  <a:lnTo>
                    <a:pt x="276" y="24"/>
                  </a:lnTo>
                  <a:lnTo>
                    <a:pt x="274" y="24"/>
                  </a:lnTo>
                  <a:lnTo>
                    <a:pt x="270" y="20"/>
                  </a:lnTo>
                  <a:lnTo>
                    <a:pt x="272" y="18"/>
                  </a:lnTo>
                  <a:lnTo>
                    <a:pt x="272" y="18"/>
                  </a:lnTo>
                  <a:lnTo>
                    <a:pt x="268" y="18"/>
                  </a:lnTo>
                  <a:lnTo>
                    <a:pt x="264" y="22"/>
                  </a:lnTo>
                  <a:lnTo>
                    <a:pt x="258" y="18"/>
                  </a:lnTo>
                  <a:lnTo>
                    <a:pt x="258" y="18"/>
                  </a:lnTo>
                  <a:lnTo>
                    <a:pt x="254" y="18"/>
                  </a:lnTo>
                  <a:lnTo>
                    <a:pt x="248" y="18"/>
                  </a:lnTo>
                  <a:lnTo>
                    <a:pt x="238" y="14"/>
                  </a:lnTo>
                  <a:lnTo>
                    <a:pt x="234" y="10"/>
                  </a:lnTo>
                  <a:lnTo>
                    <a:pt x="234" y="12"/>
                  </a:lnTo>
                  <a:lnTo>
                    <a:pt x="228" y="8"/>
                  </a:lnTo>
                  <a:lnTo>
                    <a:pt x="224" y="6"/>
                  </a:lnTo>
                  <a:lnTo>
                    <a:pt x="222" y="8"/>
                  </a:lnTo>
                  <a:lnTo>
                    <a:pt x="222" y="8"/>
                  </a:lnTo>
                  <a:lnTo>
                    <a:pt x="228" y="12"/>
                  </a:lnTo>
                  <a:lnTo>
                    <a:pt x="232" y="18"/>
                  </a:lnTo>
                  <a:lnTo>
                    <a:pt x="232" y="18"/>
                  </a:lnTo>
                  <a:lnTo>
                    <a:pt x="228" y="20"/>
                  </a:lnTo>
                  <a:lnTo>
                    <a:pt x="224" y="22"/>
                  </a:lnTo>
                  <a:lnTo>
                    <a:pt x="216" y="20"/>
                  </a:lnTo>
                  <a:lnTo>
                    <a:pt x="216" y="22"/>
                  </a:lnTo>
                  <a:lnTo>
                    <a:pt x="214" y="20"/>
                  </a:lnTo>
                  <a:lnTo>
                    <a:pt x="212" y="24"/>
                  </a:lnTo>
                  <a:lnTo>
                    <a:pt x="212" y="28"/>
                  </a:lnTo>
                  <a:lnTo>
                    <a:pt x="208" y="24"/>
                  </a:lnTo>
                  <a:lnTo>
                    <a:pt x="208" y="26"/>
                  </a:lnTo>
                  <a:lnTo>
                    <a:pt x="204" y="28"/>
                  </a:lnTo>
                  <a:lnTo>
                    <a:pt x="202" y="34"/>
                  </a:lnTo>
                  <a:lnTo>
                    <a:pt x="204" y="34"/>
                  </a:lnTo>
                  <a:lnTo>
                    <a:pt x="204" y="36"/>
                  </a:lnTo>
                  <a:lnTo>
                    <a:pt x="204" y="38"/>
                  </a:lnTo>
                  <a:lnTo>
                    <a:pt x="200" y="38"/>
                  </a:lnTo>
                  <a:lnTo>
                    <a:pt x="196" y="44"/>
                  </a:lnTo>
                  <a:lnTo>
                    <a:pt x="194" y="44"/>
                  </a:lnTo>
                  <a:lnTo>
                    <a:pt x="194" y="48"/>
                  </a:lnTo>
                  <a:lnTo>
                    <a:pt x="198" y="54"/>
                  </a:lnTo>
                  <a:lnTo>
                    <a:pt x="196" y="56"/>
                  </a:lnTo>
                  <a:lnTo>
                    <a:pt x="198" y="60"/>
                  </a:lnTo>
                  <a:lnTo>
                    <a:pt x="190" y="54"/>
                  </a:lnTo>
                  <a:lnTo>
                    <a:pt x="184" y="54"/>
                  </a:lnTo>
                  <a:lnTo>
                    <a:pt x="182" y="56"/>
                  </a:lnTo>
                  <a:lnTo>
                    <a:pt x="180" y="58"/>
                  </a:lnTo>
                  <a:lnTo>
                    <a:pt x="178" y="54"/>
                  </a:lnTo>
                  <a:lnTo>
                    <a:pt x="178" y="54"/>
                  </a:lnTo>
                  <a:lnTo>
                    <a:pt x="172" y="46"/>
                  </a:lnTo>
                  <a:lnTo>
                    <a:pt x="164" y="42"/>
                  </a:lnTo>
                  <a:lnTo>
                    <a:pt x="162" y="42"/>
                  </a:lnTo>
                  <a:lnTo>
                    <a:pt x="162" y="44"/>
                  </a:lnTo>
                  <a:lnTo>
                    <a:pt x="158" y="46"/>
                  </a:lnTo>
                  <a:lnTo>
                    <a:pt x="158" y="44"/>
                  </a:lnTo>
                  <a:lnTo>
                    <a:pt x="154" y="46"/>
                  </a:lnTo>
                  <a:lnTo>
                    <a:pt x="154" y="44"/>
                  </a:lnTo>
                  <a:lnTo>
                    <a:pt x="152" y="44"/>
                  </a:lnTo>
                  <a:lnTo>
                    <a:pt x="154" y="48"/>
                  </a:lnTo>
                  <a:lnTo>
                    <a:pt x="152" y="50"/>
                  </a:lnTo>
                  <a:lnTo>
                    <a:pt x="150" y="52"/>
                  </a:lnTo>
                  <a:lnTo>
                    <a:pt x="150" y="50"/>
                  </a:lnTo>
                  <a:lnTo>
                    <a:pt x="144" y="52"/>
                  </a:lnTo>
                  <a:lnTo>
                    <a:pt x="136" y="64"/>
                  </a:lnTo>
                  <a:lnTo>
                    <a:pt x="136" y="68"/>
                  </a:lnTo>
                  <a:lnTo>
                    <a:pt x="134" y="72"/>
                  </a:lnTo>
                  <a:lnTo>
                    <a:pt x="134" y="74"/>
                  </a:lnTo>
                  <a:lnTo>
                    <a:pt x="136" y="76"/>
                  </a:lnTo>
                  <a:lnTo>
                    <a:pt x="134" y="76"/>
                  </a:lnTo>
                  <a:lnTo>
                    <a:pt x="132" y="76"/>
                  </a:lnTo>
                  <a:lnTo>
                    <a:pt x="128" y="72"/>
                  </a:lnTo>
                  <a:lnTo>
                    <a:pt x="124" y="72"/>
                  </a:lnTo>
                  <a:lnTo>
                    <a:pt x="124" y="72"/>
                  </a:lnTo>
                  <a:lnTo>
                    <a:pt x="124" y="78"/>
                  </a:lnTo>
                  <a:lnTo>
                    <a:pt x="126" y="82"/>
                  </a:lnTo>
                  <a:lnTo>
                    <a:pt x="126" y="84"/>
                  </a:lnTo>
                  <a:lnTo>
                    <a:pt x="124" y="84"/>
                  </a:lnTo>
                  <a:lnTo>
                    <a:pt x="116" y="76"/>
                  </a:lnTo>
                  <a:lnTo>
                    <a:pt x="114" y="80"/>
                  </a:lnTo>
                  <a:lnTo>
                    <a:pt x="108" y="84"/>
                  </a:lnTo>
                  <a:lnTo>
                    <a:pt x="108" y="90"/>
                  </a:lnTo>
                  <a:lnTo>
                    <a:pt x="110" y="96"/>
                  </a:lnTo>
                  <a:lnTo>
                    <a:pt x="104" y="104"/>
                  </a:lnTo>
                  <a:lnTo>
                    <a:pt x="102" y="102"/>
                  </a:lnTo>
                  <a:lnTo>
                    <a:pt x="102" y="102"/>
                  </a:lnTo>
                  <a:lnTo>
                    <a:pt x="102" y="108"/>
                  </a:lnTo>
                  <a:lnTo>
                    <a:pt x="98" y="112"/>
                  </a:lnTo>
                  <a:lnTo>
                    <a:pt x="90" y="120"/>
                  </a:lnTo>
                  <a:lnTo>
                    <a:pt x="78" y="124"/>
                  </a:lnTo>
                  <a:lnTo>
                    <a:pt x="74" y="124"/>
                  </a:lnTo>
                  <a:lnTo>
                    <a:pt x="70" y="122"/>
                  </a:lnTo>
                  <a:lnTo>
                    <a:pt x="66" y="128"/>
                  </a:lnTo>
                  <a:lnTo>
                    <a:pt x="66" y="128"/>
                  </a:lnTo>
                  <a:lnTo>
                    <a:pt x="58" y="128"/>
                  </a:lnTo>
                  <a:lnTo>
                    <a:pt x="52" y="132"/>
                  </a:lnTo>
                  <a:lnTo>
                    <a:pt x="42" y="132"/>
                  </a:lnTo>
                  <a:lnTo>
                    <a:pt x="42" y="132"/>
                  </a:lnTo>
                  <a:lnTo>
                    <a:pt x="34" y="136"/>
                  </a:lnTo>
                  <a:lnTo>
                    <a:pt x="26" y="144"/>
                  </a:lnTo>
                  <a:lnTo>
                    <a:pt x="26" y="144"/>
                  </a:lnTo>
                  <a:lnTo>
                    <a:pt x="22" y="146"/>
                  </a:lnTo>
                  <a:lnTo>
                    <a:pt x="16" y="148"/>
                  </a:lnTo>
                  <a:lnTo>
                    <a:pt x="14" y="154"/>
                  </a:lnTo>
                  <a:lnTo>
                    <a:pt x="10" y="158"/>
                  </a:lnTo>
                  <a:lnTo>
                    <a:pt x="10" y="158"/>
                  </a:lnTo>
                  <a:lnTo>
                    <a:pt x="10" y="158"/>
                  </a:lnTo>
                  <a:lnTo>
                    <a:pt x="10" y="148"/>
                  </a:lnTo>
                  <a:lnTo>
                    <a:pt x="10" y="148"/>
                  </a:lnTo>
                  <a:lnTo>
                    <a:pt x="6" y="154"/>
                  </a:lnTo>
                  <a:lnTo>
                    <a:pt x="4" y="160"/>
                  </a:lnTo>
                  <a:lnTo>
                    <a:pt x="4" y="160"/>
                  </a:lnTo>
                  <a:lnTo>
                    <a:pt x="6" y="164"/>
                  </a:lnTo>
                  <a:lnTo>
                    <a:pt x="6" y="170"/>
                  </a:lnTo>
                  <a:lnTo>
                    <a:pt x="2" y="178"/>
                  </a:lnTo>
                  <a:lnTo>
                    <a:pt x="2" y="178"/>
                  </a:lnTo>
                  <a:lnTo>
                    <a:pt x="2" y="182"/>
                  </a:lnTo>
                  <a:lnTo>
                    <a:pt x="4" y="188"/>
                  </a:lnTo>
                  <a:lnTo>
                    <a:pt x="8" y="198"/>
                  </a:lnTo>
                  <a:lnTo>
                    <a:pt x="8" y="200"/>
                  </a:lnTo>
                  <a:lnTo>
                    <a:pt x="12" y="204"/>
                  </a:lnTo>
                  <a:lnTo>
                    <a:pt x="12" y="208"/>
                  </a:lnTo>
                  <a:lnTo>
                    <a:pt x="8" y="208"/>
                  </a:lnTo>
                  <a:lnTo>
                    <a:pt x="6" y="208"/>
                  </a:lnTo>
                  <a:lnTo>
                    <a:pt x="2" y="200"/>
                  </a:lnTo>
                  <a:lnTo>
                    <a:pt x="2" y="202"/>
                  </a:lnTo>
                  <a:lnTo>
                    <a:pt x="2" y="210"/>
                  </a:lnTo>
                  <a:lnTo>
                    <a:pt x="0" y="208"/>
                  </a:lnTo>
                  <a:lnTo>
                    <a:pt x="0" y="210"/>
                  </a:lnTo>
                  <a:lnTo>
                    <a:pt x="0" y="210"/>
                  </a:lnTo>
                  <a:lnTo>
                    <a:pt x="4" y="216"/>
                  </a:lnTo>
                  <a:lnTo>
                    <a:pt x="8" y="222"/>
                  </a:lnTo>
                  <a:lnTo>
                    <a:pt x="8" y="222"/>
                  </a:lnTo>
                  <a:lnTo>
                    <a:pt x="14" y="234"/>
                  </a:lnTo>
                  <a:lnTo>
                    <a:pt x="18" y="248"/>
                  </a:lnTo>
                  <a:lnTo>
                    <a:pt x="18" y="248"/>
                  </a:lnTo>
                  <a:lnTo>
                    <a:pt x="20" y="254"/>
                  </a:lnTo>
                  <a:lnTo>
                    <a:pt x="20" y="254"/>
                  </a:lnTo>
                  <a:lnTo>
                    <a:pt x="22" y="264"/>
                  </a:lnTo>
                  <a:lnTo>
                    <a:pt x="24" y="270"/>
                  </a:lnTo>
                  <a:lnTo>
                    <a:pt x="26" y="276"/>
                  </a:lnTo>
                  <a:lnTo>
                    <a:pt x="30" y="290"/>
                  </a:lnTo>
                  <a:lnTo>
                    <a:pt x="30" y="290"/>
                  </a:lnTo>
                  <a:lnTo>
                    <a:pt x="30" y="300"/>
                  </a:lnTo>
                  <a:lnTo>
                    <a:pt x="30" y="306"/>
                  </a:lnTo>
                  <a:lnTo>
                    <a:pt x="32" y="312"/>
                  </a:lnTo>
                  <a:lnTo>
                    <a:pt x="28" y="318"/>
                  </a:lnTo>
                  <a:lnTo>
                    <a:pt x="24" y="3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6" name="Freeform 1786">
              <a:extLst>
                <a:ext uri="{FF2B5EF4-FFF2-40B4-BE49-F238E27FC236}">
                  <a16:creationId xmlns:a16="http://schemas.microsoft.com/office/drawing/2014/main" id="{7FAF2CEA-54B8-4D1C-AF70-716DDDC54CEB}"/>
                </a:ext>
              </a:extLst>
            </p:cNvPr>
            <p:cNvSpPr>
              <a:spLocks/>
            </p:cNvSpPr>
            <p:nvPr/>
          </p:nvSpPr>
          <p:spPr bwMode="auto">
            <a:xfrm>
              <a:off x="7577605" y="5095028"/>
              <a:ext cx="52115" cy="52084"/>
            </a:xfrm>
            <a:custGeom>
              <a:avLst/>
              <a:gdLst/>
              <a:ahLst/>
              <a:cxnLst>
                <a:cxn ang="0">
                  <a:pos x="0" y="0"/>
                </a:cxn>
                <a:cxn ang="0">
                  <a:pos x="0" y="0"/>
                </a:cxn>
                <a:cxn ang="0">
                  <a:pos x="6" y="6"/>
                </a:cxn>
                <a:cxn ang="0">
                  <a:pos x="14" y="8"/>
                </a:cxn>
                <a:cxn ang="0">
                  <a:pos x="22" y="16"/>
                </a:cxn>
                <a:cxn ang="0">
                  <a:pos x="24" y="18"/>
                </a:cxn>
                <a:cxn ang="0">
                  <a:pos x="28" y="22"/>
                </a:cxn>
                <a:cxn ang="0">
                  <a:pos x="26" y="28"/>
                </a:cxn>
                <a:cxn ang="0">
                  <a:pos x="24" y="28"/>
                </a:cxn>
                <a:cxn ang="0">
                  <a:pos x="24" y="28"/>
                </a:cxn>
                <a:cxn ang="0">
                  <a:pos x="22" y="20"/>
                </a:cxn>
                <a:cxn ang="0">
                  <a:pos x="18" y="12"/>
                </a:cxn>
                <a:cxn ang="0">
                  <a:pos x="0" y="2"/>
                </a:cxn>
                <a:cxn ang="0">
                  <a:pos x="0" y="0"/>
                </a:cxn>
              </a:cxnLst>
              <a:rect l="0" t="0" r="r" b="b"/>
              <a:pathLst>
                <a:path w="28" h="28">
                  <a:moveTo>
                    <a:pt x="0" y="0"/>
                  </a:moveTo>
                  <a:lnTo>
                    <a:pt x="0" y="0"/>
                  </a:lnTo>
                  <a:lnTo>
                    <a:pt x="6" y="6"/>
                  </a:lnTo>
                  <a:lnTo>
                    <a:pt x="14" y="8"/>
                  </a:lnTo>
                  <a:lnTo>
                    <a:pt x="22" y="16"/>
                  </a:lnTo>
                  <a:lnTo>
                    <a:pt x="24" y="18"/>
                  </a:lnTo>
                  <a:lnTo>
                    <a:pt x="28" y="22"/>
                  </a:lnTo>
                  <a:lnTo>
                    <a:pt x="26" y="28"/>
                  </a:lnTo>
                  <a:lnTo>
                    <a:pt x="24" y="28"/>
                  </a:lnTo>
                  <a:lnTo>
                    <a:pt x="24" y="28"/>
                  </a:lnTo>
                  <a:lnTo>
                    <a:pt x="22" y="20"/>
                  </a:lnTo>
                  <a:lnTo>
                    <a:pt x="18" y="12"/>
                  </a:lnTo>
                  <a:lnTo>
                    <a:pt x="0" y="2"/>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7" name="Freeform 1787">
              <a:extLst>
                <a:ext uri="{FF2B5EF4-FFF2-40B4-BE49-F238E27FC236}">
                  <a16:creationId xmlns:a16="http://schemas.microsoft.com/office/drawing/2014/main" id="{1A98E1BF-C116-437F-87E1-FE02BCF567BA}"/>
                </a:ext>
              </a:extLst>
            </p:cNvPr>
            <p:cNvSpPr>
              <a:spLocks/>
            </p:cNvSpPr>
            <p:nvPr/>
          </p:nvSpPr>
          <p:spPr bwMode="auto">
            <a:xfrm>
              <a:off x="7521767" y="5132231"/>
              <a:ext cx="89341" cy="52084"/>
            </a:xfrm>
            <a:custGeom>
              <a:avLst/>
              <a:gdLst/>
              <a:ahLst/>
              <a:cxnLst>
                <a:cxn ang="0">
                  <a:pos x="0" y="18"/>
                </a:cxn>
                <a:cxn ang="0">
                  <a:pos x="0" y="16"/>
                </a:cxn>
                <a:cxn ang="0">
                  <a:pos x="0" y="16"/>
                </a:cxn>
                <a:cxn ang="0">
                  <a:pos x="10" y="18"/>
                </a:cxn>
                <a:cxn ang="0">
                  <a:pos x="14" y="18"/>
                </a:cxn>
                <a:cxn ang="0">
                  <a:pos x="18" y="16"/>
                </a:cxn>
                <a:cxn ang="0">
                  <a:pos x="20" y="12"/>
                </a:cxn>
                <a:cxn ang="0">
                  <a:pos x="20" y="16"/>
                </a:cxn>
                <a:cxn ang="0">
                  <a:pos x="28" y="18"/>
                </a:cxn>
                <a:cxn ang="0">
                  <a:pos x="28" y="18"/>
                </a:cxn>
                <a:cxn ang="0">
                  <a:pos x="34" y="12"/>
                </a:cxn>
                <a:cxn ang="0">
                  <a:pos x="40" y="10"/>
                </a:cxn>
                <a:cxn ang="0">
                  <a:pos x="38" y="2"/>
                </a:cxn>
                <a:cxn ang="0">
                  <a:pos x="44" y="0"/>
                </a:cxn>
                <a:cxn ang="0">
                  <a:pos x="48" y="4"/>
                </a:cxn>
                <a:cxn ang="0">
                  <a:pos x="48" y="8"/>
                </a:cxn>
                <a:cxn ang="0">
                  <a:pos x="44" y="10"/>
                </a:cxn>
                <a:cxn ang="0">
                  <a:pos x="44" y="14"/>
                </a:cxn>
                <a:cxn ang="0">
                  <a:pos x="44" y="18"/>
                </a:cxn>
                <a:cxn ang="0">
                  <a:pos x="40" y="18"/>
                </a:cxn>
                <a:cxn ang="0">
                  <a:pos x="36" y="24"/>
                </a:cxn>
                <a:cxn ang="0">
                  <a:pos x="36" y="24"/>
                </a:cxn>
                <a:cxn ang="0">
                  <a:pos x="26" y="26"/>
                </a:cxn>
                <a:cxn ang="0">
                  <a:pos x="16" y="28"/>
                </a:cxn>
                <a:cxn ang="0">
                  <a:pos x="14" y="26"/>
                </a:cxn>
                <a:cxn ang="0">
                  <a:pos x="10" y="26"/>
                </a:cxn>
                <a:cxn ang="0">
                  <a:pos x="2" y="22"/>
                </a:cxn>
                <a:cxn ang="0">
                  <a:pos x="0" y="18"/>
                </a:cxn>
              </a:cxnLst>
              <a:rect l="0" t="0" r="r" b="b"/>
              <a:pathLst>
                <a:path w="48" h="28">
                  <a:moveTo>
                    <a:pt x="0" y="18"/>
                  </a:moveTo>
                  <a:lnTo>
                    <a:pt x="0" y="16"/>
                  </a:lnTo>
                  <a:lnTo>
                    <a:pt x="0" y="16"/>
                  </a:lnTo>
                  <a:lnTo>
                    <a:pt x="10" y="18"/>
                  </a:lnTo>
                  <a:lnTo>
                    <a:pt x="14" y="18"/>
                  </a:lnTo>
                  <a:lnTo>
                    <a:pt x="18" y="16"/>
                  </a:lnTo>
                  <a:lnTo>
                    <a:pt x="20" y="12"/>
                  </a:lnTo>
                  <a:lnTo>
                    <a:pt x="20" y="16"/>
                  </a:lnTo>
                  <a:lnTo>
                    <a:pt x="28" y="18"/>
                  </a:lnTo>
                  <a:lnTo>
                    <a:pt x="28" y="18"/>
                  </a:lnTo>
                  <a:lnTo>
                    <a:pt x="34" y="12"/>
                  </a:lnTo>
                  <a:lnTo>
                    <a:pt x="40" y="10"/>
                  </a:lnTo>
                  <a:lnTo>
                    <a:pt x="38" y="2"/>
                  </a:lnTo>
                  <a:lnTo>
                    <a:pt x="44" y="0"/>
                  </a:lnTo>
                  <a:lnTo>
                    <a:pt x="48" y="4"/>
                  </a:lnTo>
                  <a:lnTo>
                    <a:pt x="48" y="8"/>
                  </a:lnTo>
                  <a:lnTo>
                    <a:pt x="44" y="10"/>
                  </a:lnTo>
                  <a:lnTo>
                    <a:pt x="44" y="14"/>
                  </a:lnTo>
                  <a:lnTo>
                    <a:pt x="44" y="18"/>
                  </a:lnTo>
                  <a:lnTo>
                    <a:pt x="40" y="18"/>
                  </a:lnTo>
                  <a:lnTo>
                    <a:pt x="36" y="24"/>
                  </a:lnTo>
                  <a:lnTo>
                    <a:pt x="36" y="24"/>
                  </a:lnTo>
                  <a:lnTo>
                    <a:pt x="26" y="26"/>
                  </a:lnTo>
                  <a:lnTo>
                    <a:pt x="16" y="28"/>
                  </a:lnTo>
                  <a:lnTo>
                    <a:pt x="14" y="26"/>
                  </a:lnTo>
                  <a:lnTo>
                    <a:pt x="10" y="26"/>
                  </a:lnTo>
                  <a:lnTo>
                    <a:pt x="2" y="22"/>
                  </a:lnTo>
                  <a:lnTo>
                    <a:pt x="0" y="18"/>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8" name="Freeform 1788">
              <a:extLst>
                <a:ext uri="{FF2B5EF4-FFF2-40B4-BE49-F238E27FC236}">
                  <a16:creationId xmlns:a16="http://schemas.microsoft.com/office/drawing/2014/main" id="{46B4D1DE-3FEC-44F1-845F-15611197FB4B}"/>
                </a:ext>
              </a:extLst>
            </p:cNvPr>
            <p:cNvSpPr>
              <a:spLocks/>
            </p:cNvSpPr>
            <p:nvPr/>
          </p:nvSpPr>
          <p:spPr bwMode="auto">
            <a:xfrm>
              <a:off x="7659501" y="5150832"/>
              <a:ext cx="1861" cy="7441"/>
            </a:xfrm>
            <a:custGeom>
              <a:avLst/>
              <a:gdLst/>
              <a:ahLst/>
              <a:cxnLst>
                <a:cxn ang="0">
                  <a:pos x="0" y="0"/>
                </a:cxn>
                <a:cxn ang="0">
                  <a:pos x="0" y="4"/>
                </a:cxn>
                <a:cxn ang="0">
                  <a:pos x="0" y="0"/>
                </a:cxn>
              </a:cxnLst>
              <a:rect l="0" t="0" r="r" b="b"/>
              <a:pathLst>
                <a:path h="4">
                  <a:moveTo>
                    <a:pt x="0" y="0"/>
                  </a:moveTo>
                  <a:lnTo>
                    <a:pt x="0" y="4"/>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19" name="Freeform 1789">
              <a:extLst>
                <a:ext uri="{FF2B5EF4-FFF2-40B4-BE49-F238E27FC236}">
                  <a16:creationId xmlns:a16="http://schemas.microsoft.com/office/drawing/2014/main" id="{F41299D2-7E51-4594-AE67-C61D309CB65B}"/>
                </a:ext>
              </a:extLst>
            </p:cNvPr>
            <p:cNvSpPr>
              <a:spLocks/>
            </p:cNvSpPr>
            <p:nvPr/>
          </p:nvSpPr>
          <p:spPr bwMode="auto">
            <a:xfrm>
              <a:off x="7663223" y="5161993"/>
              <a:ext cx="26058" cy="33482"/>
            </a:xfrm>
            <a:custGeom>
              <a:avLst/>
              <a:gdLst/>
              <a:ahLst/>
              <a:cxnLst>
                <a:cxn ang="0">
                  <a:pos x="0" y="0"/>
                </a:cxn>
                <a:cxn ang="0">
                  <a:pos x="2" y="0"/>
                </a:cxn>
                <a:cxn ang="0">
                  <a:pos x="14" y="14"/>
                </a:cxn>
                <a:cxn ang="0">
                  <a:pos x="14" y="18"/>
                </a:cxn>
                <a:cxn ang="0">
                  <a:pos x="10" y="18"/>
                </a:cxn>
                <a:cxn ang="0">
                  <a:pos x="6" y="16"/>
                </a:cxn>
                <a:cxn ang="0">
                  <a:pos x="6" y="10"/>
                </a:cxn>
                <a:cxn ang="0">
                  <a:pos x="0" y="4"/>
                </a:cxn>
                <a:cxn ang="0">
                  <a:pos x="0" y="0"/>
                </a:cxn>
              </a:cxnLst>
              <a:rect l="0" t="0" r="r" b="b"/>
              <a:pathLst>
                <a:path w="14" h="18">
                  <a:moveTo>
                    <a:pt x="0" y="0"/>
                  </a:moveTo>
                  <a:lnTo>
                    <a:pt x="2" y="0"/>
                  </a:lnTo>
                  <a:lnTo>
                    <a:pt x="14" y="14"/>
                  </a:lnTo>
                  <a:lnTo>
                    <a:pt x="14" y="18"/>
                  </a:lnTo>
                  <a:lnTo>
                    <a:pt x="10" y="18"/>
                  </a:lnTo>
                  <a:lnTo>
                    <a:pt x="6" y="16"/>
                  </a:lnTo>
                  <a:lnTo>
                    <a:pt x="6" y="10"/>
                  </a:lnTo>
                  <a:lnTo>
                    <a:pt x="0" y="4"/>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0" name="Freeform 1790">
              <a:extLst>
                <a:ext uri="{FF2B5EF4-FFF2-40B4-BE49-F238E27FC236}">
                  <a16:creationId xmlns:a16="http://schemas.microsoft.com/office/drawing/2014/main" id="{E5528811-BA6D-4122-9A80-BF300F7829C1}"/>
                </a:ext>
              </a:extLst>
            </p:cNvPr>
            <p:cNvSpPr>
              <a:spLocks/>
            </p:cNvSpPr>
            <p:nvPr/>
          </p:nvSpPr>
          <p:spPr bwMode="auto">
            <a:xfrm>
              <a:off x="7700449" y="5191755"/>
              <a:ext cx="22335" cy="14881"/>
            </a:xfrm>
            <a:custGeom>
              <a:avLst/>
              <a:gdLst/>
              <a:ahLst/>
              <a:cxnLst>
                <a:cxn ang="0">
                  <a:pos x="0" y="0"/>
                </a:cxn>
                <a:cxn ang="0">
                  <a:pos x="0" y="0"/>
                </a:cxn>
                <a:cxn ang="0">
                  <a:pos x="8" y="2"/>
                </a:cxn>
                <a:cxn ang="0">
                  <a:pos x="12" y="8"/>
                </a:cxn>
                <a:cxn ang="0">
                  <a:pos x="6" y="6"/>
                </a:cxn>
                <a:cxn ang="0">
                  <a:pos x="0" y="0"/>
                </a:cxn>
              </a:cxnLst>
              <a:rect l="0" t="0" r="r" b="b"/>
              <a:pathLst>
                <a:path w="12" h="8">
                  <a:moveTo>
                    <a:pt x="0" y="0"/>
                  </a:moveTo>
                  <a:lnTo>
                    <a:pt x="0" y="0"/>
                  </a:lnTo>
                  <a:lnTo>
                    <a:pt x="8" y="2"/>
                  </a:lnTo>
                  <a:lnTo>
                    <a:pt x="12" y="8"/>
                  </a:lnTo>
                  <a:lnTo>
                    <a:pt x="6" y="6"/>
                  </a:lnTo>
                  <a:lnTo>
                    <a:pt x="0" y="0"/>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sp>
          <p:nvSpPr>
            <p:cNvPr id="321" name="Freeform 1791">
              <a:extLst>
                <a:ext uri="{FF2B5EF4-FFF2-40B4-BE49-F238E27FC236}">
                  <a16:creationId xmlns:a16="http://schemas.microsoft.com/office/drawing/2014/main" id="{95F1BDB4-1A82-4343-8190-0ADA228CFE8F}"/>
                </a:ext>
              </a:extLst>
            </p:cNvPr>
            <p:cNvSpPr>
              <a:spLocks/>
            </p:cNvSpPr>
            <p:nvPr/>
          </p:nvSpPr>
          <p:spPr bwMode="auto">
            <a:xfrm>
              <a:off x="7719061" y="5221517"/>
              <a:ext cx="11168" cy="14881"/>
            </a:xfrm>
            <a:custGeom>
              <a:avLst/>
              <a:gdLst/>
              <a:ahLst/>
              <a:cxnLst>
                <a:cxn ang="0">
                  <a:pos x="0" y="4"/>
                </a:cxn>
                <a:cxn ang="0">
                  <a:pos x="0" y="2"/>
                </a:cxn>
                <a:cxn ang="0">
                  <a:pos x="2" y="0"/>
                </a:cxn>
                <a:cxn ang="0">
                  <a:pos x="2" y="0"/>
                </a:cxn>
                <a:cxn ang="0">
                  <a:pos x="6" y="4"/>
                </a:cxn>
                <a:cxn ang="0">
                  <a:pos x="6" y="8"/>
                </a:cxn>
                <a:cxn ang="0">
                  <a:pos x="0" y="4"/>
                </a:cxn>
              </a:cxnLst>
              <a:rect l="0" t="0" r="r" b="b"/>
              <a:pathLst>
                <a:path w="6" h="8">
                  <a:moveTo>
                    <a:pt x="0" y="4"/>
                  </a:moveTo>
                  <a:lnTo>
                    <a:pt x="0" y="2"/>
                  </a:lnTo>
                  <a:lnTo>
                    <a:pt x="2" y="0"/>
                  </a:lnTo>
                  <a:lnTo>
                    <a:pt x="2" y="0"/>
                  </a:lnTo>
                  <a:lnTo>
                    <a:pt x="6" y="4"/>
                  </a:lnTo>
                  <a:lnTo>
                    <a:pt x="6" y="8"/>
                  </a:lnTo>
                  <a:lnTo>
                    <a:pt x="0" y="4"/>
                  </a:lnTo>
                  <a:close/>
                </a:path>
              </a:pathLst>
            </a:custGeom>
            <a:grpFill/>
            <a:ln w="3175">
              <a:solidFill>
                <a:schemeClr val="bg1"/>
              </a:solidFill>
              <a:prstDash val="solid"/>
              <a:round/>
              <a:headEnd/>
              <a:tailEnd/>
            </a:ln>
          </p:spPr>
          <p:txBody>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a:latin typeface="Myriad for Rabobank Lt" panose="020B0403030403020204" pitchFamily="34" charset="0"/>
              </a:endParaRPr>
            </a:p>
          </p:txBody>
        </p:sp>
      </p:grpSp>
      <p:sp>
        <p:nvSpPr>
          <p:cNvPr id="722" name="TextBox 721"/>
          <p:cNvSpPr txBox="1"/>
          <p:nvPr/>
        </p:nvSpPr>
        <p:spPr>
          <a:xfrm>
            <a:off x="3583101" y="3447775"/>
            <a:ext cx="496594" cy="123111"/>
          </a:xfrm>
          <a:prstGeom prst="rect">
            <a:avLst/>
          </a:prstGeom>
          <a:noFill/>
          <a:ln w="12700">
            <a:noFill/>
          </a:ln>
        </p:spPr>
        <p:txBody>
          <a:bodyPr wrap="square" lIns="0" tIns="0" rIns="0" bIns="0" rtlCol="0" anchor="t" anchorCtr="0">
            <a:spAutoFit/>
          </a:bodyPr>
          <a:lstStyle/>
          <a:p>
            <a:pPr algn="ctr"/>
            <a:r>
              <a:rPr lang="nl-NL" sz="800">
                <a:solidFill>
                  <a:srgbClr val="5E6A71"/>
                </a:solidFill>
              </a:rPr>
              <a:t>Ivory Coast</a:t>
            </a:r>
          </a:p>
        </p:txBody>
      </p:sp>
      <p:sp>
        <p:nvSpPr>
          <p:cNvPr id="723" name="TextBox 722"/>
          <p:cNvSpPr txBox="1"/>
          <p:nvPr/>
        </p:nvSpPr>
        <p:spPr>
          <a:xfrm>
            <a:off x="3861881" y="3505482"/>
            <a:ext cx="688357" cy="123111"/>
          </a:xfrm>
          <a:prstGeom prst="rect">
            <a:avLst/>
          </a:prstGeom>
          <a:noFill/>
          <a:ln w="12700">
            <a:noFill/>
          </a:ln>
        </p:spPr>
        <p:txBody>
          <a:bodyPr wrap="square" lIns="0" tIns="0" rIns="0" bIns="0" rtlCol="0" anchor="t" anchorCtr="0">
            <a:spAutoFit/>
          </a:bodyPr>
          <a:lstStyle/>
          <a:p>
            <a:pPr algn="ctr"/>
            <a:r>
              <a:rPr lang="nl-NL" sz="800">
                <a:solidFill>
                  <a:srgbClr val="5E6A71"/>
                </a:solidFill>
              </a:rPr>
              <a:t>Ghana</a:t>
            </a:r>
          </a:p>
        </p:txBody>
      </p:sp>
      <p:sp>
        <p:nvSpPr>
          <p:cNvPr id="724" name="TextBox 723"/>
          <p:cNvSpPr txBox="1"/>
          <p:nvPr/>
        </p:nvSpPr>
        <p:spPr>
          <a:xfrm>
            <a:off x="4801402" y="3431999"/>
            <a:ext cx="688357" cy="123111"/>
          </a:xfrm>
          <a:prstGeom prst="rect">
            <a:avLst/>
          </a:prstGeom>
          <a:noFill/>
          <a:ln w="12700">
            <a:noFill/>
          </a:ln>
        </p:spPr>
        <p:txBody>
          <a:bodyPr wrap="square" lIns="0" tIns="0" rIns="0" bIns="0" rtlCol="0" anchor="t" anchorCtr="0">
            <a:spAutoFit/>
          </a:bodyPr>
          <a:lstStyle/>
          <a:p>
            <a:pPr algn="ctr"/>
            <a:r>
              <a:rPr lang="nl-NL" sz="800">
                <a:solidFill>
                  <a:srgbClr val="5E6A71"/>
                </a:solidFill>
              </a:rPr>
              <a:t>Kenia</a:t>
            </a:r>
          </a:p>
        </p:txBody>
      </p:sp>
      <p:sp>
        <p:nvSpPr>
          <p:cNvPr id="725" name="TextBox 724"/>
          <p:cNvSpPr txBox="1"/>
          <p:nvPr/>
        </p:nvSpPr>
        <p:spPr>
          <a:xfrm>
            <a:off x="4726814" y="3545964"/>
            <a:ext cx="688357" cy="246221"/>
          </a:xfrm>
          <a:prstGeom prst="rect">
            <a:avLst/>
          </a:prstGeom>
          <a:noFill/>
          <a:ln w="12700">
            <a:noFill/>
          </a:ln>
        </p:spPr>
        <p:txBody>
          <a:bodyPr wrap="square" lIns="0" tIns="0" rIns="0" bIns="0" rtlCol="0" anchor="t" anchorCtr="0">
            <a:spAutoFit/>
          </a:bodyPr>
          <a:lstStyle/>
          <a:p>
            <a:pPr algn="ctr"/>
            <a:r>
              <a:rPr lang="nl-NL" sz="800">
                <a:solidFill>
                  <a:srgbClr val="5E6A71"/>
                </a:solidFill>
              </a:rPr>
              <a:t>Uganda</a:t>
            </a:r>
          </a:p>
          <a:p>
            <a:pPr algn="ctr"/>
            <a:endParaRPr lang="nl-NL" sz="800">
              <a:solidFill>
                <a:srgbClr val="5E6A71"/>
              </a:solidFill>
            </a:endParaRPr>
          </a:p>
        </p:txBody>
      </p:sp>
      <p:sp>
        <p:nvSpPr>
          <p:cNvPr id="726" name="TextBox 725"/>
          <p:cNvSpPr txBox="1"/>
          <p:nvPr/>
        </p:nvSpPr>
        <p:spPr>
          <a:xfrm>
            <a:off x="4721509" y="3659211"/>
            <a:ext cx="688357" cy="123111"/>
          </a:xfrm>
          <a:prstGeom prst="rect">
            <a:avLst/>
          </a:prstGeom>
          <a:noFill/>
          <a:ln w="12700">
            <a:noFill/>
          </a:ln>
        </p:spPr>
        <p:txBody>
          <a:bodyPr wrap="square" lIns="0" tIns="0" rIns="0" bIns="0" rtlCol="0" anchor="t" anchorCtr="0">
            <a:spAutoFit/>
          </a:bodyPr>
          <a:lstStyle/>
          <a:p>
            <a:pPr algn="ctr"/>
            <a:r>
              <a:rPr lang="nl-NL" sz="800" dirty="0">
                <a:solidFill>
                  <a:srgbClr val="5E6A71"/>
                </a:solidFill>
              </a:rPr>
              <a:t>Tanzania</a:t>
            </a:r>
          </a:p>
        </p:txBody>
      </p:sp>
      <p:sp>
        <p:nvSpPr>
          <p:cNvPr id="727" name="TextBox 726"/>
          <p:cNvSpPr txBox="1"/>
          <p:nvPr/>
        </p:nvSpPr>
        <p:spPr>
          <a:xfrm>
            <a:off x="4902024" y="3770696"/>
            <a:ext cx="688357" cy="123111"/>
          </a:xfrm>
          <a:prstGeom prst="rect">
            <a:avLst/>
          </a:prstGeom>
          <a:noFill/>
          <a:ln w="12700">
            <a:noFill/>
          </a:ln>
        </p:spPr>
        <p:txBody>
          <a:bodyPr wrap="square" lIns="0" tIns="0" rIns="0" bIns="0" rtlCol="0" anchor="t" anchorCtr="0">
            <a:spAutoFit/>
          </a:bodyPr>
          <a:lstStyle/>
          <a:p>
            <a:pPr algn="ctr"/>
            <a:r>
              <a:rPr lang="nl-NL" sz="800" dirty="0">
                <a:solidFill>
                  <a:srgbClr val="5E6A71"/>
                </a:solidFill>
              </a:rPr>
              <a:t>Zambia</a:t>
            </a:r>
          </a:p>
        </p:txBody>
      </p:sp>
      <p:sp>
        <p:nvSpPr>
          <p:cNvPr id="728" name="TextBox 727"/>
          <p:cNvSpPr txBox="1"/>
          <p:nvPr/>
        </p:nvSpPr>
        <p:spPr>
          <a:xfrm>
            <a:off x="2331262" y="3698033"/>
            <a:ext cx="688357" cy="123111"/>
          </a:xfrm>
          <a:prstGeom prst="rect">
            <a:avLst/>
          </a:prstGeom>
          <a:noFill/>
          <a:ln w="12700">
            <a:noFill/>
          </a:ln>
        </p:spPr>
        <p:txBody>
          <a:bodyPr wrap="square" lIns="0" tIns="0" rIns="0" bIns="0" rtlCol="0" anchor="t" anchorCtr="0">
            <a:spAutoFit/>
          </a:bodyPr>
          <a:lstStyle/>
          <a:p>
            <a:pPr algn="ctr"/>
            <a:r>
              <a:rPr lang="nl-NL" sz="800" dirty="0">
                <a:solidFill>
                  <a:srgbClr val="5E6A71"/>
                </a:solidFill>
              </a:rPr>
              <a:t>Peru</a:t>
            </a:r>
          </a:p>
        </p:txBody>
      </p:sp>
      <p:sp>
        <p:nvSpPr>
          <p:cNvPr id="729" name="TextBox 728"/>
          <p:cNvSpPr txBox="1"/>
          <p:nvPr/>
        </p:nvSpPr>
        <p:spPr>
          <a:xfrm>
            <a:off x="2677734" y="3229344"/>
            <a:ext cx="688357" cy="123111"/>
          </a:xfrm>
          <a:prstGeom prst="rect">
            <a:avLst/>
          </a:prstGeom>
          <a:noFill/>
          <a:ln w="12700">
            <a:noFill/>
          </a:ln>
        </p:spPr>
        <p:txBody>
          <a:bodyPr wrap="square" lIns="0" tIns="0" rIns="0" bIns="0" rtlCol="0" anchor="t" anchorCtr="0">
            <a:spAutoFit/>
          </a:bodyPr>
          <a:lstStyle/>
          <a:p>
            <a:pPr algn="ctr"/>
            <a:r>
              <a:rPr lang="nl-NL" sz="800">
                <a:solidFill>
                  <a:srgbClr val="5E6A71"/>
                </a:solidFill>
              </a:rPr>
              <a:t>Nicaragua</a:t>
            </a:r>
          </a:p>
        </p:txBody>
      </p:sp>
      <p:sp>
        <p:nvSpPr>
          <p:cNvPr id="4" name="TextBox 3">
            <a:extLst>
              <a:ext uri="{FF2B5EF4-FFF2-40B4-BE49-F238E27FC236}">
                <a16:creationId xmlns:a16="http://schemas.microsoft.com/office/drawing/2014/main" id="{54A9A8D1-BD4A-41E0-9F1E-69FC1F88D9F4}"/>
              </a:ext>
            </a:extLst>
          </p:cNvPr>
          <p:cNvSpPr txBox="1"/>
          <p:nvPr/>
        </p:nvSpPr>
        <p:spPr>
          <a:xfrm>
            <a:off x="6600957" y="1609718"/>
            <a:ext cx="2290600" cy="2554545"/>
          </a:xfrm>
          <a:prstGeom prst="rect">
            <a:avLst/>
          </a:prstGeom>
          <a:noFill/>
          <a:ln w="12700">
            <a:noFill/>
          </a:ln>
        </p:spPr>
        <p:txBody>
          <a:bodyPr wrap="square" lIns="0" tIns="0" rIns="0" bIns="0" rtlCol="0" anchor="t" anchorCtr="0">
            <a:spAutoFit/>
          </a:bodyPr>
          <a:lstStyle/>
          <a:p>
            <a:pPr algn="ctr"/>
            <a:r>
              <a:rPr lang="en-GB" b="1" i="1" u="sng" dirty="0" err="1">
                <a:solidFill>
                  <a:schemeClr val="accent2"/>
                </a:solidFill>
                <a:highlight>
                  <a:srgbClr val="FFFF00"/>
                </a:highlight>
              </a:rPr>
              <a:t>Cifras</a:t>
            </a:r>
            <a:r>
              <a:rPr lang="en-GB" b="1" i="1" u="sng" dirty="0">
                <a:solidFill>
                  <a:schemeClr val="accent2"/>
                </a:solidFill>
                <a:highlight>
                  <a:srgbClr val="FFFF00"/>
                </a:highlight>
              </a:rPr>
              <a:t> </a:t>
            </a:r>
            <a:r>
              <a:rPr lang="en-GB" b="1" i="1" u="sng" dirty="0" err="1">
                <a:solidFill>
                  <a:schemeClr val="accent2"/>
                </a:solidFill>
                <a:highlight>
                  <a:srgbClr val="FFFF00"/>
                </a:highlight>
              </a:rPr>
              <a:t>alcanzadas</a:t>
            </a:r>
            <a:r>
              <a:rPr lang="en-GB" b="1" i="1" u="sng" dirty="0">
                <a:solidFill>
                  <a:schemeClr val="accent2"/>
                </a:solidFill>
                <a:highlight>
                  <a:srgbClr val="FFFF00"/>
                </a:highlight>
              </a:rPr>
              <a:t> (al 3/7/23)</a:t>
            </a:r>
          </a:p>
          <a:p>
            <a:pPr marL="285750" indent="-285750">
              <a:buFont typeface="Arial" panose="020B0604020202020204" pitchFamily="34" charset="0"/>
              <a:buChar char="•"/>
            </a:pPr>
            <a:r>
              <a:rPr lang="en-GB" sz="1600" b="1" i="1" dirty="0">
                <a:solidFill>
                  <a:schemeClr val="accent2"/>
                </a:solidFill>
              </a:rPr>
              <a:t>234,304 CRUs</a:t>
            </a:r>
          </a:p>
          <a:p>
            <a:pPr marL="285750" indent="-285750">
              <a:buFont typeface="Arial" panose="020B0604020202020204" pitchFamily="34" charset="0"/>
              <a:buChar char="•"/>
            </a:pPr>
            <a:r>
              <a:rPr lang="en-GB" sz="1600" b="1" i="1" dirty="0">
                <a:solidFill>
                  <a:schemeClr val="accent2"/>
                </a:solidFill>
              </a:rPr>
              <a:t>166,161 </a:t>
            </a:r>
            <a:r>
              <a:rPr lang="en-GB" sz="1600" b="1" i="1" dirty="0" err="1">
                <a:solidFill>
                  <a:schemeClr val="accent2"/>
                </a:solidFill>
              </a:rPr>
              <a:t>Productores</a:t>
            </a:r>
            <a:endParaRPr lang="en-GB" sz="1600" b="1" i="1" dirty="0">
              <a:solidFill>
                <a:schemeClr val="accent2"/>
              </a:solidFill>
            </a:endParaRPr>
          </a:p>
          <a:p>
            <a:pPr marL="285750" indent="-285750">
              <a:buFont typeface="Arial" panose="020B0604020202020204" pitchFamily="34" charset="0"/>
              <a:buChar char="•"/>
            </a:pPr>
            <a:r>
              <a:rPr lang="en-GB" sz="1600" b="1" i="1" dirty="0">
                <a:solidFill>
                  <a:schemeClr val="accent2"/>
                </a:solidFill>
              </a:rPr>
              <a:t>176,199 </a:t>
            </a:r>
            <a:r>
              <a:rPr lang="en-GB" sz="1600" b="1" i="1" dirty="0" err="1">
                <a:solidFill>
                  <a:schemeClr val="accent2"/>
                </a:solidFill>
              </a:rPr>
              <a:t>Hectáreas</a:t>
            </a:r>
            <a:endParaRPr lang="en-GB" sz="1600" b="1" i="1" dirty="0">
              <a:solidFill>
                <a:schemeClr val="accent2"/>
              </a:solidFill>
            </a:endParaRPr>
          </a:p>
          <a:p>
            <a:pPr marL="285750" indent="-285750">
              <a:buFont typeface="Arial" panose="020B0604020202020204" pitchFamily="34" charset="0"/>
              <a:buChar char="•"/>
            </a:pPr>
            <a:r>
              <a:rPr lang="en-GB" sz="1600" b="1" i="1" dirty="0">
                <a:solidFill>
                  <a:schemeClr val="accent2"/>
                </a:solidFill>
              </a:rPr>
              <a:t>&gt; 10 </a:t>
            </a:r>
            <a:r>
              <a:rPr lang="en-GB" sz="1600" b="1" i="1" dirty="0" err="1">
                <a:solidFill>
                  <a:schemeClr val="accent2"/>
                </a:solidFill>
              </a:rPr>
              <a:t>países</a:t>
            </a:r>
            <a:endParaRPr lang="en-GB" sz="1600" b="1" i="1" dirty="0">
              <a:solidFill>
                <a:schemeClr val="accent2"/>
              </a:solidFill>
            </a:endParaRPr>
          </a:p>
          <a:p>
            <a:pPr marL="285750" indent="-285750">
              <a:buFont typeface="Arial" panose="020B0604020202020204" pitchFamily="34" charset="0"/>
              <a:buChar char="•"/>
            </a:pPr>
            <a:endParaRPr lang="en-GB" b="1" i="1" u="sng" dirty="0">
              <a:solidFill>
                <a:schemeClr val="accent2"/>
              </a:solidFill>
              <a:highlight>
                <a:srgbClr val="FFFF00"/>
              </a:highlight>
            </a:endParaRPr>
          </a:p>
          <a:p>
            <a:r>
              <a:rPr lang="en-GB" sz="1600" b="1" i="1" u="sng" dirty="0">
                <a:solidFill>
                  <a:schemeClr val="accent2"/>
                </a:solidFill>
                <a:highlight>
                  <a:srgbClr val="FFFF00"/>
                </a:highlight>
              </a:rPr>
              <a:t>Meta </a:t>
            </a:r>
            <a:r>
              <a:rPr lang="en-GB" sz="1600" b="1" i="1" u="sng" dirty="0" err="1">
                <a:solidFill>
                  <a:schemeClr val="accent2"/>
                </a:solidFill>
                <a:highlight>
                  <a:srgbClr val="FFFF00"/>
                </a:highlight>
              </a:rPr>
              <a:t>proyectada</a:t>
            </a:r>
            <a:endParaRPr lang="en-GB" sz="1600" b="1" i="1" u="sng" dirty="0">
              <a:solidFill>
                <a:schemeClr val="accent2"/>
              </a:solidFill>
              <a:highlight>
                <a:srgbClr val="FFFF00"/>
              </a:highlight>
            </a:endParaRPr>
          </a:p>
          <a:p>
            <a:r>
              <a:rPr lang="en-GB" sz="1600" b="1" i="1" u="sng" dirty="0">
                <a:solidFill>
                  <a:schemeClr val="accent2"/>
                </a:solidFill>
                <a:highlight>
                  <a:srgbClr val="FFFF00"/>
                </a:highlight>
              </a:rPr>
              <a:t>&gt; 2´000,000 </a:t>
            </a:r>
            <a:r>
              <a:rPr lang="en-GB" sz="1600" b="1" i="1" u="sng" dirty="0" err="1">
                <a:solidFill>
                  <a:schemeClr val="accent2"/>
                </a:solidFill>
                <a:highlight>
                  <a:srgbClr val="FFFF00"/>
                </a:highlight>
              </a:rPr>
              <a:t>Productores</a:t>
            </a:r>
            <a:r>
              <a:rPr lang="en-GB" sz="1600" b="1" i="1" u="sng" dirty="0">
                <a:solidFill>
                  <a:schemeClr val="accent2"/>
                </a:solidFill>
                <a:highlight>
                  <a:srgbClr val="FFFF00"/>
                </a:highlight>
              </a:rPr>
              <a:t> </a:t>
            </a:r>
          </a:p>
          <a:p>
            <a:pPr marL="285750" indent="-285750">
              <a:buFont typeface="Arial" panose="020B0604020202020204" pitchFamily="34" charset="0"/>
              <a:buChar char="•"/>
            </a:pPr>
            <a:endParaRPr lang="nl-NL" sz="1600" dirty="0">
              <a:solidFill>
                <a:srgbClr val="5E6A71"/>
              </a:solidFill>
            </a:endParaRPr>
          </a:p>
        </p:txBody>
      </p:sp>
      <p:sp>
        <p:nvSpPr>
          <p:cNvPr id="730" name="TextBox 729">
            <a:extLst>
              <a:ext uri="{FF2B5EF4-FFF2-40B4-BE49-F238E27FC236}">
                <a16:creationId xmlns:a16="http://schemas.microsoft.com/office/drawing/2014/main" id="{2E6DCE3B-9946-4D9E-A6EA-C8B7C2FF5508}"/>
              </a:ext>
            </a:extLst>
          </p:cNvPr>
          <p:cNvSpPr txBox="1"/>
          <p:nvPr/>
        </p:nvSpPr>
        <p:spPr>
          <a:xfrm>
            <a:off x="5379132" y="3291245"/>
            <a:ext cx="688357" cy="123111"/>
          </a:xfrm>
          <a:prstGeom prst="rect">
            <a:avLst/>
          </a:prstGeom>
          <a:noFill/>
          <a:ln w="12700">
            <a:noFill/>
          </a:ln>
        </p:spPr>
        <p:txBody>
          <a:bodyPr wrap="square" lIns="0" tIns="0" rIns="0" bIns="0" rtlCol="0" anchor="t" anchorCtr="0">
            <a:spAutoFit/>
          </a:bodyPr>
          <a:lstStyle/>
          <a:p>
            <a:pPr algn="ctr"/>
            <a:r>
              <a:rPr lang="nl-NL" sz="800" dirty="0">
                <a:solidFill>
                  <a:srgbClr val="5E6A71"/>
                </a:solidFill>
              </a:rPr>
              <a:t>India</a:t>
            </a:r>
          </a:p>
        </p:txBody>
      </p:sp>
    </p:spTree>
    <p:extLst>
      <p:ext uri="{BB962C8B-B14F-4D97-AF65-F5344CB8AC3E}">
        <p14:creationId xmlns:p14="http://schemas.microsoft.com/office/powerpoint/2010/main" val="33163077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C4C6D75-ADCE-4ACA-9A65-E99F52E33A61}"/>
              </a:ext>
            </a:extLst>
          </p:cNvPr>
          <p:cNvSpPr>
            <a:spLocks noGrp="1"/>
          </p:cNvSpPr>
          <p:nvPr>
            <p:ph type="sldNum" sz="quarter" idx="11"/>
          </p:nvPr>
        </p:nvSpPr>
        <p:spPr/>
        <p:txBody>
          <a:bodyPr/>
          <a:lstStyle/>
          <a:p>
            <a:fld id="{7CC030A7-D003-45E0-94AF-9D435D41739D}" type="slidenum">
              <a:rPr lang="nl-NL" smtClean="0"/>
              <a:pPr/>
              <a:t>5</a:t>
            </a:fld>
            <a:endParaRPr lang="nl-NL"/>
          </a:p>
        </p:txBody>
      </p:sp>
      <p:sp>
        <p:nvSpPr>
          <p:cNvPr id="10" name="Content Placeholder 9">
            <a:extLst>
              <a:ext uri="{FF2B5EF4-FFF2-40B4-BE49-F238E27FC236}">
                <a16:creationId xmlns:a16="http://schemas.microsoft.com/office/drawing/2014/main" id="{B18B9524-8DA6-4D7A-B713-86A38F520550}"/>
              </a:ext>
            </a:extLst>
          </p:cNvPr>
          <p:cNvSpPr txBox="1">
            <a:spLocks/>
          </p:cNvSpPr>
          <p:nvPr/>
        </p:nvSpPr>
        <p:spPr>
          <a:xfrm>
            <a:off x="468000" y="1159510"/>
            <a:ext cx="8208000" cy="3420000"/>
          </a:xfrm>
          <a:prstGeom prst="rect">
            <a:avLst/>
          </a:prstGeom>
        </p:spPr>
        <p:txBody>
          <a:bodyPr lIns="0" tIns="0" rIns="0" bIns="0"/>
          <a:lstStyle>
            <a:lvl1pPr marL="266700" marR="0" indent="-266700" algn="l" defTabSz="914400" rtl="0" eaLnBrk="1" fontAlgn="auto" latinLnBrk="0" hangingPunct="1">
              <a:lnSpc>
                <a:spcPct val="110000"/>
              </a:lnSpc>
              <a:spcBef>
                <a:spcPts val="400"/>
              </a:spcBef>
              <a:spcAft>
                <a:spcPts val="0"/>
              </a:spcAft>
              <a:buClr>
                <a:schemeClr val="accent2"/>
              </a:buClr>
              <a:buSzPct val="90000"/>
              <a:buFont typeface="Lucida Grande"/>
              <a:buChar char="•"/>
              <a:tabLst/>
              <a:defRPr kumimoji="0" lang="nl-NL" sz="1800" b="0" i="0" u="none" strike="noStrike" kern="1200" cap="none" spc="0" normalizeH="0" baseline="0" noProof="0">
                <a:ln>
                  <a:noFill/>
                </a:ln>
                <a:solidFill>
                  <a:schemeClr val="tx1"/>
                </a:solidFill>
                <a:effectLst/>
                <a:uLnTx/>
                <a:uFillTx/>
                <a:latin typeface="Calibri Light" panose="020F0302020204030204" pitchFamily="34" charset="0"/>
                <a:ea typeface="+mn-ea"/>
                <a:cs typeface="Calibri Light" panose="020F0302020204030204" pitchFamily="34" charset="0"/>
              </a:defRPr>
            </a:lvl1pPr>
            <a:lvl2pPr marL="541338" marR="0" indent="-266700" algn="l" defTabSz="914400" rtl="0" eaLnBrk="1" fontAlgn="auto" latinLnBrk="0" hangingPunct="1">
              <a:lnSpc>
                <a:spcPct val="110000"/>
              </a:lnSpc>
              <a:spcBef>
                <a:spcPts val="400"/>
              </a:spcBef>
              <a:spcAft>
                <a:spcPts val="0"/>
              </a:spcAft>
              <a:buClr>
                <a:schemeClr val="tx2"/>
              </a:buClr>
              <a:buSzPct val="90000"/>
              <a:buFont typeface="Lucida Grande"/>
              <a:buChar char="•"/>
              <a:tabLst/>
              <a:defRPr kumimoji="0" lang="nl-NL" sz="1600" b="0"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defRPr>
            </a:lvl2pPr>
            <a:lvl3pPr marL="808038" marR="0" indent="-266700" algn="l" defTabSz="914400" rtl="0" eaLnBrk="1" fontAlgn="auto" latinLnBrk="0" hangingPunct="1">
              <a:lnSpc>
                <a:spcPct val="110000"/>
              </a:lnSpc>
              <a:spcBef>
                <a:spcPts val="400"/>
              </a:spcBef>
              <a:spcAft>
                <a:spcPts val="0"/>
              </a:spcAft>
              <a:buClr>
                <a:schemeClr val="accent2"/>
              </a:buClr>
              <a:buSzPct val="90000"/>
              <a:buFont typeface="Lucida Grande"/>
              <a:buChar char="•"/>
              <a:tabLst/>
              <a:defRPr kumimoji="0" lang="nl-NL" sz="1600" b="0"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defRPr>
            </a:lvl3pPr>
            <a:lvl4pPr marL="0" marR="0" indent="0" algn="l" defTabSz="914400" rtl="0" eaLnBrk="1" fontAlgn="auto" latinLnBrk="0" hangingPunct="1">
              <a:lnSpc>
                <a:spcPct val="110000"/>
              </a:lnSpc>
              <a:spcBef>
                <a:spcPts val="400"/>
              </a:spcBef>
              <a:spcAft>
                <a:spcPts val="0"/>
              </a:spcAft>
              <a:buClr>
                <a:srgbClr val="5E6A71"/>
              </a:buClr>
              <a:buSzPct val="80000"/>
              <a:buFont typeface="Arial" pitchFamily="34" charset="0"/>
              <a:buNone/>
              <a:tabLst/>
              <a:defRPr kumimoji="0" lang="nl-NL" sz="1800" b="1" i="1" u="none" strike="noStrike" kern="1200" cap="none" spc="0" normalizeH="0" baseline="0" noProof="0">
                <a:ln>
                  <a:noFill/>
                </a:ln>
                <a:solidFill>
                  <a:schemeClr val="accent2"/>
                </a:solidFill>
                <a:effectLst/>
                <a:uLnTx/>
                <a:uFillTx/>
                <a:latin typeface="Calibri" panose="020F0502020204030204" pitchFamily="34" charset="0"/>
                <a:ea typeface="+mn-ea"/>
                <a:cs typeface="Calibri" panose="020F0502020204030204" pitchFamily="34" charset="0"/>
              </a:defRPr>
            </a:lvl4pPr>
            <a:lvl5pPr marL="1588" marR="0" indent="0" algn="l" defTabSz="914400" rtl="0" eaLnBrk="1" fontAlgn="auto" latinLnBrk="0" hangingPunct="1">
              <a:lnSpc>
                <a:spcPct val="110000"/>
              </a:lnSpc>
              <a:spcBef>
                <a:spcPts val="400"/>
              </a:spcBef>
              <a:spcAft>
                <a:spcPts val="0"/>
              </a:spcAft>
              <a:buClrTx/>
              <a:buSzTx/>
              <a:buFont typeface="Arial"/>
              <a:buNone/>
              <a:tabLst/>
              <a:defRPr kumimoji="0" lang="nl-NL" sz="1800" b="1" i="1" u="none" strike="noStrike" kern="1200" cap="none" spc="0" normalizeH="0" baseline="0" noProof="0">
                <a:ln>
                  <a:noFill/>
                </a:ln>
                <a:solidFill>
                  <a:schemeClr val="tx2"/>
                </a:solidFill>
                <a:effectLst/>
                <a:uLnTx/>
                <a:uFillTx/>
                <a:latin typeface="Calibri" panose="020F0502020204030204" pitchFamily="34" charset="0"/>
                <a:ea typeface="+mn-ea"/>
                <a:cs typeface="Calibri" panose="020F0502020204030204" pitchFamily="34" charset="0"/>
              </a:defRPr>
            </a:lvl5pPr>
            <a:lvl6pPr marL="177800" indent="-177800" algn="l" defTabSz="456999" rtl="0" eaLnBrk="1" latinLnBrk="0" hangingPunct="1">
              <a:lnSpc>
                <a:spcPct val="90000"/>
              </a:lnSpc>
              <a:spcBef>
                <a:spcPct val="20000"/>
              </a:spcBef>
              <a:buFont typeface="Arial"/>
              <a:buChar char="•"/>
              <a:defRPr sz="1600" kern="1200">
                <a:solidFill>
                  <a:schemeClr val="tx1"/>
                </a:solidFill>
                <a:latin typeface="+mn-lt"/>
                <a:ea typeface="+mn-ea"/>
                <a:cs typeface="+mn-cs"/>
              </a:defRPr>
            </a:lvl6pPr>
            <a:lvl7pPr marL="177800" indent="-177800" algn="l" defTabSz="456999" rtl="0" eaLnBrk="1" latinLnBrk="0" hangingPunct="1">
              <a:lnSpc>
                <a:spcPct val="90000"/>
              </a:lnSpc>
              <a:spcBef>
                <a:spcPct val="20000"/>
              </a:spcBef>
              <a:buFont typeface="Arial"/>
              <a:buChar char="•"/>
              <a:defRPr sz="1600" kern="1200">
                <a:solidFill>
                  <a:schemeClr val="tx1"/>
                </a:solidFill>
                <a:latin typeface="+mn-lt"/>
                <a:ea typeface="+mn-ea"/>
                <a:cs typeface="+mn-cs"/>
              </a:defRPr>
            </a:lvl7pPr>
            <a:lvl8pPr marL="3427495" indent="-228500" algn="l" defTabSz="456999" rtl="0" eaLnBrk="1" latinLnBrk="0" hangingPunct="1">
              <a:spcBef>
                <a:spcPct val="20000"/>
              </a:spcBef>
              <a:buFont typeface="Arial"/>
              <a:buChar char="•"/>
              <a:defRPr sz="2000" kern="1200">
                <a:solidFill>
                  <a:schemeClr val="tx1"/>
                </a:solidFill>
                <a:latin typeface="+mn-lt"/>
                <a:ea typeface="+mn-ea"/>
                <a:cs typeface="+mn-cs"/>
              </a:defRPr>
            </a:lvl8pPr>
            <a:lvl9pPr marL="3884495" indent="-228500" algn="l" defTabSz="456999" rtl="0" eaLnBrk="1" latinLnBrk="0" hangingPunct="1">
              <a:spcBef>
                <a:spcPct val="20000"/>
              </a:spcBef>
              <a:buFont typeface="Arial"/>
              <a:buChar char="•"/>
              <a:defRPr sz="2000" kern="1200">
                <a:solidFill>
                  <a:schemeClr val="tx1"/>
                </a:solidFill>
                <a:latin typeface="+mn-lt"/>
                <a:ea typeface="+mn-ea"/>
                <a:cs typeface="+mn-cs"/>
              </a:defRPr>
            </a:lvl9pPr>
          </a:lstStyle>
          <a:p>
            <a:pPr lvl="3"/>
            <a:endParaRPr lang="en-US" dirty="0">
              <a:sym typeface="+mn-lt"/>
            </a:endParaRPr>
          </a:p>
        </p:txBody>
      </p:sp>
      <p:grpSp>
        <p:nvGrpSpPr>
          <p:cNvPr id="11" name="Group 10">
            <a:extLst>
              <a:ext uri="{FF2B5EF4-FFF2-40B4-BE49-F238E27FC236}">
                <a16:creationId xmlns:a16="http://schemas.microsoft.com/office/drawing/2014/main" id="{738F0CF7-9C1B-49FF-BCEE-868D67119CA6}"/>
              </a:ext>
            </a:extLst>
          </p:cNvPr>
          <p:cNvGrpSpPr/>
          <p:nvPr/>
        </p:nvGrpSpPr>
        <p:grpSpPr>
          <a:xfrm>
            <a:off x="427809" y="1412963"/>
            <a:ext cx="396103" cy="328184"/>
            <a:chOff x="423952" y="1669439"/>
            <a:chExt cx="396103" cy="328184"/>
          </a:xfrm>
        </p:grpSpPr>
        <p:sp>
          <p:nvSpPr>
            <p:cNvPr id="12" name="Rectangle 11">
              <a:extLst>
                <a:ext uri="{FF2B5EF4-FFF2-40B4-BE49-F238E27FC236}">
                  <a16:creationId xmlns:a16="http://schemas.microsoft.com/office/drawing/2014/main" id="{E5575B33-59C6-4EE0-A958-3432392D20AE}"/>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13" name="Freeform 115">
              <a:extLst>
                <a:ext uri="{FF2B5EF4-FFF2-40B4-BE49-F238E27FC236}">
                  <a16:creationId xmlns:a16="http://schemas.microsoft.com/office/drawing/2014/main" id="{6AA3FE6D-9E11-4520-A7C2-48F09EB0D046}"/>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pic>
        <p:nvPicPr>
          <p:cNvPr id="14" name="Picture 13">
            <a:extLst>
              <a:ext uri="{FF2B5EF4-FFF2-40B4-BE49-F238E27FC236}">
                <a16:creationId xmlns:a16="http://schemas.microsoft.com/office/drawing/2014/main" id="{2CE0757F-6034-4045-9C11-82306FE68C8A}"/>
              </a:ext>
            </a:extLst>
          </p:cNvPr>
          <p:cNvPicPr>
            <a:picLocks noChangeAspect="1"/>
          </p:cNvPicPr>
          <p:nvPr>
            <p:custDataLst>
              <p:tags r:id="rId1"/>
            </p:custDataLst>
          </p:nvPr>
        </p:nvPicPr>
        <p:blipFill rotWithShape="1">
          <a:blip r:embed="rId3">
            <a:extLst>
              <a:ext uri="{28A0092B-C50C-407E-A947-70E740481C1C}">
                <a14:useLocalDpi xmlns:a14="http://schemas.microsoft.com/office/drawing/2010/main" val="0"/>
              </a:ext>
            </a:extLst>
          </a:blip>
          <a:srcRect/>
          <a:stretch/>
        </p:blipFill>
        <p:spPr>
          <a:xfrm>
            <a:off x="6124263" y="1643518"/>
            <a:ext cx="2247903" cy="2470441"/>
          </a:xfrm>
          <a:prstGeom prst="rect">
            <a:avLst/>
          </a:prstGeom>
        </p:spPr>
      </p:pic>
      <p:cxnSp>
        <p:nvCxnSpPr>
          <p:cNvPr id="15" name="Straight Connector 14">
            <a:extLst>
              <a:ext uri="{FF2B5EF4-FFF2-40B4-BE49-F238E27FC236}">
                <a16:creationId xmlns:a16="http://schemas.microsoft.com/office/drawing/2014/main" id="{2833F24B-6703-4B19-A49E-504BFC03E065}"/>
              </a:ext>
            </a:extLst>
          </p:cNvPr>
          <p:cNvCxnSpPr/>
          <p:nvPr/>
        </p:nvCxnSpPr>
        <p:spPr>
          <a:xfrm>
            <a:off x="468000" y="2885404"/>
            <a:ext cx="478095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grpSp>
        <p:nvGrpSpPr>
          <p:cNvPr id="16" name="Group 15">
            <a:extLst>
              <a:ext uri="{FF2B5EF4-FFF2-40B4-BE49-F238E27FC236}">
                <a16:creationId xmlns:a16="http://schemas.microsoft.com/office/drawing/2014/main" id="{F4C4A63E-FC3B-4E29-9245-8F4EF6C7AAAB}"/>
              </a:ext>
            </a:extLst>
          </p:cNvPr>
          <p:cNvGrpSpPr/>
          <p:nvPr/>
        </p:nvGrpSpPr>
        <p:grpSpPr>
          <a:xfrm>
            <a:off x="468000" y="2511590"/>
            <a:ext cx="4857157" cy="747628"/>
            <a:chOff x="464143" y="2768069"/>
            <a:chExt cx="3911007" cy="747628"/>
          </a:xfrm>
        </p:grpSpPr>
        <p:cxnSp>
          <p:nvCxnSpPr>
            <p:cNvPr id="17" name="Straight Connector 16">
              <a:extLst>
                <a:ext uri="{FF2B5EF4-FFF2-40B4-BE49-F238E27FC236}">
                  <a16:creationId xmlns:a16="http://schemas.microsoft.com/office/drawing/2014/main" id="{64A5B415-A63B-404E-94ED-F213CFA2A2AB}"/>
                </a:ext>
              </a:extLst>
            </p:cNvPr>
            <p:cNvCxnSpPr/>
            <p:nvPr/>
          </p:nvCxnSpPr>
          <p:spPr>
            <a:xfrm>
              <a:off x="464143" y="2768069"/>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E7391DD-FE5B-437E-9EAE-8EB72B2F0883}"/>
                </a:ext>
              </a:extLst>
            </p:cNvPr>
            <p:cNvCxnSpPr/>
            <p:nvPr/>
          </p:nvCxnSpPr>
          <p:spPr>
            <a:xfrm>
              <a:off x="464143" y="3515697"/>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nvGrpSpPr>
          <p:cNvPr id="19" name="Group 18">
            <a:extLst>
              <a:ext uri="{FF2B5EF4-FFF2-40B4-BE49-F238E27FC236}">
                <a16:creationId xmlns:a16="http://schemas.microsoft.com/office/drawing/2014/main" id="{2BBFCC43-E3F1-4FA4-8667-027F2066BAD1}"/>
              </a:ext>
            </a:extLst>
          </p:cNvPr>
          <p:cNvGrpSpPr/>
          <p:nvPr/>
        </p:nvGrpSpPr>
        <p:grpSpPr>
          <a:xfrm>
            <a:off x="468000" y="2137776"/>
            <a:ext cx="4958757" cy="1495256"/>
            <a:chOff x="464143" y="2394255"/>
            <a:chExt cx="3911007" cy="1495256"/>
          </a:xfrm>
        </p:grpSpPr>
        <p:cxnSp>
          <p:nvCxnSpPr>
            <p:cNvPr id="20" name="Straight Connector 19">
              <a:extLst>
                <a:ext uri="{FF2B5EF4-FFF2-40B4-BE49-F238E27FC236}">
                  <a16:creationId xmlns:a16="http://schemas.microsoft.com/office/drawing/2014/main" id="{A57F6E01-D30A-45DC-B605-622AD3AF6CDA}"/>
                </a:ext>
              </a:extLst>
            </p:cNvPr>
            <p:cNvCxnSpPr/>
            <p:nvPr/>
          </p:nvCxnSpPr>
          <p:spPr>
            <a:xfrm>
              <a:off x="464143" y="2394255"/>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07D3BBE1-2417-43E4-8074-3EDD61462342}"/>
                </a:ext>
              </a:extLst>
            </p:cNvPr>
            <p:cNvCxnSpPr/>
            <p:nvPr/>
          </p:nvCxnSpPr>
          <p:spPr>
            <a:xfrm>
              <a:off x="464143" y="3889511"/>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nvGrpSpPr>
          <p:cNvPr id="22" name="Group 21">
            <a:extLst>
              <a:ext uri="{FF2B5EF4-FFF2-40B4-BE49-F238E27FC236}">
                <a16:creationId xmlns:a16="http://schemas.microsoft.com/office/drawing/2014/main" id="{67A1C8DD-349F-4A24-8164-017DD523330D}"/>
              </a:ext>
            </a:extLst>
          </p:cNvPr>
          <p:cNvGrpSpPr/>
          <p:nvPr/>
        </p:nvGrpSpPr>
        <p:grpSpPr>
          <a:xfrm>
            <a:off x="468000" y="1763962"/>
            <a:ext cx="5117507" cy="2242884"/>
            <a:chOff x="464143" y="2020441"/>
            <a:chExt cx="3911007" cy="2242884"/>
          </a:xfrm>
        </p:grpSpPr>
        <p:cxnSp>
          <p:nvCxnSpPr>
            <p:cNvPr id="23" name="Straight Connector 22">
              <a:extLst>
                <a:ext uri="{FF2B5EF4-FFF2-40B4-BE49-F238E27FC236}">
                  <a16:creationId xmlns:a16="http://schemas.microsoft.com/office/drawing/2014/main" id="{58ED51C6-568E-4967-BF41-E10DBECD98E0}"/>
                </a:ext>
              </a:extLst>
            </p:cNvPr>
            <p:cNvCxnSpPr/>
            <p:nvPr/>
          </p:nvCxnSpPr>
          <p:spPr>
            <a:xfrm>
              <a:off x="464143" y="2020441"/>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A470EA78-D828-4DDA-904A-D5F4588AD475}"/>
                </a:ext>
              </a:extLst>
            </p:cNvPr>
            <p:cNvCxnSpPr/>
            <p:nvPr/>
          </p:nvCxnSpPr>
          <p:spPr>
            <a:xfrm>
              <a:off x="464143" y="4263325"/>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grpSp>
      <p:grpSp>
        <p:nvGrpSpPr>
          <p:cNvPr id="25" name="Group 24">
            <a:extLst>
              <a:ext uri="{FF2B5EF4-FFF2-40B4-BE49-F238E27FC236}">
                <a16:creationId xmlns:a16="http://schemas.microsoft.com/office/drawing/2014/main" id="{B5A25D17-4013-492D-BE80-39693B2BC2E5}"/>
              </a:ext>
            </a:extLst>
          </p:cNvPr>
          <p:cNvGrpSpPr/>
          <p:nvPr/>
        </p:nvGrpSpPr>
        <p:grpSpPr>
          <a:xfrm>
            <a:off x="468000" y="1390148"/>
            <a:ext cx="5334493" cy="3129994"/>
            <a:chOff x="464143" y="1646627"/>
            <a:chExt cx="3911007" cy="3129994"/>
          </a:xfrm>
        </p:grpSpPr>
        <p:cxnSp>
          <p:nvCxnSpPr>
            <p:cNvPr id="26" name="Straight Connector 25">
              <a:extLst>
                <a:ext uri="{FF2B5EF4-FFF2-40B4-BE49-F238E27FC236}">
                  <a16:creationId xmlns:a16="http://schemas.microsoft.com/office/drawing/2014/main" id="{28D8DA98-FA78-4E4D-B0AF-FD54C97413ED}"/>
                </a:ext>
              </a:extLst>
            </p:cNvPr>
            <p:cNvCxnSpPr/>
            <p:nvPr/>
          </p:nvCxnSpPr>
          <p:spPr>
            <a:xfrm>
              <a:off x="464143" y="1646627"/>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A50B62CE-E46C-4778-821A-5FF25126862B}"/>
                </a:ext>
              </a:extLst>
            </p:cNvPr>
            <p:cNvCxnSpPr/>
            <p:nvPr/>
          </p:nvCxnSpPr>
          <p:spPr>
            <a:xfrm>
              <a:off x="464143" y="4776621"/>
              <a:ext cx="3911007" cy="0"/>
            </a:xfrm>
            <a:prstGeom prst="line">
              <a:avLst/>
            </a:prstGeom>
            <a:ln w="12700" cap="rnd">
              <a:solidFill>
                <a:schemeClr val="bg1">
                  <a:lumMod val="50000"/>
                </a:schemeClr>
              </a:solidFill>
              <a:tailEnd type="none"/>
            </a:ln>
            <a:effectLst/>
          </p:spPr>
          <p:style>
            <a:lnRef idx="2">
              <a:schemeClr val="accent1"/>
            </a:lnRef>
            <a:fillRef idx="0">
              <a:schemeClr val="accent1"/>
            </a:fillRef>
            <a:effectRef idx="1">
              <a:schemeClr val="accent1"/>
            </a:effectRef>
            <a:fontRef idx="minor">
              <a:schemeClr val="tx1"/>
            </a:fontRef>
          </p:style>
        </p:cxnSp>
      </p:grpSp>
      <p:sp>
        <p:nvSpPr>
          <p:cNvPr id="28" name="Title44">
            <a:extLst>
              <a:ext uri="{FF2B5EF4-FFF2-40B4-BE49-F238E27FC236}">
                <a16:creationId xmlns:a16="http://schemas.microsoft.com/office/drawing/2014/main" id="{520D252E-91CD-42DD-94FA-4E0C09F1E513}"/>
              </a:ext>
            </a:extLst>
          </p:cNvPr>
          <p:cNvSpPr txBox="1">
            <a:spLocks/>
          </p:cNvSpPr>
          <p:nvPr/>
        </p:nvSpPr>
        <p:spPr>
          <a:xfrm>
            <a:off x="871751" y="1497601"/>
            <a:ext cx="4954242" cy="169277"/>
          </a:xfrm>
          <a:prstGeom prst="rect">
            <a:avLst/>
          </a:prstGeom>
          <a:noFill/>
          <a:ln w="12700">
            <a:noFill/>
          </a:ln>
        </p:spPr>
        <p:txBody>
          <a:bodyPr vert="horz" wrap="square" lIns="0" tIns="0" rIns="0" bIns="0" rtlCol="0" anchor="ctr" anchorCtr="0">
            <a:spAutoFit/>
          </a:bodyPr>
          <a:lstStyle/>
          <a:p>
            <a:pPr>
              <a:buSzPts val="1000"/>
              <a:tabLst>
                <a:tab pos="457200" algn="l"/>
              </a:tabLst>
            </a:pPr>
            <a:r>
              <a:rPr lang="en-GB" sz="1100" dirty="0" err="1">
                <a:latin typeface="Calibri" panose="020F0502020204030204" pitchFamily="34" charset="0"/>
              </a:rPr>
              <a:t>Agroforestería</a:t>
            </a:r>
            <a:r>
              <a:rPr lang="en-GB" sz="1100" dirty="0">
                <a:latin typeface="Calibri" panose="020F0502020204030204" pitchFamily="34" charset="0"/>
              </a:rPr>
              <a:t> </a:t>
            </a:r>
            <a:r>
              <a:rPr lang="en-GB" sz="1100" dirty="0" err="1">
                <a:latin typeface="Calibri" panose="020F0502020204030204" pitchFamily="34" charset="0"/>
              </a:rPr>
              <a:t>nueva</a:t>
            </a:r>
            <a:r>
              <a:rPr lang="en-GB" sz="1100" dirty="0">
                <a:latin typeface="Calibri" panose="020F0502020204030204" pitchFamily="34" charset="0"/>
              </a:rPr>
              <a:t> o </a:t>
            </a:r>
            <a:r>
              <a:rPr lang="en-GB" sz="1100" dirty="0" err="1">
                <a:latin typeface="Calibri" panose="020F0502020204030204" pitchFamily="34" charset="0"/>
              </a:rPr>
              <a:t>existente</a:t>
            </a:r>
            <a:r>
              <a:rPr lang="en-GB" sz="1100" dirty="0">
                <a:latin typeface="Calibri" panose="020F0502020204030204" pitchFamily="34" charset="0"/>
              </a:rPr>
              <a:t> (</a:t>
            </a:r>
            <a:r>
              <a:rPr lang="en-GB" sz="1100" dirty="0" err="1">
                <a:latin typeface="Calibri" panose="020F0502020204030204" pitchFamily="34" charset="0"/>
              </a:rPr>
              <a:t>siempre</a:t>
            </a:r>
            <a:r>
              <a:rPr lang="en-GB" sz="1100" dirty="0">
                <a:latin typeface="Calibri" panose="020F0502020204030204" pitchFamily="34" charset="0"/>
              </a:rPr>
              <a:t> que </a:t>
            </a:r>
            <a:r>
              <a:rPr lang="en-GB" sz="1100" dirty="0" err="1">
                <a:latin typeface="Calibri" panose="020F0502020204030204" pitchFamily="34" charset="0"/>
              </a:rPr>
              <a:t>haya</a:t>
            </a:r>
            <a:r>
              <a:rPr lang="en-GB" sz="1100" dirty="0">
                <a:latin typeface="Calibri" panose="020F0502020204030204" pitchFamily="34" charset="0"/>
              </a:rPr>
              <a:t> </a:t>
            </a:r>
            <a:r>
              <a:rPr lang="en-GB" sz="1100" dirty="0" err="1">
                <a:latin typeface="Calibri" panose="020F0502020204030204" pitchFamily="34" charset="0"/>
              </a:rPr>
              <a:t>comenzado</a:t>
            </a:r>
            <a:r>
              <a:rPr lang="en-GB" sz="1100" dirty="0">
                <a:latin typeface="Calibri" panose="020F0502020204030204" pitchFamily="34" charset="0"/>
              </a:rPr>
              <a:t> </a:t>
            </a:r>
            <a:r>
              <a:rPr lang="en-GB" sz="1100" dirty="0" err="1">
                <a:latin typeface="Calibri" panose="020F0502020204030204" pitchFamily="34" charset="0"/>
              </a:rPr>
              <a:t>en</a:t>
            </a:r>
            <a:r>
              <a:rPr lang="en-GB" sz="1100" dirty="0">
                <a:latin typeface="Calibri" panose="020F0502020204030204" pitchFamily="34" charset="0"/>
              </a:rPr>
              <a:t> los </a:t>
            </a:r>
            <a:r>
              <a:rPr lang="en-GB" sz="1100" dirty="0" err="1">
                <a:latin typeface="Calibri" panose="020F0502020204030204" pitchFamily="34" charset="0"/>
              </a:rPr>
              <a:t>últimos</a:t>
            </a:r>
            <a:r>
              <a:rPr lang="en-GB" sz="1100" dirty="0">
                <a:latin typeface="Calibri" panose="020F0502020204030204" pitchFamily="34" charset="0"/>
              </a:rPr>
              <a:t> 5 </a:t>
            </a:r>
            <a:r>
              <a:rPr lang="en-GB" sz="1100" dirty="0" err="1">
                <a:latin typeface="Calibri" panose="020F0502020204030204" pitchFamily="34" charset="0"/>
              </a:rPr>
              <a:t>años</a:t>
            </a:r>
            <a:r>
              <a:rPr lang="en-GB" sz="1100" dirty="0">
                <a:latin typeface="Calibri" panose="020F0502020204030204" pitchFamily="34" charset="0"/>
              </a:rPr>
              <a:t>)</a:t>
            </a:r>
            <a:endParaRPr lang="nl-NL" sz="1100" dirty="0">
              <a:latin typeface="Calibri" panose="020F0502020204030204" pitchFamily="34" charset="0"/>
            </a:endParaRPr>
          </a:p>
        </p:txBody>
      </p:sp>
      <p:sp>
        <p:nvSpPr>
          <p:cNvPr id="29" name="Title44">
            <a:extLst>
              <a:ext uri="{FF2B5EF4-FFF2-40B4-BE49-F238E27FC236}">
                <a16:creationId xmlns:a16="http://schemas.microsoft.com/office/drawing/2014/main" id="{C7A647D1-E62B-442C-B680-D19612EA9130}"/>
              </a:ext>
            </a:extLst>
          </p:cNvPr>
          <p:cNvSpPr txBox="1">
            <a:spLocks/>
          </p:cNvSpPr>
          <p:nvPr/>
        </p:nvSpPr>
        <p:spPr>
          <a:xfrm>
            <a:off x="867959" y="1866229"/>
            <a:ext cx="3394877" cy="169277"/>
          </a:xfrm>
          <a:prstGeom prst="rect">
            <a:avLst/>
          </a:prstGeom>
          <a:noFill/>
          <a:ln w="12700">
            <a:noFill/>
          </a:ln>
        </p:spPr>
        <p:txBody>
          <a:bodyPr vert="horz" wrap="square" lIns="0" tIns="0" rIns="0" bIns="0" rtlCol="0" anchor="t" anchorCtr="0">
            <a:spAutoFit/>
          </a:bodyPr>
          <a:lstStyle/>
          <a:p>
            <a:r>
              <a:rPr lang="en-GB" sz="1100" dirty="0" err="1">
                <a:latin typeface="Calibri" panose="020F0502020204030204" pitchFamily="34" charset="0"/>
              </a:rPr>
              <a:t>Tamaño</a:t>
            </a:r>
            <a:r>
              <a:rPr lang="en-GB" sz="1100" dirty="0">
                <a:latin typeface="Calibri" panose="020F0502020204030204" pitchFamily="34" charset="0"/>
              </a:rPr>
              <a:t> del </a:t>
            </a:r>
            <a:r>
              <a:rPr lang="en-GB" sz="1100" dirty="0" err="1">
                <a:latin typeface="Calibri" panose="020F0502020204030204" pitchFamily="34" charset="0"/>
              </a:rPr>
              <a:t>área</a:t>
            </a:r>
            <a:r>
              <a:rPr lang="en-GB" sz="1100" dirty="0">
                <a:latin typeface="Calibri" panose="020F0502020204030204" pitchFamily="34" charset="0"/>
              </a:rPr>
              <a:t> </a:t>
            </a:r>
            <a:r>
              <a:rPr lang="en-GB" sz="1100" dirty="0" err="1">
                <a:latin typeface="Calibri" panose="020F0502020204030204" pitchFamily="34" charset="0"/>
              </a:rPr>
              <a:t>cultivada</a:t>
            </a:r>
            <a:r>
              <a:rPr lang="en-GB" sz="1100" dirty="0">
                <a:latin typeface="Calibri" panose="020F0502020204030204" pitchFamily="34" charset="0"/>
              </a:rPr>
              <a:t> es entre 0.1 y 10 </a:t>
            </a:r>
            <a:r>
              <a:rPr lang="en-GB" sz="1100" dirty="0" err="1">
                <a:latin typeface="Calibri" panose="020F0502020204030204" pitchFamily="34" charset="0"/>
              </a:rPr>
              <a:t>hectáreas</a:t>
            </a:r>
            <a:endParaRPr lang="en-GB" sz="1100" dirty="0">
              <a:latin typeface="Calibri" panose="020F0502020204030204" pitchFamily="34" charset="0"/>
            </a:endParaRPr>
          </a:p>
        </p:txBody>
      </p:sp>
      <p:sp>
        <p:nvSpPr>
          <p:cNvPr id="30" name="Title44">
            <a:extLst>
              <a:ext uri="{FF2B5EF4-FFF2-40B4-BE49-F238E27FC236}">
                <a16:creationId xmlns:a16="http://schemas.microsoft.com/office/drawing/2014/main" id="{A6AF757A-D24E-4FEF-A682-438DC17D482F}"/>
              </a:ext>
            </a:extLst>
          </p:cNvPr>
          <p:cNvSpPr txBox="1">
            <a:spLocks/>
          </p:cNvSpPr>
          <p:nvPr/>
        </p:nvSpPr>
        <p:spPr>
          <a:xfrm>
            <a:off x="871751" y="2228329"/>
            <a:ext cx="3805733" cy="169277"/>
          </a:xfrm>
          <a:prstGeom prst="rect">
            <a:avLst/>
          </a:prstGeom>
          <a:noFill/>
          <a:ln w="12700">
            <a:noFill/>
          </a:ln>
        </p:spPr>
        <p:txBody>
          <a:bodyPr vert="horz" wrap="square" lIns="0" tIns="0" rIns="0" bIns="0" rtlCol="0" anchor="t" anchorCtr="0">
            <a:spAutoFit/>
          </a:bodyPr>
          <a:lstStyle/>
          <a:p>
            <a:pPr>
              <a:buSzPts val="1000"/>
              <a:tabLst>
                <a:tab pos="457200" algn="l"/>
              </a:tabLst>
            </a:pPr>
            <a:r>
              <a:rPr lang="en-GB" sz="1100" dirty="0" err="1">
                <a:latin typeface="Calibri" panose="020F0502020204030204" pitchFamily="34" charset="0"/>
              </a:rPr>
              <a:t>En</a:t>
            </a:r>
            <a:r>
              <a:rPr lang="en-GB" sz="1100" dirty="0">
                <a:latin typeface="Calibri" panose="020F0502020204030204" pitchFamily="34" charset="0"/>
              </a:rPr>
              <a:t> la finca no ha </a:t>
            </a:r>
            <a:r>
              <a:rPr lang="en-GB" sz="1100" dirty="0" err="1">
                <a:latin typeface="Calibri" panose="020F0502020204030204" pitchFamily="34" charset="0"/>
              </a:rPr>
              <a:t>ocurrido</a:t>
            </a:r>
            <a:r>
              <a:rPr lang="en-GB" sz="1100" dirty="0">
                <a:latin typeface="Calibri" panose="020F0502020204030204" pitchFamily="34" charset="0"/>
              </a:rPr>
              <a:t> </a:t>
            </a:r>
            <a:r>
              <a:rPr lang="en-GB" sz="1100" dirty="0" err="1">
                <a:latin typeface="Calibri" panose="020F0502020204030204" pitchFamily="34" charset="0"/>
              </a:rPr>
              <a:t>deforestación</a:t>
            </a:r>
            <a:r>
              <a:rPr lang="en-GB" sz="1100" dirty="0">
                <a:latin typeface="Calibri" panose="020F0502020204030204" pitchFamily="34" charset="0"/>
              </a:rPr>
              <a:t> </a:t>
            </a:r>
            <a:r>
              <a:rPr lang="en-GB" sz="1100" dirty="0" err="1">
                <a:latin typeface="Calibri" panose="020F0502020204030204" pitchFamily="34" charset="0"/>
              </a:rPr>
              <a:t>en</a:t>
            </a:r>
            <a:r>
              <a:rPr lang="en-GB" sz="1100" dirty="0">
                <a:latin typeface="Calibri" panose="020F0502020204030204" pitchFamily="34" charset="0"/>
              </a:rPr>
              <a:t> los </a:t>
            </a:r>
            <a:r>
              <a:rPr lang="en-GB" sz="1100" dirty="0" err="1">
                <a:latin typeface="Calibri" panose="020F0502020204030204" pitchFamily="34" charset="0"/>
              </a:rPr>
              <a:t>últimos</a:t>
            </a:r>
            <a:r>
              <a:rPr lang="en-GB" sz="1100" dirty="0">
                <a:latin typeface="Calibri" panose="020F0502020204030204" pitchFamily="34" charset="0"/>
              </a:rPr>
              <a:t> 5 </a:t>
            </a:r>
            <a:r>
              <a:rPr lang="en-GB" sz="1100" dirty="0" err="1">
                <a:latin typeface="Calibri" panose="020F0502020204030204" pitchFamily="34" charset="0"/>
              </a:rPr>
              <a:t>años</a:t>
            </a:r>
            <a:endParaRPr lang="nl-NL" sz="1100" dirty="0">
              <a:effectLst/>
              <a:latin typeface="Calibri" panose="020F0502020204030204" pitchFamily="34" charset="0"/>
              <a:ea typeface="Calibri" panose="020F0502020204030204" pitchFamily="34" charset="0"/>
            </a:endParaRPr>
          </a:p>
        </p:txBody>
      </p:sp>
      <p:sp>
        <p:nvSpPr>
          <p:cNvPr id="31" name="Title44">
            <a:extLst>
              <a:ext uri="{FF2B5EF4-FFF2-40B4-BE49-F238E27FC236}">
                <a16:creationId xmlns:a16="http://schemas.microsoft.com/office/drawing/2014/main" id="{35DFA334-5B1D-4B06-8C6B-392014213F42}"/>
              </a:ext>
            </a:extLst>
          </p:cNvPr>
          <p:cNvSpPr txBox="1">
            <a:spLocks/>
          </p:cNvSpPr>
          <p:nvPr/>
        </p:nvSpPr>
        <p:spPr>
          <a:xfrm>
            <a:off x="890253" y="2987675"/>
            <a:ext cx="4306147" cy="169277"/>
          </a:xfrm>
          <a:prstGeom prst="rect">
            <a:avLst/>
          </a:prstGeom>
          <a:noFill/>
          <a:ln w="12700">
            <a:noFill/>
          </a:ln>
        </p:spPr>
        <p:txBody>
          <a:bodyPr vert="horz" wrap="square" lIns="0" tIns="0" rIns="0" bIns="0" rtlCol="0" anchor="t" anchorCtr="0">
            <a:spAutoFit/>
          </a:bodyPr>
          <a:lstStyle/>
          <a:p>
            <a:r>
              <a:rPr lang="en-GB" sz="1100" dirty="0">
                <a:latin typeface="Calibri" panose="020F0502020204030204" pitchFamily="34" charset="0"/>
              </a:rPr>
              <a:t>Los </a:t>
            </a:r>
            <a:r>
              <a:rPr lang="en-GB" sz="1100" dirty="0" err="1">
                <a:latin typeface="Calibri" panose="020F0502020204030204" pitchFamily="34" charset="0"/>
              </a:rPr>
              <a:t>créditos</a:t>
            </a:r>
            <a:r>
              <a:rPr lang="en-GB" sz="1100" dirty="0">
                <a:latin typeface="Calibri" panose="020F0502020204030204" pitchFamily="34" charset="0"/>
              </a:rPr>
              <a:t> de </a:t>
            </a:r>
            <a:r>
              <a:rPr lang="en-GB" sz="1100" dirty="0" err="1">
                <a:latin typeface="Calibri" panose="020F0502020204030204" pitchFamily="34" charset="0"/>
              </a:rPr>
              <a:t>carbono</a:t>
            </a:r>
            <a:r>
              <a:rPr lang="en-GB" sz="1100" dirty="0">
                <a:latin typeface="Calibri" panose="020F0502020204030204" pitchFamily="34" charset="0"/>
              </a:rPr>
              <a:t> </a:t>
            </a:r>
            <a:r>
              <a:rPr lang="en-GB" sz="1100" dirty="0" err="1">
                <a:latin typeface="Calibri" panose="020F0502020204030204" pitchFamily="34" charset="0"/>
              </a:rPr>
              <a:t>aun</a:t>
            </a:r>
            <a:r>
              <a:rPr lang="en-GB" sz="1100" dirty="0">
                <a:latin typeface="Calibri" panose="020F0502020204030204" pitchFamily="34" charset="0"/>
              </a:rPr>
              <a:t> no </a:t>
            </a:r>
            <a:r>
              <a:rPr lang="en-GB" sz="1100" dirty="0" err="1">
                <a:latin typeface="Calibri" panose="020F0502020204030204" pitchFamily="34" charset="0"/>
              </a:rPr>
              <a:t>han</a:t>
            </a:r>
            <a:r>
              <a:rPr lang="en-GB" sz="1100" dirty="0">
                <a:latin typeface="Calibri" panose="020F0502020204030204" pitchFamily="34" charset="0"/>
              </a:rPr>
              <a:t> </a:t>
            </a:r>
            <a:r>
              <a:rPr lang="en-GB" sz="1100" dirty="0" err="1">
                <a:latin typeface="Calibri" panose="020F0502020204030204" pitchFamily="34" charset="0"/>
              </a:rPr>
              <a:t>sido</a:t>
            </a:r>
            <a:r>
              <a:rPr lang="en-GB" sz="1100" dirty="0">
                <a:latin typeface="Calibri" panose="020F0502020204030204" pitchFamily="34" charset="0"/>
              </a:rPr>
              <a:t> </a:t>
            </a:r>
            <a:r>
              <a:rPr lang="en-GB" sz="1100" dirty="0" err="1">
                <a:latin typeface="Calibri" panose="020F0502020204030204" pitchFamily="34" charset="0"/>
              </a:rPr>
              <a:t>monetizados</a:t>
            </a:r>
            <a:endParaRPr lang="en-GB" sz="1100" dirty="0">
              <a:latin typeface="Calibri" panose="020F0502020204030204" pitchFamily="34" charset="0"/>
            </a:endParaRPr>
          </a:p>
        </p:txBody>
      </p:sp>
      <p:sp>
        <p:nvSpPr>
          <p:cNvPr id="32" name="Title44">
            <a:extLst>
              <a:ext uri="{FF2B5EF4-FFF2-40B4-BE49-F238E27FC236}">
                <a16:creationId xmlns:a16="http://schemas.microsoft.com/office/drawing/2014/main" id="{0AF51D41-C1B9-4CBF-8DEE-73B91D549A5E}"/>
              </a:ext>
            </a:extLst>
          </p:cNvPr>
          <p:cNvSpPr txBox="1">
            <a:spLocks/>
          </p:cNvSpPr>
          <p:nvPr/>
        </p:nvSpPr>
        <p:spPr>
          <a:xfrm>
            <a:off x="890253" y="3349544"/>
            <a:ext cx="4620944" cy="169277"/>
          </a:xfrm>
          <a:prstGeom prst="rect">
            <a:avLst/>
          </a:prstGeom>
          <a:noFill/>
          <a:ln w="12700">
            <a:noFill/>
          </a:ln>
        </p:spPr>
        <p:txBody>
          <a:bodyPr vert="horz" wrap="square" lIns="0" tIns="0" rIns="0" bIns="0" rtlCol="0" anchor="t" anchorCtr="0">
            <a:spAutoFit/>
          </a:bodyPr>
          <a:lstStyle/>
          <a:p>
            <a:r>
              <a:rPr lang="en-GB" sz="1100" dirty="0">
                <a:latin typeface="Calibri" panose="020F0502020204030204" pitchFamily="34" charset="0"/>
              </a:rPr>
              <a:t>No hay </a:t>
            </a:r>
            <a:r>
              <a:rPr lang="en-GB" sz="1100" dirty="0" err="1">
                <a:latin typeface="Calibri" panose="020F0502020204030204" pitchFamily="34" charset="0"/>
              </a:rPr>
              <a:t>restricciones</a:t>
            </a:r>
            <a:r>
              <a:rPr lang="en-GB" sz="1100" dirty="0">
                <a:latin typeface="Calibri" panose="020F0502020204030204" pitchFamily="34" charset="0"/>
              </a:rPr>
              <a:t> </a:t>
            </a:r>
            <a:r>
              <a:rPr lang="en-GB" sz="1100" dirty="0" err="1">
                <a:latin typeface="Calibri" panose="020F0502020204030204" pitchFamily="34" charset="0"/>
              </a:rPr>
              <a:t>gubernamentales</a:t>
            </a:r>
            <a:r>
              <a:rPr lang="en-GB" sz="1100" dirty="0">
                <a:latin typeface="Calibri" panose="020F0502020204030204" pitchFamily="34" charset="0"/>
              </a:rPr>
              <a:t> que </a:t>
            </a:r>
            <a:r>
              <a:rPr lang="en-GB" sz="1100" dirty="0" err="1">
                <a:latin typeface="Calibri" panose="020F0502020204030204" pitchFamily="34" charset="0"/>
              </a:rPr>
              <a:t>impidan</a:t>
            </a:r>
            <a:r>
              <a:rPr lang="en-GB" sz="1100" dirty="0">
                <a:latin typeface="Calibri" panose="020F0502020204030204" pitchFamily="34" charset="0"/>
              </a:rPr>
              <a:t> la </a:t>
            </a:r>
            <a:r>
              <a:rPr lang="en-GB" sz="1100" dirty="0" err="1">
                <a:latin typeface="Calibri" panose="020F0502020204030204" pitchFamily="34" charset="0"/>
              </a:rPr>
              <a:t>venta</a:t>
            </a:r>
            <a:r>
              <a:rPr lang="en-GB" sz="1100" dirty="0">
                <a:latin typeface="Calibri" panose="020F0502020204030204" pitchFamily="34" charset="0"/>
              </a:rPr>
              <a:t> de CRUs</a:t>
            </a:r>
            <a:endParaRPr lang="en-GB" sz="900" dirty="0"/>
          </a:p>
        </p:txBody>
      </p:sp>
      <p:sp>
        <p:nvSpPr>
          <p:cNvPr id="33" name="Title44">
            <a:extLst>
              <a:ext uri="{FF2B5EF4-FFF2-40B4-BE49-F238E27FC236}">
                <a16:creationId xmlns:a16="http://schemas.microsoft.com/office/drawing/2014/main" id="{CD0BFA91-6ACF-470A-BCEE-97C3231942F1}"/>
              </a:ext>
            </a:extLst>
          </p:cNvPr>
          <p:cNvSpPr txBox="1">
            <a:spLocks/>
          </p:cNvSpPr>
          <p:nvPr/>
        </p:nvSpPr>
        <p:spPr>
          <a:xfrm>
            <a:off x="890253" y="3741166"/>
            <a:ext cx="4536502" cy="169277"/>
          </a:xfrm>
          <a:prstGeom prst="rect">
            <a:avLst/>
          </a:prstGeom>
          <a:noFill/>
          <a:ln w="12700">
            <a:noFill/>
          </a:ln>
        </p:spPr>
        <p:txBody>
          <a:bodyPr vert="horz" wrap="square" lIns="0" tIns="0" rIns="0" bIns="0" rtlCol="0" anchor="t" anchorCtr="0">
            <a:spAutoFit/>
          </a:bodyPr>
          <a:lstStyle/>
          <a:p>
            <a:pPr>
              <a:buSzPts val="1000"/>
              <a:tabLst>
                <a:tab pos="457200" algn="l"/>
              </a:tabLst>
            </a:pPr>
            <a:r>
              <a:rPr lang="en-GB" sz="1100" dirty="0" err="1">
                <a:latin typeface="Calibri" panose="020F0502020204030204" pitchFamily="34" charset="0"/>
              </a:rPr>
              <a:t>Proyectos</a:t>
            </a:r>
            <a:r>
              <a:rPr lang="en-GB" sz="1100" dirty="0">
                <a:latin typeface="Calibri" panose="020F0502020204030204" pitchFamily="34" charset="0"/>
              </a:rPr>
              <a:t> con </a:t>
            </a:r>
            <a:r>
              <a:rPr lang="en-GB" sz="1100" dirty="0" err="1">
                <a:latin typeface="Calibri" panose="020F0502020204030204" pitchFamily="34" charset="0"/>
              </a:rPr>
              <a:t>tamaño</a:t>
            </a:r>
            <a:r>
              <a:rPr lang="en-GB" sz="1100" dirty="0">
                <a:latin typeface="Calibri" panose="020F0502020204030204" pitchFamily="34" charset="0"/>
              </a:rPr>
              <a:t> </a:t>
            </a:r>
            <a:r>
              <a:rPr lang="en-GB" sz="1100" dirty="0" err="1">
                <a:latin typeface="Calibri" panose="020F0502020204030204" pitchFamily="34" charset="0"/>
              </a:rPr>
              <a:t>potencial</a:t>
            </a:r>
            <a:r>
              <a:rPr lang="en-GB" sz="1100" dirty="0">
                <a:latin typeface="Calibri" panose="020F0502020204030204" pitchFamily="34" charset="0"/>
              </a:rPr>
              <a:t> de 2.000 </a:t>
            </a:r>
            <a:r>
              <a:rPr lang="en-GB" sz="1100" dirty="0" err="1">
                <a:latin typeface="Calibri" panose="020F0502020204030204" pitchFamily="34" charset="0"/>
              </a:rPr>
              <a:t>Hectáreas</a:t>
            </a:r>
            <a:r>
              <a:rPr lang="en-GB" sz="1100" dirty="0">
                <a:latin typeface="Calibri" panose="020F0502020204030204" pitchFamily="34" charset="0"/>
              </a:rPr>
              <a:t> </a:t>
            </a:r>
          </a:p>
        </p:txBody>
      </p:sp>
      <p:sp>
        <p:nvSpPr>
          <p:cNvPr id="34" name="Title44">
            <a:extLst>
              <a:ext uri="{FF2B5EF4-FFF2-40B4-BE49-F238E27FC236}">
                <a16:creationId xmlns:a16="http://schemas.microsoft.com/office/drawing/2014/main" id="{E43C9C0F-D30E-48FE-9B41-75DC770362CC}"/>
              </a:ext>
            </a:extLst>
          </p:cNvPr>
          <p:cNvSpPr txBox="1">
            <a:spLocks/>
          </p:cNvSpPr>
          <p:nvPr/>
        </p:nvSpPr>
        <p:spPr>
          <a:xfrm>
            <a:off x="867959" y="4094148"/>
            <a:ext cx="4717548" cy="338554"/>
          </a:xfrm>
          <a:prstGeom prst="rect">
            <a:avLst/>
          </a:prstGeom>
          <a:noFill/>
          <a:ln w="12700">
            <a:noFill/>
          </a:ln>
        </p:spPr>
        <p:txBody>
          <a:bodyPr vert="horz" wrap="square" lIns="0" tIns="0" rIns="0" bIns="0" rtlCol="0" anchor="t" anchorCtr="0">
            <a:spAutoFit/>
          </a:bodyPr>
          <a:lstStyle/>
          <a:p>
            <a:r>
              <a:rPr lang="en-GB" sz="1100" dirty="0">
                <a:latin typeface="Calibri" panose="020F0502020204030204" pitchFamily="34" charset="0"/>
              </a:rPr>
              <a:t>Socio Local </a:t>
            </a:r>
            <a:r>
              <a:rPr lang="en-GB" sz="1100" dirty="0" err="1">
                <a:latin typeface="Calibri" panose="020F0502020204030204" pitchFamily="34" charset="0"/>
              </a:rPr>
              <a:t>tiene</a:t>
            </a:r>
            <a:r>
              <a:rPr lang="en-GB" sz="1100" dirty="0">
                <a:latin typeface="Calibri" panose="020F0502020204030204" pitchFamily="34" charset="0"/>
              </a:rPr>
              <a:t> </a:t>
            </a:r>
            <a:r>
              <a:rPr lang="en-GB" sz="1100" dirty="0" err="1">
                <a:latin typeface="Calibri" panose="020F0502020204030204" pitchFamily="34" charset="0"/>
              </a:rPr>
              <a:t>capacidad</a:t>
            </a:r>
            <a:r>
              <a:rPr lang="en-GB" sz="1100" dirty="0">
                <a:latin typeface="Calibri" panose="020F0502020204030204" pitchFamily="34" charset="0"/>
              </a:rPr>
              <a:t> de </a:t>
            </a:r>
            <a:r>
              <a:rPr lang="en-GB" sz="1100" dirty="0" err="1">
                <a:latin typeface="Calibri" panose="020F0502020204030204" pitchFamily="34" charset="0"/>
              </a:rPr>
              <a:t>adquirir</a:t>
            </a:r>
            <a:r>
              <a:rPr lang="en-GB" sz="1100" dirty="0">
                <a:latin typeface="Calibri" panose="020F0502020204030204" pitchFamily="34" charset="0"/>
              </a:rPr>
              <a:t> un </a:t>
            </a:r>
            <a:r>
              <a:rPr lang="en-GB" sz="1100" dirty="0" err="1">
                <a:latin typeface="Calibri" panose="020F0502020204030204" pitchFamily="34" charset="0"/>
              </a:rPr>
              <a:t>compromiso</a:t>
            </a:r>
            <a:r>
              <a:rPr lang="en-GB" sz="1100" dirty="0">
                <a:latin typeface="Calibri" panose="020F0502020204030204" pitchFamily="34" charset="0"/>
              </a:rPr>
              <a:t> de largo </a:t>
            </a:r>
            <a:r>
              <a:rPr lang="en-GB" sz="1100" dirty="0" err="1">
                <a:latin typeface="Calibri" panose="020F0502020204030204" pitchFamily="34" charset="0"/>
              </a:rPr>
              <a:t>plazo</a:t>
            </a:r>
            <a:r>
              <a:rPr lang="en-GB" sz="1100" dirty="0">
                <a:latin typeface="Calibri" panose="020F0502020204030204" pitchFamily="34" charset="0"/>
              </a:rPr>
              <a:t> </a:t>
            </a:r>
            <a:r>
              <a:rPr lang="en-GB" sz="1100" dirty="0" err="1">
                <a:latin typeface="Calibri" panose="020F0502020204030204" pitchFamily="34" charset="0"/>
              </a:rPr>
              <a:t>debido</a:t>
            </a:r>
            <a:r>
              <a:rPr lang="en-GB" sz="1100" dirty="0">
                <a:latin typeface="Calibri" panose="020F0502020204030204" pitchFamily="34" charset="0"/>
              </a:rPr>
              <a:t> a la </a:t>
            </a:r>
            <a:r>
              <a:rPr lang="en-GB" sz="1100" dirty="0" err="1">
                <a:latin typeface="Calibri" panose="020F0502020204030204" pitchFamily="34" charset="0"/>
              </a:rPr>
              <a:t>durabilidad</a:t>
            </a:r>
            <a:r>
              <a:rPr lang="en-GB" sz="1100" dirty="0">
                <a:latin typeface="Calibri" panose="020F0502020204030204" pitchFamily="34" charset="0"/>
              </a:rPr>
              <a:t> de </a:t>
            </a:r>
            <a:r>
              <a:rPr lang="en-GB" sz="1100" dirty="0" err="1">
                <a:latin typeface="Calibri" panose="020F0502020204030204" pitchFamily="34" charset="0"/>
              </a:rPr>
              <a:t>los</a:t>
            </a:r>
            <a:r>
              <a:rPr lang="en-GB" sz="1100" dirty="0">
                <a:latin typeface="Calibri" panose="020F0502020204030204" pitchFamily="34" charset="0"/>
              </a:rPr>
              <a:t> </a:t>
            </a:r>
            <a:r>
              <a:rPr lang="en-GB" sz="1100" dirty="0" err="1">
                <a:latin typeface="Calibri" panose="020F0502020204030204" pitchFamily="34" charset="0"/>
              </a:rPr>
              <a:t>créditos</a:t>
            </a:r>
            <a:r>
              <a:rPr lang="en-GB" sz="1100" dirty="0">
                <a:latin typeface="Calibri" panose="020F0502020204030204" pitchFamily="34" charset="0"/>
              </a:rPr>
              <a:t> (20 </a:t>
            </a:r>
            <a:r>
              <a:rPr lang="en-GB" sz="1100" dirty="0" err="1">
                <a:latin typeface="Calibri" panose="020F0502020204030204" pitchFamily="34" charset="0"/>
              </a:rPr>
              <a:t>años</a:t>
            </a:r>
            <a:r>
              <a:rPr lang="en-GB" sz="1100" dirty="0">
                <a:latin typeface="Calibri" panose="020F0502020204030204" pitchFamily="34" charset="0"/>
              </a:rPr>
              <a:t> de </a:t>
            </a:r>
            <a:r>
              <a:rPr lang="en-GB" sz="1100" dirty="0" err="1">
                <a:latin typeface="Calibri" panose="020F0502020204030204" pitchFamily="34" charset="0"/>
              </a:rPr>
              <a:t>remoción</a:t>
            </a:r>
            <a:r>
              <a:rPr lang="en-GB" sz="1100" dirty="0">
                <a:latin typeface="Calibri" panose="020F0502020204030204" pitchFamily="34" charset="0"/>
              </a:rPr>
              <a:t> del </a:t>
            </a:r>
            <a:r>
              <a:rPr lang="en-GB" sz="1100" dirty="0" err="1">
                <a:latin typeface="Calibri" panose="020F0502020204030204" pitchFamily="34" charset="0"/>
              </a:rPr>
              <a:t>carbono</a:t>
            </a:r>
            <a:r>
              <a:rPr lang="en-GB" sz="1100" dirty="0">
                <a:latin typeface="Calibri" panose="020F0502020204030204" pitchFamily="34" charset="0"/>
              </a:rPr>
              <a:t> </a:t>
            </a:r>
            <a:r>
              <a:rPr lang="en-GB" sz="1100" dirty="0" err="1">
                <a:latin typeface="Calibri" panose="020F0502020204030204" pitchFamily="34" charset="0"/>
              </a:rPr>
              <a:t>vendido</a:t>
            </a:r>
            <a:r>
              <a:rPr lang="en-GB" sz="1100" dirty="0">
                <a:latin typeface="Calibri" panose="020F0502020204030204" pitchFamily="34" charset="0"/>
              </a:rPr>
              <a:t>).</a:t>
            </a:r>
          </a:p>
        </p:txBody>
      </p:sp>
      <p:grpSp>
        <p:nvGrpSpPr>
          <p:cNvPr id="35" name="Group 34">
            <a:extLst>
              <a:ext uri="{FF2B5EF4-FFF2-40B4-BE49-F238E27FC236}">
                <a16:creationId xmlns:a16="http://schemas.microsoft.com/office/drawing/2014/main" id="{1EC2AAE9-9020-44DE-8D19-9C7FA2FCC248}"/>
              </a:ext>
            </a:extLst>
          </p:cNvPr>
          <p:cNvGrpSpPr/>
          <p:nvPr/>
        </p:nvGrpSpPr>
        <p:grpSpPr>
          <a:xfrm>
            <a:off x="427809" y="1786777"/>
            <a:ext cx="396103" cy="328184"/>
            <a:chOff x="423952" y="1669439"/>
            <a:chExt cx="396103" cy="328184"/>
          </a:xfrm>
        </p:grpSpPr>
        <p:sp>
          <p:nvSpPr>
            <p:cNvPr id="36" name="Rectangle 35">
              <a:extLst>
                <a:ext uri="{FF2B5EF4-FFF2-40B4-BE49-F238E27FC236}">
                  <a16:creationId xmlns:a16="http://schemas.microsoft.com/office/drawing/2014/main" id="{F88E2E70-1CA7-4CBF-AB8B-4AAC01BE1653}"/>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37" name="Freeform 115">
              <a:extLst>
                <a:ext uri="{FF2B5EF4-FFF2-40B4-BE49-F238E27FC236}">
                  <a16:creationId xmlns:a16="http://schemas.microsoft.com/office/drawing/2014/main" id="{18700665-4445-413E-9EE7-4FC8A84FA2CE}"/>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grpSp>
        <p:nvGrpSpPr>
          <p:cNvPr id="38" name="Group 37">
            <a:extLst>
              <a:ext uri="{FF2B5EF4-FFF2-40B4-BE49-F238E27FC236}">
                <a16:creationId xmlns:a16="http://schemas.microsoft.com/office/drawing/2014/main" id="{03593308-8104-4250-AE1C-CAC5814EEDEA}"/>
              </a:ext>
            </a:extLst>
          </p:cNvPr>
          <p:cNvGrpSpPr/>
          <p:nvPr/>
        </p:nvGrpSpPr>
        <p:grpSpPr>
          <a:xfrm>
            <a:off x="427809" y="2160591"/>
            <a:ext cx="396103" cy="328184"/>
            <a:chOff x="423952" y="1669439"/>
            <a:chExt cx="396103" cy="328184"/>
          </a:xfrm>
        </p:grpSpPr>
        <p:sp>
          <p:nvSpPr>
            <p:cNvPr id="39" name="Rectangle 38">
              <a:extLst>
                <a:ext uri="{FF2B5EF4-FFF2-40B4-BE49-F238E27FC236}">
                  <a16:creationId xmlns:a16="http://schemas.microsoft.com/office/drawing/2014/main" id="{6334EA0F-C746-4E28-AF0C-5313BB68A8B3}"/>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40" name="Freeform 115">
              <a:extLst>
                <a:ext uri="{FF2B5EF4-FFF2-40B4-BE49-F238E27FC236}">
                  <a16:creationId xmlns:a16="http://schemas.microsoft.com/office/drawing/2014/main" id="{A0F5F4C0-77F2-422E-972D-C70489E15B2D}"/>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grpSp>
        <p:nvGrpSpPr>
          <p:cNvPr id="41" name="Group 40">
            <a:extLst>
              <a:ext uri="{FF2B5EF4-FFF2-40B4-BE49-F238E27FC236}">
                <a16:creationId xmlns:a16="http://schemas.microsoft.com/office/drawing/2014/main" id="{37EAD40C-D701-4385-8601-B7D8F460D9BE}"/>
              </a:ext>
            </a:extLst>
          </p:cNvPr>
          <p:cNvGrpSpPr/>
          <p:nvPr/>
        </p:nvGrpSpPr>
        <p:grpSpPr>
          <a:xfrm>
            <a:off x="427809" y="2534405"/>
            <a:ext cx="396103" cy="328184"/>
            <a:chOff x="423952" y="1669439"/>
            <a:chExt cx="396103" cy="328184"/>
          </a:xfrm>
        </p:grpSpPr>
        <p:sp>
          <p:nvSpPr>
            <p:cNvPr id="42" name="Rectangle 41">
              <a:extLst>
                <a:ext uri="{FF2B5EF4-FFF2-40B4-BE49-F238E27FC236}">
                  <a16:creationId xmlns:a16="http://schemas.microsoft.com/office/drawing/2014/main" id="{92AA1B1F-8FD2-4143-94B8-6197B295F441}"/>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43" name="Freeform 115">
              <a:extLst>
                <a:ext uri="{FF2B5EF4-FFF2-40B4-BE49-F238E27FC236}">
                  <a16:creationId xmlns:a16="http://schemas.microsoft.com/office/drawing/2014/main" id="{97B54CBE-27F3-4876-814D-90A676082E76}"/>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grpSp>
        <p:nvGrpSpPr>
          <p:cNvPr id="44" name="Group 43">
            <a:extLst>
              <a:ext uri="{FF2B5EF4-FFF2-40B4-BE49-F238E27FC236}">
                <a16:creationId xmlns:a16="http://schemas.microsoft.com/office/drawing/2014/main" id="{46516D86-BBD8-4617-9D6B-A23DE1E933CE}"/>
              </a:ext>
            </a:extLst>
          </p:cNvPr>
          <p:cNvGrpSpPr/>
          <p:nvPr/>
        </p:nvGrpSpPr>
        <p:grpSpPr>
          <a:xfrm>
            <a:off x="427809" y="2908219"/>
            <a:ext cx="396103" cy="328184"/>
            <a:chOff x="423952" y="1669439"/>
            <a:chExt cx="396103" cy="328184"/>
          </a:xfrm>
        </p:grpSpPr>
        <p:sp>
          <p:nvSpPr>
            <p:cNvPr id="45" name="Rectangle 44">
              <a:extLst>
                <a:ext uri="{FF2B5EF4-FFF2-40B4-BE49-F238E27FC236}">
                  <a16:creationId xmlns:a16="http://schemas.microsoft.com/office/drawing/2014/main" id="{BD18B53D-BCB5-489A-B071-CF9A80513D46}"/>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46" name="Freeform 115">
              <a:extLst>
                <a:ext uri="{FF2B5EF4-FFF2-40B4-BE49-F238E27FC236}">
                  <a16:creationId xmlns:a16="http://schemas.microsoft.com/office/drawing/2014/main" id="{38BB96BF-5439-462F-BD6E-193B44EF3613}"/>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grpSp>
        <p:nvGrpSpPr>
          <p:cNvPr id="47" name="Group 46">
            <a:extLst>
              <a:ext uri="{FF2B5EF4-FFF2-40B4-BE49-F238E27FC236}">
                <a16:creationId xmlns:a16="http://schemas.microsoft.com/office/drawing/2014/main" id="{CF94D94F-B9C0-4672-A6EC-E4A831E78B5A}"/>
              </a:ext>
            </a:extLst>
          </p:cNvPr>
          <p:cNvGrpSpPr/>
          <p:nvPr/>
        </p:nvGrpSpPr>
        <p:grpSpPr>
          <a:xfrm>
            <a:off x="427809" y="3282033"/>
            <a:ext cx="396103" cy="328184"/>
            <a:chOff x="423952" y="1669439"/>
            <a:chExt cx="396103" cy="328184"/>
          </a:xfrm>
        </p:grpSpPr>
        <p:sp>
          <p:nvSpPr>
            <p:cNvPr id="48" name="Rectangle 47">
              <a:extLst>
                <a:ext uri="{FF2B5EF4-FFF2-40B4-BE49-F238E27FC236}">
                  <a16:creationId xmlns:a16="http://schemas.microsoft.com/office/drawing/2014/main" id="{B19874E0-25C2-41EA-814F-003990896D8C}"/>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49" name="Freeform 115">
              <a:extLst>
                <a:ext uri="{FF2B5EF4-FFF2-40B4-BE49-F238E27FC236}">
                  <a16:creationId xmlns:a16="http://schemas.microsoft.com/office/drawing/2014/main" id="{8635E53A-3F5A-457C-BBAC-5D6A3C2EB610}"/>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grpSp>
        <p:nvGrpSpPr>
          <p:cNvPr id="50" name="Group 49">
            <a:extLst>
              <a:ext uri="{FF2B5EF4-FFF2-40B4-BE49-F238E27FC236}">
                <a16:creationId xmlns:a16="http://schemas.microsoft.com/office/drawing/2014/main" id="{91FF2C4E-1D18-4D53-93F3-30E89A0BAE6D}"/>
              </a:ext>
            </a:extLst>
          </p:cNvPr>
          <p:cNvGrpSpPr/>
          <p:nvPr/>
        </p:nvGrpSpPr>
        <p:grpSpPr>
          <a:xfrm>
            <a:off x="427809" y="3655847"/>
            <a:ext cx="396103" cy="328184"/>
            <a:chOff x="423952" y="1669439"/>
            <a:chExt cx="396103" cy="328184"/>
          </a:xfrm>
        </p:grpSpPr>
        <p:sp>
          <p:nvSpPr>
            <p:cNvPr id="51" name="Rectangle 50">
              <a:extLst>
                <a:ext uri="{FF2B5EF4-FFF2-40B4-BE49-F238E27FC236}">
                  <a16:creationId xmlns:a16="http://schemas.microsoft.com/office/drawing/2014/main" id="{7F10C1F7-CD82-4EEF-A0AA-4AD5BF798D9E}"/>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52" name="Freeform 115">
              <a:extLst>
                <a:ext uri="{FF2B5EF4-FFF2-40B4-BE49-F238E27FC236}">
                  <a16:creationId xmlns:a16="http://schemas.microsoft.com/office/drawing/2014/main" id="{F29B643F-BE8B-49AB-B7C3-41ABEED19B54}"/>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grpSp>
        <p:nvGrpSpPr>
          <p:cNvPr id="53" name="Group 52">
            <a:extLst>
              <a:ext uri="{FF2B5EF4-FFF2-40B4-BE49-F238E27FC236}">
                <a16:creationId xmlns:a16="http://schemas.microsoft.com/office/drawing/2014/main" id="{53C4ECD0-E288-404B-AEBF-8231622B0FD9}"/>
              </a:ext>
            </a:extLst>
          </p:cNvPr>
          <p:cNvGrpSpPr/>
          <p:nvPr/>
        </p:nvGrpSpPr>
        <p:grpSpPr>
          <a:xfrm>
            <a:off x="427809" y="4068406"/>
            <a:ext cx="396103" cy="328184"/>
            <a:chOff x="423952" y="1669439"/>
            <a:chExt cx="396103" cy="328184"/>
          </a:xfrm>
        </p:grpSpPr>
        <p:sp>
          <p:nvSpPr>
            <p:cNvPr id="54" name="Rectangle 53">
              <a:extLst>
                <a:ext uri="{FF2B5EF4-FFF2-40B4-BE49-F238E27FC236}">
                  <a16:creationId xmlns:a16="http://schemas.microsoft.com/office/drawing/2014/main" id="{9FF5374A-7C4D-428A-BB3E-62578CAA4D3F}"/>
                </a:ext>
              </a:extLst>
            </p:cNvPr>
            <p:cNvSpPr/>
            <p:nvPr/>
          </p:nvSpPr>
          <p:spPr>
            <a:xfrm>
              <a:off x="468000" y="1822992"/>
              <a:ext cx="154004" cy="154004"/>
            </a:xfrm>
            <a:prstGeom prst="rect">
              <a:avLst/>
            </a:prstGeom>
            <a:solidFill>
              <a:schemeClr val="bg1"/>
            </a:solidFill>
            <a:ln w="12700" cap="rnd" cmpd="sng" algn="ctr">
              <a:solidFill>
                <a:schemeClr val="tx2"/>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en-GB" sz="1600">
                <a:solidFill>
                  <a:srgbClr val="5E6A71"/>
                </a:solidFill>
              </a:endParaRPr>
            </a:p>
          </p:txBody>
        </p:sp>
        <p:sp>
          <p:nvSpPr>
            <p:cNvPr id="55" name="Freeform 115">
              <a:extLst>
                <a:ext uri="{FF2B5EF4-FFF2-40B4-BE49-F238E27FC236}">
                  <a16:creationId xmlns:a16="http://schemas.microsoft.com/office/drawing/2014/main" id="{92088AA4-AC47-48B6-A759-BBBA98A43969}"/>
                </a:ext>
              </a:extLst>
            </p:cNvPr>
            <p:cNvSpPr>
              <a:spLocks/>
            </p:cNvSpPr>
            <p:nvPr/>
          </p:nvSpPr>
          <p:spPr bwMode="auto">
            <a:xfrm>
              <a:off x="423952" y="1669439"/>
              <a:ext cx="396103" cy="328184"/>
            </a:xfrm>
            <a:custGeom>
              <a:avLst/>
              <a:gdLst/>
              <a:ahLst/>
              <a:cxnLst>
                <a:cxn ang="0">
                  <a:pos x="0" y="251"/>
                </a:cxn>
                <a:cxn ang="0">
                  <a:pos x="68" y="218"/>
                </a:cxn>
                <a:cxn ang="0">
                  <a:pos x="122" y="306"/>
                </a:cxn>
                <a:cxn ang="0">
                  <a:pos x="413" y="0"/>
                </a:cxn>
                <a:cxn ang="0">
                  <a:pos x="426" y="17"/>
                </a:cxn>
                <a:cxn ang="0">
                  <a:pos x="155" y="369"/>
                </a:cxn>
                <a:cxn ang="0">
                  <a:pos x="95" y="411"/>
                </a:cxn>
                <a:cxn ang="0">
                  <a:pos x="0" y="251"/>
                </a:cxn>
              </a:cxnLst>
              <a:rect l="0" t="0" r="r" b="b"/>
              <a:pathLst>
                <a:path w="426" h="411">
                  <a:moveTo>
                    <a:pt x="0" y="251"/>
                  </a:moveTo>
                  <a:cubicBezTo>
                    <a:pt x="26" y="222"/>
                    <a:pt x="47" y="215"/>
                    <a:pt x="68" y="218"/>
                  </a:cubicBezTo>
                  <a:cubicBezTo>
                    <a:pt x="88" y="227"/>
                    <a:pt x="107" y="267"/>
                    <a:pt x="122" y="306"/>
                  </a:cubicBezTo>
                  <a:cubicBezTo>
                    <a:pt x="230" y="137"/>
                    <a:pt x="378" y="18"/>
                    <a:pt x="413" y="0"/>
                  </a:cubicBezTo>
                  <a:cubicBezTo>
                    <a:pt x="413" y="0"/>
                    <a:pt x="420" y="7"/>
                    <a:pt x="426" y="17"/>
                  </a:cubicBezTo>
                  <a:cubicBezTo>
                    <a:pt x="283" y="139"/>
                    <a:pt x="213" y="263"/>
                    <a:pt x="155" y="369"/>
                  </a:cubicBezTo>
                  <a:cubicBezTo>
                    <a:pt x="128" y="384"/>
                    <a:pt x="114" y="395"/>
                    <a:pt x="95" y="411"/>
                  </a:cubicBezTo>
                  <a:cubicBezTo>
                    <a:pt x="68" y="317"/>
                    <a:pt x="35" y="263"/>
                    <a:pt x="0" y="251"/>
                  </a:cubicBezTo>
                  <a:close/>
                </a:path>
              </a:pathLst>
            </a:custGeom>
            <a:solidFill>
              <a:schemeClr val="accent2"/>
            </a:solidFill>
            <a:ln w="6350" cap="flat" cmpd="sng">
              <a:noFill/>
              <a:prstDash val="sysDash"/>
              <a:round/>
              <a:headEnd/>
              <a:tailEnd/>
            </a:ln>
            <a:effectLst/>
          </p:spPr>
          <p:txBody>
            <a:bodyPr wrap="none" lIns="0" tIns="0" rIns="0" bIns="0" anchor="ctr"/>
            <a:lstStyle/>
            <a:p>
              <a:pPr defTabSz="914400"/>
              <a:endParaRPr lang="en-US" kern="0">
                <a:solidFill>
                  <a:prstClr val="black"/>
                </a:solidFill>
                <a:latin typeface="Corbel"/>
              </a:endParaRPr>
            </a:p>
          </p:txBody>
        </p:sp>
      </p:grpSp>
      <p:sp>
        <p:nvSpPr>
          <p:cNvPr id="56" name="Slide Number Placeholder 3">
            <a:extLst>
              <a:ext uri="{FF2B5EF4-FFF2-40B4-BE49-F238E27FC236}">
                <a16:creationId xmlns:a16="http://schemas.microsoft.com/office/drawing/2014/main" id="{9A55E3A4-66A9-4A5B-A12A-58F32F88BBD7}"/>
              </a:ext>
            </a:extLst>
          </p:cNvPr>
          <p:cNvSpPr txBox="1">
            <a:spLocks/>
          </p:cNvSpPr>
          <p:nvPr/>
        </p:nvSpPr>
        <p:spPr>
          <a:xfrm>
            <a:off x="8689178" y="4760871"/>
            <a:ext cx="288000" cy="180000"/>
          </a:xfrm>
          <a:prstGeom prst="rect">
            <a:avLst/>
          </a:prstGeom>
        </p:spPr>
        <p:txBody>
          <a:bodyPr vert="horz" lIns="0" tIns="0" rIns="0" bIns="0" rtlCol="0" anchor="b" anchorCtr="0"/>
          <a:lstStyle>
            <a:defPPr>
              <a:defRPr lang="nl-NL"/>
            </a:defPPr>
            <a:lvl1pPr marL="0" algn="r" defTabSz="456999" rtl="0" eaLnBrk="1" latinLnBrk="0" hangingPunct="1">
              <a:defRPr sz="1000" kern="1200">
                <a:solidFill>
                  <a:schemeClr val="tx1">
                    <a:tint val="75000"/>
                  </a:schemeClr>
                </a:solidFill>
                <a:latin typeface="+mj-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fld id="{7CC030A7-D003-45E0-94AF-9D435D41739D}" type="slidenum">
              <a:rPr lang="nl-NL" smtClean="0"/>
              <a:pPr/>
              <a:t>5</a:t>
            </a:fld>
            <a:endParaRPr lang="nl-NL"/>
          </a:p>
        </p:txBody>
      </p:sp>
      <p:sp>
        <p:nvSpPr>
          <p:cNvPr id="57" name="Title44">
            <a:extLst>
              <a:ext uri="{FF2B5EF4-FFF2-40B4-BE49-F238E27FC236}">
                <a16:creationId xmlns:a16="http://schemas.microsoft.com/office/drawing/2014/main" id="{49AC7C3F-8B4A-4A03-A50F-5E3F17352E20}"/>
              </a:ext>
            </a:extLst>
          </p:cNvPr>
          <p:cNvSpPr txBox="1">
            <a:spLocks/>
          </p:cNvSpPr>
          <p:nvPr/>
        </p:nvSpPr>
        <p:spPr>
          <a:xfrm>
            <a:off x="867959" y="2619011"/>
            <a:ext cx="4643238" cy="338554"/>
          </a:xfrm>
          <a:prstGeom prst="rect">
            <a:avLst/>
          </a:prstGeom>
          <a:noFill/>
          <a:ln w="12700">
            <a:noFill/>
          </a:ln>
        </p:spPr>
        <p:txBody>
          <a:bodyPr vert="horz" wrap="square" lIns="0" tIns="0" rIns="0" bIns="0" rtlCol="0" anchor="t" anchorCtr="0">
            <a:spAutoFit/>
          </a:bodyPr>
          <a:lstStyle/>
          <a:p>
            <a:pPr>
              <a:buSzPts val="1000"/>
              <a:tabLst>
                <a:tab pos="457200" algn="l"/>
              </a:tabLst>
            </a:pPr>
            <a:r>
              <a:rPr lang="en-GB" sz="1100" dirty="0">
                <a:latin typeface="Calibri" panose="020F0502020204030204" pitchFamily="34" charset="0"/>
              </a:rPr>
              <a:t>El productor </a:t>
            </a:r>
            <a:r>
              <a:rPr lang="en-GB" sz="1100" dirty="0" err="1">
                <a:latin typeface="Calibri" panose="020F0502020204030204" pitchFamily="34" charset="0"/>
              </a:rPr>
              <a:t>cuenta</a:t>
            </a:r>
            <a:r>
              <a:rPr lang="en-GB" sz="1100" dirty="0">
                <a:latin typeface="Calibri" panose="020F0502020204030204" pitchFamily="34" charset="0"/>
              </a:rPr>
              <a:t> con </a:t>
            </a:r>
            <a:r>
              <a:rPr lang="en-GB" sz="1100" dirty="0" err="1">
                <a:latin typeface="Calibri" panose="020F0502020204030204" pitchFamily="34" charset="0"/>
              </a:rPr>
              <a:t>títulos</a:t>
            </a:r>
            <a:r>
              <a:rPr lang="en-GB" sz="1100" dirty="0">
                <a:latin typeface="Calibri" panose="020F0502020204030204" pitchFamily="34" charset="0"/>
              </a:rPr>
              <a:t> de </a:t>
            </a:r>
            <a:r>
              <a:rPr lang="en-GB" sz="1100" dirty="0" err="1">
                <a:latin typeface="Calibri" panose="020F0502020204030204" pitchFamily="34" charset="0"/>
              </a:rPr>
              <a:t>propiedad</a:t>
            </a:r>
            <a:r>
              <a:rPr lang="en-GB" sz="1100" dirty="0">
                <a:latin typeface="Calibri" panose="020F0502020204030204" pitchFamily="34" charset="0"/>
              </a:rPr>
              <a:t> </a:t>
            </a:r>
            <a:r>
              <a:rPr lang="en-GB" sz="1100" dirty="0" err="1">
                <a:latin typeface="Calibri" panose="020F0502020204030204" pitchFamily="34" charset="0"/>
              </a:rPr>
              <a:t>formales</a:t>
            </a:r>
            <a:r>
              <a:rPr lang="en-GB" sz="1100" dirty="0">
                <a:latin typeface="Calibri" panose="020F0502020204030204" pitchFamily="34" charset="0"/>
              </a:rPr>
              <a:t>/</a:t>
            </a:r>
            <a:r>
              <a:rPr lang="en-GB" sz="1100" dirty="0" err="1">
                <a:latin typeface="Calibri" panose="020F0502020204030204" pitchFamily="34" charset="0"/>
              </a:rPr>
              <a:t>informales</a:t>
            </a:r>
            <a:r>
              <a:rPr lang="en-GB" sz="1100" dirty="0">
                <a:latin typeface="Calibri" panose="020F0502020204030204" pitchFamily="34" charset="0"/>
              </a:rPr>
              <a:t> </a:t>
            </a:r>
            <a:r>
              <a:rPr lang="en-GB" sz="1100" dirty="0" err="1">
                <a:latin typeface="Calibri" panose="020F0502020204030204" pitchFamily="34" charset="0"/>
              </a:rPr>
              <a:t>sobre</a:t>
            </a:r>
            <a:r>
              <a:rPr lang="en-GB" sz="1100" dirty="0">
                <a:latin typeface="Calibri" panose="020F0502020204030204" pitchFamily="34" charset="0"/>
              </a:rPr>
              <a:t> la tierra</a:t>
            </a:r>
          </a:p>
          <a:p>
            <a:pPr lvl="0">
              <a:buSzPts val="1000"/>
              <a:tabLst>
                <a:tab pos="457200" algn="l"/>
              </a:tabLst>
            </a:pPr>
            <a:endParaRPr lang="nl-NL" sz="1100" dirty="0">
              <a:effectLst/>
              <a:latin typeface="Calibri" panose="020F0502020204030204" pitchFamily="34" charset="0"/>
              <a:ea typeface="Calibri" panose="020F0502020204030204" pitchFamily="34" charset="0"/>
            </a:endParaRPr>
          </a:p>
        </p:txBody>
      </p:sp>
      <p:sp>
        <p:nvSpPr>
          <p:cNvPr id="58" name="Title 1">
            <a:extLst>
              <a:ext uri="{FF2B5EF4-FFF2-40B4-BE49-F238E27FC236}">
                <a16:creationId xmlns:a16="http://schemas.microsoft.com/office/drawing/2014/main" id="{2D8DDA6E-2E9F-4866-A981-89521CC21147}"/>
              </a:ext>
            </a:extLst>
          </p:cNvPr>
          <p:cNvSpPr txBox="1">
            <a:spLocks/>
          </p:cNvSpPr>
          <p:nvPr/>
        </p:nvSpPr>
        <p:spPr>
          <a:xfrm>
            <a:off x="388919" y="304462"/>
            <a:ext cx="8352472" cy="832190"/>
          </a:xfrm>
          <a:prstGeom prst="rect">
            <a:avLst/>
          </a:prstGeom>
        </p:spPr>
        <p:txBody>
          <a:bodyPr vert="horz" lIns="0" tIns="0" rIns="0" bIns="0" rtlCol="0" anchor="t" anchorCtr="0">
            <a:noAutofit/>
          </a:bodyPr>
          <a:lstStyle>
            <a:lvl1pPr algn="l" defTabSz="456999" rtl="0" eaLnBrk="1" latinLnBrk="0" hangingPunct="1">
              <a:lnSpc>
                <a:spcPct val="90000"/>
              </a:lnSpc>
              <a:spcBef>
                <a:spcPct val="0"/>
              </a:spcBef>
              <a:buNone/>
              <a:defRPr sz="2400" b="1" i="1" kern="1200">
                <a:solidFill>
                  <a:schemeClr val="tx2"/>
                </a:solidFill>
                <a:latin typeface="Calibri" panose="020F0502020204030204" pitchFamily="34" charset="0"/>
                <a:ea typeface="+mj-ea"/>
                <a:cs typeface="Calibri" panose="020F0502020204030204" pitchFamily="34" charset="0"/>
              </a:defRPr>
            </a:lvl1pPr>
          </a:lstStyle>
          <a:p>
            <a:pPr algn="ctr"/>
            <a:r>
              <a:rPr lang="es-ES" sz="2800" i="0" dirty="0">
                <a:solidFill>
                  <a:srgbClr val="FFC000"/>
                </a:solidFill>
                <a:latin typeface="Calibri"/>
                <a:cs typeface="Calibri"/>
              </a:rPr>
              <a:t>Parámetros básicos de elegibilidad para ser compensados con </a:t>
            </a:r>
            <a:r>
              <a:rPr lang="es-ES" sz="2800" i="0" dirty="0" err="1">
                <a:solidFill>
                  <a:srgbClr val="FFC000"/>
                </a:solidFill>
                <a:latin typeface="Calibri"/>
                <a:cs typeface="Calibri"/>
              </a:rPr>
              <a:t>CRUs</a:t>
            </a:r>
            <a:r>
              <a:rPr lang="es-ES" sz="2000" i="0" dirty="0">
                <a:solidFill>
                  <a:srgbClr val="FFC000"/>
                </a:solidFill>
                <a:latin typeface="Calibri"/>
                <a:cs typeface="Calibri"/>
              </a:rPr>
              <a:t> </a:t>
            </a:r>
            <a:endParaRPr lang="en-GB" sz="2000" i="0" dirty="0">
              <a:solidFill>
                <a:srgbClr val="FFC000"/>
              </a:solidFill>
              <a:latin typeface="Calibri"/>
              <a:cs typeface="Calibri"/>
            </a:endParaRPr>
          </a:p>
        </p:txBody>
      </p:sp>
    </p:spTree>
    <p:extLst>
      <p:ext uri="{BB962C8B-B14F-4D97-AF65-F5344CB8AC3E}">
        <p14:creationId xmlns:p14="http://schemas.microsoft.com/office/powerpoint/2010/main" val="2952014160"/>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7" name="Group 286"/>
          <p:cNvGrpSpPr/>
          <p:nvPr/>
        </p:nvGrpSpPr>
        <p:grpSpPr>
          <a:xfrm>
            <a:off x="7122490" y="1506690"/>
            <a:ext cx="544387" cy="437966"/>
            <a:chOff x="538163" y="2776538"/>
            <a:chExt cx="633412" cy="509587"/>
          </a:xfrm>
          <a:solidFill>
            <a:schemeClr val="accent2"/>
          </a:solidFill>
        </p:grpSpPr>
        <p:sp>
          <p:nvSpPr>
            <p:cNvPr id="290" name="Freeform 20"/>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303" name="Freeform 21"/>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304" name="Freeform 22"/>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grpSp>
      <p:graphicFrame>
        <p:nvGraphicFramePr>
          <p:cNvPr id="6" name="Objec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395" imgH="394" progId="TCLayout.ActiveDocument.1">
                  <p:embed/>
                </p:oleObj>
              </mc:Choice>
              <mc:Fallback>
                <p:oleObj name="think-cell Slide" r:id="rId5" imgW="395" imgH="39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87908" y="457592"/>
            <a:ext cx="8352472" cy="642016"/>
          </a:xfrm>
        </p:spPr>
        <p:txBody>
          <a:bodyPr vert="horz" anchor="t"/>
          <a:lstStyle/>
          <a:p>
            <a:pPr algn="ctr"/>
            <a:r>
              <a:rPr lang="en-GB" sz="2000" i="0" dirty="0" err="1">
                <a:solidFill>
                  <a:srgbClr val="FFC000"/>
                </a:solidFill>
                <a:latin typeface="Calibri"/>
                <a:cs typeface="Calibri"/>
              </a:rPr>
              <a:t>Estimación</a:t>
            </a:r>
            <a:r>
              <a:rPr lang="en-GB" sz="2000" i="0" dirty="0">
                <a:solidFill>
                  <a:srgbClr val="FFC000"/>
                </a:solidFill>
                <a:latin typeface="Calibri"/>
                <a:cs typeface="Calibri"/>
              </a:rPr>
              <a:t> de </a:t>
            </a:r>
            <a:r>
              <a:rPr lang="en-GB" sz="2000" i="0" dirty="0" err="1">
                <a:solidFill>
                  <a:srgbClr val="FFC000"/>
                </a:solidFill>
                <a:latin typeface="Calibri"/>
                <a:cs typeface="Calibri"/>
              </a:rPr>
              <a:t>los</a:t>
            </a:r>
            <a:r>
              <a:rPr lang="en-GB" sz="2000" i="0" dirty="0">
                <a:solidFill>
                  <a:srgbClr val="FFC000"/>
                </a:solidFill>
                <a:latin typeface="Calibri"/>
                <a:cs typeface="Calibri"/>
              </a:rPr>
              <a:t> </a:t>
            </a:r>
            <a:r>
              <a:rPr lang="en-GB" sz="2000" i="0" dirty="0" err="1">
                <a:solidFill>
                  <a:srgbClr val="FFC000"/>
                </a:solidFill>
                <a:latin typeface="Calibri"/>
                <a:cs typeface="Calibri"/>
              </a:rPr>
              <a:t>beneficios</a:t>
            </a:r>
            <a:r>
              <a:rPr lang="en-GB" sz="2000" i="0" dirty="0">
                <a:solidFill>
                  <a:srgbClr val="FFC000"/>
                </a:solidFill>
                <a:latin typeface="Calibri"/>
                <a:cs typeface="Calibri"/>
              </a:rPr>
              <a:t> de </a:t>
            </a:r>
            <a:r>
              <a:rPr lang="en-GB" sz="2000" i="0" dirty="0" err="1">
                <a:solidFill>
                  <a:srgbClr val="FFC000"/>
                </a:solidFill>
                <a:latin typeface="Calibri"/>
                <a:cs typeface="Calibri"/>
              </a:rPr>
              <a:t>los</a:t>
            </a:r>
            <a:r>
              <a:rPr lang="en-GB" sz="2000" i="0" dirty="0">
                <a:solidFill>
                  <a:srgbClr val="FFC000"/>
                </a:solidFill>
                <a:latin typeface="Calibri"/>
                <a:cs typeface="Calibri"/>
              </a:rPr>
              <a:t> SAF con café ; café, CRUs, </a:t>
            </a:r>
            <a:r>
              <a:rPr lang="en-GB" sz="2000" i="0" dirty="0" err="1">
                <a:solidFill>
                  <a:srgbClr val="FFC000"/>
                </a:solidFill>
                <a:latin typeface="Calibri"/>
                <a:cs typeface="Calibri"/>
              </a:rPr>
              <a:t>madera</a:t>
            </a:r>
            <a:r>
              <a:rPr lang="en-GB" sz="2000" i="0" dirty="0">
                <a:solidFill>
                  <a:srgbClr val="FFC000"/>
                </a:solidFill>
                <a:latin typeface="Calibri"/>
                <a:cs typeface="Calibri"/>
              </a:rPr>
              <a:t> y </a:t>
            </a:r>
            <a:r>
              <a:rPr lang="en-GB" sz="2000" i="0" dirty="0" err="1">
                <a:solidFill>
                  <a:srgbClr val="FFC000"/>
                </a:solidFill>
                <a:latin typeface="Calibri"/>
                <a:cs typeface="Calibri"/>
              </a:rPr>
              <a:t>otros</a:t>
            </a:r>
            <a:r>
              <a:rPr lang="en-GB" sz="2000" i="0" dirty="0">
                <a:solidFill>
                  <a:srgbClr val="FFC000"/>
                </a:solidFill>
                <a:latin typeface="Calibri"/>
                <a:cs typeface="Calibri"/>
              </a:rPr>
              <a:t> </a:t>
            </a:r>
            <a:r>
              <a:rPr lang="en-GB" sz="2000" i="0" dirty="0" err="1">
                <a:solidFill>
                  <a:srgbClr val="FFC000"/>
                </a:solidFill>
                <a:latin typeface="Calibri"/>
                <a:cs typeface="Calibri"/>
              </a:rPr>
              <a:t>servicios</a:t>
            </a:r>
            <a:r>
              <a:rPr lang="en-GB" sz="2000" i="0" dirty="0">
                <a:solidFill>
                  <a:srgbClr val="FFC000"/>
                </a:solidFill>
                <a:latin typeface="Calibri"/>
                <a:cs typeface="Calibri"/>
              </a:rPr>
              <a:t> </a:t>
            </a:r>
            <a:r>
              <a:rPr lang="en-GB" sz="2000" i="0" dirty="0" err="1">
                <a:solidFill>
                  <a:srgbClr val="FFC000"/>
                </a:solidFill>
                <a:latin typeface="Calibri"/>
                <a:cs typeface="Calibri"/>
              </a:rPr>
              <a:t>ambientales</a:t>
            </a:r>
            <a:endParaRPr lang="en-GB" sz="2000" i="0" dirty="0">
              <a:solidFill>
                <a:srgbClr val="FFC000"/>
              </a:solidFill>
            </a:endParaRPr>
          </a:p>
        </p:txBody>
      </p:sp>
      <p:sp>
        <p:nvSpPr>
          <p:cNvPr id="236" name="TextBox 235"/>
          <p:cNvSpPr txBox="1"/>
          <p:nvPr/>
        </p:nvSpPr>
        <p:spPr>
          <a:xfrm>
            <a:off x="3758131" y="2924078"/>
            <a:ext cx="362610" cy="153888"/>
          </a:xfrm>
          <a:prstGeom prst="rect">
            <a:avLst/>
          </a:prstGeom>
          <a:noFill/>
        </p:spPr>
        <p:txBody>
          <a:bodyPr wrap="square" lIns="0" tIns="0" rIns="0" bIns="0" rtlCol="0">
            <a:spAutoFit/>
          </a:bodyPr>
          <a:lstStyle/>
          <a:p>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6</a:t>
            </a:r>
          </a:p>
        </p:txBody>
      </p:sp>
      <p:sp>
        <p:nvSpPr>
          <p:cNvPr id="237" name="TextBox 236"/>
          <p:cNvSpPr txBox="1"/>
          <p:nvPr/>
        </p:nvSpPr>
        <p:spPr>
          <a:xfrm>
            <a:off x="4722371" y="2924078"/>
            <a:ext cx="362610" cy="153888"/>
          </a:xfrm>
          <a:prstGeom prst="rect">
            <a:avLst/>
          </a:prstGeom>
          <a:noFill/>
        </p:spPr>
        <p:txBody>
          <a:bodyPr wrap="square" lIns="0" tIns="0" rIns="0" bIns="0" rtlCol="0">
            <a:spAutoFit/>
          </a:bodyPr>
          <a:lstStyle/>
          <a:p>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8</a:t>
            </a:r>
          </a:p>
        </p:txBody>
      </p:sp>
      <p:sp>
        <p:nvSpPr>
          <p:cNvPr id="238" name="TextBox 237"/>
          <p:cNvSpPr txBox="1"/>
          <p:nvPr/>
        </p:nvSpPr>
        <p:spPr>
          <a:xfrm>
            <a:off x="5702347" y="2924078"/>
            <a:ext cx="435487" cy="153888"/>
          </a:xfrm>
          <a:prstGeom prst="rect">
            <a:avLst/>
          </a:prstGeom>
          <a:noFill/>
        </p:spPr>
        <p:txBody>
          <a:bodyPr wrap="square" lIns="0" tIns="0" rIns="0" bIns="0" rtlCol="0">
            <a:spAutoFit/>
          </a:bodyPr>
          <a:lstStyle/>
          <a:p>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10</a:t>
            </a:r>
          </a:p>
        </p:txBody>
      </p:sp>
      <p:sp>
        <p:nvSpPr>
          <p:cNvPr id="239" name="TextBox 238"/>
          <p:cNvSpPr txBox="1"/>
          <p:nvPr/>
        </p:nvSpPr>
        <p:spPr>
          <a:xfrm>
            <a:off x="6738595" y="2924078"/>
            <a:ext cx="435487" cy="153888"/>
          </a:xfrm>
          <a:prstGeom prst="rect">
            <a:avLst/>
          </a:prstGeom>
          <a:noFill/>
        </p:spPr>
        <p:txBody>
          <a:bodyPr wrap="square" lIns="0" tIns="0" rIns="0" bIns="0" rtlCol="0">
            <a:spAutoFit/>
          </a:bodyPr>
          <a:lstStyle/>
          <a:p>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12</a:t>
            </a:r>
          </a:p>
        </p:txBody>
      </p:sp>
      <p:sp>
        <p:nvSpPr>
          <p:cNvPr id="240" name="TextBox 239"/>
          <p:cNvSpPr txBox="1"/>
          <p:nvPr/>
        </p:nvSpPr>
        <p:spPr>
          <a:xfrm>
            <a:off x="7775569" y="2924078"/>
            <a:ext cx="435487" cy="153888"/>
          </a:xfrm>
          <a:prstGeom prst="rect">
            <a:avLst/>
          </a:prstGeom>
          <a:noFill/>
        </p:spPr>
        <p:txBody>
          <a:bodyPr wrap="square" lIns="0" tIns="0" rIns="0" bIns="0" rtlCol="0">
            <a:spAutoFit/>
          </a:bodyPr>
          <a:lstStyle/>
          <a:p>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14</a:t>
            </a:r>
          </a:p>
        </p:txBody>
      </p:sp>
      <p:cxnSp>
        <p:nvCxnSpPr>
          <p:cNvPr id="264" name="Straight Arrow Connector 263">
            <a:extLst>
              <a:ext uri="{FF2B5EF4-FFF2-40B4-BE49-F238E27FC236}">
                <a16:creationId xmlns:a16="http://schemas.microsoft.com/office/drawing/2014/main" id="{6A529F2C-CED3-7C4D-B409-B0305D06A551}"/>
              </a:ext>
            </a:extLst>
          </p:cNvPr>
          <p:cNvCxnSpPr>
            <a:cxnSpLocks/>
          </p:cNvCxnSpPr>
          <p:nvPr/>
        </p:nvCxnSpPr>
        <p:spPr>
          <a:xfrm flipH="1">
            <a:off x="6893874" y="3101672"/>
            <a:ext cx="1" cy="295114"/>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cxnSp>
        <p:nvCxnSpPr>
          <p:cNvPr id="265" name="Straight Arrow Connector 264">
            <a:extLst>
              <a:ext uri="{FF2B5EF4-FFF2-40B4-BE49-F238E27FC236}">
                <a16:creationId xmlns:a16="http://schemas.microsoft.com/office/drawing/2014/main" id="{0FBEA3DD-ABFD-1842-9E10-BC8E3D2330D2}"/>
              </a:ext>
            </a:extLst>
          </p:cNvPr>
          <p:cNvCxnSpPr>
            <a:cxnSpLocks/>
          </p:cNvCxnSpPr>
          <p:nvPr/>
        </p:nvCxnSpPr>
        <p:spPr>
          <a:xfrm flipH="1">
            <a:off x="7920086" y="3101672"/>
            <a:ext cx="1" cy="295114"/>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cxnSp>
        <p:nvCxnSpPr>
          <p:cNvPr id="273" name="Straight Arrow Connector 272">
            <a:extLst>
              <a:ext uri="{FF2B5EF4-FFF2-40B4-BE49-F238E27FC236}">
                <a16:creationId xmlns:a16="http://schemas.microsoft.com/office/drawing/2014/main" id="{0513EF4C-98C2-934B-95DD-B155160AAF50}"/>
              </a:ext>
            </a:extLst>
          </p:cNvPr>
          <p:cNvCxnSpPr>
            <a:cxnSpLocks/>
          </p:cNvCxnSpPr>
          <p:nvPr/>
        </p:nvCxnSpPr>
        <p:spPr>
          <a:xfrm flipH="1">
            <a:off x="4841212" y="3101672"/>
            <a:ext cx="1" cy="318634"/>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cxnSp>
        <p:nvCxnSpPr>
          <p:cNvPr id="274" name="Straight Arrow Connector 273">
            <a:extLst>
              <a:ext uri="{FF2B5EF4-FFF2-40B4-BE49-F238E27FC236}">
                <a16:creationId xmlns:a16="http://schemas.microsoft.com/office/drawing/2014/main" id="{F8220C42-E819-7348-9623-4FEB69BD6742}"/>
              </a:ext>
            </a:extLst>
          </p:cNvPr>
          <p:cNvCxnSpPr>
            <a:cxnSpLocks/>
          </p:cNvCxnSpPr>
          <p:nvPr/>
        </p:nvCxnSpPr>
        <p:spPr>
          <a:xfrm flipH="1">
            <a:off x="5857626" y="3101672"/>
            <a:ext cx="1" cy="318634"/>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cxnSp>
        <p:nvCxnSpPr>
          <p:cNvPr id="275" name="Straight Arrow Connector 274">
            <a:extLst>
              <a:ext uri="{FF2B5EF4-FFF2-40B4-BE49-F238E27FC236}">
                <a16:creationId xmlns:a16="http://schemas.microsoft.com/office/drawing/2014/main" id="{DF293DAA-7307-5047-B492-FF5EFFA5B6D6}"/>
              </a:ext>
            </a:extLst>
          </p:cNvPr>
          <p:cNvCxnSpPr>
            <a:cxnSpLocks/>
          </p:cNvCxnSpPr>
          <p:nvPr/>
        </p:nvCxnSpPr>
        <p:spPr>
          <a:xfrm flipH="1">
            <a:off x="2961969" y="3101672"/>
            <a:ext cx="2" cy="318634"/>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cxnSp>
        <p:nvCxnSpPr>
          <p:cNvPr id="276" name="Straight Arrow Connector 275">
            <a:extLst>
              <a:ext uri="{FF2B5EF4-FFF2-40B4-BE49-F238E27FC236}">
                <a16:creationId xmlns:a16="http://schemas.microsoft.com/office/drawing/2014/main" id="{A9352F4B-5CA7-8743-9912-D39F92713120}"/>
              </a:ext>
            </a:extLst>
          </p:cNvPr>
          <p:cNvCxnSpPr>
            <a:cxnSpLocks/>
          </p:cNvCxnSpPr>
          <p:nvPr/>
        </p:nvCxnSpPr>
        <p:spPr>
          <a:xfrm flipH="1">
            <a:off x="3876972" y="3101672"/>
            <a:ext cx="1" cy="311118"/>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cxnSp>
        <p:nvCxnSpPr>
          <p:cNvPr id="277" name="Straight Arrow Connector 276">
            <a:extLst>
              <a:ext uri="{FF2B5EF4-FFF2-40B4-BE49-F238E27FC236}">
                <a16:creationId xmlns:a16="http://schemas.microsoft.com/office/drawing/2014/main" id="{CD61DB33-931D-6E40-9ED0-197E8AEC4447}"/>
              </a:ext>
            </a:extLst>
          </p:cNvPr>
          <p:cNvCxnSpPr>
            <a:cxnSpLocks/>
          </p:cNvCxnSpPr>
          <p:nvPr/>
        </p:nvCxnSpPr>
        <p:spPr>
          <a:xfrm flipH="1">
            <a:off x="1165470" y="3101671"/>
            <a:ext cx="2" cy="720000"/>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cxnSp>
        <p:nvCxnSpPr>
          <p:cNvPr id="278" name="Straight Arrow Connector 277">
            <a:extLst>
              <a:ext uri="{FF2B5EF4-FFF2-40B4-BE49-F238E27FC236}">
                <a16:creationId xmlns:a16="http://schemas.microsoft.com/office/drawing/2014/main" id="{7EA018A9-2161-4342-A35D-623A0A98AF61}"/>
              </a:ext>
            </a:extLst>
          </p:cNvPr>
          <p:cNvCxnSpPr>
            <a:cxnSpLocks/>
          </p:cNvCxnSpPr>
          <p:nvPr/>
        </p:nvCxnSpPr>
        <p:spPr>
          <a:xfrm flipH="1">
            <a:off x="2030329" y="3101672"/>
            <a:ext cx="2" cy="216000"/>
          </a:xfrm>
          <a:prstGeom prst="straightConnector1">
            <a:avLst/>
          </a:prstGeom>
          <a:ln w="12700">
            <a:solidFill>
              <a:schemeClr val="accent6"/>
            </a:solidFill>
            <a:tailEnd type="triangle"/>
          </a:ln>
        </p:spPr>
        <p:style>
          <a:lnRef idx="1">
            <a:schemeClr val="accent2"/>
          </a:lnRef>
          <a:fillRef idx="0">
            <a:schemeClr val="accent2"/>
          </a:fillRef>
          <a:effectRef idx="0">
            <a:schemeClr val="accent2"/>
          </a:effectRef>
          <a:fontRef idx="minor">
            <a:schemeClr val="tx1"/>
          </a:fontRef>
        </p:style>
      </p:cxnSp>
      <p:grpSp>
        <p:nvGrpSpPr>
          <p:cNvPr id="37" name="Group 36"/>
          <p:cNvGrpSpPr/>
          <p:nvPr/>
        </p:nvGrpSpPr>
        <p:grpSpPr>
          <a:xfrm>
            <a:off x="1603534" y="1939384"/>
            <a:ext cx="3795547" cy="529933"/>
            <a:chOff x="1601886" y="2453134"/>
            <a:chExt cx="3795547" cy="364325"/>
          </a:xfrm>
        </p:grpSpPr>
        <p:cxnSp>
          <p:nvCxnSpPr>
            <p:cNvPr id="288" name="Straight Arrow Connector 287">
              <a:extLst>
                <a:ext uri="{FF2B5EF4-FFF2-40B4-BE49-F238E27FC236}">
                  <a16:creationId xmlns:a16="http://schemas.microsoft.com/office/drawing/2014/main" id="{34DC118C-30A7-6841-90CB-04AE3FABAA8A}"/>
                </a:ext>
              </a:extLst>
            </p:cNvPr>
            <p:cNvCxnSpPr>
              <a:cxnSpLocks/>
            </p:cNvCxnSpPr>
            <p:nvPr/>
          </p:nvCxnSpPr>
          <p:spPr>
            <a:xfrm>
              <a:off x="5397433" y="2453134"/>
              <a:ext cx="0" cy="360000"/>
            </a:xfrm>
            <a:prstGeom prst="straightConnector1">
              <a:avLst/>
            </a:prstGeom>
            <a:ln w="12700">
              <a:solidFill>
                <a:schemeClr val="accent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299" name="Straight Arrow Connector 298">
              <a:extLst>
                <a:ext uri="{FF2B5EF4-FFF2-40B4-BE49-F238E27FC236}">
                  <a16:creationId xmlns:a16="http://schemas.microsoft.com/office/drawing/2014/main" id="{8BCC10A3-F576-EE4E-9909-9957BBF84135}"/>
                </a:ext>
              </a:extLst>
            </p:cNvPr>
            <p:cNvCxnSpPr>
              <a:cxnSpLocks/>
            </p:cNvCxnSpPr>
            <p:nvPr/>
          </p:nvCxnSpPr>
          <p:spPr>
            <a:xfrm>
              <a:off x="4361969" y="2453134"/>
              <a:ext cx="0" cy="364325"/>
            </a:xfrm>
            <a:prstGeom prst="straightConnector1">
              <a:avLst/>
            </a:prstGeom>
            <a:ln w="12700">
              <a:solidFill>
                <a:schemeClr val="accent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300" name="Straight Arrow Connector 299">
              <a:extLst>
                <a:ext uri="{FF2B5EF4-FFF2-40B4-BE49-F238E27FC236}">
                  <a16:creationId xmlns:a16="http://schemas.microsoft.com/office/drawing/2014/main" id="{8702E593-F648-6646-B660-BEF2326D8A01}"/>
                </a:ext>
              </a:extLst>
            </p:cNvPr>
            <p:cNvCxnSpPr>
              <a:cxnSpLocks/>
            </p:cNvCxnSpPr>
            <p:nvPr/>
          </p:nvCxnSpPr>
          <p:spPr>
            <a:xfrm>
              <a:off x="3423129" y="2453134"/>
              <a:ext cx="0" cy="360000"/>
            </a:xfrm>
            <a:prstGeom prst="straightConnector1">
              <a:avLst/>
            </a:prstGeom>
            <a:ln w="12700">
              <a:solidFill>
                <a:schemeClr val="accent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301" name="Straight Arrow Connector 300">
              <a:extLst>
                <a:ext uri="{FF2B5EF4-FFF2-40B4-BE49-F238E27FC236}">
                  <a16:creationId xmlns:a16="http://schemas.microsoft.com/office/drawing/2014/main" id="{739E3AEF-0CDB-9642-9D06-E13AAFC46DE9}"/>
                </a:ext>
              </a:extLst>
            </p:cNvPr>
            <p:cNvCxnSpPr>
              <a:cxnSpLocks/>
            </p:cNvCxnSpPr>
            <p:nvPr/>
          </p:nvCxnSpPr>
          <p:spPr>
            <a:xfrm>
              <a:off x="2489619" y="2453134"/>
              <a:ext cx="0" cy="360000"/>
            </a:xfrm>
            <a:prstGeom prst="straightConnector1">
              <a:avLst/>
            </a:prstGeom>
            <a:ln w="12700">
              <a:solidFill>
                <a:schemeClr val="accent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cxnSp>
          <p:nvCxnSpPr>
            <p:cNvPr id="302" name="Straight Arrow Connector 301">
              <a:extLst>
                <a:ext uri="{FF2B5EF4-FFF2-40B4-BE49-F238E27FC236}">
                  <a16:creationId xmlns:a16="http://schemas.microsoft.com/office/drawing/2014/main" id="{6E1738EE-261E-CD46-80D9-8F70CFB9B975}"/>
                </a:ext>
              </a:extLst>
            </p:cNvPr>
            <p:cNvCxnSpPr>
              <a:cxnSpLocks/>
            </p:cNvCxnSpPr>
            <p:nvPr/>
          </p:nvCxnSpPr>
          <p:spPr>
            <a:xfrm>
              <a:off x="1601886" y="2453134"/>
              <a:ext cx="0" cy="360000"/>
            </a:xfrm>
            <a:prstGeom prst="straightConnector1">
              <a:avLst/>
            </a:prstGeom>
            <a:ln w="12700">
              <a:solidFill>
                <a:schemeClr val="accent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pSp>
      <p:sp>
        <p:nvSpPr>
          <p:cNvPr id="306" name="TextBox 305">
            <a:extLst>
              <a:ext uri="{FF2B5EF4-FFF2-40B4-BE49-F238E27FC236}">
                <a16:creationId xmlns:a16="http://schemas.microsoft.com/office/drawing/2014/main" id="{C48E59A8-FC8A-B649-8C22-9592616F2001}"/>
              </a:ext>
            </a:extLst>
          </p:cNvPr>
          <p:cNvSpPr txBox="1"/>
          <p:nvPr/>
        </p:nvSpPr>
        <p:spPr>
          <a:xfrm>
            <a:off x="1035712" y="2924078"/>
            <a:ext cx="362610" cy="153888"/>
          </a:xfrm>
          <a:prstGeom prst="rect">
            <a:avLst/>
          </a:prstGeom>
          <a:noFill/>
        </p:spPr>
        <p:txBody>
          <a:bodyPr wrap="square" lIns="0" tIns="0" rIns="0" bIns="0" rtlCol="0">
            <a:spAutoFit/>
          </a:bodyPr>
          <a:lstStyle/>
          <a:p>
            <a:pPr algn="l"/>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0</a:t>
            </a:r>
          </a:p>
        </p:txBody>
      </p:sp>
      <p:sp>
        <p:nvSpPr>
          <p:cNvPr id="307" name="TextBox 306">
            <a:extLst>
              <a:ext uri="{FF2B5EF4-FFF2-40B4-BE49-F238E27FC236}">
                <a16:creationId xmlns:a16="http://schemas.microsoft.com/office/drawing/2014/main" id="{2E60E319-AAAE-5940-94CB-3C72C2C80792}"/>
              </a:ext>
            </a:extLst>
          </p:cNvPr>
          <p:cNvSpPr txBox="1"/>
          <p:nvPr/>
        </p:nvSpPr>
        <p:spPr>
          <a:xfrm>
            <a:off x="1919830" y="2924078"/>
            <a:ext cx="362610" cy="153888"/>
          </a:xfrm>
          <a:prstGeom prst="rect">
            <a:avLst/>
          </a:prstGeom>
          <a:noFill/>
        </p:spPr>
        <p:txBody>
          <a:bodyPr wrap="square" lIns="0" tIns="0" rIns="0" bIns="0" rtlCol="0">
            <a:spAutoFit/>
          </a:bodyPr>
          <a:lstStyle/>
          <a:p>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2</a:t>
            </a:r>
          </a:p>
        </p:txBody>
      </p:sp>
      <p:sp>
        <p:nvSpPr>
          <p:cNvPr id="308" name="TextBox 307">
            <a:extLst>
              <a:ext uri="{FF2B5EF4-FFF2-40B4-BE49-F238E27FC236}">
                <a16:creationId xmlns:a16="http://schemas.microsoft.com/office/drawing/2014/main" id="{9C4E8FC1-CF85-904D-8C50-E0BEAD0AA847}"/>
              </a:ext>
            </a:extLst>
          </p:cNvPr>
          <p:cNvSpPr txBox="1"/>
          <p:nvPr/>
        </p:nvSpPr>
        <p:spPr>
          <a:xfrm>
            <a:off x="2843129" y="2924078"/>
            <a:ext cx="362610" cy="153888"/>
          </a:xfrm>
          <a:prstGeom prst="rect">
            <a:avLst/>
          </a:prstGeom>
          <a:noFill/>
        </p:spPr>
        <p:txBody>
          <a:bodyPr wrap="square" lIns="0" tIns="0" rIns="0" bIns="0" rtlCol="0">
            <a:spAutoFit/>
          </a:bodyPr>
          <a:lstStyle/>
          <a:p>
            <a:r>
              <a:rPr lang="en-GB" sz="1000" dirty="0" err="1">
                <a:gradFill>
                  <a:gsLst>
                    <a:gs pos="2917">
                      <a:schemeClr val="tx1"/>
                    </a:gs>
                    <a:gs pos="30000">
                      <a:schemeClr val="tx1"/>
                    </a:gs>
                  </a:gsLst>
                  <a:lin ang="5400000" scaled="0"/>
                </a:gradFill>
              </a:rPr>
              <a:t>Año</a:t>
            </a:r>
            <a:r>
              <a:rPr lang="en-GB" sz="1000" dirty="0">
                <a:gradFill>
                  <a:gsLst>
                    <a:gs pos="2917">
                      <a:schemeClr val="tx1"/>
                    </a:gs>
                    <a:gs pos="30000">
                      <a:schemeClr val="tx1"/>
                    </a:gs>
                  </a:gsLst>
                  <a:lin ang="5400000" scaled="0"/>
                </a:gradFill>
              </a:rPr>
              <a:t> 4</a:t>
            </a:r>
          </a:p>
        </p:txBody>
      </p:sp>
      <p:sp>
        <p:nvSpPr>
          <p:cNvPr id="345" name="TextBox 344">
            <a:extLst>
              <a:ext uri="{FF2B5EF4-FFF2-40B4-BE49-F238E27FC236}">
                <a16:creationId xmlns:a16="http://schemas.microsoft.com/office/drawing/2014/main" id="{21DD1B35-B1BB-4847-BD1F-0FE6FD349294}"/>
              </a:ext>
            </a:extLst>
          </p:cNvPr>
          <p:cNvSpPr txBox="1"/>
          <p:nvPr/>
        </p:nvSpPr>
        <p:spPr>
          <a:xfrm>
            <a:off x="3496716" y="1984534"/>
            <a:ext cx="274114" cy="215444"/>
          </a:xfrm>
          <a:prstGeom prst="rect">
            <a:avLst/>
          </a:prstGeom>
          <a:noFill/>
          <a:ln w="12700">
            <a:noFill/>
          </a:ln>
        </p:spPr>
        <p:txBody>
          <a:bodyPr wrap="none" lIns="0" tIns="0" rIns="0" bIns="0" rtlCol="0" anchor="t" anchorCtr="0">
            <a:spAutoFit/>
          </a:bodyPr>
          <a:lstStyle/>
          <a:p>
            <a:pPr algn="ctr"/>
            <a:r>
              <a:rPr lang="en-GB" sz="1400" b="1">
                <a:solidFill>
                  <a:schemeClr val="accent2"/>
                </a:solidFill>
                <a:cs typeface="Calibri" panose="020F0502020204030204" pitchFamily="34" charset="0"/>
              </a:rPr>
              <a:t>$42</a:t>
            </a:r>
          </a:p>
        </p:txBody>
      </p:sp>
      <p:sp>
        <p:nvSpPr>
          <p:cNvPr id="346" name="TextBox 345">
            <a:extLst>
              <a:ext uri="{FF2B5EF4-FFF2-40B4-BE49-F238E27FC236}">
                <a16:creationId xmlns:a16="http://schemas.microsoft.com/office/drawing/2014/main" id="{21DD1B35-B1BB-4847-BD1F-0FE6FD349294}"/>
              </a:ext>
            </a:extLst>
          </p:cNvPr>
          <p:cNvSpPr txBox="1"/>
          <p:nvPr/>
        </p:nvSpPr>
        <p:spPr>
          <a:xfrm>
            <a:off x="4418697" y="1984534"/>
            <a:ext cx="274114" cy="430887"/>
          </a:xfrm>
          <a:prstGeom prst="rect">
            <a:avLst/>
          </a:prstGeom>
          <a:noFill/>
          <a:ln w="12700">
            <a:noFill/>
          </a:ln>
        </p:spPr>
        <p:txBody>
          <a:bodyPr wrap="none" lIns="0" tIns="0" rIns="0" bIns="0" rtlCol="0" anchor="t" anchorCtr="0">
            <a:spAutoFit/>
          </a:bodyPr>
          <a:lstStyle/>
          <a:p>
            <a:pPr algn="ctr"/>
            <a:r>
              <a:rPr lang="en-GB" sz="1400" b="1">
                <a:solidFill>
                  <a:schemeClr val="accent2"/>
                </a:solidFill>
                <a:cs typeface="Calibri" panose="020F0502020204030204" pitchFamily="34" charset="0"/>
              </a:rPr>
              <a:t>$63</a:t>
            </a:r>
          </a:p>
          <a:p>
            <a:pPr algn="ctr"/>
            <a:endParaRPr lang="en-GB" sz="1400" b="1">
              <a:solidFill>
                <a:schemeClr val="accent2"/>
              </a:solidFill>
              <a:cs typeface="Calibri" panose="020F0502020204030204" pitchFamily="34" charset="0"/>
            </a:endParaRPr>
          </a:p>
        </p:txBody>
      </p:sp>
      <p:sp>
        <p:nvSpPr>
          <p:cNvPr id="348" name="TextBox 347">
            <a:extLst>
              <a:ext uri="{FF2B5EF4-FFF2-40B4-BE49-F238E27FC236}">
                <a16:creationId xmlns:a16="http://schemas.microsoft.com/office/drawing/2014/main" id="{21DD1B35-B1BB-4847-BD1F-0FE6FD349294}"/>
              </a:ext>
            </a:extLst>
          </p:cNvPr>
          <p:cNvSpPr txBox="1"/>
          <p:nvPr/>
        </p:nvSpPr>
        <p:spPr>
          <a:xfrm>
            <a:off x="5418193" y="1984534"/>
            <a:ext cx="338996" cy="215444"/>
          </a:xfrm>
          <a:prstGeom prst="rect">
            <a:avLst/>
          </a:prstGeom>
          <a:noFill/>
          <a:ln w="12700">
            <a:noFill/>
          </a:ln>
        </p:spPr>
        <p:txBody>
          <a:bodyPr wrap="square" lIns="0" tIns="0" rIns="0" bIns="0" rtlCol="0" anchor="t" anchorCtr="0">
            <a:spAutoFit/>
          </a:bodyPr>
          <a:lstStyle/>
          <a:p>
            <a:pPr algn="ctr"/>
            <a:r>
              <a:rPr lang="en-GB" sz="1400" b="1">
                <a:solidFill>
                  <a:schemeClr val="accent2"/>
                </a:solidFill>
                <a:cs typeface="Calibri" panose="020F0502020204030204" pitchFamily="34" charset="0"/>
              </a:rPr>
              <a:t>$84</a:t>
            </a:r>
          </a:p>
        </p:txBody>
      </p:sp>
      <p:sp>
        <p:nvSpPr>
          <p:cNvPr id="352" name="TextBox 351">
            <a:extLst>
              <a:ext uri="{FF2B5EF4-FFF2-40B4-BE49-F238E27FC236}">
                <a16:creationId xmlns:a16="http://schemas.microsoft.com/office/drawing/2014/main" id="{21DD1B35-B1BB-4847-BD1F-0FE6FD349294}"/>
              </a:ext>
            </a:extLst>
          </p:cNvPr>
          <p:cNvSpPr txBox="1"/>
          <p:nvPr/>
        </p:nvSpPr>
        <p:spPr>
          <a:xfrm>
            <a:off x="1973321" y="3777977"/>
            <a:ext cx="104196" cy="246221"/>
          </a:xfrm>
          <a:prstGeom prst="rect">
            <a:avLst/>
          </a:prstGeom>
          <a:noFill/>
          <a:ln w="12700">
            <a:noFill/>
          </a:ln>
        </p:spPr>
        <p:txBody>
          <a:bodyPr wrap="none" lIns="0" tIns="0" rIns="0" bIns="0" rtlCol="0" anchor="t" anchorCtr="0">
            <a:spAutoFit/>
          </a:bodyPr>
          <a:lstStyle/>
          <a:p>
            <a:pPr algn="ctr"/>
            <a:r>
              <a:rPr lang="en-GB" sz="1600">
                <a:solidFill>
                  <a:schemeClr val="accent6"/>
                </a:solidFill>
                <a:latin typeface="Calibri" panose="020F0502020204030204" pitchFamily="34" charset="0"/>
                <a:cs typeface="Calibri" panose="020F0502020204030204" pitchFamily="34" charset="0"/>
              </a:rPr>
              <a:t>$</a:t>
            </a:r>
          </a:p>
        </p:txBody>
      </p:sp>
      <p:sp>
        <p:nvSpPr>
          <p:cNvPr id="353" name="TextBox 352">
            <a:extLst>
              <a:ext uri="{FF2B5EF4-FFF2-40B4-BE49-F238E27FC236}">
                <a16:creationId xmlns:a16="http://schemas.microsoft.com/office/drawing/2014/main" id="{21DD1B35-B1BB-4847-BD1F-0FE6FD349294}"/>
              </a:ext>
            </a:extLst>
          </p:cNvPr>
          <p:cNvSpPr txBox="1"/>
          <p:nvPr/>
        </p:nvSpPr>
        <p:spPr>
          <a:xfrm>
            <a:off x="2909872" y="3777977"/>
            <a:ext cx="104196" cy="246221"/>
          </a:xfrm>
          <a:prstGeom prst="rect">
            <a:avLst/>
          </a:prstGeom>
          <a:noFill/>
          <a:ln w="12700">
            <a:noFill/>
          </a:ln>
        </p:spPr>
        <p:txBody>
          <a:bodyPr wrap="none" lIns="0" tIns="0" rIns="0" bIns="0" rtlCol="0" anchor="t" anchorCtr="0">
            <a:spAutoFit/>
          </a:bodyPr>
          <a:lstStyle/>
          <a:p>
            <a:pPr algn="ctr"/>
            <a:r>
              <a:rPr lang="en-GB" sz="1600">
                <a:solidFill>
                  <a:schemeClr val="accent6"/>
                </a:solidFill>
                <a:latin typeface="Calibri" panose="020F0502020204030204" pitchFamily="34" charset="0"/>
                <a:cs typeface="Calibri" panose="020F0502020204030204" pitchFamily="34" charset="0"/>
              </a:rPr>
              <a:t>$</a:t>
            </a:r>
          </a:p>
        </p:txBody>
      </p:sp>
      <p:sp>
        <p:nvSpPr>
          <p:cNvPr id="354" name="TextBox 353">
            <a:extLst>
              <a:ext uri="{FF2B5EF4-FFF2-40B4-BE49-F238E27FC236}">
                <a16:creationId xmlns:a16="http://schemas.microsoft.com/office/drawing/2014/main" id="{21DD1B35-B1BB-4847-BD1F-0FE6FD349294}"/>
              </a:ext>
            </a:extLst>
          </p:cNvPr>
          <p:cNvSpPr txBox="1"/>
          <p:nvPr/>
        </p:nvSpPr>
        <p:spPr>
          <a:xfrm>
            <a:off x="3772777" y="3777977"/>
            <a:ext cx="208390" cy="246221"/>
          </a:xfrm>
          <a:prstGeom prst="rect">
            <a:avLst/>
          </a:prstGeom>
          <a:noFill/>
          <a:ln w="12700">
            <a:noFill/>
          </a:ln>
        </p:spPr>
        <p:txBody>
          <a:bodyPr wrap="none" lIns="0" tIns="0" rIns="0" bIns="0" rtlCol="0" anchor="t" anchorCtr="0">
            <a:spAutoFit/>
          </a:bodyPr>
          <a:lstStyle/>
          <a:p>
            <a:pPr algn="ctr"/>
            <a:r>
              <a:rPr lang="en-GB" sz="1600">
                <a:solidFill>
                  <a:schemeClr val="accent6"/>
                </a:solidFill>
                <a:latin typeface="Calibri" panose="020F0502020204030204" pitchFamily="34" charset="0"/>
                <a:cs typeface="Calibri" panose="020F0502020204030204" pitchFamily="34" charset="0"/>
              </a:rPr>
              <a:t>$$</a:t>
            </a:r>
          </a:p>
        </p:txBody>
      </p:sp>
      <p:sp>
        <p:nvSpPr>
          <p:cNvPr id="363" name="TextBox 362">
            <a:extLst>
              <a:ext uri="{FF2B5EF4-FFF2-40B4-BE49-F238E27FC236}">
                <a16:creationId xmlns:a16="http://schemas.microsoft.com/office/drawing/2014/main" id="{21DD1B35-B1BB-4847-BD1F-0FE6FD349294}"/>
              </a:ext>
            </a:extLst>
          </p:cNvPr>
          <p:cNvSpPr txBox="1"/>
          <p:nvPr/>
        </p:nvSpPr>
        <p:spPr>
          <a:xfrm>
            <a:off x="4737017" y="3777977"/>
            <a:ext cx="208390" cy="246221"/>
          </a:xfrm>
          <a:prstGeom prst="rect">
            <a:avLst/>
          </a:prstGeom>
          <a:noFill/>
          <a:ln w="12700">
            <a:noFill/>
          </a:ln>
        </p:spPr>
        <p:txBody>
          <a:bodyPr wrap="none" lIns="0" tIns="0" rIns="0" bIns="0" rtlCol="0" anchor="t" anchorCtr="0">
            <a:spAutoFit/>
          </a:bodyPr>
          <a:lstStyle/>
          <a:p>
            <a:pPr algn="ctr"/>
            <a:r>
              <a:rPr lang="en-GB" sz="1600">
                <a:solidFill>
                  <a:schemeClr val="accent6"/>
                </a:solidFill>
                <a:latin typeface="Calibri" panose="020F0502020204030204" pitchFamily="34" charset="0"/>
                <a:cs typeface="Calibri" panose="020F0502020204030204" pitchFamily="34" charset="0"/>
              </a:rPr>
              <a:t>$$</a:t>
            </a:r>
          </a:p>
        </p:txBody>
      </p:sp>
      <p:sp>
        <p:nvSpPr>
          <p:cNvPr id="364" name="TextBox 363">
            <a:extLst>
              <a:ext uri="{FF2B5EF4-FFF2-40B4-BE49-F238E27FC236}">
                <a16:creationId xmlns:a16="http://schemas.microsoft.com/office/drawing/2014/main" id="{21DD1B35-B1BB-4847-BD1F-0FE6FD349294}"/>
              </a:ext>
            </a:extLst>
          </p:cNvPr>
          <p:cNvSpPr txBox="1"/>
          <p:nvPr/>
        </p:nvSpPr>
        <p:spPr>
          <a:xfrm>
            <a:off x="5753431" y="3777977"/>
            <a:ext cx="208390" cy="246221"/>
          </a:xfrm>
          <a:prstGeom prst="rect">
            <a:avLst/>
          </a:prstGeom>
          <a:noFill/>
          <a:ln w="12700">
            <a:noFill/>
          </a:ln>
        </p:spPr>
        <p:txBody>
          <a:bodyPr wrap="none" lIns="0" tIns="0" rIns="0" bIns="0" rtlCol="0" anchor="t" anchorCtr="0">
            <a:spAutoFit/>
          </a:bodyPr>
          <a:lstStyle/>
          <a:p>
            <a:pPr algn="ctr"/>
            <a:r>
              <a:rPr lang="en-GB" sz="1600">
                <a:solidFill>
                  <a:schemeClr val="accent6"/>
                </a:solidFill>
                <a:latin typeface="Calibri" panose="020F0502020204030204" pitchFamily="34" charset="0"/>
                <a:cs typeface="Calibri" panose="020F0502020204030204" pitchFamily="34" charset="0"/>
              </a:rPr>
              <a:t>$$</a:t>
            </a:r>
          </a:p>
        </p:txBody>
      </p:sp>
      <p:sp>
        <p:nvSpPr>
          <p:cNvPr id="365" name="TextBox 364">
            <a:extLst>
              <a:ext uri="{FF2B5EF4-FFF2-40B4-BE49-F238E27FC236}">
                <a16:creationId xmlns:a16="http://schemas.microsoft.com/office/drawing/2014/main" id="{21DD1B35-B1BB-4847-BD1F-0FE6FD349294}"/>
              </a:ext>
            </a:extLst>
          </p:cNvPr>
          <p:cNvSpPr txBox="1"/>
          <p:nvPr/>
        </p:nvSpPr>
        <p:spPr>
          <a:xfrm>
            <a:off x="6737581" y="3777977"/>
            <a:ext cx="312586" cy="246221"/>
          </a:xfrm>
          <a:prstGeom prst="rect">
            <a:avLst/>
          </a:prstGeom>
          <a:noFill/>
          <a:ln w="12700">
            <a:noFill/>
          </a:ln>
        </p:spPr>
        <p:txBody>
          <a:bodyPr wrap="none" lIns="0" tIns="0" rIns="0" bIns="0" rtlCol="0" anchor="t" anchorCtr="0">
            <a:spAutoFit/>
          </a:bodyPr>
          <a:lstStyle/>
          <a:p>
            <a:pPr algn="ctr"/>
            <a:r>
              <a:rPr lang="en-GB" sz="1600">
                <a:solidFill>
                  <a:schemeClr val="accent6"/>
                </a:solidFill>
                <a:latin typeface="Calibri" panose="020F0502020204030204" pitchFamily="34" charset="0"/>
                <a:cs typeface="Calibri" panose="020F0502020204030204" pitchFamily="34" charset="0"/>
              </a:rPr>
              <a:t>$$$</a:t>
            </a:r>
          </a:p>
        </p:txBody>
      </p:sp>
      <p:sp>
        <p:nvSpPr>
          <p:cNvPr id="366" name="TextBox 365">
            <a:extLst>
              <a:ext uri="{FF2B5EF4-FFF2-40B4-BE49-F238E27FC236}">
                <a16:creationId xmlns:a16="http://schemas.microsoft.com/office/drawing/2014/main" id="{21DD1B35-B1BB-4847-BD1F-0FE6FD349294}"/>
              </a:ext>
            </a:extLst>
          </p:cNvPr>
          <p:cNvSpPr txBox="1"/>
          <p:nvPr/>
        </p:nvSpPr>
        <p:spPr>
          <a:xfrm>
            <a:off x="7775569" y="3777977"/>
            <a:ext cx="312586" cy="246221"/>
          </a:xfrm>
          <a:prstGeom prst="rect">
            <a:avLst/>
          </a:prstGeom>
          <a:noFill/>
          <a:ln w="12700">
            <a:noFill/>
          </a:ln>
        </p:spPr>
        <p:txBody>
          <a:bodyPr wrap="none" lIns="0" tIns="0" rIns="0" bIns="0" rtlCol="0" anchor="t" anchorCtr="0">
            <a:spAutoFit/>
          </a:bodyPr>
          <a:lstStyle/>
          <a:p>
            <a:pPr algn="ctr"/>
            <a:r>
              <a:rPr lang="en-GB" sz="1600">
                <a:solidFill>
                  <a:schemeClr val="accent6"/>
                </a:solidFill>
                <a:latin typeface="Calibri" panose="020F0502020204030204" pitchFamily="34" charset="0"/>
                <a:cs typeface="Calibri" panose="020F0502020204030204" pitchFamily="34" charset="0"/>
              </a:rPr>
              <a:t>$$$</a:t>
            </a:r>
          </a:p>
        </p:txBody>
      </p:sp>
      <p:sp>
        <p:nvSpPr>
          <p:cNvPr id="114" name="Freeform 5"/>
          <p:cNvSpPr>
            <a:spLocks noEditPoints="1"/>
          </p:cNvSpPr>
          <p:nvPr/>
        </p:nvSpPr>
        <p:spPr bwMode="auto">
          <a:xfrm>
            <a:off x="1047195" y="2670456"/>
            <a:ext cx="214716" cy="214716"/>
          </a:xfrm>
          <a:custGeom>
            <a:avLst/>
            <a:gdLst>
              <a:gd name="T0" fmla="*/ 322 w 409"/>
              <a:gd name="T1" fmla="*/ 276 h 409"/>
              <a:gd name="T2" fmla="*/ 324 w 409"/>
              <a:gd name="T3" fmla="*/ 303 h 409"/>
              <a:gd name="T4" fmla="*/ 105 w 409"/>
              <a:gd name="T5" fmla="*/ 370 h 409"/>
              <a:gd name="T6" fmla="*/ 59 w 409"/>
              <a:gd name="T7" fmla="*/ 363 h 409"/>
              <a:gd name="T8" fmla="*/ 45 w 409"/>
              <a:gd name="T9" fmla="*/ 364 h 409"/>
              <a:gd name="T10" fmla="*/ 46 w 409"/>
              <a:gd name="T11" fmla="*/ 350 h 409"/>
              <a:gd name="T12" fmla="*/ 39 w 409"/>
              <a:gd name="T13" fmla="*/ 304 h 409"/>
              <a:gd name="T14" fmla="*/ 106 w 409"/>
              <a:gd name="T15" fmla="*/ 85 h 409"/>
              <a:gd name="T16" fmla="*/ 133 w 409"/>
              <a:gd name="T17" fmla="*/ 87 h 409"/>
              <a:gd name="T18" fmla="*/ 322 w 409"/>
              <a:gd name="T19" fmla="*/ 276 h 409"/>
              <a:gd name="T20" fmla="*/ 338 w 409"/>
              <a:gd name="T21" fmla="*/ 264 h 409"/>
              <a:gd name="T22" fmla="*/ 362 w 409"/>
              <a:gd name="T23" fmla="*/ 272 h 409"/>
              <a:gd name="T24" fmla="*/ 396 w 409"/>
              <a:gd name="T25" fmla="*/ 226 h 409"/>
              <a:gd name="T26" fmla="*/ 366 w 409"/>
              <a:gd name="T27" fmla="*/ 88 h 409"/>
              <a:gd name="T28" fmla="*/ 369 w 409"/>
              <a:gd name="T29" fmla="*/ 60 h 409"/>
              <a:gd name="T30" fmla="*/ 400 w 409"/>
              <a:gd name="T31" fmla="*/ 30 h 409"/>
              <a:gd name="T32" fmla="*/ 401 w 409"/>
              <a:gd name="T33" fmla="*/ 8 h 409"/>
              <a:gd name="T34" fmla="*/ 379 w 409"/>
              <a:gd name="T35" fmla="*/ 9 h 409"/>
              <a:gd name="T36" fmla="*/ 349 w 409"/>
              <a:gd name="T37" fmla="*/ 40 h 409"/>
              <a:gd name="T38" fmla="*/ 321 w 409"/>
              <a:gd name="T39" fmla="*/ 43 h 409"/>
              <a:gd name="T40" fmla="*/ 183 w 409"/>
              <a:gd name="T41" fmla="*/ 13 h 409"/>
              <a:gd name="T42" fmla="*/ 137 w 409"/>
              <a:gd name="T43" fmla="*/ 47 h 409"/>
              <a:gd name="T44" fmla="*/ 145 w 409"/>
              <a:gd name="T45" fmla="*/ 71 h 409"/>
              <a:gd name="T46" fmla="*/ 338 w 409"/>
              <a:gd name="T47" fmla="*/ 264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9" h="409">
                <a:moveTo>
                  <a:pt x="322" y="276"/>
                </a:moveTo>
                <a:cubicBezTo>
                  <a:pt x="334" y="288"/>
                  <a:pt x="333" y="293"/>
                  <a:pt x="324" y="303"/>
                </a:cubicBezTo>
                <a:cubicBezTo>
                  <a:pt x="267" y="360"/>
                  <a:pt x="204" y="409"/>
                  <a:pt x="105" y="370"/>
                </a:cubicBezTo>
                <a:cubicBezTo>
                  <a:pt x="85" y="362"/>
                  <a:pt x="66" y="357"/>
                  <a:pt x="59" y="363"/>
                </a:cubicBezTo>
                <a:cubicBezTo>
                  <a:pt x="53" y="369"/>
                  <a:pt x="49" y="368"/>
                  <a:pt x="45" y="364"/>
                </a:cubicBezTo>
                <a:cubicBezTo>
                  <a:pt x="41" y="360"/>
                  <a:pt x="40" y="356"/>
                  <a:pt x="46" y="350"/>
                </a:cubicBezTo>
                <a:cubicBezTo>
                  <a:pt x="52" y="343"/>
                  <a:pt x="47" y="324"/>
                  <a:pt x="39" y="304"/>
                </a:cubicBezTo>
                <a:cubicBezTo>
                  <a:pt x="0" y="205"/>
                  <a:pt x="49" y="142"/>
                  <a:pt x="106" y="85"/>
                </a:cubicBezTo>
                <a:cubicBezTo>
                  <a:pt x="116" y="76"/>
                  <a:pt x="121" y="75"/>
                  <a:pt x="133" y="87"/>
                </a:cubicBezTo>
                <a:cubicBezTo>
                  <a:pt x="154" y="108"/>
                  <a:pt x="310" y="264"/>
                  <a:pt x="322" y="276"/>
                </a:cubicBezTo>
                <a:close/>
                <a:moveTo>
                  <a:pt x="338" y="264"/>
                </a:moveTo>
                <a:cubicBezTo>
                  <a:pt x="346" y="272"/>
                  <a:pt x="352" y="276"/>
                  <a:pt x="362" y="272"/>
                </a:cubicBezTo>
                <a:cubicBezTo>
                  <a:pt x="377" y="265"/>
                  <a:pt x="396" y="253"/>
                  <a:pt x="396" y="226"/>
                </a:cubicBezTo>
                <a:cubicBezTo>
                  <a:pt x="397" y="182"/>
                  <a:pt x="389" y="136"/>
                  <a:pt x="366" y="88"/>
                </a:cubicBezTo>
                <a:cubicBezTo>
                  <a:pt x="358" y="71"/>
                  <a:pt x="363" y="65"/>
                  <a:pt x="369" y="60"/>
                </a:cubicBezTo>
                <a:cubicBezTo>
                  <a:pt x="382" y="49"/>
                  <a:pt x="389" y="42"/>
                  <a:pt x="400" y="30"/>
                </a:cubicBezTo>
                <a:cubicBezTo>
                  <a:pt x="409" y="19"/>
                  <a:pt x="407" y="14"/>
                  <a:pt x="401" y="8"/>
                </a:cubicBezTo>
                <a:cubicBezTo>
                  <a:pt x="395" y="2"/>
                  <a:pt x="390" y="0"/>
                  <a:pt x="379" y="9"/>
                </a:cubicBezTo>
                <a:cubicBezTo>
                  <a:pt x="367" y="20"/>
                  <a:pt x="360" y="27"/>
                  <a:pt x="349" y="40"/>
                </a:cubicBezTo>
                <a:cubicBezTo>
                  <a:pt x="344" y="46"/>
                  <a:pt x="338" y="51"/>
                  <a:pt x="321" y="43"/>
                </a:cubicBezTo>
                <a:cubicBezTo>
                  <a:pt x="273" y="20"/>
                  <a:pt x="227" y="12"/>
                  <a:pt x="183" y="13"/>
                </a:cubicBezTo>
                <a:cubicBezTo>
                  <a:pt x="156" y="13"/>
                  <a:pt x="144" y="32"/>
                  <a:pt x="137" y="47"/>
                </a:cubicBezTo>
                <a:cubicBezTo>
                  <a:pt x="133" y="57"/>
                  <a:pt x="137" y="63"/>
                  <a:pt x="145" y="71"/>
                </a:cubicBezTo>
                <a:cubicBezTo>
                  <a:pt x="157" y="83"/>
                  <a:pt x="331" y="257"/>
                  <a:pt x="338" y="264"/>
                </a:cubicBezTo>
                <a:close/>
              </a:path>
            </a:pathLst>
          </a:custGeom>
          <a:solidFill>
            <a:srgbClr val="5E6A71"/>
          </a:solidFill>
          <a:ln>
            <a:noFill/>
          </a:ln>
        </p:spPr>
        <p:txBody>
          <a:bodyPr vert="horz" wrap="square" lIns="91440" tIns="45720" rIns="91440" bIns="45720" numCol="1" anchor="t" anchorCtr="0" compatLnSpc="1">
            <a:prstTxWarp prst="textNoShape">
              <a:avLst/>
            </a:prstTxWarp>
          </a:bodyPr>
          <a:lstStyle/>
          <a:p>
            <a:endParaRPr lang="en-GB"/>
          </a:p>
        </p:txBody>
      </p:sp>
      <p:sp>
        <p:nvSpPr>
          <p:cNvPr id="119" name="Content Placeholder 6"/>
          <p:cNvSpPr>
            <a:spLocks noGrp="1"/>
          </p:cNvSpPr>
          <p:nvPr/>
        </p:nvSpPr>
        <p:spPr>
          <a:xfrm>
            <a:off x="468000" y="1386649"/>
            <a:ext cx="8215686" cy="850791"/>
          </a:xfrm>
          <a:prstGeom prst="roundRect">
            <a:avLst>
              <a:gd name="adj" fmla="val 8293"/>
            </a:avLst>
          </a:prstGeom>
          <a:ln w="12700">
            <a:solidFill>
              <a:schemeClr val="accent2"/>
            </a:solidFill>
          </a:ln>
        </p:spPr>
        <p:txBody>
          <a:bodyPr vert="horz" lIns="36000" tIns="36000" rIns="36000" bIns="36000" rtlCol="0">
            <a:noAutofit/>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sz="1400" b="1" i="1">
              <a:solidFill>
                <a:schemeClr val="accent2"/>
              </a:solidFill>
              <a:latin typeface="Calibri" panose="020F0502020204030204" pitchFamily="34" charset="0"/>
              <a:cs typeface="Calibri" panose="020F0502020204030204" pitchFamily="34" charset="0"/>
            </a:endParaRPr>
          </a:p>
        </p:txBody>
      </p:sp>
      <p:sp>
        <p:nvSpPr>
          <p:cNvPr id="120" name="Content Placeholder 7"/>
          <p:cNvSpPr>
            <a:spLocks noGrp="1"/>
          </p:cNvSpPr>
          <p:nvPr/>
        </p:nvSpPr>
        <p:spPr>
          <a:xfrm>
            <a:off x="468000" y="3160989"/>
            <a:ext cx="8215686" cy="882903"/>
          </a:xfrm>
          <a:prstGeom prst="roundRect">
            <a:avLst>
              <a:gd name="adj" fmla="val 9224"/>
            </a:avLst>
          </a:prstGeom>
          <a:ln w="12700">
            <a:solidFill>
              <a:schemeClr val="accent6"/>
            </a:solidFill>
          </a:ln>
        </p:spPr>
        <p:txBody>
          <a:bodyPr vert="horz" lIns="36000" tIns="36000" rIns="36000" bIns="36000" rtlCol="0" anchor="b">
            <a:noAutofit/>
          </a:bodyPr>
          <a:lstStyle>
            <a:defPPr>
              <a:defRPr lang="nl-NL"/>
            </a:defPPr>
            <a:lvl1pPr marL="0" algn="l" defTabSz="456999" rtl="0" eaLnBrk="1" latinLnBrk="0" hangingPunct="1">
              <a:defRPr sz="1800" kern="1200">
                <a:solidFill>
                  <a:schemeClr val="tx1"/>
                </a:solidFill>
                <a:latin typeface="+mn-lt"/>
                <a:ea typeface="+mn-ea"/>
                <a:cs typeface="+mn-cs"/>
              </a:defRPr>
            </a:lvl1pPr>
            <a:lvl2pPr marL="456999" algn="l" defTabSz="456999" rtl="0" eaLnBrk="1" latinLnBrk="0" hangingPunct="1">
              <a:defRPr sz="1800" kern="1200">
                <a:solidFill>
                  <a:schemeClr val="tx1"/>
                </a:solidFill>
                <a:latin typeface="+mn-lt"/>
                <a:ea typeface="+mn-ea"/>
                <a:cs typeface="+mn-cs"/>
              </a:defRPr>
            </a:lvl2pPr>
            <a:lvl3pPr marL="913999" algn="l" defTabSz="456999" rtl="0" eaLnBrk="1" latinLnBrk="0" hangingPunct="1">
              <a:defRPr sz="1800" kern="1200">
                <a:solidFill>
                  <a:schemeClr val="tx1"/>
                </a:solidFill>
                <a:latin typeface="+mn-lt"/>
                <a:ea typeface="+mn-ea"/>
                <a:cs typeface="+mn-cs"/>
              </a:defRPr>
            </a:lvl3pPr>
            <a:lvl4pPr marL="1370998" algn="l" defTabSz="456999" rtl="0" eaLnBrk="1" latinLnBrk="0" hangingPunct="1">
              <a:defRPr sz="1800" kern="1200">
                <a:solidFill>
                  <a:schemeClr val="tx1"/>
                </a:solidFill>
                <a:latin typeface="+mn-lt"/>
                <a:ea typeface="+mn-ea"/>
                <a:cs typeface="+mn-cs"/>
              </a:defRPr>
            </a:lvl4pPr>
            <a:lvl5pPr marL="1827997" algn="l" defTabSz="456999" rtl="0" eaLnBrk="1" latinLnBrk="0" hangingPunct="1">
              <a:defRPr sz="1800" kern="1200">
                <a:solidFill>
                  <a:schemeClr val="tx1"/>
                </a:solidFill>
                <a:latin typeface="+mn-lt"/>
                <a:ea typeface="+mn-ea"/>
                <a:cs typeface="+mn-cs"/>
              </a:defRPr>
            </a:lvl5pPr>
            <a:lvl6pPr marL="2284997" algn="l" defTabSz="456999" rtl="0" eaLnBrk="1" latinLnBrk="0" hangingPunct="1">
              <a:defRPr sz="1800" kern="1200">
                <a:solidFill>
                  <a:schemeClr val="tx1"/>
                </a:solidFill>
                <a:latin typeface="+mn-lt"/>
                <a:ea typeface="+mn-ea"/>
                <a:cs typeface="+mn-cs"/>
              </a:defRPr>
            </a:lvl6pPr>
            <a:lvl7pPr marL="2741997" algn="l" defTabSz="456999" rtl="0" eaLnBrk="1" latinLnBrk="0" hangingPunct="1">
              <a:defRPr sz="1800" kern="1200">
                <a:solidFill>
                  <a:schemeClr val="tx1"/>
                </a:solidFill>
                <a:latin typeface="+mn-lt"/>
                <a:ea typeface="+mn-ea"/>
                <a:cs typeface="+mn-cs"/>
              </a:defRPr>
            </a:lvl7pPr>
            <a:lvl8pPr marL="3198995" algn="l" defTabSz="456999" rtl="0" eaLnBrk="1" latinLnBrk="0" hangingPunct="1">
              <a:defRPr sz="1800" kern="1200">
                <a:solidFill>
                  <a:schemeClr val="tx1"/>
                </a:solidFill>
                <a:latin typeface="+mn-lt"/>
                <a:ea typeface="+mn-ea"/>
                <a:cs typeface="+mn-cs"/>
              </a:defRPr>
            </a:lvl8pPr>
            <a:lvl9pPr marL="3655995" algn="l" defTabSz="456999" rtl="0" eaLnBrk="1" latinLnBrk="0" hangingPunct="1">
              <a:defRPr sz="1800" kern="1200">
                <a:solidFill>
                  <a:schemeClr val="tx1"/>
                </a:solidFill>
                <a:latin typeface="+mn-lt"/>
                <a:ea typeface="+mn-ea"/>
                <a:cs typeface="+mn-cs"/>
              </a:defRPr>
            </a:lvl9pPr>
          </a:lstStyle>
          <a:p>
            <a:endParaRPr lang="en-GB" sz="1400" b="1" i="1">
              <a:solidFill>
                <a:schemeClr val="accent6"/>
              </a:solidFill>
              <a:latin typeface="Calibri" panose="020F0502020204030204" pitchFamily="34" charset="0"/>
              <a:cs typeface="Calibri" panose="020F0502020204030204" pitchFamily="34" charset="0"/>
            </a:endParaRPr>
          </a:p>
        </p:txBody>
      </p:sp>
      <p:grpSp>
        <p:nvGrpSpPr>
          <p:cNvPr id="10" name="Group 9"/>
          <p:cNvGrpSpPr/>
          <p:nvPr/>
        </p:nvGrpSpPr>
        <p:grpSpPr>
          <a:xfrm>
            <a:off x="1417897" y="1546138"/>
            <a:ext cx="361334" cy="290696"/>
            <a:chOff x="538163" y="2776538"/>
            <a:chExt cx="633412" cy="509587"/>
          </a:xfrm>
          <a:solidFill>
            <a:schemeClr val="accent2"/>
          </a:solidFill>
        </p:grpSpPr>
        <p:sp>
          <p:nvSpPr>
            <p:cNvPr id="7" name="Freeform 20"/>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8" name="Freeform 21"/>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9" name="Freeform 22"/>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grpSp>
      <p:grpSp>
        <p:nvGrpSpPr>
          <p:cNvPr id="128" name="Group 127"/>
          <p:cNvGrpSpPr/>
          <p:nvPr/>
        </p:nvGrpSpPr>
        <p:grpSpPr>
          <a:xfrm>
            <a:off x="7830129" y="3446783"/>
            <a:ext cx="130241" cy="305859"/>
            <a:chOff x="3281315" y="1703922"/>
            <a:chExt cx="117989" cy="277086"/>
          </a:xfrm>
          <a:solidFill>
            <a:schemeClr val="accent6"/>
          </a:solidFill>
        </p:grpSpPr>
        <p:sp>
          <p:nvSpPr>
            <p:cNvPr id="129" name="Freeform 9"/>
            <p:cNvSpPr>
              <a:spLocks/>
            </p:cNvSpPr>
            <p:nvPr/>
          </p:nvSpPr>
          <p:spPr bwMode="auto">
            <a:xfrm>
              <a:off x="3329272" y="1966545"/>
              <a:ext cx="31971" cy="14463"/>
            </a:xfrm>
            <a:custGeom>
              <a:avLst/>
              <a:gdLst>
                <a:gd name="T0" fmla="*/ 39 w 41"/>
                <a:gd name="T1" fmla="*/ 1 h 19"/>
                <a:gd name="T2" fmla="*/ 21 w 41"/>
                <a:gd name="T3" fmla="*/ 3 h 19"/>
                <a:gd name="T4" fmla="*/ 0 w 41"/>
                <a:gd name="T5" fmla="*/ 0 h 19"/>
                <a:gd name="T6" fmla="*/ 21 w 41"/>
                <a:gd name="T7" fmla="*/ 19 h 19"/>
                <a:gd name="T8" fmla="*/ 41 w 41"/>
                <a:gd name="T9" fmla="*/ 0 h 19"/>
                <a:gd name="T10" fmla="*/ 39 w 41"/>
                <a:gd name="T11" fmla="*/ 1 h 19"/>
              </a:gdLst>
              <a:ahLst/>
              <a:cxnLst>
                <a:cxn ang="0">
                  <a:pos x="T0" y="T1"/>
                </a:cxn>
                <a:cxn ang="0">
                  <a:pos x="T2" y="T3"/>
                </a:cxn>
                <a:cxn ang="0">
                  <a:pos x="T4" y="T5"/>
                </a:cxn>
                <a:cxn ang="0">
                  <a:pos x="T6" y="T7"/>
                </a:cxn>
                <a:cxn ang="0">
                  <a:pos x="T8" y="T9"/>
                </a:cxn>
                <a:cxn ang="0">
                  <a:pos x="T10" y="T11"/>
                </a:cxn>
              </a:cxnLst>
              <a:rect l="0" t="0" r="r" b="b"/>
              <a:pathLst>
                <a:path w="41" h="19">
                  <a:moveTo>
                    <a:pt x="39" y="1"/>
                  </a:moveTo>
                  <a:cubicBezTo>
                    <a:pt x="33" y="2"/>
                    <a:pt x="27" y="3"/>
                    <a:pt x="21" y="3"/>
                  </a:cubicBezTo>
                  <a:cubicBezTo>
                    <a:pt x="14" y="3"/>
                    <a:pt x="7" y="2"/>
                    <a:pt x="0" y="0"/>
                  </a:cubicBezTo>
                  <a:cubicBezTo>
                    <a:pt x="1" y="11"/>
                    <a:pt x="10" y="19"/>
                    <a:pt x="21" y="19"/>
                  </a:cubicBezTo>
                  <a:cubicBezTo>
                    <a:pt x="32" y="19"/>
                    <a:pt x="40" y="11"/>
                    <a:pt x="41" y="0"/>
                  </a:cubicBezTo>
                  <a:lnTo>
                    <a:pt x="3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0"/>
            <p:cNvSpPr>
              <a:spLocks/>
            </p:cNvSpPr>
            <p:nvPr/>
          </p:nvSpPr>
          <p:spPr bwMode="auto">
            <a:xfrm>
              <a:off x="3336884" y="1703922"/>
              <a:ext cx="17508" cy="13702"/>
            </a:xfrm>
            <a:custGeom>
              <a:avLst/>
              <a:gdLst>
                <a:gd name="T0" fmla="*/ 2 w 22"/>
                <a:gd name="T1" fmla="*/ 18 h 18"/>
                <a:gd name="T2" fmla="*/ 5 w 22"/>
                <a:gd name="T3" fmla="*/ 18 h 18"/>
                <a:gd name="T4" fmla="*/ 16 w 22"/>
                <a:gd name="T5" fmla="*/ 18 h 18"/>
                <a:gd name="T6" fmla="*/ 20 w 22"/>
                <a:gd name="T7" fmla="*/ 18 h 18"/>
                <a:gd name="T8" fmla="*/ 20 w 22"/>
                <a:gd name="T9" fmla="*/ 18 h 18"/>
                <a:gd name="T10" fmla="*/ 22 w 22"/>
                <a:gd name="T11" fmla="*/ 13 h 18"/>
                <a:gd name="T12" fmla="*/ 21 w 22"/>
                <a:gd name="T13" fmla="*/ 6 h 18"/>
                <a:gd name="T14" fmla="*/ 15 w 22"/>
                <a:gd name="T15" fmla="*/ 0 h 18"/>
                <a:gd name="T16" fmla="*/ 11 w 22"/>
                <a:gd name="T17" fmla="*/ 0 h 18"/>
                <a:gd name="T18" fmla="*/ 7 w 22"/>
                <a:gd name="T19" fmla="*/ 0 h 18"/>
                <a:gd name="T20" fmla="*/ 1 w 22"/>
                <a:gd name="T21" fmla="*/ 6 h 18"/>
                <a:gd name="T22" fmla="*/ 0 w 22"/>
                <a:gd name="T23" fmla="*/ 13 h 18"/>
                <a:gd name="T24" fmla="*/ 1 w 22"/>
                <a:gd name="T25" fmla="*/ 18 h 18"/>
                <a:gd name="T26" fmla="*/ 2 w 22"/>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2" y="18"/>
                  </a:moveTo>
                  <a:cubicBezTo>
                    <a:pt x="3" y="18"/>
                    <a:pt x="4" y="18"/>
                    <a:pt x="5" y="18"/>
                  </a:cubicBezTo>
                  <a:cubicBezTo>
                    <a:pt x="9" y="17"/>
                    <a:pt x="13" y="17"/>
                    <a:pt x="16" y="18"/>
                  </a:cubicBezTo>
                  <a:cubicBezTo>
                    <a:pt x="18" y="18"/>
                    <a:pt x="19" y="18"/>
                    <a:pt x="20" y="18"/>
                  </a:cubicBezTo>
                  <a:cubicBezTo>
                    <a:pt x="20" y="18"/>
                    <a:pt x="20" y="18"/>
                    <a:pt x="20" y="18"/>
                  </a:cubicBezTo>
                  <a:cubicBezTo>
                    <a:pt x="21" y="17"/>
                    <a:pt x="22" y="15"/>
                    <a:pt x="22" y="13"/>
                  </a:cubicBezTo>
                  <a:cubicBezTo>
                    <a:pt x="21" y="6"/>
                    <a:pt x="21" y="6"/>
                    <a:pt x="21" y="6"/>
                  </a:cubicBezTo>
                  <a:cubicBezTo>
                    <a:pt x="20" y="3"/>
                    <a:pt x="18" y="1"/>
                    <a:pt x="15" y="0"/>
                  </a:cubicBezTo>
                  <a:cubicBezTo>
                    <a:pt x="13" y="0"/>
                    <a:pt x="12" y="0"/>
                    <a:pt x="11" y="0"/>
                  </a:cubicBezTo>
                  <a:cubicBezTo>
                    <a:pt x="9" y="0"/>
                    <a:pt x="8" y="0"/>
                    <a:pt x="7" y="0"/>
                  </a:cubicBezTo>
                  <a:cubicBezTo>
                    <a:pt x="4" y="0"/>
                    <a:pt x="1" y="3"/>
                    <a:pt x="1" y="6"/>
                  </a:cubicBezTo>
                  <a:cubicBezTo>
                    <a:pt x="0" y="13"/>
                    <a:pt x="0" y="13"/>
                    <a:pt x="0" y="13"/>
                  </a:cubicBezTo>
                  <a:cubicBezTo>
                    <a:pt x="0" y="15"/>
                    <a:pt x="0" y="17"/>
                    <a:pt x="1" y="18"/>
                  </a:cubicBezTo>
                  <a:cubicBezTo>
                    <a:pt x="1" y="18"/>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1"/>
            <p:cNvSpPr>
              <a:spLocks/>
            </p:cNvSpPr>
            <p:nvPr/>
          </p:nvSpPr>
          <p:spPr bwMode="auto">
            <a:xfrm>
              <a:off x="3355915" y="1713818"/>
              <a:ext cx="15224" cy="15986"/>
            </a:xfrm>
            <a:custGeom>
              <a:avLst/>
              <a:gdLst>
                <a:gd name="T0" fmla="*/ 20 w 20"/>
                <a:gd name="T1" fmla="*/ 13 h 21"/>
                <a:gd name="T2" fmla="*/ 19 w 20"/>
                <a:gd name="T3" fmla="*/ 6 h 21"/>
                <a:gd name="T4" fmla="*/ 13 w 20"/>
                <a:gd name="T5" fmla="*/ 0 h 21"/>
                <a:gd name="T6" fmla="*/ 9 w 20"/>
                <a:gd name="T7" fmla="*/ 0 h 21"/>
                <a:gd name="T8" fmla="*/ 5 w 20"/>
                <a:gd name="T9" fmla="*/ 0 h 21"/>
                <a:gd name="T10" fmla="*/ 2 w 20"/>
                <a:gd name="T11" fmla="*/ 1 h 21"/>
                <a:gd name="T12" fmla="*/ 0 w 20"/>
                <a:gd name="T13" fmla="*/ 7 h 21"/>
                <a:gd name="T14" fmla="*/ 5 w 20"/>
                <a:gd name="T15" fmla="*/ 17 h 21"/>
                <a:gd name="T16" fmla="*/ 6 w 20"/>
                <a:gd name="T17" fmla="*/ 20 h 21"/>
                <a:gd name="T18" fmla="*/ 14 w 20"/>
                <a:gd name="T19" fmla="*/ 20 h 21"/>
                <a:gd name="T20" fmla="*/ 14 w 20"/>
                <a:gd name="T21" fmla="*/ 20 h 21"/>
                <a:gd name="T22" fmla="*/ 18 w 20"/>
                <a:gd name="T23" fmla="*/ 18 h 21"/>
                <a:gd name="T24" fmla="*/ 20 w 20"/>
                <a:gd name="T25"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1">
                  <a:moveTo>
                    <a:pt x="20" y="13"/>
                  </a:moveTo>
                  <a:cubicBezTo>
                    <a:pt x="19" y="6"/>
                    <a:pt x="19" y="6"/>
                    <a:pt x="19" y="6"/>
                  </a:cubicBezTo>
                  <a:cubicBezTo>
                    <a:pt x="18" y="3"/>
                    <a:pt x="16" y="0"/>
                    <a:pt x="13" y="0"/>
                  </a:cubicBezTo>
                  <a:cubicBezTo>
                    <a:pt x="12" y="0"/>
                    <a:pt x="10" y="0"/>
                    <a:pt x="9" y="0"/>
                  </a:cubicBezTo>
                  <a:cubicBezTo>
                    <a:pt x="8" y="0"/>
                    <a:pt x="6" y="0"/>
                    <a:pt x="5" y="0"/>
                  </a:cubicBezTo>
                  <a:cubicBezTo>
                    <a:pt x="4" y="0"/>
                    <a:pt x="3" y="1"/>
                    <a:pt x="2" y="1"/>
                  </a:cubicBezTo>
                  <a:cubicBezTo>
                    <a:pt x="2" y="4"/>
                    <a:pt x="1" y="6"/>
                    <a:pt x="0" y="7"/>
                  </a:cubicBezTo>
                  <a:cubicBezTo>
                    <a:pt x="3" y="10"/>
                    <a:pt x="5" y="13"/>
                    <a:pt x="5" y="17"/>
                  </a:cubicBezTo>
                  <a:cubicBezTo>
                    <a:pt x="6" y="20"/>
                    <a:pt x="6" y="20"/>
                    <a:pt x="6" y="20"/>
                  </a:cubicBezTo>
                  <a:cubicBezTo>
                    <a:pt x="8" y="21"/>
                    <a:pt x="11" y="21"/>
                    <a:pt x="14" y="20"/>
                  </a:cubicBezTo>
                  <a:cubicBezTo>
                    <a:pt x="14" y="20"/>
                    <a:pt x="14" y="20"/>
                    <a:pt x="14" y="20"/>
                  </a:cubicBezTo>
                  <a:cubicBezTo>
                    <a:pt x="16" y="20"/>
                    <a:pt x="17" y="19"/>
                    <a:pt x="18" y="18"/>
                  </a:cubicBezTo>
                  <a:cubicBezTo>
                    <a:pt x="20" y="16"/>
                    <a:pt x="20" y="14"/>
                    <a:pt x="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2"/>
            <p:cNvSpPr>
              <a:spLocks/>
            </p:cNvSpPr>
            <p:nvPr/>
          </p:nvSpPr>
          <p:spPr bwMode="auto">
            <a:xfrm>
              <a:off x="3319376" y="1713818"/>
              <a:ext cx="15986" cy="15986"/>
            </a:xfrm>
            <a:custGeom>
              <a:avLst/>
              <a:gdLst>
                <a:gd name="T0" fmla="*/ 15 w 21"/>
                <a:gd name="T1" fmla="*/ 17 h 21"/>
                <a:gd name="T2" fmla="*/ 21 w 21"/>
                <a:gd name="T3" fmla="*/ 7 h 21"/>
                <a:gd name="T4" fmla="*/ 19 w 21"/>
                <a:gd name="T5" fmla="*/ 1 h 21"/>
                <a:gd name="T6" fmla="*/ 15 w 21"/>
                <a:gd name="T7" fmla="*/ 0 h 21"/>
                <a:gd name="T8" fmla="*/ 11 w 21"/>
                <a:gd name="T9" fmla="*/ 0 h 21"/>
                <a:gd name="T10" fmla="*/ 8 w 21"/>
                <a:gd name="T11" fmla="*/ 0 h 21"/>
                <a:gd name="T12" fmla="*/ 2 w 21"/>
                <a:gd name="T13" fmla="*/ 6 h 21"/>
                <a:gd name="T14" fmla="*/ 1 w 21"/>
                <a:gd name="T15" fmla="*/ 13 h 21"/>
                <a:gd name="T16" fmla="*/ 2 w 21"/>
                <a:gd name="T17" fmla="*/ 18 h 21"/>
                <a:gd name="T18" fmla="*/ 7 w 21"/>
                <a:gd name="T19" fmla="*/ 20 h 21"/>
                <a:gd name="T20" fmla="*/ 15 w 21"/>
                <a:gd name="T21" fmla="*/ 20 h 21"/>
                <a:gd name="T22" fmla="*/ 15 w 21"/>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5" y="17"/>
                  </a:moveTo>
                  <a:cubicBezTo>
                    <a:pt x="16" y="13"/>
                    <a:pt x="18" y="10"/>
                    <a:pt x="21" y="7"/>
                  </a:cubicBezTo>
                  <a:cubicBezTo>
                    <a:pt x="19" y="6"/>
                    <a:pt x="19" y="4"/>
                    <a:pt x="19" y="1"/>
                  </a:cubicBezTo>
                  <a:cubicBezTo>
                    <a:pt x="18" y="1"/>
                    <a:pt x="17" y="0"/>
                    <a:pt x="15" y="0"/>
                  </a:cubicBezTo>
                  <a:cubicBezTo>
                    <a:pt x="14" y="0"/>
                    <a:pt x="13" y="0"/>
                    <a:pt x="11" y="0"/>
                  </a:cubicBezTo>
                  <a:cubicBezTo>
                    <a:pt x="10" y="0"/>
                    <a:pt x="9" y="0"/>
                    <a:pt x="8" y="0"/>
                  </a:cubicBezTo>
                  <a:cubicBezTo>
                    <a:pt x="4" y="0"/>
                    <a:pt x="2" y="3"/>
                    <a:pt x="2" y="6"/>
                  </a:cubicBezTo>
                  <a:cubicBezTo>
                    <a:pt x="1" y="13"/>
                    <a:pt x="1" y="13"/>
                    <a:pt x="1" y="13"/>
                  </a:cubicBezTo>
                  <a:cubicBezTo>
                    <a:pt x="0" y="14"/>
                    <a:pt x="1" y="16"/>
                    <a:pt x="2" y="18"/>
                  </a:cubicBezTo>
                  <a:cubicBezTo>
                    <a:pt x="3" y="19"/>
                    <a:pt x="5" y="20"/>
                    <a:pt x="7" y="20"/>
                  </a:cubicBezTo>
                  <a:cubicBezTo>
                    <a:pt x="9" y="21"/>
                    <a:pt x="12" y="21"/>
                    <a:pt x="15" y="20"/>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3"/>
            <p:cNvSpPr>
              <a:spLocks/>
            </p:cNvSpPr>
            <p:nvPr/>
          </p:nvSpPr>
          <p:spPr bwMode="auto">
            <a:xfrm>
              <a:off x="3332317" y="1749595"/>
              <a:ext cx="25882" cy="23598"/>
            </a:xfrm>
            <a:custGeom>
              <a:avLst/>
              <a:gdLst>
                <a:gd name="T0" fmla="*/ 2 w 33"/>
                <a:gd name="T1" fmla="*/ 9 h 31"/>
                <a:gd name="T2" fmla="*/ 0 w 33"/>
                <a:gd name="T3" fmla="*/ 19 h 31"/>
                <a:gd name="T4" fmla="*/ 2 w 33"/>
                <a:gd name="T5" fmla="*/ 27 h 31"/>
                <a:gd name="T6" fmla="*/ 9 w 33"/>
                <a:gd name="T7" fmla="*/ 31 h 31"/>
                <a:gd name="T8" fmla="*/ 24 w 33"/>
                <a:gd name="T9" fmla="*/ 31 h 31"/>
                <a:gd name="T10" fmla="*/ 24 w 33"/>
                <a:gd name="T11" fmla="*/ 31 h 31"/>
                <a:gd name="T12" fmla="*/ 31 w 33"/>
                <a:gd name="T13" fmla="*/ 27 h 31"/>
                <a:gd name="T14" fmla="*/ 33 w 33"/>
                <a:gd name="T15" fmla="*/ 19 h 31"/>
                <a:gd name="T16" fmla="*/ 32 w 33"/>
                <a:gd name="T17" fmla="*/ 9 h 31"/>
                <a:gd name="T18" fmla="*/ 23 w 33"/>
                <a:gd name="T19" fmla="*/ 0 h 31"/>
                <a:gd name="T20" fmla="*/ 16 w 33"/>
                <a:gd name="T21" fmla="*/ 0 h 31"/>
                <a:gd name="T22" fmla="*/ 11 w 33"/>
                <a:gd name="T23" fmla="*/ 0 h 31"/>
                <a:gd name="T24" fmla="*/ 2 w 33"/>
                <a:gd name="T2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1">
                  <a:moveTo>
                    <a:pt x="2" y="9"/>
                  </a:moveTo>
                  <a:cubicBezTo>
                    <a:pt x="0" y="19"/>
                    <a:pt x="0" y="19"/>
                    <a:pt x="0" y="19"/>
                  </a:cubicBezTo>
                  <a:cubicBezTo>
                    <a:pt x="0" y="22"/>
                    <a:pt x="1" y="25"/>
                    <a:pt x="2" y="27"/>
                  </a:cubicBezTo>
                  <a:cubicBezTo>
                    <a:pt x="4" y="29"/>
                    <a:pt x="7" y="31"/>
                    <a:pt x="9" y="31"/>
                  </a:cubicBezTo>
                  <a:cubicBezTo>
                    <a:pt x="14" y="31"/>
                    <a:pt x="19" y="31"/>
                    <a:pt x="24" y="31"/>
                  </a:cubicBezTo>
                  <a:cubicBezTo>
                    <a:pt x="24" y="31"/>
                    <a:pt x="24" y="31"/>
                    <a:pt x="24" y="31"/>
                  </a:cubicBezTo>
                  <a:cubicBezTo>
                    <a:pt x="27" y="31"/>
                    <a:pt x="29" y="29"/>
                    <a:pt x="31" y="27"/>
                  </a:cubicBezTo>
                  <a:cubicBezTo>
                    <a:pt x="33" y="25"/>
                    <a:pt x="33" y="22"/>
                    <a:pt x="33" y="19"/>
                  </a:cubicBezTo>
                  <a:cubicBezTo>
                    <a:pt x="32" y="9"/>
                    <a:pt x="32" y="9"/>
                    <a:pt x="32" y="9"/>
                  </a:cubicBezTo>
                  <a:cubicBezTo>
                    <a:pt x="31" y="4"/>
                    <a:pt x="27" y="1"/>
                    <a:pt x="23" y="0"/>
                  </a:cubicBezTo>
                  <a:cubicBezTo>
                    <a:pt x="21" y="0"/>
                    <a:pt x="19" y="0"/>
                    <a:pt x="16" y="0"/>
                  </a:cubicBezTo>
                  <a:cubicBezTo>
                    <a:pt x="15" y="0"/>
                    <a:pt x="13" y="0"/>
                    <a:pt x="11" y="0"/>
                  </a:cubicBezTo>
                  <a:cubicBezTo>
                    <a:pt x="6" y="1"/>
                    <a:pt x="3" y="4"/>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4"/>
            <p:cNvSpPr>
              <a:spLocks/>
            </p:cNvSpPr>
            <p:nvPr/>
          </p:nvSpPr>
          <p:spPr bwMode="auto">
            <a:xfrm>
              <a:off x="3357437" y="1733610"/>
              <a:ext cx="22837" cy="21314"/>
            </a:xfrm>
            <a:custGeom>
              <a:avLst/>
              <a:gdLst>
                <a:gd name="T0" fmla="*/ 29 w 29"/>
                <a:gd name="T1" fmla="*/ 17 h 27"/>
                <a:gd name="T2" fmla="*/ 27 w 29"/>
                <a:gd name="T3" fmla="*/ 8 h 27"/>
                <a:gd name="T4" fmla="*/ 19 w 29"/>
                <a:gd name="T5" fmla="*/ 0 h 27"/>
                <a:gd name="T6" fmla="*/ 14 w 29"/>
                <a:gd name="T7" fmla="*/ 0 h 27"/>
                <a:gd name="T8" fmla="*/ 9 w 29"/>
                <a:gd name="T9" fmla="*/ 0 h 27"/>
                <a:gd name="T10" fmla="*/ 5 w 29"/>
                <a:gd name="T11" fmla="*/ 2 h 27"/>
                <a:gd name="T12" fmla="*/ 2 w 29"/>
                <a:gd name="T13" fmla="*/ 10 h 27"/>
                <a:gd name="T14" fmla="*/ 1 w 29"/>
                <a:gd name="T15" fmla="*/ 11 h 27"/>
                <a:gd name="T16" fmla="*/ 0 w 29"/>
                <a:gd name="T17" fmla="*/ 17 h 27"/>
                <a:gd name="T18" fmla="*/ 0 w 29"/>
                <a:gd name="T19" fmla="*/ 17 h 27"/>
                <a:gd name="T20" fmla="*/ 5 w 29"/>
                <a:gd name="T21" fmla="*/ 26 h 27"/>
                <a:gd name="T22" fmla="*/ 8 w 29"/>
                <a:gd name="T23" fmla="*/ 27 h 27"/>
                <a:gd name="T24" fmla="*/ 21 w 29"/>
                <a:gd name="T25" fmla="*/ 27 h 27"/>
                <a:gd name="T26" fmla="*/ 27 w 29"/>
                <a:gd name="T27" fmla="*/ 24 h 27"/>
                <a:gd name="T28" fmla="*/ 29 w 29"/>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7">
                  <a:moveTo>
                    <a:pt x="29" y="17"/>
                  </a:moveTo>
                  <a:cubicBezTo>
                    <a:pt x="27" y="8"/>
                    <a:pt x="27" y="8"/>
                    <a:pt x="27" y="8"/>
                  </a:cubicBezTo>
                  <a:cubicBezTo>
                    <a:pt x="27" y="4"/>
                    <a:pt x="23" y="1"/>
                    <a:pt x="19" y="0"/>
                  </a:cubicBezTo>
                  <a:cubicBezTo>
                    <a:pt x="18" y="0"/>
                    <a:pt x="16" y="0"/>
                    <a:pt x="14" y="0"/>
                  </a:cubicBezTo>
                  <a:cubicBezTo>
                    <a:pt x="12" y="0"/>
                    <a:pt x="11" y="0"/>
                    <a:pt x="9" y="0"/>
                  </a:cubicBezTo>
                  <a:cubicBezTo>
                    <a:pt x="8" y="0"/>
                    <a:pt x="6" y="1"/>
                    <a:pt x="5" y="2"/>
                  </a:cubicBezTo>
                  <a:cubicBezTo>
                    <a:pt x="5" y="5"/>
                    <a:pt x="3" y="8"/>
                    <a:pt x="2" y="10"/>
                  </a:cubicBezTo>
                  <a:cubicBezTo>
                    <a:pt x="1" y="11"/>
                    <a:pt x="1" y="11"/>
                    <a:pt x="1" y="11"/>
                  </a:cubicBezTo>
                  <a:cubicBezTo>
                    <a:pt x="0" y="17"/>
                    <a:pt x="0" y="17"/>
                    <a:pt x="0" y="17"/>
                  </a:cubicBezTo>
                  <a:cubicBezTo>
                    <a:pt x="0" y="17"/>
                    <a:pt x="0" y="17"/>
                    <a:pt x="0" y="17"/>
                  </a:cubicBezTo>
                  <a:cubicBezTo>
                    <a:pt x="3" y="20"/>
                    <a:pt x="5" y="23"/>
                    <a:pt x="5" y="26"/>
                  </a:cubicBezTo>
                  <a:cubicBezTo>
                    <a:pt x="6" y="27"/>
                    <a:pt x="7" y="27"/>
                    <a:pt x="8" y="27"/>
                  </a:cubicBezTo>
                  <a:cubicBezTo>
                    <a:pt x="12" y="27"/>
                    <a:pt x="16" y="27"/>
                    <a:pt x="21" y="27"/>
                  </a:cubicBezTo>
                  <a:cubicBezTo>
                    <a:pt x="23" y="27"/>
                    <a:pt x="25" y="26"/>
                    <a:pt x="27" y="24"/>
                  </a:cubicBezTo>
                  <a:cubicBezTo>
                    <a:pt x="28" y="22"/>
                    <a:pt x="29" y="19"/>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5" name="Freeform 15"/>
            <p:cNvSpPr>
              <a:spLocks/>
            </p:cNvSpPr>
            <p:nvPr/>
          </p:nvSpPr>
          <p:spPr bwMode="auto">
            <a:xfrm>
              <a:off x="3311002" y="1733610"/>
              <a:ext cx="22837" cy="21314"/>
            </a:xfrm>
            <a:custGeom>
              <a:avLst/>
              <a:gdLst>
                <a:gd name="T0" fmla="*/ 30 w 30"/>
                <a:gd name="T1" fmla="*/ 18 h 27"/>
                <a:gd name="T2" fmla="*/ 30 w 30"/>
                <a:gd name="T3" fmla="*/ 17 h 27"/>
                <a:gd name="T4" fmla="*/ 29 w 30"/>
                <a:gd name="T5" fmla="*/ 11 h 27"/>
                <a:gd name="T6" fmla="*/ 28 w 30"/>
                <a:gd name="T7" fmla="*/ 10 h 27"/>
                <a:gd name="T8" fmla="*/ 25 w 30"/>
                <a:gd name="T9" fmla="*/ 2 h 27"/>
                <a:gd name="T10" fmla="*/ 20 w 30"/>
                <a:gd name="T11" fmla="*/ 0 h 27"/>
                <a:gd name="T12" fmla="*/ 15 w 30"/>
                <a:gd name="T13" fmla="*/ 0 h 27"/>
                <a:gd name="T14" fmla="*/ 10 w 30"/>
                <a:gd name="T15" fmla="*/ 0 h 27"/>
                <a:gd name="T16" fmla="*/ 2 w 30"/>
                <a:gd name="T17" fmla="*/ 8 h 27"/>
                <a:gd name="T18" fmla="*/ 1 w 30"/>
                <a:gd name="T19" fmla="*/ 17 h 27"/>
                <a:gd name="T20" fmla="*/ 3 w 30"/>
                <a:gd name="T21" fmla="*/ 24 h 27"/>
                <a:gd name="T22" fmla="*/ 9 w 30"/>
                <a:gd name="T23" fmla="*/ 27 h 27"/>
                <a:gd name="T24" fmla="*/ 22 w 30"/>
                <a:gd name="T25" fmla="*/ 27 h 27"/>
                <a:gd name="T26" fmla="*/ 24 w 30"/>
                <a:gd name="T27" fmla="*/ 26 h 27"/>
                <a:gd name="T28" fmla="*/ 30 w 30"/>
                <a:gd name="T2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7">
                  <a:moveTo>
                    <a:pt x="30" y="18"/>
                  </a:moveTo>
                  <a:cubicBezTo>
                    <a:pt x="30" y="17"/>
                    <a:pt x="30" y="17"/>
                    <a:pt x="30" y="17"/>
                  </a:cubicBezTo>
                  <a:cubicBezTo>
                    <a:pt x="29" y="11"/>
                    <a:pt x="29" y="11"/>
                    <a:pt x="29" y="11"/>
                  </a:cubicBezTo>
                  <a:cubicBezTo>
                    <a:pt x="28" y="11"/>
                    <a:pt x="28" y="11"/>
                    <a:pt x="28" y="10"/>
                  </a:cubicBezTo>
                  <a:cubicBezTo>
                    <a:pt x="26" y="8"/>
                    <a:pt x="25" y="5"/>
                    <a:pt x="25" y="2"/>
                  </a:cubicBezTo>
                  <a:cubicBezTo>
                    <a:pt x="23" y="1"/>
                    <a:pt x="22" y="0"/>
                    <a:pt x="20" y="0"/>
                  </a:cubicBezTo>
                  <a:cubicBezTo>
                    <a:pt x="19" y="0"/>
                    <a:pt x="17" y="0"/>
                    <a:pt x="15" y="0"/>
                  </a:cubicBezTo>
                  <a:cubicBezTo>
                    <a:pt x="13" y="0"/>
                    <a:pt x="12" y="0"/>
                    <a:pt x="10" y="0"/>
                  </a:cubicBezTo>
                  <a:cubicBezTo>
                    <a:pt x="6" y="0"/>
                    <a:pt x="3" y="4"/>
                    <a:pt x="2" y="8"/>
                  </a:cubicBezTo>
                  <a:cubicBezTo>
                    <a:pt x="1" y="17"/>
                    <a:pt x="1" y="17"/>
                    <a:pt x="1" y="17"/>
                  </a:cubicBezTo>
                  <a:cubicBezTo>
                    <a:pt x="0" y="19"/>
                    <a:pt x="1" y="22"/>
                    <a:pt x="3" y="24"/>
                  </a:cubicBezTo>
                  <a:cubicBezTo>
                    <a:pt x="4" y="26"/>
                    <a:pt x="6" y="27"/>
                    <a:pt x="9" y="27"/>
                  </a:cubicBezTo>
                  <a:cubicBezTo>
                    <a:pt x="13" y="27"/>
                    <a:pt x="17" y="27"/>
                    <a:pt x="22" y="27"/>
                  </a:cubicBezTo>
                  <a:cubicBezTo>
                    <a:pt x="22" y="27"/>
                    <a:pt x="23" y="27"/>
                    <a:pt x="24" y="26"/>
                  </a:cubicBezTo>
                  <a:cubicBezTo>
                    <a:pt x="25" y="23"/>
                    <a:pt x="27" y="20"/>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6" name="Freeform 16"/>
            <p:cNvSpPr>
              <a:spLocks/>
            </p:cNvSpPr>
            <p:nvPr/>
          </p:nvSpPr>
          <p:spPr bwMode="auto">
            <a:xfrm>
              <a:off x="3306435" y="1759492"/>
              <a:ext cx="25882" cy="23598"/>
            </a:xfrm>
            <a:custGeom>
              <a:avLst/>
              <a:gdLst>
                <a:gd name="T0" fmla="*/ 31 w 34"/>
                <a:gd name="T1" fmla="*/ 18 h 31"/>
                <a:gd name="T2" fmla="*/ 28 w 34"/>
                <a:gd name="T3" fmla="*/ 5 h 31"/>
                <a:gd name="T4" fmla="*/ 28 w 34"/>
                <a:gd name="T5" fmla="*/ 3 h 31"/>
                <a:gd name="T6" fmla="*/ 23 w 34"/>
                <a:gd name="T7" fmla="*/ 0 h 31"/>
                <a:gd name="T8" fmla="*/ 17 w 34"/>
                <a:gd name="T9" fmla="*/ 0 h 31"/>
                <a:gd name="T10" fmla="*/ 11 w 34"/>
                <a:gd name="T11" fmla="*/ 0 h 31"/>
                <a:gd name="T12" fmla="*/ 2 w 34"/>
                <a:gd name="T13" fmla="*/ 9 h 31"/>
                <a:gd name="T14" fmla="*/ 1 w 34"/>
                <a:gd name="T15" fmla="*/ 19 h 31"/>
                <a:gd name="T16" fmla="*/ 3 w 34"/>
                <a:gd name="T17" fmla="*/ 27 h 31"/>
                <a:gd name="T18" fmla="*/ 10 w 34"/>
                <a:gd name="T19" fmla="*/ 31 h 31"/>
                <a:gd name="T20" fmla="*/ 24 w 34"/>
                <a:gd name="T21" fmla="*/ 31 h 31"/>
                <a:gd name="T22" fmla="*/ 31 w 34"/>
                <a:gd name="T23" fmla="*/ 27 h 31"/>
                <a:gd name="T24" fmla="*/ 33 w 34"/>
                <a:gd name="T25" fmla="*/ 20 h 31"/>
                <a:gd name="T26" fmla="*/ 31 w 34"/>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31" y="18"/>
                  </a:moveTo>
                  <a:cubicBezTo>
                    <a:pt x="29" y="14"/>
                    <a:pt x="27" y="10"/>
                    <a:pt x="28" y="5"/>
                  </a:cubicBezTo>
                  <a:cubicBezTo>
                    <a:pt x="28" y="3"/>
                    <a:pt x="28" y="3"/>
                    <a:pt x="28" y="3"/>
                  </a:cubicBezTo>
                  <a:cubicBezTo>
                    <a:pt x="27" y="1"/>
                    <a:pt x="25" y="0"/>
                    <a:pt x="23" y="0"/>
                  </a:cubicBezTo>
                  <a:cubicBezTo>
                    <a:pt x="21" y="0"/>
                    <a:pt x="19" y="0"/>
                    <a:pt x="17" y="0"/>
                  </a:cubicBezTo>
                  <a:cubicBezTo>
                    <a:pt x="15" y="0"/>
                    <a:pt x="13" y="0"/>
                    <a:pt x="11" y="0"/>
                  </a:cubicBezTo>
                  <a:cubicBezTo>
                    <a:pt x="7" y="1"/>
                    <a:pt x="3" y="4"/>
                    <a:pt x="2" y="9"/>
                  </a:cubicBezTo>
                  <a:cubicBezTo>
                    <a:pt x="1" y="19"/>
                    <a:pt x="1" y="19"/>
                    <a:pt x="1" y="19"/>
                  </a:cubicBezTo>
                  <a:cubicBezTo>
                    <a:pt x="0" y="22"/>
                    <a:pt x="1" y="25"/>
                    <a:pt x="3" y="27"/>
                  </a:cubicBezTo>
                  <a:cubicBezTo>
                    <a:pt x="5" y="29"/>
                    <a:pt x="7" y="31"/>
                    <a:pt x="10" y="31"/>
                  </a:cubicBezTo>
                  <a:cubicBezTo>
                    <a:pt x="15" y="31"/>
                    <a:pt x="20" y="31"/>
                    <a:pt x="24" y="31"/>
                  </a:cubicBezTo>
                  <a:cubicBezTo>
                    <a:pt x="27" y="31"/>
                    <a:pt x="30" y="29"/>
                    <a:pt x="31" y="27"/>
                  </a:cubicBezTo>
                  <a:cubicBezTo>
                    <a:pt x="33" y="25"/>
                    <a:pt x="34" y="23"/>
                    <a:pt x="33" y="20"/>
                  </a:cubicBezTo>
                  <a:cubicBezTo>
                    <a:pt x="33" y="19"/>
                    <a:pt x="32" y="19"/>
                    <a:pt x="3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7" name="Freeform 17"/>
            <p:cNvSpPr>
              <a:spLocks/>
            </p:cNvSpPr>
            <p:nvPr/>
          </p:nvSpPr>
          <p:spPr bwMode="auto">
            <a:xfrm>
              <a:off x="3358960" y="1759492"/>
              <a:ext cx="25882" cy="23598"/>
            </a:xfrm>
            <a:custGeom>
              <a:avLst/>
              <a:gdLst>
                <a:gd name="T0" fmla="*/ 33 w 33"/>
                <a:gd name="T1" fmla="*/ 19 h 31"/>
                <a:gd name="T2" fmla="*/ 31 w 33"/>
                <a:gd name="T3" fmla="*/ 9 h 31"/>
                <a:gd name="T4" fmla="*/ 22 w 33"/>
                <a:gd name="T5" fmla="*/ 0 h 31"/>
                <a:gd name="T6" fmla="*/ 16 w 33"/>
                <a:gd name="T7" fmla="*/ 0 h 31"/>
                <a:gd name="T8" fmla="*/ 11 w 33"/>
                <a:gd name="T9" fmla="*/ 0 h 31"/>
                <a:gd name="T10" fmla="*/ 5 w 33"/>
                <a:gd name="T11" fmla="*/ 3 h 31"/>
                <a:gd name="T12" fmla="*/ 5 w 33"/>
                <a:gd name="T13" fmla="*/ 5 h 31"/>
                <a:gd name="T14" fmla="*/ 2 w 33"/>
                <a:gd name="T15" fmla="*/ 18 h 31"/>
                <a:gd name="T16" fmla="*/ 0 w 33"/>
                <a:gd name="T17" fmla="*/ 20 h 31"/>
                <a:gd name="T18" fmla="*/ 2 w 33"/>
                <a:gd name="T19" fmla="*/ 27 h 31"/>
                <a:gd name="T20" fmla="*/ 9 w 33"/>
                <a:gd name="T21" fmla="*/ 31 h 31"/>
                <a:gd name="T22" fmla="*/ 24 w 33"/>
                <a:gd name="T23" fmla="*/ 31 h 31"/>
                <a:gd name="T24" fmla="*/ 31 w 33"/>
                <a:gd name="T25" fmla="*/ 27 h 31"/>
                <a:gd name="T26" fmla="*/ 33 w 33"/>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1">
                  <a:moveTo>
                    <a:pt x="33" y="19"/>
                  </a:moveTo>
                  <a:cubicBezTo>
                    <a:pt x="31" y="9"/>
                    <a:pt x="31" y="9"/>
                    <a:pt x="31" y="9"/>
                  </a:cubicBezTo>
                  <a:cubicBezTo>
                    <a:pt x="31" y="4"/>
                    <a:pt x="27" y="1"/>
                    <a:pt x="22" y="0"/>
                  </a:cubicBezTo>
                  <a:cubicBezTo>
                    <a:pt x="20" y="0"/>
                    <a:pt x="18" y="0"/>
                    <a:pt x="16" y="0"/>
                  </a:cubicBezTo>
                  <a:cubicBezTo>
                    <a:pt x="14" y="0"/>
                    <a:pt x="13" y="0"/>
                    <a:pt x="11" y="0"/>
                  </a:cubicBezTo>
                  <a:cubicBezTo>
                    <a:pt x="9" y="0"/>
                    <a:pt x="7" y="1"/>
                    <a:pt x="5" y="3"/>
                  </a:cubicBezTo>
                  <a:cubicBezTo>
                    <a:pt x="5" y="5"/>
                    <a:pt x="5" y="5"/>
                    <a:pt x="5" y="5"/>
                  </a:cubicBezTo>
                  <a:cubicBezTo>
                    <a:pt x="6" y="10"/>
                    <a:pt x="5" y="14"/>
                    <a:pt x="2" y="18"/>
                  </a:cubicBezTo>
                  <a:cubicBezTo>
                    <a:pt x="1" y="19"/>
                    <a:pt x="1" y="19"/>
                    <a:pt x="0" y="20"/>
                  </a:cubicBezTo>
                  <a:cubicBezTo>
                    <a:pt x="0" y="23"/>
                    <a:pt x="1" y="25"/>
                    <a:pt x="2" y="27"/>
                  </a:cubicBezTo>
                  <a:cubicBezTo>
                    <a:pt x="4" y="29"/>
                    <a:pt x="6" y="31"/>
                    <a:pt x="9" y="31"/>
                  </a:cubicBezTo>
                  <a:cubicBezTo>
                    <a:pt x="14" y="31"/>
                    <a:pt x="19" y="31"/>
                    <a:pt x="24" y="31"/>
                  </a:cubicBezTo>
                  <a:cubicBezTo>
                    <a:pt x="26" y="31"/>
                    <a:pt x="29" y="29"/>
                    <a:pt x="31" y="27"/>
                  </a:cubicBezTo>
                  <a:cubicBezTo>
                    <a:pt x="32" y="25"/>
                    <a:pt x="33" y="22"/>
                    <a:pt x="3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8" name="Freeform 18"/>
            <p:cNvSpPr>
              <a:spLocks/>
            </p:cNvSpPr>
            <p:nvPr/>
          </p:nvSpPr>
          <p:spPr bwMode="auto">
            <a:xfrm>
              <a:off x="3331556" y="1779283"/>
              <a:ext cx="28165" cy="25121"/>
            </a:xfrm>
            <a:custGeom>
              <a:avLst/>
              <a:gdLst>
                <a:gd name="T0" fmla="*/ 2 w 36"/>
                <a:gd name="T1" fmla="*/ 9 h 33"/>
                <a:gd name="T2" fmla="*/ 0 w 36"/>
                <a:gd name="T3" fmla="*/ 20 h 33"/>
                <a:gd name="T4" fmla="*/ 3 w 36"/>
                <a:gd name="T5" fmla="*/ 29 h 33"/>
                <a:gd name="T6" fmla="*/ 10 w 36"/>
                <a:gd name="T7" fmla="*/ 33 h 33"/>
                <a:gd name="T8" fmla="*/ 25 w 36"/>
                <a:gd name="T9" fmla="*/ 33 h 33"/>
                <a:gd name="T10" fmla="*/ 33 w 36"/>
                <a:gd name="T11" fmla="*/ 29 h 33"/>
                <a:gd name="T12" fmla="*/ 35 w 36"/>
                <a:gd name="T13" fmla="*/ 20 h 33"/>
                <a:gd name="T14" fmla="*/ 33 w 36"/>
                <a:gd name="T15" fmla="*/ 10 h 33"/>
                <a:gd name="T16" fmla="*/ 24 w 36"/>
                <a:gd name="T17" fmla="*/ 0 h 33"/>
                <a:gd name="T18" fmla="*/ 17 w 36"/>
                <a:gd name="T19" fmla="*/ 0 h 33"/>
                <a:gd name="T20" fmla="*/ 12 w 36"/>
                <a:gd name="T21" fmla="*/ 0 h 33"/>
                <a:gd name="T22" fmla="*/ 2 w 36"/>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3">
                  <a:moveTo>
                    <a:pt x="2" y="9"/>
                  </a:moveTo>
                  <a:cubicBezTo>
                    <a:pt x="0" y="20"/>
                    <a:pt x="0" y="20"/>
                    <a:pt x="0" y="20"/>
                  </a:cubicBezTo>
                  <a:cubicBezTo>
                    <a:pt x="0" y="23"/>
                    <a:pt x="1" y="26"/>
                    <a:pt x="3" y="29"/>
                  </a:cubicBezTo>
                  <a:cubicBezTo>
                    <a:pt x="4" y="31"/>
                    <a:pt x="7" y="33"/>
                    <a:pt x="10" y="33"/>
                  </a:cubicBezTo>
                  <a:cubicBezTo>
                    <a:pt x="15" y="33"/>
                    <a:pt x="20" y="33"/>
                    <a:pt x="25" y="33"/>
                  </a:cubicBezTo>
                  <a:cubicBezTo>
                    <a:pt x="28" y="33"/>
                    <a:pt x="31" y="31"/>
                    <a:pt x="33" y="29"/>
                  </a:cubicBezTo>
                  <a:cubicBezTo>
                    <a:pt x="35" y="26"/>
                    <a:pt x="36" y="23"/>
                    <a:pt x="35" y="20"/>
                  </a:cubicBezTo>
                  <a:cubicBezTo>
                    <a:pt x="33" y="10"/>
                    <a:pt x="33" y="10"/>
                    <a:pt x="33" y="10"/>
                  </a:cubicBezTo>
                  <a:cubicBezTo>
                    <a:pt x="33" y="5"/>
                    <a:pt x="29" y="1"/>
                    <a:pt x="24" y="0"/>
                  </a:cubicBezTo>
                  <a:cubicBezTo>
                    <a:pt x="22" y="0"/>
                    <a:pt x="20" y="0"/>
                    <a:pt x="17" y="0"/>
                  </a:cubicBezTo>
                  <a:cubicBezTo>
                    <a:pt x="16" y="0"/>
                    <a:pt x="14" y="0"/>
                    <a:pt x="12" y="0"/>
                  </a:cubicBezTo>
                  <a:cubicBezTo>
                    <a:pt x="7" y="1"/>
                    <a:pt x="3"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9" name="Freeform 19"/>
            <p:cNvSpPr>
              <a:spLocks/>
            </p:cNvSpPr>
            <p:nvPr/>
          </p:nvSpPr>
          <p:spPr bwMode="auto">
            <a:xfrm>
              <a:off x="3359721" y="1787657"/>
              <a:ext cx="27404" cy="25882"/>
            </a:xfrm>
            <a:custGeom>
              <a:avLst/>
              <a:gdLst>
                <a:gd name="T0" fmla="*/ 35 w 35"/>
                <a:gd name="T1" fmla="*/ 21 h 33"/>
                <a:gd name="T2" fmla="*/ 33 w 35"/>
                <a:gd name="T3" fmla="*/ 10 h 33"/>
                <a:gd name="T4" fmla="*/ 24 w 35"/>
                <a:gd name="T5" fmla="*/ 0 h 33"/>
                <a:gd name="T6" fmla="*/ 17 w 35"/>
                <a:gd name="T7" fmla="*/ 0 h 33"/>
                <a:gd name="T8" fmla="*/ 11 w 35"/>
                <a:gd name="T9" fmla="*/ 0 h 33"/>
                <a:gd name="T10" fmla="*/ 5 w 35"/>
                <a:gd name="T11" fmla="*/ 3 h 33"/>
                <a:gd name="T12" fmla="*/ 6 w 35"/>
                <a:gd name="T13" fmla="*/ 8 h 33"/>
                <a:gd name="T14" fmla="*/ 2 w 35"/>
                <a:gd name="T15" fmla="*/ 22 h 33"/>
                <a:gd name="T16" fmla="*/ 0 w 35"/>
                <a:gd name="T17" fmla="*/ 24 h 33"/>
                <a:gd name="T18" fmla="*/ 2 w 35"/>
                <a:gd name="T19" fmla="*/ 29 h 33"/>
                <a:gd name="T20" fmla="*/ 10 w 35"/>
                <a:gd name="T21" fmla="*/ 33 h 33"/>
                <a:gd name="T22" fmla="*/ 25 w 35"/>
                <a:gd name="T23" fmla="*/ 33 h 33"/>
                <a:gd name="T24" fmla="*/ 25 w 35"/>
                <a:gd name="T25" fmla="*/ 33 h 33"/>
                <a:gd name="T26" fmla="*/ 32 w 35"/>
                <a:gd name="T27" fmla="*/ 29 h 33"/>
                <a:gd name="T28" fmla="*/ 35 w 35"/>
                <a:gd name="T2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5" y="21"/>
                  </a:moveTo>
                  <a:cubicBezTo>
                    <a:pt x="33" y="10"/>
                    <a:pt x="33" y="10"/>
                    <a:pt x="33" y="10"/>
                  </a:cubicBezTo>
                  <a:cubicBezTo>
                    <a:pt x="32" y="5"/>
                    <a:pt x="28" y="1"/>
                    <a:pt x="24" y="0"/>
                  </a:cubicBezTo>
                  <a:cubicBezTo>
                    <a:pt x="21" y="0"/>
                    <a:pt x="19" y="0"/>
                    <a:pt x="17" y="0"/>
                  </a:cubicBezTo>
                  <a:cubicBezTo>
                    <a:pt x="15" y="0"/>
                    <a:pt x="13" y="0"/>
                    <a:pt x="11" y="0"/>
                  </a:cubicBezTo>
                  <a:cubicBezTo>
                    <a:pt x="9" y="1"/>
                    <a:pt x="7" y="2"/>
                    <a:pt x="5" y="3"/>
                  </a:cubicBezTo>
                  <a:cubicBezTo>
                    <a:pt x="6" y="8"/>
                    <a:pt x="6" y="8"/>
                    <a:pt x="6" y="8"/>
                  </a:cubicBezTo>
                  <a:cubicBezTo>
                    <a:pt x="6" y="13"/>
                    <a:pt x="5" y="18"/>
                    <a:pt x="2" y="22"/>
                  </a:cubicBezTo>
                  <a:cubicBezTo>
                    <a:pt x="1" y="23"/>
                    <a:pt x="1" y="23"/>
                    <a:pt x="0" y="24"/>
                  </a:cubicBezTo>
                  <a:cubicBezTo>
                    <a:pt x="0" y="26"/>
                    <a:pt x="1" y="27"/>
                    <a:pt x="2" y="29"/>
                  </a:cubicBezTo>
                  <a:cubicBezTo>
                    <a:pt x="4" y="31"/>
                    <a:pt x="7" y="33"/>
                    <a:pt x="10" y="33"/>
                  </a:cubicBezTo>
                  <a:cubicBezTo>
                    <a:pt x="15" y="33"/>
                    <a:pt x="20" y="33"/>
                    <a:pt x="25" y="33"/>
                  </a:cubicBezTo>
                  <a:cubicBezTo>
                    <a:pt x="25" y="33"/>
                    <a:pt x="25" y="33"/>
                    <a:pt x="25" y="33"/>
                  </a:cubicBezTo>
                  <a:cubicBezTo>
                    <a:pt x="28" y="33"/>
                    <a:pt x="31" y="31"/>
                    <a:pt x="32" y="29"/>
                  </a:cubicBezTo>
                  <a:cubicBezTo>
                    <a:pt x="34" y="27"/>
                    <a:pt x="35" y="23"/>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0" name="Freeform 20"/>
            <p:cNvSpPr>
              <a:spLocks/>
            </p:cNvSpPr>
            <p:nvPr/>
          </p:nvSpPr>
          <p:spPr bwMode="auto">
            <a:xfrm>
              <a:off x="3304152" y="1787657"/>
              <a:ext cx="26643" cy="25882"/>
            </a:xfrm>
            <a:custGeom>
              <a:avLst/>
              <a:gdLst>
                <a:gd name="T0" fmla="*/ 33 w 35"/>
                <a:gd name="T1" fmla="*/ 22 h 33"/>
                <a:gd name="T2" fmla="*/ 30 w 35"/>
                <a:gd name="T3" fmla="*/ 8 h 33"/>
                <a:gd name="T4" fmla="*/ 30 w 35"/>
                <a:gd name="T5" fmla="*/ 3 h 33"/>
                <a:gd name="T6" fmla="*/ 24 w 35"/>
                <a:gd name="T7" fmla="*/ 0 h 33"/>
                <a:gd name="T8" fmla="*/ 18 w 35"/>
                <a:gd name="T9" fmla="*/ 0 h 33"/>
                <a:gd name="T10" fmla="*/ 12 w 35"/>
                <a:gd name="T11" fmla="*/ 0 h 33"/>
                <a:gd name="T12" fmla="*/ 2 w 35"/>
                <a:gd name="T13" fmla="*/ 10 h 33"/>
                <a:gd name="T14" fmla="*/ 1 w 35"/>
                <a:gd name="T15" fmla="*/ 21 h 33"/>
                <a:gd name="T16" fmla="*/ 3 w 35"/>
                <a:gd name="T17" fmla="*/ 29 h 33"/>
                <a:gd name="T18" fmla="*/ 10 w 35"/>
                <a:gd name="T19" fmla="*/ 33 h 33"/>
                <a:gd name="T20" fmla="*/ 26 w 35"/>
                <a:gd name="T21" fmla="*/ 33 h 33"/>
                <a:gd name="T22" fmla="*/ 26 w 35"/>
                <a:gd name="T23" fmla="*/ 33 h 33"/>
                <a:gd name="T24" fmla="*/ 33 w 35"/>
                <a:gd name="T25" fmla="*/ 29 h 33"/>
                <a:gd name="T26" fmla="*/ 35 w 35"/>
                <a:gd name="T27" fmla="*/ 24 h 33"/>
                <a:gd name="T28" fmla="*/ 33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3" y="22"/>
                  </a:moveTo>
                  <a:cubicBezTo>
                    <a:pt x="30" y="18"/>
                    <a:pt x="29" y="13"/>
                    <a:pt x="30" y="8"/>
                  </a:cubicBezTo>
                  <a:cubicBezTo>
                    <a:pt x="30" y="3"/>
                    <a:pt x="30" y="3"/>
                    <a:pt x="30" y="3"/>
                  </a:cubicBezTo>
                  <a:cubicBezTo>
                    <a:pt x="29" y="2"/>
                    <a:pt x="27" y="1"/>
                    <a:pt x="24" y="0"/>
                  </a:cubicBezTo>
                  <a:cubicBezTo>
                    <a:pt x="22" y="0"/>
                    <a:pt x="20" y="0"/>
                    <a:pt x="18" y="0"/>
                  </a:cubicBezTo>
                  <a:cubicBezTo>
                    <a:pt x="16" y="0"/>
                    <a:pt x="14" y="0"/>
                    <a:pt x="12" y="0"/>
                  </a:cubicBezTo>
                  <a:cubicBezTo>
                    <a:pt x="7" y="1"/>
                    <a:pt x="3" y="5"/>
                    <a:pt x="2" y="10"/>
                  </a:cubicBezTo>
                  <a:cubicBezTo>
                    <a:pt x="1" y="21"/>
                    <a:pt x="1" y="21"/>
                    <a:pt x="1" y="21"/>
                  </a:cubicBezTo>
                  <a:cubicBezTo>
                    <a:pt x="0" y="24"/>
                    <a:pt x="1" y="27"/>
                    <a:pt x="3" y="29"/>
                  </a:cubicBezTo>
                  <a:cubicBezTo>
                    <a:pt x="5" y="31"/>
                    <a:pt x="7" y="33"/>
                    <a:pt x="10" y="33"/>
                  </a:cubicBezTo>
                  <a:cubicBezTo>
                    <a:pt x="15" y="33"/>
                    <a:pt x="21" y="33"/>
                    <a:pt x="26" y="33"/>
                  </a:cubicBezTo>
                  <a:cubicBezTo>
                    <a:pt x="26" y="33"/>
                    <a:pt x="26" y="33"/>
                    <a:pt x="26" y="33"/>
                  </a:cubicBezTo>
                  <a:cubicBezTo>
                    <a:pt x="29" y="33"/>
                    <a:pt x="31" y="31"/>
                    <a:pt x="33" y="29"/>
                  </a:cubicBezTo>
                  <a:cubicBezTo>
                    <a:pt x="34" y="27"/>
                    <a:pt x="35" y="26"/>
                    <a:pt x="35" y="24"/>
                  </a:cubicBezTo>
                  <a:cubicBezTo>
                    <a:pt x="35" y="23"/>
                    <a:pt x="34" y="23"/>
                    <a:pt x="3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1" name="Freeform 21"/>
            <p:cNvSpPr>
              <a:spLocks/>
            </p:cNvSpPr>
            <p:nvPr/>
          </p:nvSpPr>
          <p:spPr bwMode="auto">
            <a:xfrm>
              <a:off x="3330033" y="1812777"/>
              <a:ext cx="30449" cy="27404"/>
            </a:xfrm>
            <a:custGeom>
              <a:avLst/>
              <a:gdLst>
                <a:gd name="T0" fmla="*/ 3 w 39"/>
                <a:gd name="T1" fmla="*/ 10 h 36"/>
                <a:gd name="T2" fmla="*/ 1 w 39"/>
                <a:gd name="T3" fmla="*/ 22 h 36"/>
                <a:gd name="T4" fmla="*/ 3 w 39"/>
                <a:gd name="T5" fmla="*/ 31 h 36"/>
                <a:gd name="T6" fmla="*/ 11 w 39"/>
                <a:gd name="T7" fmla="*/ 35 h 36"/>
                <a:gd name="T8" fmla="*/ 28 w 39"/>
                <a:gd name="T9" fmla="*/ 35 h 36"/>
                <a:gd name="T10" fmla="*/ 36 w 39"/>
                <a:gd name="T11" fmla="*/ 31 h 36"/>
                <a:gd name="T12" fmla="*/ 39 w 39"/>
                <a:gd name="T13" fmla="*/ 22 h 36"/>
                <a:gd name="T14" fmla="*/ 37 w 39"/>
                <a:gd name="T15" fmla="*/ 10 h 36"/>
                <a:gd name="T16" fmla="*/ 27 w 39"/>
                <a:gd name="T17" fmla="*/ 0 h 36"/>
                <a:gd name="T18" fmla="*/ 19 w 39"/>
                <a:gd name="T19" fmla="*/ 0 h 36"/>
                <a:gd name="T20" fmla="*/ 13 w 39"/>
                <a:gd name="T21" fmla="*/ 0 h 36"/>
                <a:gd name="T22" fmla="*/ 3 w 39"/>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3" y="10"/>
                  </a:moveTo>
                  <a:cubicBezTo>
                    <a:pt x="1" y="22"/>
                    <a:pt x="1" y="22"/>
                    <a:pt x="1" y="22"/>
                  </a:cubicBezTo>
                  <a:cubicBezTo>
                    <a:pt x="0" y="25"/>
                    <a:pt x="1" y="29"/>
                    <a:pt x="3" y="31"/>
                  </a:cubicBezTo>
                  <a:cubicBezTo>
                    <a:pt x="5" y="34"/>
                    <a:pt x="8" y="35"/>
                    <a:pt x="11" y="35"/>
                  </a:cubicBezTo>
                  <a:cubicBezTo>
                    <a:pt x="17" y="36"/>
                    <a:pt x="23" y="36"/>
                    <a:pt x="28" y="35"/>
                  </a:cubicBezTo>
                  <a:cubicBezTo>
                    <a:pt x="31" y="35"/>
                    <a:pt x="34" y="34"/>
                    <a:pt x="36" y="31"/>
                  </a:cubicBezTo>
                  <a:cubicBezTo>
                    <a:pt x="38" y="29"/>
                    <a:pt x="39" y="25"/>
                    <a:pt x="39" y="22"/>
                  </a:cubicBezTo>
                  <a:cubicBezTo>
                    <a:pt x="37" y="10"/>
                    <a:pt x="37" y="10"/>
                    <a:pt x="37" y="10"/>
                  </a:cubicBezTo>
                  <a:cubicBezTo>
                    <a:pt x="36" y="5"/>
                    <a:pt x="32" y="1"/>
                    <a:pt x="27" y="0"/>
                  </a:cubicBezTo>
                  <a:cubicBezTo>
                    <a:pt x="24" y="0"/>
                    <a:pt x="22" y="0"/>
                    <a:pt x="19" y="0"/>
                  </a:cubicBezTo>
                  <a:cubicBezTo>
                    <a:pt x="17" y="0"/>
                    <a:pt x="15" y="0"/>
                    <a:pt x="13" y="0"/>
                  </a:cubicBezTo>
                  <a:cubicBezTo>
                    <a:pt x="8" y="1"/>
                    <a:pt x="3" y="5"/>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2" name="Freeform 22"/>
            <p:cNvSpPr>
              <a:spLocks/>
            </p:cNvSpPr>
            <p:nvPr/>
          </p:nvSpPr>
          <p:spPr bwMode="auto">
            <a:xfrm>
              <a:off x="3362004" y="1818867"/>
              <a:ext cx="28926" cy="27404"/>
            </a:xfrm>
            <a:custGeom>
              <a:avLst/>
              <a:gdLst>
                <a:gd name="T0" fmla="*/ 36 w 37"/>
                <a:gd name="T1" fmla="*/ 22 h 36"/>
                <a:gd name="T2" fmla="*/ 35 w 37"/>
                <a:gd name="T3" fmla="*/ 10 h 36"/>
                <a:gd name="T4" fmla="*/ 24 w 37"/>
                <a:gd name="T5" fmla="*/ 0 h 36"/>
                <a:gd name="T6" fmla="*/ 17 w 37"/>
                <a:gd name="T7" fmla="*/ 0 h 36"/>
                <a:gd name="T8" fmla="*/ 11 w 37"/>
                <a:gd name="T9" fmla="*/ 0 h 36"/>
                <a:gd name="T10" fmla="*/ 3 w 37"/>
                <a:gd name="T11" fmla="*/ 4 h 36"/>
                <a:gd name="T12" fmla="*/ 5 w 37"/>
                <a:gd name="T13" fmla="*/ 13 h 36"/>
                <a:gd name="T14" fmla="*/ 1 w 37"/>
                <a:gd name="T15" fmla="*/ 28 h 36"/>
                <a:gd name="T16" fmla="*/ 0 w 37"/>
                <a:gd name="T17" fmla="*/ 29 h 36"/>
                <a:gd name="T18" fmla="*/ 1 w 37"/>
                <a:gd name="T19" fmla="*/ 31 h 36"/>
                <a:gd name="T20" fmla="*/ 9 w 37"/>
                <a:gd name="T21" fmla="*/ 35 h 36"/>
                <a:gd name="T22" fmla="*/ 26 w 37"/>
                <a:gd name="T23" fmla="*/ 35 h 36"/>
                <a:gd name="T24" fmla="*/ 34 w 37"/>
                <a:gd name="T25" fmla="*/ 31 h 36"/>
                <a:gd name="T26" fmla="*/ 36 w 37"/>
                <a:gd name="T2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6">
                  <a:moveTo>
                    <a:pt x="36" y="22"/>
                  </a:moveTo>
                  <a:cubicBezTo>
                    <a:pt x="35" y="10"/>
                    <a:pt x="35" y="10"/>
                    <a:pt x="35" y="10"/>
                  </a:cubicBezTo>
                  <a:cubicBezTo>
                    <a:pt x="34" y="5"/>
                    <a:pt x="30" y="0"/>
                    <a:pt x="24" y="0"/>
                  </a:cubicBezTo>
                  <a:cubicBezTo>
                    <a:pt x="22" y="0"/>
                    <a:pt x="20" y="0"/>
                    <a:pt x="17" y="0"/>
                  </a:cubicBezTo>
                  <a:cubicBezTo>
                    <a:pt x="15" y="0"/>
                    <a:pt x="13" y="0"/>
                    <a:pt x="11" y="0"/>
                  </a:cubicBezTo>
                  <a:cubicBezTo>
                    <a:pt x="8" y="0"/>
                    <a:pt x="5" y="2"/>
                    <a:pt x="3" y="4"/>
                  </a:cubicBezTo>
                  <a:cubicBezTo>
                    <a:pt x="5" y="13"/>
                    <a:pt x="5" y="13"/>
                    <a:pt x="5" y="13"/>
                  </a:cubicBezTo>
                  <a:cubicBezTo>
                    <a:pt x="6" y="18"/>
                    <a:pt x="4" y="24"/>
                    <a:pt x="1" y="28"/>
                  </a:cubicBezTo>
                  <a:cubicBezTo>
                    <a:pt x="0" y="28"/>
                    <a:pt x="0" y="28"/>
                    <a:pt x="0" y="29"/>
                  </a:cubicBezTo>
                  <a:cubicBezTo>
                    <a:pt x="0" y="30"/>
                    <a:pt x="0" y="30"/>
                    <a:pt x="1" y="31"/>
                  </a:cubicBezTo>
                  <a:cubicBezTo>
                    <a:pt x="3" y="33"/>
                    <a:pt x="6" y="35"/>
                    <a:pt x="9" y="35"/>
                  </a:cubicBezTo>
                  <a:cubicBezTo>
                    <a:pt x="15" y="36"/>
                    <a:pt x="20" y="36"/>
                    <a:pt x="26" y="35"/>
                  </a:cubicBezTo>
                  <a:cubicBezTo>
                    <a:pt x="29" y="35"/>
                    <a:pt x="32" y="33"/>
                    <a:pt x="34" y="31"/>
                  </a:cubicBezTo>
                  <a:cubicBezTo>
                    <a:pt x="36" y="28"/>
                    <a:pt x="37" y="25"/>
                    <a:pt x="3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3" name="Freeform 23"/>
            <p:cNvSpPr>
              <a:spLocks/>
            </p:cNvSpPr>
            <p:nvPr/>
          </p:nvSpPr>
          <p:spPr bwMode="auto">
            <a:xfrm>
              <a:off x="3281315" y="1812777"/>
              <a:ext cx="74600" cy="149961"/>
            </a:xfrm>
            <a:custGeom>
              <a:avLst/>
              <a:gdLst>
                <a:gd name="T0" fmla="*/ 23 w 96"/>
                <a:gd name="T1" fmla="*/ 136 h 195"/>
                <a:gd name="T2" fmla="*/ 83 w 96"/>
                <a:gd name="T3" fmla="*/ 195 h 195"/>
                <a:gd name="T4" fmla="*/ 96 w 96"/>
                <a:gd name="T5" fmla="*/ 194 h 195"/>
                <a:gd name="T6" fmla="*/ 0 w 96"/>
                <a:gd name="T7" fmla="*/ 0 h 195"/>
                <a:gd name="T8" fmla="*/ 23 w 96"/>
                <a:gd name="T9" fmla="*/ 76 h 195"/>
                <a:gd name="T10" fmla="*/ 23 w 96"/>
                <a:gd name="T11" fmla="*/ 112 h 195"/>
                <a:gd name="T12" fmla="*/ 23 w 96"/>
                <a:gd name="T13" fmla="*/ 136 h 195"/>
              </a:gdLst>
              <a:ahLst/>
              <a:cxnLst>
                <a:cxn ang="0">
                  <a:pos x="T0" y="T1"/>
                </a:cxn>
                <a:cxn ang="0">
                  <a:pos x="T2" y="T3"/>
                </a:cxn>
                <a:cxn ang="0">
                  <a:pos x="T4" y="T5"/>
                </a:cxn>
                <a:cxn ang="0">
                  <a:pos x="T6" y="T7"/>
                </a:cxn>
                <a:cxn ang="0">
                  <a:pos x="T8" y="T9"/>
                </a:cxn>
                <a:cxn ang="0">
                  <a:pos x="T10" y="T11"/>
                </a:cxn>
                <a:cxn ang="0">
                  <a:pos x="T12" y="T13"/>
                </a:cxn>
              </a:cxnLst>
              <a:rect l="0" t="0" r="r" b="b"/>
              <a:pathLst>
                <a:path w="96" h="195">
                  <a:moveTo>
                    <a:pt x="23" y="136"/>
                  </a:moveTo>
                  <a:cubicBezTo>
                    <a:pt x="23" y="169"/>
                    <a:pt x="50" y="195"/>
                    <a:pt x="83" y="195"/>
                  </a:cubicBezTo>
                  <a:cubicBezTo>
                    <a:pt x="87" y="195"/>
                    <a:pt x="92" y="195"/>
                    <a:pt x="96" y="194"/>
                  </a:cubicBezTo>
                  <a:cubicBezTo>
                    <a:pt x="91" y="125"/>
                    <a:pt x="57" y="40"/>
                    <a:pt x="0" y="0"/>
                  </a:cubicBezTo>
                  <a:cubicBezTo>
                    <a:pt x="13" y="26"/>
                    <a:pt x="21" y="52"/>
                    <a:pt x="23" y="76"/>
                  </a:cubicBezTo>
                  <a:cubicBezTo>
                    <a:pt x="24" y="89"/>
                    <a:pt x="24" y="101"/>
                    <a:pt x="23" y="112"/>
                  </a:cubicBezTo>
                  <a:cubicBezTo>
                    <a:pt x="23" y="120"/>
                    <a:pt x="23" y="128"/>
                    <a:pt x="2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4" name="Freeform 24"/>
            <p:cNvSpPr>
              <a:spLocks/>
            </p:cNvSpPr>
            <p:nvPr/>
          </p:nvSpPr>
          <p:spPr bwMode="auto">
            <a:xfrm>
              <a:off x="3303390" y="1818867"/>
              <a:ext cx="25882" cy="26643"/>
            </a:xfrm>
            <a:custGeom>
              <a:avLst/>
              <a:gdLst>
                <a:gd name="T0" fmla="*/ 24 w 34"/>
                <a:gd name="T1" fmla="*/ 35 h 35"/>
                <a:gd name="T2" fmla="*/ 24 w 34"/>
                <a:gd name="T3" fmla="*/ 35 h 35"/>
                <a:gd name="T4" fmla="*/ 32 w 34"/>
                <a:gd name="T5" fmla="*/ 31 h 35"/>
                <a:gd name="T6" fmla="*/ 34 w 34"/>
                <a:gd name="T7" fmla="*/ 29 h 35"/>
                <a:gd name="T8" fmla="*/ 33 w 34"/>
                <a:gd name="T9" fmla="*/ 28 h 35"/>
                <a:gd name="T10" fmla="*/ 29 w 34"/>
                <a:gd name="T11" fmla="*/ 13 h 35"/>
                <a:gd name="T12" fmla="*/ 30 w 34"/>
                <a:gd name="T13" fmla="*/ 4 h 35"/>
                <a:gd name="T14" fmla="*/ 23 w 34"/>
                <a:gd name="T15" fmla="*/ 0 h 35"/>
                <a:gd name="T16" fmla="*/ 16 w 34"/>
                <a:gd name="T17" fmla="*/ 0 h 35"/>
                <a:gd name="T18" fmla="*/ 10 w 34"/>
                <a:gd name="T19" fmla="*/ 0 h 35"/>
                <a:gd name="T20" fmla="*/ 0 w 34"/>
                <a:gd name="T21" fmla="*/ 6 h 35"/>
                <a:gd name="T22" fmla="*/ 24 w 34"/>
                <a:gd name="T2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5">
                  <a:moveTo>
                    <a:pt x="24" y="35"/>
                  </a:moveTo>
                  <a:cubicBezTo>
                    <a:pt x="24" y="35"/>
                    <a:pt x="24" y="35"/>
                    <a:pt x="24" y="35"/>
                  </a:cubicBezTo>
                  <a:cubicBezTo>
                    <a:pt x="28" y="35"/>
                    <a:pt x="30" y="33"/>
                    <a:pt x="32" y="31"/>
                  </a:cubicBezTo>
                  <a:cubicBezTo>
                    <a:pt x="33" y="30"/>
                    <a:pt x="33" y="30"/>
                    <a:pt x="34" y="29"/>
                  </a:cubicBezTo>
                  <a:cubicBezTo>
                    <a:pt x="33" y="28"/>
                    <a:pt x="33" y="28"/>
                    <a:pt x="33" y="28"/>
                  </a:cubicBezTo>
                  <a:cubicBezTo>
                    <a:pt x="29" y="24"/>
                    <a:pt x="28" y="18"/>
                    <a:pt x="29" y="13"/>
                  </a:cubicBezTo>
                  <a:cubicBezTo>
                    <a:pt x="30" y="4"/>
                    <a:pt x="30" y="4"/>
                    <a:pt x="30" y="4"/>
                  </a:cubicBezTo>
                  <a:cubicBezTo>
                    <a:pt x="28" y="2"/>
                    <a:pt x="26" y="0"/>
                    <a:pt x="23" y="0"/>
                  </a:cubicBezTo>
                  <a:cubicBezTo>
                    <a:pt x="20" y="0"/>
                    <a:pt x="18" y="0"/>
                    <a:pt x="16" y="0"/>
                  </a:cubicBezTo>
                  <a:cubicBezTo>
                    <a:pt x="14" y="0"/>
                    <a:pt x="12" y="0"/>
                    <a:pt x="10" y="0"/>
                  </a:cubicBezTo>
                  <a:cubicBezTo>
                    <a:pt x="5" y="0"/>
                    <a:pt x="2" y="3"/>
                    <a:pt x="0" y="6"/>
                  </a:cubicBezTo>
                  <a:cubicBezTo>
                    <a:pt x="9" y="15"/>
                    <a:pt x="16" y="25"/>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5" name="Freeform 25"/>
            <p:cNvSpPr>
              <a:spLocks/>
            </p:cNvSpPr>
            <p:nvPr/>
          </p:nvSpPr>
          <p:spPr bwMode="auto">
            <a:xfrm>
              <a:off x="3330794" y="1847032"/>
              <a:ext cx="29688" cy="27404"/>
            </a:xfrm>
            <a:custGeom>
              <a:avLst/>
              <a:gdLst>
                <a:gd name="T0" fmla="*/ 2 w 38"/>
                <a:gd name="T1" fmla="*/ 11 h 36"/>
                <a:gd name="T2" fmla="*/ 0 w 38"/>
                <a:gd name="T3" fmla="*/ 19 h 36"/>
                <a:gd name="T4" fmla="*/ 9 w 38"/>
                <a:gd name="T5" fmla="*/ 36 h 36"/>
                <a:gd name="T6" fmla="*/ 10 w 38"/>
                <a:gd name="T7" fmla="*/ 36 h 36"/>
                <a:gd name="T8" fmla="*/ 27 w 38"/>
                <a:gd name="T9" fmla="*/ 36 h 36"/>
                <a:gd name="T10" fmla="*/ 35 w 38"/>
                <a:gd name="T11" fmla="*/ 32 h 36"/>
                <a:gd name="T12" fmla="*/ 38 w 38"/>
                <a:gd name="T13" fmla="*/ 22 h 36"/>
                <a:gd name="T14" fmla="*/ 36 w 38"/>
                <a:gd name="T15" fmla="*/ 11 h 36"/>
                <a:gd name="T16" fmla="*/ 26 w 38"/>
                <a:gd name="T17" fmla="*/ 1 h 36"/>
                <a:gd name="T18" fmla="*/ 18 w 38"/>
                <a:gd name="T19" fmla="*/ 0 h 36"/>
                <a:gd name="T20" fmla="*/ 12 w 38"/>
                <a:gd name="T21" fmla="*/ 1 h 36"/>
                <a:gd name="T22" fmla="*/ 2 w 38"/>
                <a:gd name="T2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2" y="11"/>
                  </a:moveTo>
                  <a:cubicBezTo>
                    <a:pt x="0" y="19"/>
                    <a:pt x="0" y="19"/>
                    <a:pt x="0" y="19"/>
                  </a:cubicBezTo>
                  <a:cubicBezTo>
                    <a:pt x="4" y="24"/>
                    <a:pt x="6" y="30"/>
                    <a:pt x="9" y="36"/>
                  </a:cubicBezTo>
                  <a:cubicBezTo>
                    <a:pt x="10" y="36"/>
                    <a:pt x="10" y="36"/>
                    <a:pt x="10" y="36"/>
                  </a:cubicBezTo>
                  <a:cubicBezTo>
                    <a:pt x="16" y="36"/>
                    <a:pt x="22" y="36"/>
                    <a:pt x="27" y="36"/>
                  </a:cubicBezTo>
                  <a:cubicBezTo>
                    <a:pt x="30" y="36"/>
                    <a:pt x="33" y="34"/>
                    <a:pt x="35" y="32"/>
                  </a:cubicBezTo>
                  <a:cubicBezTo>
                    <a:pt x="37" y="29"/>
                    <a:pt x="38" y="26"/>
                    <a:pt x="38" y="22"/>
                  </a:cubicBezTo>
                  <a:cubicBezTo>
                    <a:pt x="36" y="11"/>
                    <a:pt x="36" y="11"/>
                    <a:pt x="36" y="11"/>
                  </a:cubicBezTo>
                  <a:cubicBezTo>
                    <a:pt x="35" y="5"/>
                    <a:pt x="31" y="1"/>
                    <a:pt x="26" y="1"/>
                  </a:cubicBezTo>
                  <a:cubicBezTo>
                    <a:pt x="23" y="0"/>
                    <a:pt x="21" y="0"/>
                    <a:pt x="18" y="0"/>
                  </a:cubicBezTo>
                  <a:cubicBezTo>
                    <a:pt x="16" y="0"/>
                    <a:pt x="14" y="0"/>
                    <a:pt x="12" y="1"/>
                  </a:cubicBezTo>
                  <a:cubicBezTo>
                    <a:pt x="7" y="1"/>
                    <a:pt x="2" y="5"/>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6" name="Freeform 26"/>
            <p:cNvSpPr>
              <a:spLocks/>
            </p:cNvSpPr>
            <p:nvPr/>
          </p:nvSpPr>
          <p:spPr bwMode="auto">
            <a:xfrm>
              <a:off x="3349063" y="1859212"/>
              <a:ext cx="50241" cy="101243"/>
            </a:xfrm>
            <a:custGeom>
              <a:avLst/>
              <a:gdLst>
                <a:gd name="T0" fmla="*/ 55 w 65"/>
                <a:gd name="T1" fmla="*/ 75 h 131"/>
                <a:gd name="T2" fmla="*/ 65 w 65"/>
                <a:gd name="T3" fmla="*/ 0 h 131"/>
                <a:gd name="T4" fmla="*/ 0 w 65"/>
                <a:gd name="T5" fmla="*/ 53 h 131"/>
                <a:gd name="T6" fmla="*/ 17 w 65"/>
                <a:gd name="T7" fmla="*/ 131 h 131"/>
                <a:gd name="T8" fmla="*/ 55 w 65"/>
                <a:gd name="T9" fmla="*/ 75 h 131"/>
              </a:gdLst>
              <a:ahLst/>
              <a:cxnLst>
                <a:cxn ang="0">
                  <a:pos x="T0" y="T1"/>
                </a:cxn>
                <a:cxn ang="0">
                  <a:pos x="T2" y="T3"/>
                </a:cxn>
                <a:cxn ang="0">
                  <a:pos x="T4" y="T5"/>
                </a:cxn>
                <a:cxn ang="0">
                  <a:pos x="T6" y="T7"/>
                </a:cxn>
                <a:cxn ang="0">
                  <a:pos x="T8" y="T9"/>
                </a:cxn>
              </a:cxnLst>
              <a:rect l="0" t="0" r="r" b="b"/>
              <a:pathLst>
                <a:path w="65" h="131">
                  <a:moveTo>
                    <a:pt x="55" y="75"/>
                  </a:moveTo>
                  <a:cubicBezTo>
                    <a:pt x="55" y="49"/>
                    <a:pt x="59" y="19"/>
                    <a:pt x="65" y="0"/>
                  </a:cubicBezTo>
                  <a:cubicBezTo>
                    <a:pt x="33" y="19"/>
                    <a:pt x="12" y="34"/>
                    <a:pt x="0" y="53"/>
                  </a:cubicBezTo>
                  <a:cubicBezTo>
                    <a:pt x="9" y="79"/>
                    <a:pt x="15" y="106"/>
                    <a:pt x="17" y="131"/>
                  </a:cubicBezTo>
                  <a:cubicBezTo>
                    <a:pt x="39" y="122"/>
                    <a:pt x="55" y="100"/>
                    <a:pt x="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7" name="Freeform 27"/>
            <p:cNvSpPr>
              <a:spLocks/>
            </p:cNvSpPr>
            <p:nvPr/>
          </p:nvSpPr>
          <p:spPr bwMode="auto">
            <a:xfrm>
              <a:off x="3360482" y="1851599"/>
              <a:ext cx="28165" cy="24359"/>
            </a:xfrm>
            <a:custGeom>
              <a:avLst/>
              <a:gdLst>
                <a:gd name="T0" fmla="*/ 3 w 36"/>
                <a:gd name="T1" fmla="*/ 32 h 32"/>
                <a:gd name="T2" fmla="*/ 36 w 36"/>
                <a:gd name="T3" fmla="*/ 9 h 32"/>
                <a:gd name="T4" fmla="*/ 26 w 36"/>
                <a:gd name="T5" fmla="*/ 0 h 32"/>
                <a:gd name="T6" fmla="*/ 19 w 36"/>
                <a:gd name="T7" fmla="*/ 0 h 32"/>
                <a:gd name="T8" fmla="*/ 13 w 36"/>
                <a:gd name="T9" fmla="*/ 0 h 32"/>
                <a:gd name="T10" fmla="*/ 2 w 36"/>
                <a:gd name="T11" fmla="*/ 10 h 32"/>
                <a:gd name="T12" fmla="*/ 1 w 36"/>
                <a:gd name="T13" fmla="*/ 22 h 32"/>
                <a:gd name="T14" fmla="*/ 3 w 36"/>
                <a:gd name="T15" fmla="*/ 31 h 32"/>
                <a:gd name="T16" fmla="*/ 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 y="32"/>
                  </a:moveTo>
                  <a:cubicBezTo>
                    <a:pt x="13" y="24"/>
                    <a:pt x="23" y="17"/>
                    <a:pt x="36" y="9"/>
                  </a:cubicBezTo>
                  <a:cubicBezTo>
                    <a:pt x="35" y="4"/>
                    <a:pt x="31" y="1"/>
                    <a:pt x="26" y="0"/>
                  </a:cubicBezTo>
                  <a:cubicBezTo>
                    <a:pt x="24" y="0"/>
                    <a:pt x="22" y="0"/>
                    <a:pt x="19" y="0"/>
                  </a:cubicBezTo>
                  <a:cubicBezTo>
                    <a:pt x="17" y="0"/>
                    <a:pt x="15" y="0"/>
                    <a:pt x="13" y="0"/>
                  </a:cubicBezTo>
                  <a:cubicBezTo>
                    <a:pt x="7" y="1"/>
                    <a:pt x="3" y="5"/>
                    <a:pt x="2" y="10"/>
                  </a:cubicBezTo>
                  <a:cubicBezTo>
                    <a:pt x="1" y="22"/>
                    <a:pt x="1" y="22"/>
                    <a:pt x="1" y="22"/>
                  </a:cubicBezTo>
                  <a:cubicBezTo>
                    <a:pt x="0" y="25"/>
                    <a:pt x="1" y="29"/>
                    <a:pt x="3" y="31"/>
                  </a:cubicBezTo>
                  <a:cubicBezTo>
                    <a:pt x="3" y="31"/>
                    <a:pt x="3" y="31"/>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8" name="Freeform 28"/>
            <p:cNvSpPr>
              <a:spLocks/>
            </p:cNvSpPr>
            <p:nvPr/>
          </p:nvSpPr>
          <p:spPr bwMode="auto">
            <a:xfrm>
              <a:off x="3342974" y="1883571"/>
              <a:ext cx="10657" cy="9896"/>
            </a:xfrm>
            <a:custGeom>
              <a:avLst/>
              <a:gdLst>
                <a:gd name="T0" fmla="*/ 14 w 14"/>
                <a:gd name="T1" fmla="*/ 2 h 13"/>
                <a:gd name="T2" fmla="*/ 10 w 14"/>
                <a:gd name="T3" fmla="*/ 0 h 13"/>
                <a:gd name="T4" fmla="*/ 3 w 14"/>
                <a:gd name="T5" fmla="*/ 0 h 13"/>
                <a:gd name="T6" fmla="*/ 0 w 14"/>
                <a:gd name="T7" fmla="*/ 0 h 13"/>
                <a:gd name="T8" fmla="*/ 5 w 14"/>
                <a:gd name="T9" fmla="*/ 13 h 13"/>
                <a:gd name="T10" fmla="*/ 14 w 14"/>
                <a:gd name="T11" fmla="*/ 2 h 13"/>
              </a:gdLst>
              <a:ahLst/>
              <a:cxnLst>
                <a:cxn ang="0">
                  <a:pos x="T0" y="T1"/>
                </a:cxn>
                <a:cxn ang="0">
                  <a:pos x="T2" y="T3"/>
                </a:cxn>
                <a:cxn ang="0">
                  <a:pos x="T4" y="T5"/>
                </a:cxn>
                <a:cxn ang="0">
                  <a:pos x="T6" y="T7"/>
                </a:cxn>
                <a:cxn ang="0">
                  <a:pos x="T8" y="T9"/>
                </a:cxn>
                <a:cxn ang="0">
                  <a:pos x="T10" y="T11"/>
                </a:cxn>
              </a:cxnLst>
              <a:rect l="0" t="0" r="r" b="b"/>
              <a:pathLst>
                <a:path w="14" h="13">
                  <a:moveTo>
                    <a:pt x="14" y="2"/>
                  </a:moveTo>
                  <a:cubicBezTo>
                    <a:pt x="13" y="1"/>
                    <a:pt x="12" y="1"/>
                    <a:pt x="10" y="0"/>
                  </a:cubicBezTo>
                  <a:cubicBezTo>
                    <a:pt x="8" y="0"/>
                    <a:pt x="6" y="0"/>
                    <a:pt x="3" y="0"/>
                  </a:cubicBezTo>
                  <a:cubicBezTo>
                    <a:pt x="2" y="0"/>
                    <a:pt x="1" y="0"/>
                    <a:pt x="0" y="0"/>
                  </a:cubicBezTo>
                  <a:cubicBezTo>
                    <a:pt x="1" y="5"/>
                    <a:pt x="3" y="9"/>
                    <a:pt x="5" y="13"/>
                  </a:cubicBezTo>
                  <a:cubicBezTo>
                    <a:pt x="8" y="9"/>
                    <a:pt x="11" y="5"/>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9" name="Freeform 29"/>
            <p:cNvSpPr>
              <a:spLocks/>
            </p:cNvSpPr>
            <p:nvPr/>
          </p:nvSpPr>
          <p:spPr bwMode="auto">
            <a:xfrm>
              <a:off x="3333839" y="1721430"/>
              <a:ext cx="22837" cy="21314"/>
            </a:xfrm>
            <a:custGeom>
              <a:avLst/>
              <a:gdLst>
                <a:gd name="T0" fmla="*/ 27 w 29"/>
                <a:gd name="T1" fmla="*/ 24 h 27"/>
                <a:gd name="T2" fmla="*/ 29 w 29"/>
                <a:gd name="T3" fmla="*/ 17 h 27"/>
                <a:gd name="T4" fmla="*/ 28 w 29"/>
                <a:gd name="T5" fmla="*/ 8 h 27"/>
                <a:gd name="T6" fmla="*/ 20 w 29"/>
                <a:gd name="T7" fmla="*/ 0 h 27"/>
                <a:gd name="T8" fmla="*/ 15 w 29"/>
                <a:gd name="T9" fmla="*/ 0 h 27"/>
                <a:gd name="T10" fmla="*/ 10 w 29"/>
                <a:gd name="T11" fmla="*/ 0 h 27"/>
                <a:gd name="T12" fmla="*/ 2 w 29"/>
                <a:gd name="T13" fmla="*/ 8 h 27"/>
                <a:gd name="T14" fmla="*/ 0 w 29"/>
                <a:gd name="T15" fmla="*/ 17 h 27"/>
                <a:gd name="T16" fmla="*/ 2 w 29"/>
                <a:gd name="T17" fmla="*/ 24 h 27"/>
                <a:gd name="T18" fmla="*/ 8 w 29"/>
                <a:gd name="T19" fmla="*/ 27 h 27"/>
                <a:gd name="T20" fmla="*/ 21 w 29"/>
                <a:gd name="T21" fmla="*/ 27 h 27"/>
                <a:gd name="T22" fmla="*/ 27 w 29"/>
                <a:gd name="T23"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7" y="24"/>
                  </a:moveTo>
                  <a:cubicBezTo>
                    <a:pt x="29" y="22"/>
                    <a:pt x="29" y="19"/>
                    <a:pt x="29" y="17"/>
                  </a:cubicBezTo>
                  <a:cubicBezTo>
                    <a:pt x="28" y="8"/>
                    <a:pt x="28" y="8"/>
                    <a:pt x="28" y="8"/>
                  </a:cubicBezTo>
                  <a:cubicBezTo>
                    <a:pt x="27" y="4"/>
                    <a:pt x="24" y="1"/>
                    <a:pt x="20" y="0"/>
                  </a:cubicBezTo>
                  <a:cubicBezTo>
                    <a:pt x="18" y="0"/>
                    <a:pt x="16" y="0"/>
                    <a:pt x="15" y="0"/>
                  </a:cubicBezTo>
                  <a:cubicBezTo>
                    <a:pt x="13" y="0"/>
                    <a:pt x="11" y="0"/>
                    <a:pt x="10" y="0"/>
                  </a:cubicBezTo>
                  <a:cubicBezTo>
                    <a:pt x="6" y="0"/>
                    <a:pt x="2" y="4"/>
                    <a:pt x="2" y="8"/>
                  </a:cubicBezTo>
                  <a:cubicBezTo>
                    <a:pt x="0" y="17"/>
                    <a:pt x="0" y="17"/>
                    <a:pt x="0" y="17"/>
                  </a:cubicBezTo>
                  <a:cubicBezTo>
                    <a:pt x="0" y="19"/>
                    <a:pt x="1" y="22"/>
                    <a:pt x="2" y="24"/>
                  </a:cubicBezTo>
                  <a:cubicBezTo>
                    <a:pt x="4" y="26"/>
                    <a:pt x="6" y="27"/>
                    <a:pt x="8" y="27"/>
                  </a:cubicBezTo>
                  <a:cubicBezTo>
                    <a:pt x="13" y="27"/>
                    <a:pt x="17" y="27"/>
                    <a:pt x="21" y="27"/>
                  </a:cubicBezTo>
                  <a:cubicBezTo>
                    <a:pt x="24" y="27"/>
                    <a:pt x="26" y="26"/>
                    <a:pt x="2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8" name="Freeform 14"/>
          <p:cNvSpPr>
            <a:spLocks noEditPoints="1"/>
          </p:cNvSpPr>
          <p:nvPr/>
        </p:nvSpPr>
        <p:spPr bwMode="auto">
          <a:xfrm flipH="1">
            <a:off x="7602027" y="3535062"/>
            <a:ext cx="236437" cy="237270"/>
          </a:xfrm>
          <a:custGeom>
            <a:avLst/>
            <a:gdLst>
              <a:gd name="T0" fmla="*/ 98 w 117"/>
              <a:gd name="T1" fmla="*/ 19 h 117"/>
              <a:gd name="T2" fmla="*/ 94 w 117"/>
              <a:gd name="T3" fmla="*/ 6 h 117"/>
              <a:gd name="T4" fmla="*/ 75 w 117"/>
              <a:gd name="T5" fmla="*/ 6 h 117"/>
              <a:gd name="T6" fmla="*/ 74 w 117"/>
              <a:gd name="T7" fmla="*/ 26 h 117"/>
              <a:gd name="T8" fmla="*/ 66 w 117"/>
              <a:gd name="T9" fmla="*/ 34 h 117"/>
              <a:gd name="T10" fmla="*/ 40 w 117"/>
              <a:gd name="T11" fmla="*/ 48 h 117"/>
              <a:gd name="T12" fmla="*/ 12 w 117"/>
              <a:gd name="T13" fmla="*/ 60 h 117"/>
              <a:gd name="T14" fmla="*/ 12 w 117"/>
              <a:gd name="T15" fmla="*/ 60 h 117"/>
              <a:gd name="T16" fmla="*/ 12 w 117"/>
              <a:gd name="T17" fmla="*/ 105 h 117"/>
              <a:gd name="T18" fmla="*/ 57 w 117"/>
              <a:gd name="T19" fmla="*/ 105 h 117"/>
              <a:gd name="T20" fmla="*/ 68 w 117"/>
              <a:gd name="T21" fmla="*/ 76 h 117"/>
              <a:gd name="T22" fmla="*/ 83 w 117"/>
              <a:gd name="T23" fmla="*/ 51 h 117"/>
              <a:gd name="T24" fmla="*/ 89 w 117"/>
              <a:gd name="T25" fmla="*/ 45 h 117"/>
              <a:gd name="T26" fmla="*/ 89 w 117"/>
              <a:gd name="T27" fmla="*/ 45 h 117"/>
              <a:gd name="T28" fmla="*/ 91 w 117"/>
              <a:gd name="T29" fmla="*/ 42 h 117"/>
              <a:gd name="T30" fmla="*/ 91 w 117"/>
              <a:gd name="T31" fmla="*/ 43 h 117"/>
              <a:gd name="T32" fmla="*/ 111 w 117"/>
              <a:gd name="T33" fmla="*/ 43 h 117"/>
              <a:gd name="T34" fmla="*/ 111 w 117"/>
              <a:gd name="T35" fmla="*/ 23 h 117"/>
              <a:gd name="T36" fmla="*/ 98 w 117"/>
              <a:gd name="T37" fmla="*/ 19 h 117"/>
              <a:gd name="T38" fmla="*/ 69 w 117"/>
              <a:gd name="T39" fmla="*/ 48 h 117"/>
              <a:gd name="T40" fmla="*/ 66 w 117"/>
              <a:gd name="T41" fmla="*/ 40 h 117"/>
              <a:gd name="T42" fmla="*/ 71 w 117"/>
              <a:gd name="T43" fmla="*/ 34 h 117"/>
              <a:gd name="T44" fmla="*/ 74 w 117"/>
              <a:gd name="T45" fmla="*/ 31 h 117"/>
              <a:gd name="T46" fmla="*/ 74 w 117"/>
              <a:gd name="T47" fmla="*/ 31 h 117"/>
              <a:gd name="T48" fmla="*/ 78 w 117"/>
              <a:gd name="T49" fmla="*/ 28 h 117"/>
              <a:gd name="T50" fmla="*/ 81 w 117"/>
              <a:gd name="T51" fmla="*/ 25 h 117"/>
              <a:gd name="T52" fmla="*/ 77 w 117"/>
              <a:gd name="T53" fmla="*/ 23 h 117"/>
              <a:gd name="T54" fmla="*/ 77 w 117"/>
              <a:gd name="T55" fmla="*/ 23 h 117"/>
              <a:gd name="T56" fmla="*/ 77 w 117"/>
              <a:gd name="T57" fmla="*/ 9 h 117"/>
              <a:gd name="T58" fmla="*/ 91 w 117"/>
              <a:gd name="T59" fmla="*/ 9 h 117"/>
              <a:gd name="T60" fmla="*/ 93 w 117"/>
              <a:gd name="T61" fmla="*/ 21 h 117"/>
              <a:gd name="T62" fmla="*/ 93 w 117"/>
              <a:gd name="T63" fmla="*/ 22 h 117"/>
              <a:gd name="T64" fmla="*/ 96 w 117"/>
              <a:gd name="T65" fmla="*/ 24 h 117"/>
              <a:gd name="T66" fmla="*/ 96 w 117"/>
              <a:gd name="T67" fmla="*/ 24 h 117"/>
              <a:gd name="T68" fmla="*/ 108 w 117"/>
              <a:gd name="T69" fmla="*/ 26 h 117"/>
              <a:gd name="T70" fmla="*/ 108 w 117"/>
              <a:gd name="T71" fmla="*/ 40 h 117"/>
              <a:gd name="T72" fmla="*/ 94 w 117"/>
              <a:gd name="T73" fmla="*/ 40 h 117"/>
              <a:gd name="T74" fmla="*/ 94 w 117"/>
              <a:gd name="T75" fmla="*/ 40 h 117"/>
              <a:gd name="T76" fmla="*/ 92 w 117"/>
              <a:gd name="T77" fmla="*/ 36 h 117"/>
              <a:gd name="T78" fmla="*/ 89 w 117"/>
              <a:gd name="T79" fmla="*/ 39 h 117"/>
              <a:gd name="T80" fmla="*/ 86 w 117"/>
              <a:gd name="T81" fmla="*/ 42 h 117"/>
              <a:gd name="T82" fmla="*/ 77 w 117"/>
              <a:gd name="T83" fmla="*/ 51 h 117"/>
              <a:gd name="T84" fmla="*/ 69 w 117"/>
              <a:gd name="T85" fmla="*/ 4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17">
                <a:moveTo>
                  <a:pt x="98" y="19"/>
                </a:moveTo>
                <a:cubicBezTo>
                  <a:pt x="99" y="15"/>
                  <a:pt x="98" y="9"/>
                  <a:pt x="94" y="6"/>
                </a:cubicBezTo>
                <a:cubicBezTo>
                  <a:pt x="89" y="0"/>
                  <a:pt x="80" y="0"/>
                  <a:pt x="75" y="6"/>
                </a:cubicBezTo>
                <a:cubicBezTo>
                  <a:pt x="69" y="11"/>
                  <a:pt x="69" y="20"/>
                  <a:pt x="74" y="26"/>
                </a:cubicBezTo>
                <a:cubicBezTo>
                  <a:pt x="66" y="34"/>
                  <a:pt x="66" y="34"/>
                  <a:pt x="66" y="34"/>
                </a:cubicBezTo>
                <a:cubicBezTo>
                  <a:pt x="60" y="40"/>
                  <a:pt x="52" y="48"/>
                  <a:pt x="40" y="48"/>
                </a:cubicBezTo>
                <a:cubicBezTo>
                  <a:pt x="23" y="48"/>
                  <a:pt x="13" y="59"/>
                  <a:pt x="12" y="60"/>
                </a:cubicBezTo>
                <a:cubicBezTo>
                  <a:pt x="12" y="60"/>
                  <a:pt x="12" y="60"/>
                  <a:pt x="12" y="60"/>
                </a:cubicBezTo>
                <a:cubicBezTo>
                  <a:pt x="0" y="72"/>
                  <a:pt x="0" y="92"/>
                  <a:pt x="12" y="105"/>
                </a:cubicBezTo>
                <a:cubicBezTo>
                  <a:pt x="25" y="117"/>
                  <a:pt x="45" y="117"/>
                  <a:pt x="57" y="105"/>
                </a:cubicBezTo>
                <a:cubicBezTo>
                  <a:pt x="63" y="99"/>
                  <a:pt x="68" y="93"/>
                  <a:pt x="68" y="76"/>
                </a:cubicBezTo>
                <a:cubicBezTo>
                  <a:pt x="68" y="65"/>
                  <a:pt x="83" y="51"/>
                  <a:pt x="83" y="51"/>
                </a:cubicBezTo>
                <a:cubicBezTo>
                  <a:pt x="89" y="45"/>
                  <a:pt x="89" y="45"/>
                  <a:pt x="89" y="45"/>
                </a:cubicBezTo>
                <a:cubicBezTo>
                  <a:pt x="89" y="45"/>
                  <a:pt x="89" y="45"/>
                  <a:pt x="89" y="45"/>
                </a:cubicBezTo>
                <a:cubicBezTo>
                  <a:pt x="91" y="42"/>
                  <a:pt x="91" y="42"/>
                  <a:pt x="91" y="42"/>
                </a:cubicBezTo>
                <a:cubicBezTo>
                  <a:pt x="91" y="43"/>
                  <a:pt x="91" y="43"/>
                  <a:pt x="91" y="43"/>
                </a:cubicBezTo>
                <a:cubicBezTo>
                  <a:pt x="97" y="48"/>
                  <a:pt x="106" y="48"/>
                  <a:pt x="111" y="43"/>
                </a:cubicBezTo>
                <a:cubicBezTo>
                  <a:pt x="117" y="37"/>
                  <a:pt x="117" y="28"/>
                  <a:pt x="111" y="23"/>
                </a:cubicBezTo>
                <a:cubicBezTo>
                  <a:pt x="108" y="19"/>
                  <a:pt x="103" y="18"/>
                  <a:pt x="98" y="19"/>
                </a:cubicBezTo>
                <a:close/>
                <a:moveTo>
                  <a:pt x="69" y="48"/>
                </a:moveTo>
                <a:cubicBezTo>
                  <a:pt x="66" y="40"/>
                  <a:pt x="66" y="40"/>
                  <a:pt x="66" y="40"/>
                </a:cubicBezTo>
                <a:cubicBezTo>
                  <a:pt x="71" y="34"/>
                  <a:pt x="71" y="34"/>
                  <a:pt x="71" y="34"/>
                </a:cubicBezTo>
                <a:cubicBezTo>
                  <a:pt x="74" y="31"/>
                  <a:pt x="74" y="31"/>
                  <a:pt x="74" y="31"/>
                </a:cubicBezTo>
                <a:cubicBezTo>
                  <a:pt x="74" y="31"/>
                  <a:pt x="74" y="31"/>
                  <a:pt x="74" y="31"/>
                </a:cubicBezTo>
                <a:cubicBezTo>
                  <a:pt x="78" y="28"/>
                  <a:pt x="78" y="28"/>
                  <a:pt x="78" y="28"/>
                </a:cubicBezTo>
                <a:cubicBezTo>
                  <a:pt x="81" y="25"/>
                  <a:pt x="81" y="25"/>
                  <a:pt x="81" y="25"/>
                </a:cubicBezTo>
                <a:cubicBezTo>
                  <a:pt x="79" y="24"/>
                  <a:pt x="78" y="24"/>
                  <a:pt x="77" y="23"/>
                </a:cubicBezTo>
                <a:cubicBezTo>
                  <a:pt x="77" y="23"/>
                  <a:pt x="77" y="23"/>
                  <a:pt x="77" y="23"/>
                </a:cubicBezTo>
                <a:cubicBezTo>
                  <a:pt x="73" y="19"/>
                  <a:pt x="73" y="13"/>
                  <a:pt x="77" y="9"/>
                </a:cubicBezTo>
                <a:cubicBezTo>
                  <a:pt x="81" y="5"/>
                  <a:pt x="88" y="5"/>
                  <a:pt x="91" y="9"/>
                </a:cubicBezTo>
                <a:cubicBezTo>
                  <a:pt x="95" y="12"/>
                  <a:pt x="95" y="17"/>
                  <a:pt x="93" y="21"/>
                </a:cubicBezTo>
                <a:cubicBezTo>
                  <a:pt x="93" y="22"/>
                  <a:pt x="93" y="22"/>
                  <a:pt x="93" y="22"/>
                </a:cubicBezTo>
                <a:cubicBezTo>
                  <a:pt x="96" y="24"/>
                  <a:pt x="96" y="24"/>
                  <a:pt x="96" y="24"/>
                </a:cubicBezTo>
                <a:cubicBezTo>
                  <a:pt x="96" y="24"/>
                  <a:pt x="96" y="24"/>
                  <a:pt x="96" y="24"/>
                </a:cubicBezTo>
                <a:cubicBezTo>
                  <a:pt x="100" y="22"/>
                  <a:pt x="105" y="22"/>
                  <a:pt x="108" y="26"/>
                </a:cubicBezTo>
                <a:cubicBezTo>
                  <a:pt x="112" y="30"/>
                  <a:pt x="112" y="36"/>
                  <a:pt x="108" y="40"/>
                </a:cubicBezTo>
                <a:cubicBezTo>
                  <a:pt x="105" y="44"/>
                  <a:pt x="98" y="44"/>
                  <a:pt x="94" y="40"/>
                </a:cubicBezTo>
                <a:cubicBezTo>
                  <a:pt x="94" y="40"/>
                  <a:pt x="94" y="40"/>
                  <a:pt x="94" y="40"/>
                </a:cubicBezTo>
                <a:cubicBezTo>
                  <a:pt x="93" y="39"/>
                  <a:pt x="92" y="37"/>
                  <a:pt x="92" y="36"/>
                </a:cubicBezTo>
                <a:cubicBezTo>
                  <a:pt x="89" y="39"/>
                  <a:pt x="89" y="39"/>
                  <a:pt x="89" y="39"/>
                </a:cubicBezTo>
                <a:cubicBezTo>
                  <a:pt x="86" y="42"/>
                  <a:pt x="86" y="42"/>
                  <a:pt x="86" y="42"/>
                </a:cubicBezTo>
                <a:cubicBezTo>
                  <a:pt x="77" y="51"/>
                  <a:pt x="77" y="51"/>
                  <a:pt x="77" y="51"/>
                </a:cubicBezTo>
                <a:lnTo>
                  <a:pt x="69" y="4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15" name="Group 114"/>
          <p:cNvGrpSpPr/>
          <p:nvPr/>
        </p:nvGrpSpPr>
        <p:grpSpPr>
          <a:xfrm>
            <a:off x="7980303" y="3573664"/>
            <a:ext cx="198909" cy="198910"/>
            <a:chOff x="2212976" y="1957387"/>
            <a:chExt cx="493713" cy="493714"/>
          </a:xfrm>
          <a:solidFill>
            <a:schemeClr val="accent6"/>
          </a:solidFill>
        </p:grpSpPr>
        <p:sp>
          <p:nvSpPr>
            <p:cNvPr id="116" name="Freeform 9"/>
            <p:cNvSpPr>
              <a:spLocks/>
            </p:cNvSpPr>
            <p:nvPr/>
          </p:nvSpPr>
          <p:spPr bwMode="auto">
            <a:xfrm>
              <a:off x="2271713" y="1957387"/>
              <a:ext cx="222250" cy="147638"/>
            </a:xfrm>
            <a:custGeom>
              <a:avLst/>
              <a:gdLst>
                <a:gd name="T0" fmla="*/ 0 w 166"/>
                <a:gd name="T1" fmla="*/ 95 h 110"/>
                <a:gd name="T2" fmla="*/ 112 w 166"/>
                <a:gd name="T3" fmla="*/ 90 h 110"/>
                <a:gd name="T4" fmla="*/ 166 w 166"/>
                <a:gd name="T5" fmla="*/ 32 h 110"/>
                <a:gd name="T6" fmla="*/ 93 w 166"/>
                <a:gd name="T7" fmla="*/ 8 h 110"/>
                <a:gd name="T8" fmla="*/ 0 w 166"/>
                <a:gd name="T9" fmla="*/ 95 h 110"/>
              </a:gdLst>
              <a:ahLst/>
              <a:cxnLst>
                <a:cxn ang="0">
                  <a:pos x="T0" y="T1"/>
                </a:cxn>
                <a:cxn ang="0">
                  <a:pos x="T2" y="T3"/>
                </a:cxn>
                <a:cxn ang="0">
                  <a:pos x="T4" y="T5"/>
                </a:cxn>
                <a:cxn ang="0">
                  <a:pos x="T6" y="T7"/>
                </a:cxn>
                <a:cxn ang="0">
                  <a:pos x="T8" y="T9"/>
                </a:cxn>
              </a:cxnLst>
              <a:rect l="0" t="0" r="r" b="b"/>
              <a:pathLst>
                <a:path w="166" h="110">
                  <a:moveTo>
                    <a:pt x="0" y="95"/>
                  </a:moveTo>
                  <a:cubicBezTo>
                    <a:pt x="36" y="101"/>
                    <a:pt x="64" y="110"/>
                    <a:pt x="112" y="90"/>
                  </a:cubicBezTo>
                  <a:cubicBezTo>
                    <a:pt x="138" y="80"/>
                    <a:pt x="158" y="59"/>
                    <a:pt x="166" y="32"/>
                  </a:cubicBezTo>
                  <a:cubicBezTo>
                    <a:pt x="159" y="28"/>
                    <a:pt x="124" y="0"/>
                    <a:pt x="93" y="8"/>
                  </a:cubicBezTo>
                  <a:cubicBezTo>
                    <a:pt x="57" y="16"/>
                    <a:pt x="33" y="42"/>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7" name="Freeform 10"/>
            <p:cNvSpPr>
              <a:spLocks/>
            </p:cNvSpPr>
            <p:nvPr/>
          </p:nvSpPr>
          <p:spPr bwMode="auto">
            <a:xfrm>
              <a:off x="2212976" y="1958975"/>
              <a:ext cx="493713" cy="492126"/>
            </a:xfrm>
            <a:custGeom>
              <a:avLst/>
              <a:gdLst>
                <a:gd name="T0" fmla="*/ 272 w 371"/>
                <a:gd name="T1" fmla="*/ 168 h 368"/>
                <a:gd name="T2" fmla="*/ 269 w 371"/>
                <a:gd name="T3" fmla="*/ 170 h 368"/>
                <a:gd name="T4" fmla="*/ 243 w 371"/>
                <a:gd name="T5" fmla="*/ 128 h 368"/>
                <a:gd name="T6" fmla="*/ 219 w 371"/>
                <a:gd name="T7" fmla="*/ 84 h 368"/>
                <a:gd name="T8" fmla="*/ 240 w 371"/>
                <a:gd name="T9" fmla="*/ 8 h 368"/>
                <a:gd name="T10" fmla="*/ 232 w 371"/>
                <a:gd name="T11" fmla="*/ 0 h 368"/>
                <a:gd name="T12" fmla="*/ 224 w 371"/>
                <a:gd name="T13" fmla="*/ 8 h 368"/>
                <a:gd name="T14" fmla="*/ 205 w 371"/>
                <a:gd name="T15" fmla="*/ 77 h 368"/>
                <a:gd name="T16" fmla="*/ 204 w 371"/>
                <a:gd name="T17" fmla="*/ 79 h 368"/>
                <a:gd name="T18" fmla="*/ 146 w 371"/>
                <a:gd name="T19" fmla="*/ 139 h 368"/>
                <a:gd name="T20" fmla="*/ 87 w 371"/>
                <a:gd name="T21" fmla="*/ 214 h 368"/>
                <a:gd name="T22" fmla="*/ 83 w 371"/>
                <a:gd name="T23" fmla="*/ 212 h 368"/>
                <a:gd name="T24" fmla="*/ 3 w 371"/>
                <a:gd name="T25" fmla="*/ 254 h 368"/>
                <a:gd name="T26" fmla="*/ 63 w 371"/>
                <a:gd name="T27" fmla="*/ 356 h 368"/>
                <a:gd name="T28" fmla="*/ 93 w 371"/>
                <a:gd name="T29" fmla="*/ 359 h 368"/>
                <a:gd name="T30" fmla="*/ 174 w 371"/>
                <a:gd name="T31" fmla="*/ 273 h 368"/>
                <a:gd name="T32" fmla="*/ 105 w 371"/>
                <a:gd name="T33" fmla="*/ 214 h 368"/>
                <a:gd name="T34" fmla="*/ 104 w 371"/>
                <a:gd name="T35" fmla="*/ 214 h 368"/>
                <a:gd name="T36" fmla="*/ 157 w 371"/>
                <a:gd name="T37" fmla="*/ 151 h 368"/>
                <a:gd name="T38" fmla="*/ 207 w 371"/>
                <a:gd name="T39" fmla="*/ 102 h 368"/>
                <a:gd name="T40" fmla="*/ 232 w 371"/>
                <a:gd name="T41" fmla="*/ 140 h 368"/>
                <a:gd name="T42" fmla="*/ 254 w 371"/>
                <a:gd name="T43" fmla="*/ 174 h 368"/>
                <a:gd name="T44" fmla="*/ 250 w 371"/>
                <a:gd name="T45" fmla="*/ 174 h 368"/>
                <a:gd name="T46" fmla="*/ 191 w 371"/>
                <a:gd name="T47" fmla="*/ 245 h 368"/>
                <a:gd name="T48" fmla="*/ 288 w 371"/>
                <a:gd name="T49" fmla="*/ 315 h 368"/>
                <a:gd name="T50" fmla="*/ 317 w 371"/>
                <a:gd name="T51" fmla="*/ 306 h 368"/>
                <a:gd name="T52" fmla="*/ 360 w 371"/>
                <a:gd name="T53" fmla="*/ 195 h 368"/>
                <a:gd name="T54" fmla="*/ 272 w 371"/>
                <a:gd name="T55" fmla="*/ 1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1" h="368">
                  <a:moveTo>
                    <a:pt x="272" y="168"/>
                  </a:moveTo>
                  <a:cubicBezTo>
                    <a:pt x="271" y="169"/>
                    <a:pt x="270" y="169"/>
                    <a:pt x="269" y="170"/>
                  </a:cubicBezTo>
                  <a:cubicBezTo>
                    <a:pt x="264" y="149"/>
                    <a:pt x="253" y="138"/>
                    <a:pt x="243" y="128"/>
                  </a:cubicBezTo>
                  <a:cubicBezTo>
                    <a:pt x="232" y="117"/>
                    <a:pt x="222" y="108"/>
                    <a:pt x="219" y="84"/>
                  </a:cubicBezTo>
                  <a:cubicBezTo>
                    <a:pt x="233" y="61"/>
                    <a:pt x="240" y="35"/>
                    <a:pt x="240" y="8"/>
                  </a:cubicBezTo>
                  <a:cubicBezTo>
                    <a:pt x="240" y="4"/>
                    <a:pt x="237" y="0"/>
                    <a:pt x="232" y="0"/>
                  </a:cubicBezTo>
                  <a:cubicBezTo>
                    <a:pt x="228" y="0"/>
                    <a:pt x="224" y="4"/>
                    <a:pt x="224" y="8"/>
                  </a:cubicBezTo>
                  <a:cubicBezTo>
                    <a:pt x="224" y="32"/>
                    <a:pt x="218" y="56"/>
                    <a:pt x="205" y="77"/>
                  </a:cubicBezTo>
                  <a:cubicBezTo>
                    <a:pt x="205" y="78"/>
                    <a:pt x="204" y="78"/>
                    <a:pt x="204" y="79"/>
                  </a:cubicBezTo>
                  <a:cubicBezTo>
                    <a:pt x="189" y="103"/>
                    <a:pt x="168" y="121"/>
                    <a:pt x="146" y="139"/>
                  </a:cubicBezTo>
                  <a:cubicBezTo>
                    <a:pt x="120" y="162"/>
                    <a:pt x="94" y="183"/>
                    <a:pt x="87" y="214"/>
                  </a:cubicBezTo>
                  <a:cubicBezTo>
                    <a:pt x="86" y="213"/>
                    <a:pt x="84" y="213"/>
                    <a:pt x="83" y="212"/>
                  </a:cubicBezTo>
                  <a:cubicBezTo>
                    <a:pt x="47" y="195"/>
                    <a:pt x="6" y="215"/>
                    <a:pt x="3" y="254"/>
                  </a:cubicBezTo>
                  <a:cubicBezTo>
                    <a:pt x="0" y="298"/>
                    <a:pt x="28" y="357"/>
                    <a:pt x="63" y="356"/>
                  </a:cubicBezTo>
                  <a:cubicBezTo>
                    <a:pt x="73" y="355"/>
                    <a:pt x="83" y="356"/>
                    <a:pt x="93" y="359"/>
                  </a:cubicBezTo>
                  <a:cubicBezTo>
                    <a:pt x="127" y="368"/>
                    <a:pt x="167" y="316"/>
                    <a:pt x="174" y="273"/>
                  </a:cubicBezTo>
                  <a:cubicBezTo>
                    <a:pt x="180" y="234"/>
                    <a:pt x="143" y="205"/>
                    <a:pt x="105" y="214"/>
                  </a:cubicBezTo>
                  <a:cubicBezTo>
                    <a:pt x="104" y="214"/>
                    <a:pt x="104" y="214"/>
                    <a:pt x="104" y="214"/>
                  </a:cubicBezTo>
                  <a:cubicBezTo>
                    <a:pt x="111" y="191"/>
                    <a:pt x="132" y="172"/>
                    <a:pt x="157" y="151"/>
                  </a:cubicBezTo>
                  <a:cubicBezTo>
                    <a:pt x="174" y="137"/>
                    <a:pt x="192" y="121"/>
                    <a:pt x="207" y="102"/>
                  </a:cubicBezTo>
                  <a:cubicBezTo>
                    <a:pt x="212" y="121"/>
                    <a:pt x="223" y="131"/>
                    <a:pt x="232" y="140"/>
                  </a:cubicBezTo>
                  <a:cubicBezTo>
                    <a:pt x="242" y="149"/>
                    <a:pt x="250" y="157"/>
                    <a:pt x="254" y="174"/>
                  </a:cubicBezTo>
                  <a:cubicBezTo>
                    <a:pt x="253" y="174"/>
                    <a:pt x="251" y="174"/>
                    <a:pt x="250" y="174"/>
                  </a:cubicBezTo>
                  <a:cubicBezTo>
                    <a:pt x="209" y="173"/>
                    <a:pt x="178" y="208"/>
                    <a:pt x="191" y="245"/>
                  </a:cubicBezTo>
                  <a:cubicBezTo>
                    <a:pt x="206" y="287"/>
                    <a:pt x="255" y="330"/>
                    <a:pt x="288" y="315"/>
                  </a:cubicBezTo>
                  <a:cubicBezTo>
                    <a:pt x="297" y="311"/>
                    <a:pt x="307" y="308"/>
                    <a:pt x="317" y="306"/>
                  </a:cubicBezTo>
                  <a:cubicBezTo>
                    <a:pt x="353" y="301"/>
                    <a:pt x="371" y="238"/>
                    <a:pt x="360" y="195"/>
                  </a:cubicBezTo>
                  <a:cubicBezTo>
                    <a:pt x="351" y="157"/>
                    <a:pt x="305" y="145"/>
                    <a:pt x="27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67" name="Group 166"/>
          <p:cNvGrpSpPr/>
          <p:nvPr/>
        </p:nvGrpSpPr>
        <p:grpSpPr>
          <a:xfrm>
            <a:off x="7669900" y="2334289"/>
            <a:ext cx="521896" cy="575939"/>
            <a:chOff x="7126288" y="1903413"/>
            <a:chExt cx="536575" cy="592138"/>
          </a:xfrm>
          <a:solidFill>
            <a:srgbClr val="5E6A71"/>
          </a:solidFill>
        </p:grpSpPr>
        <p:sp>
          <p:nvSpPr>
            <p:cNvPr id="168" name="Freeform 26"/>
            <p:cNvSpPr>
              <a:spLocks/>
            </p:cNvSpPr>
            <p:nvPr/>
          </p:nvSpPr>
          <p:spPr bwMode="auto">
            <a:xfrm>
              <a:off x="7294563" y="2179638"/>
              <a:ext cx="207963" cy="315913"/>
            </a:xfrm>
            <a:custGeom>
              <a:avLst/>
              <a:gdLst>
                <a:gd name="T0" fmla="*/ 0 w 483"/>
                <a:gd name="T1" fmla="*/ 120 h 737"/>
                <a:gd name="T2" fmla="*/ 157 w 483"/>
                <a:gd name="T3" fmla="*/ 146 h 737"/>
                <a:gd name="T4" fmla="*/ 210 w 483"/>
                <a:gd name="T5" fmla="*/ 345 h 737"/>
                <a:gd name="T6" fmla="*/ 11 w 483"/>
                <a:gd name="T7" fmla="*/ 730 h 737"/>
                <a:gd name="T8" fmla="*/ 448 w 483"/>
                <a:gd name="T9" fmla="*/ 737 h 737"/>
                <a:gd name="T10" fmla="*/ 292 w 483"/>
                <a:gd name="T11" fmla="*/ 577 h 737"/>
                <a:gd name="T12" fmla="*/ 293 w 483"/>
                <a:gd name="T13" fmla="*/ 260 h 737"/>
                <a:gd name="T14" fmla="*/ 483 w 483"/>
                <a:gd name="T15" fmla="*/ 96 h 737"/>
                <a:gd name="T16" fmla="*/ 457 w 483"/>
                <a:gd name="T17" fmla="*/ 68 h 737"/>
                <a:gd name="T18" fmla="*/ 266 w 483"/>
                <a:gd name="T19" fmla="*/ 197 h 737"/>
                <a:gd name="T20" fmla="*/ 323 w 483"/>
                <a:gd name="T21" fmla="*/ 50 h 737"/>
                <a:gd name="T22" fmla="*/ 279 w 483"/>
                <a:gd name="T23" fmla="*/ 37 h 737"/>
                <a:gd name="T24" fmla="*/ 218 w 483"/>
                <a:gd name="T25" fmla="*/ 137 h 737"/>
                <a:gd name="T26" fmla="*/ 146 w 483"/>
                <a:gd name="T27" fmla="*/ 0 h 737"/>
                <a:gd name="T28" fmla="*/ 115 w 483"/>
                <a:gd name="T29" fmla="*/ 19 h 737"/>
                <a:gd name="T30" fmla="*/ 161 w 483"/>
                <a:gd name="T31" fmla="*/ 107 h 737"/>
                <a:gd name="T32" fmla="*/ 19 w 483"/>
                <a:gd name="T33" fmla="*/ 90 h 737"/>
                <a:gd name="T34" fmla="*/ 0 w 483"/>
                <a:gd name="T35" fmla="*/ 12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737">
                  <a:moveTo>
                    <a:pt x="0" y="120"/>
                  </a:moveTo>
                  <a:cubicBezTo>
                    <a:pt x="0" y="120"/>
                    <a:pt x="129" y="127"/>
                    <a:pt x="157" y="146"/>
                  </a:cubicBezTo>
                  <a:cubicBezTo>
                    <a:pt x="185" y="164"/>
                    <a:pt x="223" y="179"/>
                    <a:pt x="210" y="345"/>
                  </a:cubicBezTo>
                  <a:cubicBezTo>
                    <a:pt x="198" y="510"/>
                    <a:pt x="253" y="667"/>
                    <a:pt x="11" y="730"/>
                  </a:cubicBezTo>
                  <a:cubicBezTo>
                    <a:pt x="448" y="737"/>
                    <a:pt x="448" y="737"/>
                    <a:pt x="448" y="737"/>
                  </a:cubicBezTo>
                  <a:cubicBezTo>
                    <a:pt x="448" y="737"/>
                    <a:pt x="315" y="713"/>
                    <a:pt x="292" y="577"/>
                  </a:cubicBezTo>
                  <a:cubicBezTo>
                    <a:pt x="268" y="440"/>
                    <a:pt x="255" y="328"/>
                    <a:pt x="293" y="260"/>
                  </a:cubicBezTo>
                  <a:cubicBezTo>
                    <a:pt x="332" y="192"/>
                    <a:pt x="402" y="127"/>
                    <a:pt x="483" y="96"/>
                  </a:cubicBezTo>
                  <a:cubicBezTo>
                    <a:pt x="457" y="68"/>
                    <a:pt x="457" y="68"/>
                    <a:pt x="457" y="68"/>
                  </a:cubicBezTo>
                  <a:cubicBezTo>
                    <a:pt x="457" y="68"/>
                    <a:pt x="349" y="112"/>
                    <a:pt x="266" y="197"/>
                  </a:cubicBezTo>
                  <a:cubicBezTo>
                    <a:pt x="251" y="208"/>
                    <a:pt x="253" y="101"/>
                    <a:pt x="323" y="50"/>
                  </a:cubicBezTo>
                  <a:cubicBezTo>
                    <a:pt x="279" y="37"/>
                    <a:pt x="279" y="37"/>
                    <a:pt x="279" y="37"/>
                  </a:cubicBezTo>
                  <a:cubicBezTo>
                    <a:pt x="279" y="37"/>
                    <a:pt x="242" y="132"/>
                    <a:pt x="218" y="137"/>
                  </a:cubicBezTo>
                  <a:cubicBezTo>
                    <a:pt x="194" y="142"/>
                    <a:pt x="146" y="0"/>
                    <a:pt x="146" y="0"/>
                  </a:cubicBezTo>
                  <a:cubicBezTo>
                    <a:pt x="115" y="19"/>
                    <a:pt x="115" y="19"/>
                    <a:pt x="115" y="19"/>
                  </a:cubicBezTo>
                  <a:cubicBezTo>
                    <a:pt x="115" y="19"/>
                    <a:pt x="153" y="96"/>
                    <a:pt x="161" y="107"/>
                  </a:cubicBezTo>
                  <a:cubicBezTo>
                    <a:pt x="168" y="118"/>
                    <a:pt x="94" y="96"/>
                    <a:pt x="19" y="90"/>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9" name="Freeform 27"/>
            <p:cNvSpPr>
              <a:spLocks/>
            </p:cNvSpPr>
            <p:nvPr/>
          </p:nvSpPr>
          <p:spPr bwMode="auto">
            <a:xfrm>
              <a:off x="7126288" y="1903413"/>
              <a:ext cx="536575" cy="338138"/>
            </a:xfrm>
            <a:custGeom>
              <a:avLst/>
              <a:gdLst>
                <a:gd name="T0" fmla="*/ 166 w 1246"/>
                <a:gd name="T1" fmla="*/ 713 h 785"/>
                <a:gd name="T2" fmla="*/ 266 w 1246"/>
                <a:gd name="T3" fmla="*/ 713 h 785"/>
                <a:gd name="T4" fmla="*/ 382 w 1246"/>
                <a:gd name="T5" fmla="*/ 777 h 785"/>
                <a:gd name="T6" fmla="*/ 548 w 1246"/>
                <a:gd name="T7" fmla="*/ 687 h 785"/>
                <a:gd name="T8" fmla="*/ 710 w 1246"/>
                <a:gd name="T9" fmla="*/ 713 h 785"/>
                <a:gd name="T10" fmla="*/ 911 w 1246"/>
                <a:gd name="T11" fmla="*/ 770 h 785"/>
                <a:gd name="T12" fmla="*/ 1032 w 1246"/>
                <a:gd name="T13" fmla="*/ 695 h 785"/>
                <a:gd name="T14" fmla="*/ 1200 w 1246"/>
                <a:gd name="T15" fmla="*/ 619 h 785"/>
                <a:gd name="T16" fmla="*/ 1189 w 1246"/>
                <a:gd name="T17" fmla="*/ 473 h 785"/>
                <a:gd name="T18" fmla="*/ 1149 w 1246"/>
                <a:gd name="T19" fmla="*/ 372 h 785"/>
                <a:gd name="T20" fmla="*/ 1130 w 1246"/>
                <a:gd name="T21" fmla="*/ 241 h 785"/>
                <a:gd name="T22" fmla="*/ 1038 w 1246"/>
                <a:gd name="T23" fmla="*/ 144 h 785"/>
                <a:gd name="T24" fmla="*/ 909 w 1246"/>
                <a:gd name="T25" fmla="*/ 63 h 785"/>
                <a:gd name="T26" fmla="*/ 719 w 1246"/>
                <a:gd name="T27" fmla="*/ 37 h 785"/>
                <a:gd name="T28" fmla="*/ 533 w 1246"/>
                <a:gd name="T29" fmla="*/ 33 h 785"/>
                <a:gd name="T30" fmla="*/ 397 w 1246"/>
                <a:gd name="T31" fmla="*/ 63 h 785"/>
                <a:gd name="T32" fmla="*/ 251 w 1246"/>
                <a:gd name="T33" fmla="*/ 125 h 785"/>
                <a:gd name="T34" fmla="*/ 131 w 1246"/>
                <a:gd name="T35" fmla="*/ 188 h 785"/>
                <a:gd name="T36" fmla="*/ 117 w 1246"/>
                <a:gd name="T37" fmla="*/ 273 h 785"/>
                <a:gd name="T38" fmla="*/ 47 w 1246"/>
                <a:gd name="T39" fmla="*/ 398 h 785"/>
                <a:gd name="T40" fmla="*/ 40 w 1246"/>
                <a:gd name="T41" fmla="*/ 549 h 785"/>
                <a:gd name="T42" fmla="*/ 130 w 1246"/>
                <a:gd name="T43" fmla="*/ 663 h 785"/>
                <a:gd name="T44" fmla="*/ 166 w 1246"/>
                <a:gd name="T45" fmla="*/ 713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6" h="785">
                  <a:moveTo>
                    <a:pt x="166" y="713"/>
                  </a:moveTo>
                  <a:cubicBezTo>
                    <a:pt x="207" y="750"/>
                    <a:pt x="246" y="720"/>
                    <a:pt x="266" y="713"/>
                  </a:cubicBezTo>
                  <a:cubicBezTo>
                    <a:pt x="286" y="706"/>
                    <a:pt x="327" y="785"/>
                    <a:pt x="382" y="777"/>
                  </a:cubicBezTo>
                  <a:cubicBezTo>
                    <a:pt x="437" y="770"/>
                    <a:pt x="504" y="693"/>
                    <a:pt x="548" y="687"/>
                  </a:cubicBezTo>
                  <a:cubicBezTo>
                    <a:pt x="592" y="682"/>
                    <a:pt x="627" y="726"/>
                    <a:pt x="710" y="713"/>
                  </a:cubicBezTo>
                  <a:cubicBezTo>
                    <a:pt x="793" y="700"/>
                    <a:pt x="815" y="772"/>
                    <a:pt x="911" y="770"/>
                  </a:cubicBezTo>
                  <a:cubicBezTo>
                    <a:pt x="1007" y="768"/>
                    <a:pt x="1009" y="702"/>
                    <a:pt x="1032" y="695"/>
                  </a:cubicBezTo>
                  <a:cubicBezTo>
                    <a:pt x="1056" y="687"/>
                    <a:pt x="1154" y="700"/>
                    <a:pt x="1200" y="619"/>
                  </a:cubicBezTo>
                  <a:cubicBezTo>
                    <a:pt x="1246" y="538"/>
                    <a:pt x="1180" y="525"/>
                    <a:pt x="1189" y="473"/>
                  </a:cubicBezTo>
                  <a:cubicBezTo>
                    <a:pt x="1198" y="422"/>
                    <a:pt x="1185" y="396"/>
                    <a:pt x="1149" y="372"/>
                  </a:cubicBezTo>
                  <a:cubicBezTo>
                    <a:pt x="1112" y="348"/>
                    <a:pt x="1156" y="308"/>
                    <a:pt x="1130" y="241"/>
                  </a:cubicBezTo>
                  <a:cubicBezTo>
                    <a:pt x="1104" y="175"/>
                    <a:pt x="1071" y="221"/>
                    <a:pt x="1038" y="144"/>
                  </a:cubicBezTo>
                  <a:cubicBezTo>
                    <a:pt x="1005" y="66"/>
                    <a:pt x="961" y="125"/>
                    <a:pt x="909" y="63"/>
                  </a:cubicBezTo>
                  <a:cubicBezTo>
                    <a:pt x="857" y="0"/>
                    <a:pt x="804" y="61"/>
                    <a:pt x="719" y="37"/>
                  </a:cubicBezTo>
                  <a:cubicBezTo>
                    <a:pt x="634" y="13"/>
                    <a:pt x="585" y="11"/>
                    <a:pt x="533" y="33"/>
                  </a:cubicBezTo>
                  <a:cubicBezTo>
                    <a:pt x="482" y="55"/>
                    <a:pt x="476" y="86"/>
                    <a:pt x="397" y="63"/>
                  </a:cubicBezTo>
                  <a:cubicBezTo>
                    <a:pt x="318" y="39"/>
                    <a:pt x="301" y="110"/>
                    <a:pt x="251" y="125"/>
                  </a:cubicBezTo>
                  <a:cubicBezTo>
                    <a:pt x="201" y="140"/>
                    <a:pt x="141" y="151"/>
                    <a:pt x="131" y="188"/>
                  </a:cubicBezTo>
                  <a:cubicBezTo>
                    <a:pt x="122" y="225"/>
                    <a:pt x="152" y="247"/>
                    <a:pt x="117" y="273"/>
                  </a:cubicBezTo>
                  <a:cubicBezTo>
                    <a:pt x="82" y="298"/>
                    <a:pt x="19" y="335"/>
                    <a:pt x="47" y="398"/>
                  </a:cubicBezTo>
                  <a:cubicBezTo>
                    <a:pt x="74" y="461"/>
                    <a:pt x="0" y="496"/>
                    <a:pt x="40" y="549"/>
                  </a:cubicBezTo>
                  <a:cubicBezTo>
                    <a:pt x="80" y="602"/>
                    <a:pt x="126" y="619"/>
                    <a:pt x="130" y="663"/>
                  </a:cubicBezTo>
                  <a:cubicBezTo>
                    <a:pt x="133" y="707"/>
                    <a:pt x="166" y="713"/>
                    <a:pt x="166"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0" name="Freeform 28"/>
            <p:cNvSpPr>
              <a:spLocks/>
            </p:cNvSpPr>
            <p:nvPr/>
          </p:nvSpPr>
          <p:spPr bwMode="auto">
            <a:xfrm>
              <a:off x="7126288" y="1925638"/>
              <a:ext cx="488950" cy="312738"/>
            </a:xfrm>
            <a:custGeom>
              <a:avLst/>
              <a:gdLst>
                <a:gd name="T0" fmla="*/ 1090 w 1136"/>
                <a:gd name="T1" fmla="*/ 619 h 726"/>
                <a:gd name="T2" fmla="*/ 1079 w 1136"/>
                <a:gd name="T3" fmla="*/ 473 h 726"/>
                <a:gd name="T4" fmla="*/ 1038 w 1136"/>
                <a:gd name="T5" fmla="*/ 372 h 726"/>
                <a:gd name="T6" fmla="*/ 1020 w 1136"/>
                <a:gd name="T7" fmla="*/ 241 h 726"/>
                <a:gd name="T8" fmla="*/ 927 w 1136"/>
                <a:gd name="T9" fmla="*/ 143 h 726"/>
                <a:gd name="T10" fmla="*/ 798 w 1136"/>
                <a:gd name="T11" fmla="*/ 62 h 726"/>
                <a:gd name="T12" fmla="*/ 609 w 1136"/>
                <a:gd name="T13" fmla="*/ 36 h 726"/>
                <a:gd name="T14" fmla="*/ 423 w 1136"/>
                <a:gd name="T15" fmla="*/ 33 h 726"/>
                <a:gd name="T16" fmla="*/ 286 w 1136"/>
                <a:gd name="T17" fmla="*/ 62 h 726"/>
                <a:gd name="T18" fmla="*/ 277 w 1136"/>
                <a:gd name="T19" fmla="*/ 60 h 726"/>
                <a:gd name="T20" fmla="*/ 251 w 1136"/>
                <a:gd name="T21" fmla="*/ 74 h 726"/>
                <a:gd name="T22" fmla="*/ 187 w 1136"/>
                <a:gd name="T23" fmla="*/ 93 h 726"/>
                <a:gd name="T24" fmla="*/ 141 w 1136"/>
                <a:gd name="T25" fmla="*/ 125 h 726"/>
                <a:gd name="T26" fmla="*/ 136 w 1136"/>
                <a:gd name="T27" fmla="*/ 126 h 726"/>
                <a:gd name="T28" fmla="*/ 131 w 1136"/>
                <a:gd name="T29" fmla="*/ 137 h 726"/>
                <a:gd name="T30" fmla="*/ 117 w 1136"/>
                <a:gd name="T31" fmla="*/ 222 h 726"/>
                <a:gd name="T32" fmla="*/ 47 w 1136"/>
                <a:gd name="T33" fmla="*/ 347 h 726"/>
                <a:gd name="T34" fmla="*/ 40 w 1136"/>
                <a:gd name="T35" fmla="*/ 498 h 726"/>
                <a:gd name="T36" fmla="*/ 130 w 1136"/>
                <a:gd name="T37" fmla="*/ 612 h 726"/>
                <a:gd name="T38" fmla="*/ 166 w 1136"/>
                <a:gd name="T39" fmla="*/ 662 h 726"/>
                <a:gd name="T40" fmla="*/ 266 w 1136"/>
                <a:gd name="T41" fmla="*/ 662 h 726"/>
                <a:gd name="T42" fmla="*/ 366 w 1136"/>
                <a:gd name="T43" fmla="*/ 726 h 726"/>
                <a:gd name="T44" fmla="*/ 437 w 1136"/>
                <a:gd name="T45" fmla="*/ 687 h 726"/>
                <a:gd name="T46" fmla="*/ 459 w 1136"/>
                <a:gd name="T47" fmla="*/ 688 h 726"/>
                <a:gd name="T48" fmla="*/ 548 w 1136"/>
                <a:gd name="T49" fmla="*/ 636 h 726"/>
                <a:gd name="T50" fmla="*/ 710 w 1136"/>
                <a:gd name="T51" fmla="*/ 662 h 726"/>
                <a:gd name="T52" fmla="*/ 900 w 1136"/>
                <a:gd name="T53" fmla="*/ 719 h 726"/>
                <a:gd name="T54" fmla="*/ 922 w 1136"/>
                <a:gd name="T55" fmla="*/ 694 h 726"/>
                <a:gd name="T56" fmla="*/ 998 w 1136"/>
                <a:gd name="T57" fmla="*/ 684 h 726"/>
                <a:gd name="T58" fmla="*/ 1032 w 1136"/>
                <a:gd name="T59" fmla="*/ 644 h 726"/>
                <a:gd name="T60" fmla="*/ 1075 w 1136"/>
                <a:gd name="T61" fmla="*/ 639 h 726"/>
                <a:gd name="T62" fmla="*/ 1090 w 1136"/>
                <a:gd name="T63" fmla="*/ 619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726">
                  <a:moveTo>
                    <a:pt x="1090" y="619"/>
                  </a:moveTo>
                  <a:cubicBezTo>
                    <a:pt x="1136" y="538"/>
                    <a:pt x="1069" y="525"/>
                    <a:pt x="1079" y="473"/>
                  </a:cubicBezTo>
                  <a:cubicBezTo>
                    <a:pt x="1088" y="422"/>
                    <a:pt x="1075" y="396"/>
                    <a:pt x="1038" y="372"/>
                  </a:cubicBezTo>
                  <a:cubicBezTo>
                    <a:pt x="1001" y="348"/>
                    <a:pt x="1045" y="307"/>
                    <a:pt x="1020" y="241"/>
                  </a:cubicBezTo>
                  <a:cubicBezTo>
                    <a:pt x="994" y="175"/>
                    <a:pt x="961" y="221"/>
                    <a:pt x="927" y="143"/>
                  </a:cubicBezTo>
                  <a:cubicBezTo>
                    <a:pt x="894" y="66"/>
                    <a:pt x="850" y="125"/>
                    <a:pt x="798" y="62"/>
                  </a:cubicBezTo>
                  <a:cubicBezTo>
                    <a:pt x="747" y="0"/>
                    <a:pt x="693" y="60"/>
                    <a:pt x="609" y="36"/>
                  </a:cubicBezTo>
                  <a:cubicBezTo>
                    <a:pt x="524" y="12"/>
                    <a:pt x="474" y="11"/>
                    <a:pt x="423" y="33"/>
                  </a:cubicBezTo>
                  <a:cubicBezTo>
                    <a:pt x="371" y="55"/>
                    <a:pt x="365" y="86"/>
                    <a:pt x="286" y="62"/>
                  </a:cubicBezTo>
                  <a:cubicBezTo>
                    <a:pt x="283" y="61"/>
                    <a:pt x="280" y="61"/>
                    <a:pt x="277" y="60"/>
                  </a:cubicBezTo>
                  <a:cubicBezTo>
                    <a:pt x="269" y="66"/>
                    <a:pt x="261" y="71"/>
                    <a:pt x="251" y="74"/>
                  </a:cubicBezTo>
                  <a:cubicBezTo>
                    <a:pt x="230" y="80"/>
                    <a:pt x="207" y="86"/>
                    <a:pt x="187" y="93"/>
                  </a:cubicBezTo>
                  <a:cubicBezTo>
                    <a:pt x="173" y="106"/>
                    <a:pt x="159" y="119"/>
                    <a:pt x="141" y="125"/>
                  </a:cubicBezTo>
                  <a:cubicBezTo>
                    <a:pt x="139" y="125"/>
                    <a:pt x="138" y="126"/>
                    <a:pt x="136" y="126"/>
                  </a:cubicBezTo>
                  <a:cubicBezTo>
                    <a:pt x="134" y="130"/>
                    <a:pt x="132" y="133"/>
                    <a:pt x="131" y="137"/>
                  </a:cubicBezTo>
                  <a:cubicBezTo>
                    <a:pt x="122" y="174"/>
                    <a:pt x="152" y="196"/>
                    <a:pt x="117" y="222"/>
                  </a:cubicBezTo>
                  <a:cubicBezTo>
                    <a:pt x="82" y="247"/>
                    <a:pt x="19" y="284"/>
                    <a:pt x="47" y="347"/>
                  </a:cubicBezTo>
                  <a:cubicBezTo>
                    <a:pt x="74" y="410"/>
                    <a:pt x="0" y="445"/>
                    <a:pt x="40" y="498"/>
                  </a:cubicBezTo>
                  <a:cubicBezTo>
                    <a:pt x="80" y="551"/>
                    <a:pt x="126" y="568"/>
                    <a:pt x="130" y="612"/>
                  </a:cubicBezTo>
                  <a:cubicBezTo>
                    <a:pt x="133" y="656"/>
                    <a:pt x="166" y="662"/>
                    <a:pt x="166" y="662"/>
                  </a:cubicBezTo>
                  <a:cubicBezTo>
                    <a:pt x="207" y="699"/>
                    <a:pt x="246" y="669"/>
                    <a:pt x="266" y="662"/>
                  </a:cubicBezTo>
                  <a:cubicBezTo>
                    <a:pt x="284" y="655"/>
                    <a:pt x="319" y="719"/>
                    <a:pt x="366" y="726"/>
                  </a:cubicBezTo>
                  <a:cubicBezTo>
                    <a:pt x="392" y="707"/>
                    <a:pt x="417" y="689"/>
                    <a:pt x="437" y="687"/>
                  </a:cubicBezTo>
                  <a:cubicBezTo>
                    <a:pt x="445" y="686"/>
                    <a:pt x="452" y="687"/>
                    <a:pt x="459" y="688"/>
                  </a:cubicBezTo>
                  <a:cubicBezTo>
                    <a:pt x="492" y="665"/>
                    <a:pt x="523" y="639"/>
                    <a:pt x="548" y="636"/>
                  </a:cubicBezTo>
                  <a:cubicBezTo>
                    <a:pt x="592" y="631"/>
                    <a:pt x="627" y="675"/>
                    <a:pt x="710" y="662"/>
                  </a:cubicBezTo>
                  <a:cubicBezTo>
                    <a:pt x="790" y="650"/>
                    <a:pt x="813" y="715"/>
                    <a:pt x="900" y="719"/>
                  </a:cubicBezTo>
                  <a:cubicBezTo>
                    <a:pt x="908" y="707"/>
                    <a:pt x="913" y="697"/>
                    <a:pt x="922" y="694"/>
                  </a:cubicBezTo>
                  <a:cubicBezTo>
                    <a:pt x="934" y="691"/>
                    <a:pt x="965" y="692"/>
                    <a:pt x="998" y="684"/>
                  </a:cubicBezTo>
                  <a:cubicBezTo>
                    <a:pt x="1014" y="666"/>
                    <a:pt x="1020" y="647"/>
                    <a:pt x="1032" y="644"/>
                  </a:cubicBezTo>
                  <a:cubicBezTo>
                    <a:pt x="1040" y="641"/>
                    <a:pt x="1056" y="641"/>
                    <a:pt x="1075" y="639"/>
                  </a:cubicBezTo>
                  <a:cubicBezTo>
                    <a:pt x="1080" y="633"/>
                    <a:pt x="1085" y="626"/>
                    <a:pt x="1090"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5" name="Group 174"/>
          <p:cNvGrpSpPr/>
          <p:nvPr/>
        </p:nvGrpSpPr>
        <p:grpSpPr>
          <a:xfrm>
            <a:off x="6635775" y="2362908"/>
            <a:ext cx="495962" cy="547320"/>
            <a:chOff x="7126288" y="1903413"/>
            <a:chExt cx="536575" cy="592138"/>
          </a:xfrm>
          <a:solidFill>
            <a:srgbClr val="5E6A71"/>
          </a:solidFill>
        </p:grpSpPr>
        <p:sp>
          <p:nvSpPr>
            <p:cNvPr id="176" name="Freeform 26"/>
            <p:cNvSpPr>
              <a:spLocks/>
            </p:cNvSpPr>
            <p:nvPr/>
          </p:nvSpPr>
          <p:spPr bwMode="auto">
            <a:xfrm>
              <a:off x="7294563" y="2179638"/>
              <a:ext cx="207963" cy="315913"/>
            </a:xfrm>
            <a:custGeom>
              <a:avLst/>
              <a:gdLst>
                <a:gd name="T0" fmla="*/ 0 w 483"/>
                <a:gd name="T1" fmla="*/ 120 h 737"/>
                <a:gd name="T2" fmla="*/ 157 w 483"/>
                <a:gd name="T3" fmla="*/ 146 h 737"/>
                <a:gd name="T4" fmla="*/ 210 w 483"/>
                <a:gd name="T5" fmla="*/ 345 h 737"/>
                <a:gd name="T6" fmla="*/ 11 w 483"/>
                <a:gd name="T7" fmla="*/ 730 h 737"/>
                <a:gd name="T8" fmla="*/ 448 w 483"/>
                <a:gd name="T9" fmla="*/ 737 h 737"/>
                <a:gd name="T10" fmla="*/ 292 w 483"/>
                <a:gd name="T11" fmla="*/ 577 h 737"/>
                <a:gd name="T12" fmla="*/ 293 w 483"/>
                <a:gd name="T13" fmla="*/ 260 h 737"/>
                <a:gd name="T14" fmla="*/ 483 w 483"/>
                <a:gd name="T15" fmla="*/ 96 h 737"/>
                <a:gd name="T16" fmla="*/ 457 w 483"/>
                <a:gd name="T17" fmla="*/ 68 h 737"/>
                <a:gd name="T18" fmla="*/ 266 w 483"/>
                <a:gd name="T19" fmla="*/ 197 h 737"/>
                <a:gd name="T20" fmla="*/ 323 w 483"/>
                <a:gd name="T21" fmla="*/ 50 h 737"/>
                <a:gd name="T22" fmla="*/ 279 w 483"/>
                <a:gd name="T23" fmla="*/ 37 h 737"/>
                <a:gd name="T24" fmla="*/ 218 w 483"/>
                <a:gd name="T25" fmla="*/ 137 h 737"/>
                <a:gd name="T26" fmla="*/ 146 w 483"/>
                <a:gd name="T27" fmla="*/ 0 h 737"/>
                <a:gd name="T28" fmla="*/ 115 w 483"/>
                <a:gd name="T29" fmla="*/ 19 h 737"/>
                <a:gd name="T30" fmla="*/ 161 w 483"/>
                <a:gd name="T31" fmla="*/ 107 h 737"/>
                <a:gd name="T32" fmla="*/ 19 w 483"/>
                <a:gd name="T33" fmla="*/ 90 h 737"/>
                <a:gd name="T34" fmla="*/ 0 w 483"/>
                <a:gd name="T35" fmla="*/ 12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737">
                  <a:moveTo>
                    <a:pt x="0" y="120"/>
                  </a:moveTo>
                  <a:cubicBezTo>
                    <a:pt x="0" y="120"/>
                    <a:pt x="129" y="127"/>
                    <a:pt x="157" y="146"/>
                  </a:cubicBezTo>
                  <a:cubicBezTo>
                    <a:pt x="185" y="164"/>
                    <a:pt x="223" y="179"/>
                    <a:pt x="210" y="345"/>
                  </a:cubicBezTo>
                  <a:cubicBezTo>
                    <a:pt x="198" y="510"/>
                    <a:pt x="253" y="667"/>
                    <a:pt x="11" y="730"/>
                  </a:cubicBezTo>
                  <a:cubicBezTo>
                    <a:pt x="448" y="737"/>
                    <a:pt x="448" y="737"/>
                    <a:pt x="448" y="737"/>
                  </a:cubicBezTo>
                  <a:cubicBezTo>
                    <a:pt x="448" y="737"/>
                    <a:pt x="315" y="713"/>
                    <a:pt x="292" y="577"/>
                  </a:cubicBezTo>
                  <a:cubicBezTo>
                    <a:pt x="268" y="440"/>
                    <a:pt x="255" y="328"/>
                    <a:pt x="293" y="260"/>
                  </a:cubicBezTo>
                  <a:cubicBezTo>
                    <a:pt x="332" y="192"/>
                    <a:pt x="402" y="127"/>
                    <a:pt x="483" y="96"/>
                  </a:cubicBezTo>
                  <a:cubicBezTo>
                    <a:pt x="457" y="68"/>
                    <a:pt x="457" y="68"/>
                    <a:pt x="457" y="68"/>
                  </a:cubicBezTo>
                  <a:cubicBezTo>
                    <a:pt x="457" y="68"/>
                    <a:pt x="349" y="112"/>
                    <a:pt x="266" y="197"/>
                  </a:cubicBezTo>
                  <a:cubicBezTo>
                    <a:pt x="251" y="208"/>
                    <a:pt x="253" y="101"/>
                    <a:pt x="323" y="50"/>
                  </a:cubicBezTo>
                  <a:cubicBezTo>
                    <a:pt x="279" y="37"/>
                    <a:pt x="279" y="37"/>
                    <a:pt x="279" y="37"/>
                  </a:cubicBezTo>
                  <a:cubicBezTo>
                    <a:pt x="279" y="37"/>
                    <a:pt x="242" y="132"/>
                    <a:pt x="218" y="137"/>
                  </a:cubicBezTo>
                  <a:cubicBezTo>
                    <a:pt x="194" y="142"/>
                    <a:pt x="146" y="0"/>
                    <a:pt x="146" y="0"/>
                  </a:cubicBezTo>
                  <a:cubicBezTo>
                    <a:pt x="115" y="19"/>
                    <a:pt x="115" y="19"/>
                    <a:pt x="115" y="19"/>
                  </a:cubicBezTo>
                  <a:cubicBezTo>
                    <a:pt x="115" y="19"/>
                    <a:pt x="153" y="96"/>
                    <a:pt x="161" y="107"/>
                  </a:cubicBezTo>
                  <a:cubicBezTo>
                    <a:pt x="168" y="118"/>
                    <a:pt x="94" y="96"/>
                    <a:pt x="19" y="90"/>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Freeform 27"/>
            <p:cNvSpPr>
              <a:spLocks/>
            </p:cNvSpPr>
            <p:nvPr/>
          </p:nvSpPr>
          <p:spPr bwMode="auto">
            <a:xfrm>
              <a:off x="7126288" y="1903413"/>
              <a:ext cx="536575" cy="338138"/>
            </a:xfrm>
            <a:custGeom>
              <a:avLst/>
              <a:gdLst>
                <a:gd name="T0" fmla="*/ 166 w 1246"/>
                <a:gd name="T1" fmla="*/ 713 h 785"/>
                <a:gd name="T2" fmla="*/ 266 w 1246"/>
                <a:gd name="T3" fmla="*/ 713 h 785"/>
                <a:gd name="T4" fmla="*/ 382 w 1246"/>
                <a:gd name="T5" fmla="*/ 777 h 785"/>
                <a:gd name="T6" fmla="*/ 548 w 1246"/>
                <a:gd name="T7" fmla="*/ 687 h 785"/>
                <a:gd name="T8" fmla="*/ 710 w 1246"/>
                <a:gd name="T9" fmla="*/ 713 h 785"/>
                <a:gd name="T10" fmla="*/ 911 w 1246"/>
                <a:gd name="T11" fmla="*/ 770 h 785"/>
                <a:gd name="T12" fmla="*/ 1032 w 1246"/>
                <a:gd name="T13" fmla="*/ 695 h 785"/>
                <a:gd name="T14" fmla="*/ 1200 w 1246"/>
                <a:gd name="T15" fmla="*/ 619 h 785"/>
                <a:gd name="T16" fmla="*/ 1189 w 1246"/>
                <a:gd name="T17" fmla="*/ 473 h 785"/>
                <a:gd name="T18" fmla="*/ 1149 w 1246"/>
                <a:gd name="T19" fmla="*/ 372 h 785"/>
                <a:gd name="T20" fmla="*/ 1130 w 1246"/>
                <a:gd name="T21" fmla="*/ 241 h 785"/>
                <a:gd name="T22" fmla="*/ 1038 w 1246"/>
                <a:gd name="T23" fmla="*/ 144 h 785"/>
                <a:gd name="T24" fmla="*/ 909 w 1246"/>
                <a:gd name="T25" fmla="*/ 63 h 785"/>
                <a:gd name="T26" fmla="*/ 719 w 1246"/>
                <a:gd name="T27" fmla="*/ 37 h 785"/>
                <a:gd name="T28" fmla="*/ 533 w 1246"/>
                <a:gd name="T29" fmla="*/ 33 h 785"/>
                <a:gd name="T30" fmla="*/ 397 w 1246"/>
                <a:gd name="T31" fmla="*/ 63 h 785"/>
                <a:gd name="T32" fmla="*/ 251 w 1246"/>
                <a:gd name="T33" fmla="*/ 125 h 785"/>
                <a:gd name="T34" fmla="*/ 131 w 1246"/>
                <a:gd name="T35" fmla="*/ 188 h 785"/>
                <a:gd name="T36" fmla="*/ 117 w 1246"/>
                <a:gd name="T37" fmla="*/ 273 h 785"/>
                <a:gd name="T38" fmla="*/ 47 w 1246"/>
                <a:gd name="T39" fmla="*/ 398 h 785"/>
                <a:gd name="T40" fmla="*/ 40 w 1246"/>
                <a:gd name="T41" fmla="*/ 549 h 785"/>
                <a:gd name="T42" fmla="*/ 130 w 1246"/>
                <a:gd name="T43" fmla="*/ 663 h 785"/>
                <a:gd name="T44" fmla="*/ 166 w 1246"/>
                <a:gd name="T45" fmla="*/ 713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6" h="785">
                  <a:moveTo>
                    <a:pt x="166" y="713"/>
                  </a:moveTo>
                  <a:cubicBezTo>
                    <a:pt x="207" y="750"/>
                    <a:pt x="246" y="720"/>
                    <a:pt x="266" y="713"/>
                  </a:cubicBezTo>
                  <a:cubicBezTo>
                    <a:pt x="286" y="706"/>
                    <a:pt x="327" y="785"/>
                    <a:pt x="382" y="777"/>
                  </a:cubicBezTo>
                  <a:cubicBezTo>
                    <a:pt x="437" y="770"/>
                    <a:pt x="504" y="693"/>
                    <a:pt x="548" y="687"/>
                  </a:cubicBezTo>
                  <a:cubicBezTo>
                    <a:pt x="592" y="682"/>
                    <a:pt x="627" y="726"/>
                    <a:pt x="710" y="713"/>
                  </a:cubicBezTo>
                  <a:cubicBezTo>
                    <a:pt x="793" y="700"/>
                    <a:pt x="815" y="772"/>
                    <a:pt x="911" y="770"/>
                  </a:cubicBezTo>
                  <a:cubicBezTo>
                    <a:pt x="1007" y="768"/>
                    <a:pt x="1009" y="702"/>
                    <a:pt x="1032" y="695"/>
                  </a:cubicBezTo>
                  <a:cubicBezTo>
                    <a:pt x="1056" y="687"/>
                    <a:pt x="1154" y="700"/>
                    <a:pt x="1200" y="619"/>
                  </a:cubicBezTo>
                  <a:cubicBezTo>
                    <a:pt x="1246" y="538"/>
                    <a:pt x="1180" y="525"/>
                    <a:pt x="1189" y="473"/>
                  </a:cubicBezTo>
                  <a:cubicBezTo>
                    <a:pt x="1198" y="422"/>
                    <a:pt x="1185" y="396"/>
                    <a:pt x="1149" y="372"/>
                  </a:cubicBezTo>
                  <a:cubicBezTo>
                    <a:pt x="1112" y="348"/>
                    <a:pt x="1156" y="308"/>
                    <a:pt x="1130" y="241"/>
                  </a:cubicBezTo>
                  <a:cubicBezTo>
                    <a:pt x="1104" y="175"/>
                    <a:pt x="1071" y="221"/>
                    <a:pt x="1038" y="144"/>
                  </a:cubicBezTo>
                  <a:cubicBezTo>
                    <a:pt x="1005" y="66"/>
                    <a:pt x="961" y="125"/>
                    <a:pt x="909" y="63"/>
                  </a:cubicBezTo>
                  <a:cubicBezTo>
                    <a:pt x="857" y="0"/>
                    <a:pt x="804" y="61"/>
                    <a:pt x="719" y="37"/>
                  </a:cubicBezTo>
                  <a:cubicBezTo>
                    <a:pt x="634" y="13"/>
                    <a:pt x="585" y="11"/>
                    <a:pt x="533" y="33"/>
                  </a:cubicBezTo>
                  <a:cubicBezTo>
                    <a:pt x="482" y="55"/>
                    <a:pt x="476" y="86"/>
                    <a:pt x="397" y="63"/>
                  </a:cubicBezTo>
                  <a:cubicBezTo>
                    <a:pt x="318" y="39"/>
                    <a:pt x="301" y="110"/>
                    <a:pt x="251" y="125"/>
                  </a:cubicBezTo>
                  <a:cubicBezTo>
                    <a:pt x="201" y="140"/>
                    <a:pt x="141" y="151"/>
                    <a:pt x="131" y="188"/>
                  </a:cubicBezTo>
                  <a:cubicBezTo>
                    <a:pt x="122" y="225"/>
                    <a:pt x="152" y="247"/>
                    <a:pt x="117" y="273"/>
                  </a:cubicBezTo>
                  <a:cubicBezTo>
                    <a:pt x="82" y="298"/>
                    <a:pt x="19" y="335"/>
                    <a:pt x="47" y="398"/>
                  </a:cubicBezTo>
                  <a:cubicBezTo>
                    <a:pt x="74" y="461"/>
                    <a:pt x="0" y="496"/>
                    <a:pt x="40" y="549"/>
                  </a:cubicBezTo>
                  <a:cubicBezTo>
                    <a:pt x="80" y="602"/>
                    <a:pt x="126" y="619"/>
                    <a:pt x="130" y="663"/>
                  </a:cubicBezTo>
                  <a:cubicBezTo>
                    <a:pt x="133" y="707"/>
                    <a:pt x="166" y="713"/>
                    <a:pt x="166"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Freeform 28"/>
            <p:cNvSpPr>
              <a:spLocks/>
            </p:cNvSpPr>
            <p:nvPr/>
          </p:nvSpPr>
          <p:spPr bwMode="auto">
            <a:xfrm>
              <a:off x="7126288" y="1925638"/>
              <a:ext cx="488950" cy="312738"/>
            </a:xfrm>
            <a:custGeom>
              <a:avLst/>
              <a:gdLst>
                <a:gd name="T0" fmla="*/ 1090 w 1136"/>
                <a:gd name="T1" fmla="*/ 619 h 726"/>
                <a:gd name="T2" fmla="*/ 1079 w 1136"/>
                <a:gd name="T3" fmla="*/ 473 h 726"/>
                <a:gd name="T4" fmla="*/ 1038 w 1136"/>
                <a:gd name="T5" fmla="*/ 372 h 726"/>
                <a:gd name="T6" fmla="*/ 1020 w 1136"/>
                <a:gd name="T7" fmla="*/ 241 h 726"/>
                <a:gd name="T8" fmla="*/ 927 w 1136"/>
                <a:gd name="T9" fmla="*/ 143 h 726"/>
                <a:gd name="T10" fmla="*/ 798 w 1136"/>
                <a:gd name="T11" fmla="*/ 62 h 726"/>
                <a:gd name="T12" fmla="*/ 609 w 1136"/>
                <a:gd name="T13" fmla="*/ 36 h 726"/>
                <a:gd name="T14" fmla="*/ 423 w 1136"/>
                <a:gd name="T15" fmla="*/ 33 h 726"/>
                <a:gd name="T16" fmla="*/ 286 w 1136"/>
                <a:gd name="T17" fmla="*/ 62 h 726"/>
                <a:gd name="T18" fmla="*/ 277 w 1136"/>
                <a:gd name="T19" fmla="*/ 60 h 726"/>
                <a:gd name="T20" fmla="*/ 251 w 1136"/>
                <a:gd name="T21" fmla="*/ 74 h 726"/>
                <a:gd name="T22" fmla="*/ 187 w 1136"/>
                <a:gd name="T23" fmla="*/ 93 h 726"/>
                <a:gd name="T24" fmla="*/ 141 w 1136"/>
                <a:gd name="T25" fmla="*/ 125 h 726"/>
                <a:gd name="T26" fmla="*/ 136 w 1136"/>
                <a:gd name="T27" fmla="*/ 126 h 726"/>
                <a:gd name="T28" fmla="*/ 131 w 1136"/>
                <a:gd name="T29" fmla="*/ 137 h 726"/>
                <a:gd name="T30" fmla="*/ 117 w 1136"/>
                <a:gd name="T31" fmla="*/ 222 h 726"/>
                <a:gd name="T32" fmla="*/ 47 w 1136"/>
                <a:gd name="T33" fmla="*/ 347 h 726"/>
                <a:gd name="T34" fmla="*/ 40 w 1136"/>
                <a:gd name="T35" fmla="*/ 498 h 726"/>
                <a:gd name="T36" fmla="*/ 130 w 1136"/>
                <a:gd name="T37" fmla="*/ 612 h 726"/>
                <a:gd name="T38" fmla="*/ 166 w 1136"/>
                <a:gd name="T39" fmla="*/ 662 h 726"/>
                <a:gd name="T40" fmla="*/ 266 w 1136"/>
                <a:gd name="T41" fmla="*/ 662 h 726"/>
                <a:gd name="T42" fmla="*/ 366 w 1136"/>
                <a:gd name="T43" fmla="*/ 726 h 726"/>
                <a:gd name="T44" fmla="*/ 437 w 1136"/>
                <a:gd name="T45" fmla="*/ 687 h 726"/>
                <a:gd name="T46" fmla="*/ 459 w 1136"/>
                <a:gd name="T47" fmla="*/ 688 h 726"/>
                <a:gd name="T48" fmla="*/ 548 w 1136"/>
                <a:gd name="T49" fmla="*/ 636 h 726"/>
                <a:gd name="T50" fmla="*/ 710 w 1136"/>
                <a:gd name="T51" fmla="*/ 662 h 726"/>
                <a:gd name="T52" fmla="*/ 900 w 1136"/>
                <a:gd name="T53" fmla="*/ 719 h 726"/>
                <a:gd name="T54" fmla="*/ 922 w 1136"/>
                <a:gd name="T55" fmla="*/ 694 h 726"/>
                <a:gd name="T56" fmla="*/ 998 w 1136"/>
                <a:gd name="T57" fmla="*/ 684 h 726"/>
                <a:gd name="T58" fmla="*/ 1032 w 1136"/>
                <a:gd name="T59" fmla="*/ 644 h 726"/>
                <a:gd name="T60" fmla="*/ 1075 w 1136"/>
                <a:gd name="T61" fmla="*/ 639 h 726"/>
                <a:gd name="T62" fmla="*/ 1090 w 1136"/>
                <a:gd name="T63" fmla="*/ 619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726">
                  <a:moveTo>
                    <a:pt x="1090" y="619"/>
                  </a:moveTo>
                  <a:cubicBezTo>
                    <a:pt x="1136" y="538"/>
                    <a:pt x="1069" y="525"/>
                    <a:pt x="1079" y="473"/>
                  </a:cubicBezTo>
                  <a:cubicBezTo>
                    <a:pt x="1088" y="422"/>
                    <a:pt x="1075" y="396"/>
                    <a:pt x="1038" y="372"/>
                  </a:cubicBezTo>
                  <a:cubicBezTo>
                    <a:pt x="1001" y="348"/>
                    <a:pt x="1045" y="307"/>
                    <a:pt x="1020" y="241"/>
                  </a:cubicBezTo>
                  <a:cubicBezTo>
                    <a:pt x="994" y="175"/>
                    <a:pt x="961" y="221"/>
                    <a:pt x="927" y="143"/>
                  </a:cubicBezTo>
                  <a:cubicBezTo>
                    <a:pt x="894" y="66"/>
                    <a:pt x="850" y="125"/>
                    <a:pt x="798" y="62"/>
                  </a:cubicBezTo>
                  <a:cubicBezTo>
                    <a:pt x="747" y="0"/>
                    <a:pt x="693" y="60"/>
                    <a:pt x="609" y="36"/>
                  </a:cubicBezTo>
                  <a:cubicBezTo>
                    <a:pt x="524" y="12"/>
                    <a:pt x="474" y="11"/>
                    <a:pt x="423" y="33"/>
                  </a:cubicBezTo>
                  <a:cubicBezTo>
                    <a:pt x="371" y="55"/>
                    <a:pt x="365" y="86"/>
                    <a:pt x="286" y="62"/>
                  </a:cubicBezTo>
                  <a:cubicBezTo>
                    <a:pt x="283" y="61"/>
                    <a:pt x="280" y="61"/>
                    <a:pt x="277" y="60"/>
                  </a:cubicBezTo>
                  <a:cubicBezTo>
                    <a:pt x="269" y="66"/>
                    <a:pt x="261" y="71"/>
                    <a:pt x="251" y="74"/>
                  </a:cubicBezTo>
                  <a:cubicBezTo>
                    <a:pt x="230" y="80"/>
                    <a:pt x="207" y="86"/>
                    <a:pt x="187" y="93"/>
                  </a:cubicBezTo>
                  <a:cubicBezTo>
                    <a:pt x="173" y="106"/>
                    <a:pt x="159" y="119"/>
                    <a:pt x="141" y="125"/>
                  </a:cubicBezTo>
                  <a:cubicBezTo>
                    <a:pt x="139" y="125"/>
                    <a:pt x="138" y="126"/>
                    <a:pt x="136" y="126"/>
                  </a:cubicBezTo>
                  <a:cubicBezTo>
                    <a:pt x="134" y="130"/>
                    <a:pt x="132" y="133"/>
                    <a:pt x="131" y="137"/>
                  </a:cubicBezTo>
                  <a:cubicBezTo>
                    <a:pt x="122" y="174"/>
                    <a:pt x="152" y="196"/>
                    <a:pt x="117" y="222"/>
                  </a:cubicBezTo>
                  <a:cubicBezTo>
                    <a:pt x="82" y="247"/>
                    <a:pt x="19" y="284"/>
                    <a:pt x="47" y="347"/>
                  </a:cubicBezTo>
                  <a:cubicBezTo>
                    <a:pt x="74" y="410"/>
                    <a:pt x="0" y="445"/>
                    <a:pt x="40" y="498"/>
                  </a:cubicBezTo>
                  <a:cubicBezTo>
                    <a:pt x="80" y="551"/>
                    <a:pt x="126" y="568"/>
                    <a:pt x="130" y="612"/>
                  </a:cubicBezTo>
                  <a:cubicBezTo>
                    <a:pt x="133" y="656"/>
                    <a:pt x="166" y="662"/>
                    <a:pt x="166" y="662"/>
                  </a:cubicBezTo>
                  <a:cubicBezTo>
                    <a:pt x="207" y="699"/>
                    <a:pt x="246" y="669"/>
                    <a:pt x="266" y="662"/>
                  </a:cubicBezTo>
                  <a:cubicBezTo>
                    <a:pt x="284" y="655"/>
                    <a:pt x="319" y="719"/>
                    <a:pt x="366" y="726"/>
                  </a:cubicBezTo>
                  <a:cubicBezTo>
                    <a:pt x="392" y="707"/>
                    <a:pt x="417" y="689"/>
                    <a:pt x="437" y="687"/>
                  </a:cubicBezTo>
                  <a:cubicBezTo>
                    <a:pt x="445" y="686"/>
                    <a:pt x="452" y="687"/>
                    <a:pt x="459" y="688"/>
                  </a:cubicBezTo>
                  <a:cubicBezTo>
                    <a:pt x="492" y="665"/>
                    <a:pt x="523" y="639"/>
                    <a:pt x="548" y="636"/>
                  </a:cubicBezTo>
                  <a:cubicBezTo>
                    <a:pt x="592" y="631"/>
                    <a:pt x="627" y="675"/>
                    <a:pt x="710" y="662"/>
                  </a:cubicBezTo>
                  <a:cubicBezTo>
                    <a:pt x="790" y="650"/>
                    <a:pt x="813" y="715"/>
                    <a:pt x="900" y="719"/>
                  </a:cubicBezTo>
                  <a:cubicBezTo>
                    <a:pt x="908" y="707"/>
                    <a:pt x="913" y="697"/>
                    <a:pt x="922" y="694"/>
                  </a:cubicBezTo>
                  <a:cubicBezTo>
                    <a:pt x="934" y="691"/>
                    <a:pt x="965" y="692"/>
                    <a:pt x="998" y="684"/>
                  </a:cubicBezTo>
                  <a:cubicBezTo>
                    <a:pt x="1014" y="666"/>
                    <a:pt x="1020" y="647"/>
                    <a:pt x="1032" y="644"/>
                  </a:cubicBezTo>
                  <a:cubicBezTo>
                    <a:pt x="1040" y="641"/>
                    <a:pt x="1056" y="641"/>
                    <a:pt x="1075" y="639"/>
                  </a:cubicBezTo>
                  <a:cubicBezTo>
                    <a:pt x="1080" y="633"/>
                    <a:pt x="1085" y="626"/>
                    <a:pt x="1090"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79" name="Group 178"/>
          <p:cNvGrpSpPr/>
          <p:nvPr/>
        </p:nvGrpSpPr>
        <p:grpSpPr>
          <a:xfrm>
            <a:off x="5601651" y="2362908"/>
            <a:ext cx="495962" cy="547320"/>
            <a:chOff x="7126288" y="1903413"/>
            <a:chExt cx="536575" cy="592138"/>
          </a:xfrm>
          <a:solidFill>
            <a:srgbClr val="5E6A71"/>
          </a:solidFill>
        </p:grpSpPr>
        <p:sp>
          <p:nvSpPr>
            <p:cNvPr id="180" name="Freeform 26"/>
            <p:cNvSpPr>
              <a:spLocks/>
            </p:cNvSpPr>
            <p:nvPr/>
          </p:nvSpPr>
          <p:spPr bwMode="auto">
            <a:xfrm>
              <a:off x="7294563" y="2179638"/>
              <a:ext cx="207963" cy="315913"/>
            </a:xfrm>
            <a:custGeom>
              <a:avLst/>
              <a:gdLst>
                <a:gd name="T0" fmla="*/ 0 w 483"/>
                <a:gd name="T1" fmla="*/ 120 h 737"/>
                <a:gd name="T2" fmla="*/ 157 w 483"/>
                <a:gd name="T3" fmla="*/ 146 h 737"/>
                <a:gd name="T4" fmla="*/ 210 w 483"/>
                <a:gd name="T5" fmla="*/ 345 h 737"/>
                <a:gd name="T6" fmla="*/ 11 w 483"/>
                <a:gd name="T7" fmla="*/ 730 h 737"/>
                <a:gd name="T8" fmla="*/ 448 w 483"/>
                <a:gd name="T9" fmla="*/ 737 h 737"/>
                <a:gd name="T10" fmla="*/ 292 w 483"/>
                <a:gd name="T11" fmla="*/ 577 h 737"/>
                <a:gd name="T12" fmla="*/ 293 w 483"/>
                <a:gd name="T13" fmla="*/ 260 h 737"/>
                <a:gd name="T14" fmla="*/ 483 w 483"/>
                <a:gd name="T15" fmla="*/ 96 h 737"/>
                <a:gd name="T16" fmla="*/ 457 w 483"/>
                <a:gd name="T17" fmla="*/ 68 h 737"/>
                <a:gd name="T18" fmla="*/ 266 w 483"/>
                <a:gd name="T19" fmla="*/ 197 h 737"/>
                <a:gd name="T20" fmla="*/ 323 w 483"/>
                <a:gd name="T21" fmla="*/ 50 h 737"/>
                <a:gd name="T22" fmla="*/ 279 w 483"/>
                <a:gd name="T23" fmla="*/ 37 h 737"/>
                <a:gd name="T24" fmla="*/ 218 w 483"/>
                <a:gd name="T25" fmla="*/ 137 h 737"/>
                <a:gd name="T26" fmla="*/ 146 w 483"/>
                <a:gd name="T27" fmla="*/ 0 h 737"/>
                <a:gd name="T28" fmla="*/ 115 w 483"/>
                <a:gd name="T29" fmla="*/ 19 h 737"/>
                <a:gd name="T30" fmla="*/ 161 w 483"/>
                <a:gd name="T31" fmla="*/ 107 h 737"/>
                <a:gd name="T32" fmla="*/ 19 w 483"/>
                <a:gd name="T33" fmla="*/ 90 h 737"/>
                <a:gd name="T34" fmla="*/ 0 w 483"/>
                <a:gd name="T35" fmla="*/ 12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737">
                  <a:moveTo>
                    <a:pt x="0" y="120"/>
                  </a:moveTo>
                  <a:cubicBezTo>
                    <a:pt x="0" y="120"/>
                    <a:pt x="129" y="127"/>
                    <a:pt x="157" y="146"/>
                  </a:cubicBezTo>
                  <a:cubicBezTo>
                    <a:pt x="185" y="164"/>
                    <a:pt x="223" y="179"/>
                    <a:pt x="210" y="345"/>
                  </a:cubicBezTo>
                  <a:cubicBezTo>
                    <a:pt x="198" y="510"/>
                    <a:pt x="253" y="667"/>
                    <a:pt x="11" y="730"/>
                  </a:cubicBezTo>
                  <a:cubicBezTo>
                    <a:pt x="448" y="737"/>
                    <a:pt x="448" y="737"/>
                    <a:pt x="448" y="737"/>
                  </a:cubicBezTo>
                  <a:cubicBezTo>
                    <a:pt x="448" y="737"/>
                    <a:pt x="315" y="713"/>
                    <a:pt x="292" y="577"/>
                  </a:cubicBezTo>
                  <a:cubicBezTo>
                    <a:pt x="268" y="440"/>
                    <a:pt x="255" y="328"/>
                    <a:pt x="293" y="260"/>
                  </a:cubicBezTo>
                  <a:cubicBezTo>
                    <a:pt x="332" y="192"/>
                    <a:pt x="402" y="127"/>
                    <a:pt x="483" y="96"/>
                  </a:cubicBezTo>
                  <a:cubicBezTo>
                    <a:pt x="457" y="68"/>
                    <a:pt x="457" y="68"/>
                    <a:pt x="457" y="68"/>
                  </a:cubicBezTo>
                  <a:cubicBezTo>
                    <a:pt x="457" y="68"/>
                    <a:pt x="349" y="112"/>
                    <a:pt x="266" y="197"/>
                  </a:cubicBezTo>
                  <a:cubicBezTo>
                    <a:pt x="251" y="208"/>
                    <a:pt x="253" y="101"/>
                    <a:pt x="323" y="50"/>
                  </a:cubicBezTo>
                  <a:cubicBezTo>
                    <a:pt x="279" y="37"/>
                    <a:pt x="279" y="37"/>
                    <a:pt x="279" y="37"/>
                  </a:cubicBezTo>
                  <a:cubicBezTo>
                    <a:pt x="279" y="37"/>
                    <a:pt x="242" y="132"/>
                    <a:pt x="218" y="137"/>
                  </a:cubicBezTo>
                  <a:cubicBezTo>
                    <a:pt x="194" y="142"/>
                    <a:pt x="146" y="0"/>
                    <a:pt x="146" y="0"/>
                  </a:cubicBezTo>
                  <a:cubicBezTo>
                    <a:pt x="115" y="19"/>
                    <a:pt x="115" y="19"/>
                    <a:pt x="115" y="19"/>
                  </a:cubicBezTo>
                  <a:cubicBezTo>
                    <a:pt x="115" y="19"/>
                    <a:pt x="153" y="96"/>
                    <a:pt x="161" y="107"/>
                  </a:cubicBezTo>
                  <a:cubicBezTo>
                    <a:pt x="168" y="118"/>
                    <a:pt x="94" y="96"/>
                    <a:pt x="19" y="90"/>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Freeform 27"/>
            <p:cNvSpPr>
              <a:spLocks/>
            </p:cNvSpPr>
            <p:nvPr/>
          </p:nvSpPr>
          <p:spPr bwMode="auto">
            <a:xfrm>
              <a:off x="7126288" y="1903413"/>
              <a:ext cx="536575" cy="338138"/>
            </a:xfrm>
            <a:custGeom>
              <a:avLst/>
              <a:gdLst>
                <a:gd name="T0" fmla="*/ 166 w 1246"/>
                <a:gd name="T1" fmla="*/ 713 h 785"/>
                <a:gd name="T2" fmla="*/ 266 w 1246"/>
                <a:gd name="T3" fmla="*/ 713 h 785"/>
                <a:gd name="T4" fmla="*/ 382 w 1246"/>
                <a:gd name="T5" fmla="*/ 777 h 785"/>
                <a:gd name="T6" fmla="*/ 548 w 1246"/>
                <a:gd name="T7" fmla="*/ 687 h 785"/>
                <a:gd name="T8" fmla="*/ 710 w 1246"/>
                <a:gd name="T9" fmla="*/ 713 h 785"/>
                <a:gd name="T10" fmla="*/ 911 w 1246"/>
                <a:gd name="T11" fmla="*/ 770 h 785"/>
                <a:gd name="T12" fmla="*/ 1032 w 1246"/>
                <a:gd name="T13" fmla="*/ 695 h 785"/>
                <a:gd name="T14" fmla="*/ 1200 w 1246"/>
                <a:gd name="T15" fmla="*/ 619 h 785"/>
                <a:gd name="T16" fmla="*/ 1189 w 1246"/>
                <a:gd name="T17" fmla="*/ 473 h 785"/>
                <a:gd name="T18" fmla="*/ 1149 w 1246"/>
                <a:gd name="T19" fmla="*/ 372 h 785"/>
                <a:gd name="T20" fmla="*/ 1130 w 1246"/>
                <a:gd name="T21" fmla="*/ 241 h 785"/>
                <a:gd name="T22" fmla="*/ 1038 w 1246"/>
                <a:gd name="T23" fmla="*/ 144 h 785"/>
                <a:gd name="T24" fmla="*/ 909 w 1246"/>
                <a:gd name="T25" fmla="*/ 63 h 785"/>
                <a:gd name="T26" fmla="*/ 719 w 1246"/>
                <a:gd name="T27" fmla="*/ 37 h 785"/>
                <a:gd name="T28" fmla="*/ 533 w 1246"/>
                <a:gd name="T29" fmla="*/ 33 h 785"/>
                <a:gd name="T30" fmla="*/ 397 w 1246"/>
                <a:gd name="T31" fmla="*/ 63 h 785"/>
                <a:gd name="T32" fmla="*/ 251 w 1246"/>
                <a:gd name="T33" fmla="*/ 125 h 785"/>
                <a:gd name="T34" fmla="*/ 131 w 1246"/>
                <a:gd name="T35" fmla="*/ 188 h 785"/>
                <a:gd name="T36" fmla="*/ 117 w 1246"/>
                <a:gd name="T37" fmla="*/ 273 h 785"/>
                <a:gd name="T38" fmla="*/ 47 w 1246"/>
                <a:gd name="T39" fmla="*/ 398 h 785"/>
                <a:gd name="T40" fmla="*/ 40 w 1246"/>
                <a:gd name="T41" fmla="*/ 549 h 785"/>
                <a:gd name="T42" fmla="*/ 130 w 1246"/>
                <a:gd name="T43" fmla="*/ 663 h 785"/>
                <a:gd name="T44" fmla="*/ 166 w 1246"/>
                <a:gd name="T45" fmla="*/ 713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6" h="785">
                  <a:moveTo>
                    <a:pt x="166" y="713"/>
                  </a:moveTo>
                  <a:cubicBezTo>
                    <a:pt x="207" y="750"/>
                    <a:pt x="246" y="720"/>
                    <a:pt x="266" y="713"/>
                  </a:cubicBezTo>
                  <a:cubicBezTo>
                    <a:pt x="286" y="706"/>
                    <a:pt x="327" y="785"/>
                    <a:pt x="382" y="777"/>
                  </a:cubicBezTo>
                  <a:cubicBezTo>
                    <a:pt x="437" y="770"/>
                    <a:pt x="504" y="693"/>
                    <a:pt x="548" y="687"/>
                  </a:cubicBezTo>
                  <a:cubicBezTo>
                    <a:pt x="592" y="682"/>
                    <a:pt x="627" y="726"/>
                    <a:pt x="710" y="713"/>
                  </a:cubicBezTo>
                  <a:cubicBezTo>
                    <a:pt x="793" y="700"/>
                    <a:pt x="815" y="772"/>
                    <a:pt x="911" y="770"/>
                  </a:cubicBezTo>
                  <a:cubicBezTo>
                    <a:pt x="1007" y="768"/>
                    <a:pt x="1009" y="702"/>
                    <a:pt x="1032" y="695"/>
                  </a:cubicBezTo>
                  <a:cubicBezTo>
                    <a:pt x="1056" y="687"/>
                    <a:pt x="1154" y="700"/>
                    <a:pt x="1200" y="619"/>
                  </a:cubicBezTo>
                  <a:cubicBezTo>
                    <a:pt x="1246" y="538"/>
                    <a:pt x="1180" y="525"/>
                    <a:pt x="1189" y="473"/>
                  </a:cubicBezTo>
                  <a:cubicBezTo>
                    <a:pt x="1198" y="422"/>
                    <a:pt x="1185" y="396"/>
                    <a:pt x="1149" y="372"/>
                  </a:cubicBezTo>
                  <a:cubicBezTo>
                    <a:pt x="1112" y="348"/>
                    <a:pt x="1156" y="308"/>
                    <a:pt x="1130" y="241"/>
                  </a:cubicBezTo>
                  <a:cubicBezTo>
                    <a:pt x="1104" y="175"/>
                    <a:pt x="1071" y="221"/>
                    <a:pt x="1038" y="144"/>
                  </a:cubicBezTo>
                  <a:cubicBezTo>
                    <a:pt x="1005" y="66"/>
                    <a:pt x="961" y="125"/>
                    <a:pt x="909" y="63"/>
                  </a:cubicBezTo>
                  <a:cubicBezTo>
                    <a:pt x="857" y="0"/>
                    <a:pt x="804" y="61"/>
                    <a:pt x="719" y="37"/>
                  </a:cubicBezTo>
                  <a:cubicBezTo>
                    <a:pt x="634" y="13"/>
                    <a:pt x="585" y="11"/>
                    <a:pt x="533" y="33"/>
                  </a:cubicBezTo>
                  <a:cubicBezTo>
                    <a:pt x="482" y="55"/>
                    <a:pt x="476" y="86"/>
                    <a:pt x="397" y="63"/>
                  </a:cubicBezTo>
                  <a:cubicBezTo>
                    <a:pt x="318" y="39"/>
                    <a:pt x="301" y="110"/>
                    <a:pt x="251" y="125"/>
                  </a:cubicBezTo>
                  <a:cubicBezTo>
                    <a:pt x="201" y="140"/>
                    <a:pt x="141" y="151"/>
                    <a:pt x="131" y="188"/>
                  </a:cubicBezTo>
                  <a:cubicBezTo>
                    <a:pt x="122" y="225"/>
                    <a:pt x="152" y="247"/>
                    <a:pt x="117" y="273"/>
                  </a:cubicBezTo>
                  <a:cubicBezTo>
                    <a:pt x="82" y="298"/>
                    <a:pt x="19" y="335"/>
                    <a:pt x="47" y="398"/>
                  </a:cubicBezTo>
                  <a:cubicBezTo>
                    <a:pt x="74" y="461"/>
                    <a:pt x="0" y="496"/>
                    <a:pt x="40" y="549"/>
                  </a:cubicBezTo>
                  <a:cubicBezTo>
                    <a:pt x="80" y="602"/>
                    <a:pt x="126" y="619"/>
                    <a:pt x="130" y="663"/>
                  </a:cubicBezTo>
                  <a:cubicBezTo>
                    <a:pt x="133" y="707"/>
                    <a:pt x="166" y="713"/>
                    <a:pt x="166"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Freeform 28"/>
            <p:cNvSpPr>
              <a:spLocks/>
            </p:cNvSpPr>
            <p:nvPr/>
          </p:nvSpPr>
          <p:spPr bwMode="auto">
            <a:xfrm>
              <a:off x="7126288" y="1925638"/>
              <a:ext cx="488950" cy="312738"/>
            </a:xfrm>
            <a:custGeom>
              <a:avLst/>
              <a:gdLst>
                <a:gd name="T0" fmla="*/ 1090 w 1136"/>
                <a:gd name="T1" fmla="*/ 619 h 726"/>
                <a:gd name="T2" fmla="*/ 1079 w 1136"/>
                <a:gd name="T3" fmla="*/ 473 h 726"/>
                <a:gd name="T4" fmla="*/ 1038 w 1136"/>
                <a:gd name="T5" fmla="*/ 372 h 726"/>
                <a:gd name="T6" fmla="*/ 1020 w 1136"/>
                <a:gd name="T7" fmla="*/ 241 h 726"/>
                <a:gd name="T8" fmla="*/ 927 w 1136"/>
                <a:gd name="T9" fmla="*/ 143 h 726"/>
                <a:gd name="T10" fmla="*/ 798 w 1136"/>
                <a:gd name="T11" fmla="*/ 62 h 726"/>
                <a:gd name="T12" fmla="*/ 609 w 1136"/>
                <a:gd name="T13" fmla="*/ 36 h 726"/>
                <a:gd name="T14" fmla="*/ 423 w 1136"/>
                <a:gd name="T15" fmla="*/ 33 h 726"/>
                <a:gd name="T16" fmla="*/ 286 w 1136"/>
                <a:gd name="T17" fmla="*/ 62 h 726"/>
                <a:gd name="T18" fmla="*/ 277 w 1136"/>
                <a:gd name="T19" fmla="*/ 60 h 726"/>
                <a:gd name="T20" fmla="*/ 251 w 1136"/>
                <a:gd name="T21" fmla="*/ 74 h 726"/>
                <a:gd name="T22" fmla="*/ 187 w 1136"/>
                <a:gd name="T23" fmla="*/ 93 h 726"/>
                <a:gd name="T24" fmla="*/ 141 w 1136"/>
                <a:gd name="T25" fmla="*/ 125 h 726"/>
                <a:gd name="T26" fmla="*/ 136 w 1136"/>
                <a:gd name="T27" fmla="*/ 126 h 726"/>
                <a:gd name="T28" fmla="*/ 131 w 1136"/>
                <a:gd name="T29" fmla="*/ 137 h 726"/>
                <a:gd name="T30" fmla="*/ 117 w 1136"/>
                <a:gd name="T31" fmla="*/ 222 h 726"/>
                <a:gd name="T32" fmla="*/ 47 w 1136"/>
                <a:gd name="T33" fmla="*/ 347 h 726"/>
                <a:gd name="T34" fmla="*/ 40 w 1136"/>
                <a:gd name="T35" fmla="*/ 498 h 726"/>
                <a:gd name="T36" fmla="*/ 130 w 1136"/>
                <a:gd name="T37" fmla="*/ 612 h 726"/>
                <a:gd name="T38" fmla="*/ 166 w 1136"/>
                <a:gd name="T39" fmla="*/ 662 h 726"/>
                <a:gd name="T40" fmla="*/ 266 w 1136"/>
                <a:gd name="T41" fmla="*/ 662 h 726"/>
                <a:gd name="T42" fmla="*/ 366 w 1136"/>
                <a:gd name="T43" fmla="*/ 726 h 726"/>
                <a:gd name="T44" fmla="*/ 437 w 1136"/>
                <a:gd name="T45" fmla="*/ 687 h 726"/>
                <a:gd name="T46" fmla="*/ 459 w 1136"/>
                <a:gd name="T47" fmla="*/ 688 h 726"/>
                <a:gd name="T48" fmla="*/ 548 w 1136"/>
                <a:gd name="T49" fmla="*/ 636 h 726"/>
                <a:gd name="T50" fmla="*/ 710 w 1136"/>
                <a:gd name="T51" fmla="*/ 662 h 726"/>
                <a:gd name="T52" fmla="*/ 900 w 1136"/>
                <a:gd name="T53" fmla="*/ 719 h 726"/>
                <a:gd name="T54" fmla="*/ 922 w 1136"/>
                <a:gd name="T55" fmla="*/ 694 h 726"/>
                <a:gd name="T56" fmla="*/ 998 w 1136"/>
                <a:gd name="T57" fmla="*/ 684 h 726"/>
                <a:gd name="T58" fmla="*/ 1032 w 1136"/>
                <a:gd name="T59" fmla="*/ 644 h 726"/>
                <a:gd name="T60" fmla="*/ 1075 w 1136"/>
                <a:gd name="T61" fmla="*/ 639 h 726"/>
                <a:gd name="T62" fmla="*/ 1090 w 1136"/>
                <a:gd name="T63" fmla="*/ 619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726">
                  <a:moveTo>
                    <a:pt x="1090" y="619"/>
                  </a:moveTo>
                  <a:cubicBezTo>
                    <a:pt x="1136" y="538"/>
                    <a:pt x="1069" y="525"/>
                    <a:pt x="1079" y="473"/>
                  </a:cubicBezTo>
                  <a:cubicBezTo>
                    <a:pt x="1088" y="422"/>
                    <a:pt x="1075" y="396"/>
                    <a:pt x="1038" y="372"/>
                  </a:cubicBezTo>
                  <a:cubicBezTo>
                    <a:pt x="1001" y="348"/>
                    <a:pt x="1045" y="307"/>
                    <a:pt x="1020" y="241"/>
                  </a:cubicBezTo>
                  <a:cubicBezTo>
                    <a:pt x="994" y="175"/>
                    <a:pt x="961" y="221"/>
                    <a:pt x="927" y="143"/>
                  </a:cubicBezTo>
                  <a:cubicBezTo>
                    <a:pt x="894" y="66"/>
                    <a:pt x="850" y="125"/>
                    <a:pt x="798" y="62"/>
                  </a:cubicBezTo>
                  <a:cubicBezTo>
                    <a:pt x="747" y="0"/>
                    <a:pt x="693" y="60"/>
                    <a:pt x="609" y="36"/>
                  </a:cubicBezTo>
                  <a:cubicBezTo>
                    <a:pt x="524" y="12"/>
                    <a:pt x="474" y="11"/>
                    <a:pt x="423" y="33"/>
                  </a:cubicBezTo>
                  <a:cubicBezTo>
                    <a:pt x="371" y="55"/>
                    <a:pt x="365" y="86"/>
                    <a:pt x="286" y="62"/>
                  </a:cubicBezTo>
                  <a:cubicBezTo>
                    <a:pt x="283" y="61"/>
                    <a:pt x="280" y="61"/>
                    <a:pt x="277" y="60"/>
                  </a:cubicBezTo>
                  <a:cubicBezTo>
                    <a:pt x="269" y="66"/>
                    <a:pt x="261" y="71"/>
                    <a:pt x="251" y="74"/>
                  </a:cubicBezTo>
                  <a:cubicBezTo>
                    <a:pt x="230" y="80"/>
                    <a:pt x="207" y="86"/>
                    <a:pt x="187" y="93"/>
                  </a:cubicBezTo>
                  <a:cubicBezTo>
                    <a:pt x="173" y="106"/>
                    <a:pt x="159" y="119"/>
                    <a:pt x="141" y="125"/>
                  </a:cubicBezTo>
                  <a:cubicBezTo>
                    <a:pt x="139" y="125"/>
                    <a:pt x="138" y="126"/>
                    <a:pt x="136" y="126"/>
                  </a:cubicBezTo>
                  <a:cubicBezTo>
                    <a:pt x="134" y="130"/>
                    <a:pt x="132" y="133"/>
                    <a:pt x="131" y="137"/>
                  </a:cubicBezTo>
                  <a:cubicBezTo>
                    <a:pt x="122" y="174"/>
                    <a:pt x="152" y="196"/>
                    <a:pt x="117" y="222"/>
                  </a:cubicBezTo>
                  <a:cubicBezTo>
                    <a:pt x="82" y="247"/>
                    <a:pt x="19" y="284"/>
                    <a:pt x="47" y="347"/>
                  </a:cubicBezTo>
                  <a:cubicBezTo>
                    <a:pt x="74" y="410"/>
                    <a:pt x="0" y="445"/>
                    <a:pt x="40" y="498"/>
                  </a:cubicBezTo>
                  <a:cubicBezTo>
                    <a:pt x="80" y="551"/>
                    <a:pt x="126" y="568"/>
                    <a:pt x="130" y="612"/>
                  </a:cubicBezTo>
                  <a:cubicBezTo>
                    <a:pt x="133" y="656"/>
                    <a:pt x="166" y="662"/>
                    <a:pt x="166" y="662"/>
                  </a:cubicBezTo>
                  <a:cubicBezTo>
                    <a:pt x="207" y="699"/>
                    <a:pt x="246" y="669"/>
                    <a:pt x="266" y="662"/>
                  </a:cubicBezTo>
                  <a:cubicBezTo>
                    <a:pt x="284" y="655"/>
                    <a:pt x="319" y="719"/>
                    <a:pt x="366" y="726"/>
                  </a:cubicBezTo>
                  <a:cubicBezTo>
                    <a:pt x="392" y="707"/>
                    <a:pt x="417" y="689"/>
                    <a:pt x="437" y="687"/>
                  </a:cubicBezTo>
                  <a:cubicBezTo>
                    <a:pt x="445" y="686"/>
                    <a:pt x="452" y="687"/>
                    <a:pt x="459" y="688"/>
                  </a:cubicBezTo>
                  <a:cubicBezTo>
                    <a:pt x="492" y="665"/>
                    <a:pt x="523" y="639"/>
                    <a:pt x="548" y="636"/>
                  </a:cubicBezTo>
                  <a:cubicBezTo>
                    <a:pt x="592" y="631"/>
                    <a:pt x="627" y="675"/>
                    <a:pt x="710" y="662"/>
                  </a:cubicBezTo>
                  <a:cubicBezTo>
                    <a:pt x="790" y="650"/>
                    <a:pt x="813" y="715"/>
                    <a:pt x="900" y="719"/>
                  </a:cubicBezTo>
                  <a:cubicBezTo>
                    <a:pt x="908" y="707"/>
                    <a:pt x="913" y="697"/>
                    <a:pt x="922" y="694"/>
                  </a:cubicBezTo>
                  <a:cubicBezTo>
                    <a:pt x="934" y="691"/>
                    <a:pt x="965" y="692"/>
                    <a:pt x="998" y="684"/>
                  </a:cubicBezTo>
                  <a:cubicBezTo>
                    <a:pt x="1014" y="666"/>
                    <a:pt x="1020" y="647"/>
                    <a:pt x="1032" y="644"/>
                  </a:cubicBezTo>
                  <a:cubicBezTo>
                    <a:pt x="1040" y="641"/>
                    <a:pt x="1056" y="641"/>
                    <a:pt x="1075" y="639"/>
                  </a:cubicBezTo>
                  <a:cubicBezTo>
                    <a:pt x="1080" y="633"/>
                    <a:pt x="1085" y="626"/>
                    <a:pt x="1090"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3" name="Group 182"/>
          <p:cNvGrpSpPr/>
          <p:nvPr/>
        </p:nvGrpSpPr>
        <p:grpSpPr>
          <a:xfrm>
            <a:off x="4601706" y="2400626"/>
            <a:ext cx="461783" cy="509602"/>
            <a:chOff x="7126288" y="1903413"/>
            <a:chExt cx="536575" cy="592138"/>
          </a:xfrm>
          <a:solidFill>
            <a:srgbClr val="5E6A71"/>
          </a:solidFill>
        </p:grpSpPr>
        <p:sp>
          <p:nvSpPr>
            <p:cNvPr id="184" name="Freeform 26"/>
            <p:cNvSpPr>
              <a:spLocks/>
            </p:cNvSpPr>
            <p:nvPr/>
          </p:nvSpPr>
          <p:spPr bwMode="auto">
            <a:xfrm>
              <a:off x="7294563" y="2179638"/>
              <a:ext cx="207963" cy="315913"/>
            </a:xfrm>
            <a:custGeom>
              <a:avLst/>
              <a:gdLst>
                <a:gd name="T0" fmla="*/ 0 w 483"/>
                <a:gd name="T1" fmla="*/ 120 h 737"/>
                <a:gd name="T2" fmla="*/ 157 w 483"/>
                <a:gd name="T3" fmla="*/ 146 h 737"/>
                <a:gd name="T4" fmla="*/ 210 w 483"/>
                <a:gd name="T5" fmla="*/ 345 h 737"/>
                <a:gd name="T6" fmla="*/ 11 w 483"/>
                <a:gd name="T7" fmla="*/ 730 h 737"/>
                <a:gd name="T8" fmla="*/ 448 w 483"/>
                <a:gd name="T9" fmla="*/ 737 h 737"/>
                <a:gd name="T10" fmla="*/ 292 w 483"/>
                <a:gd name="T11" fmla="*/ 577 h 737"/>
                <a:gd name="T12" fmla="*/ 293 w 483"/>
                <a:gd name="T13" fmla="*/ 260 h 737"/>
                <a:gd name="T14" fmla="*/ 483 w 483"/>
                <a:gd name="T15" fmla="*/ 96 h 737"/>
                <a:gd name="T16" fmla="*/ 457 w 483"/>
                <a:gd name="T17" fmla="*/ 68 h 737"/>
                <a:gd name="T18" fmla="*/ 266 w 483"/>
                <a:gd name="T19" fmla="*/ 197 h 737"/>
                <a:gd name="T20" fmla="*/ 323 w 483"/>
                <a:gd name="T21" fmla="*/ 50 h 737"/>
                <a:gd name="T22" fmla="*/ 279 w 483"/>
                <a:gd name="T23" fmla="*/ 37 h 737"/>
                <a:gd name="T24" fmla="*/ 218 w 483"/>
                <a:gd name="T25" fmla="*/ 137 h 737"/>
                <a:gd name="T26" fmla="*/ 146 w 483"/>
                <a:gd name="T27" fmla="*/ 0 h 737"/>
                <a:gd name="T28" fmla="*/ 115 w 483"/>
                <a:gd name="T29" fmla="*/ 19 h 737"/>
                <a:gd name="T30" fmla="*/ 161 w 483"/>
                <a:gd name="T31" fmla="*/ 107 h 737"/>
                <a:gd name="T32" fmla="*/ 19 w 483"/>
                <a:gd name="T33" fmla="*/ 90 h 737"/>
                <a:gd name="T34" fmla="*/ 0 w 483"/>
                <a:gd name="T35" fmla="*/ 12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737">
                  <a:moveTo>
                    <a:pt x="0" y="120"/>
                  </a:moveTo>
                  <a:cubicBezTo>
                    <a:pt x="0" y="120"/>
                    <a:pt x="129" y="127"/>
                    <a:pt x="157" y="146"/>
                  </a:cubicBezTo>
                  <a:cubicBezTo>
                    <a:pt x="185" y="164"/>
                    <a:pt x="223" y="179"/>
                    <a:pt x="210" y="345"/>
                  </a:cubicBezTo>
                  <a:cubicBezTo>
                    <a:pt x="198" y="510"/>
                    <a:pt x="253" y="667"/>
                    <a:pt x="11" y="730"/>
                  </a:cubicBezTo>
                  <a:cubicBezTo>
                    <a:pt x="448" y="737"/>
                    <a:pt x="448" y="737"/>
                    <a:pt x="448" y="737"/>
                  </a:cubicBezTo>
                  <a:cubicBezTo>
                    <a:pt x="448" y="737"/>
                    <a:pt x="315" y="713"/>
                    <a:pt x="292" y="577"/>
                  </a:cubicBezTo>
                  <a:cubicBezTo>
                    <a:pt x="268" y="440"/>
                    <a:pt x="255" y="328"/>
                    <a:pt x="293" y="260"/>
                  </a:cubicBezTo>
                  <a:cubicBezTo>
                    <a:pt x="332" y="192"/>
                    <a:pt x="402" y="127"/>
                    <a:pt x="483" y="96"/>
                  </a:cubicBezTo>
                  <a:cubicBezTo>
                    <a:pt x="457" y="68"/>
                    <a:pt x="457" y="68"/>
                    <a:pt x="457" y="68"/>
                  </a:cubicBezTo>
                  <a:cubicBezTo>
                    <a:pt x="457" y="68"/>
                    <a:pt x="349" y="112"/>
                    <a:pt x="266" y="197"/>
                  </a:cubicBezTo>
                  <a:cubicBezTo>
                    <a:pt x="251" y="208"/>
                    <a:pt x="253" y="101"/>
                    <a:pt x="323" y="50"/>
                  </a:cubicBezTo>
                  <a:cubicBezTo>
                    <a:pt x="279" y="37"/>
                    <a:pt x="279" y="37"/>
                    <a:pt x="279" y="37"/>
                  </a:cubicBezTo>
                  <a:cubicBezTo>
                    <a:pt x="279" y="37"/>
                    <a:pt x="242" y="132"/>
                    <a:pt x="218" y="137"/>
                  </a:cubicBezTo>
                  <a:cubicBezTo>
                    <a:pt x="194" y="142"/>
                    <a:pt x="146" y="0"/>
                    <a:pt x="146" y="0"/>
                  </a:cubicBezTo>
                  <a:cubicBezTo>
                    <a:pt x="115" y="19"/>
                    <a:pt x="115" y="19"/>
                    <a:pt x="115" y="19"/>
                  </a:cubicBezTo>
                  <a:cubicBezTo>
                    <a:pt x="115" y="19"/>
                    <a:pt x="153" y="96"/>
                    <a:pt x="161" y="107"/>
                  </a:cubicBezTo>
                  <a:cubicBezTo>
                    <a:pt x="168" y="118"/>
                    <a:pt x="94" y="96"/>
                    <a:pt x="19" y="90"/>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Freeform 27"/>
            <p:cNvSpPr>
              <a:spLocks/>
            </p:cNvSpPr>
            <p:nvPr/>
          </p:nvSpPr>
          <p:spPr bwMode="auto">
            <a:xfrm>
              <a:off x="7126288" y="1903413"/>
              <a:ext cx="536575" cy="338138"/>
            </a:xfrm>
            <a:custGeom>
              <a:avLst/>
              <a:gdLst>
                <a:gd name="T0" fmla="*/ 166 w 1246"/>
                <a:gd name="T1" fmla="*/ 713 h 785"/>
                <a:gd name="T2" fmla="*/ 266 w 1246"/>
                <a:gd name="T3" fmla="*/ 713 h 785"/>
                <a:gd name="T4" fmla="*/ 382 w 1246"/>
                <a:gd name="T5" fmla="*/ 777 h 785"/>
                <a:gd name="T6" fmla="*/ 548 w 1246"/>
                <a:gd name="T7" fmla="*/ 687 h 785"/>
                <a:gd name="T8" fmla="*/ 710 w 1246"/>
                <a:gd name="T9" fmla="*/ 713 h 785"/>
                <a:gd name="T10" fmla="*/ 911 w 1246"/>
                <a:gd name="T11" fmla="*/ 770 h 785"/>
                <a:gd name="T12" fmla="*/ 1032 w 1246"/>
                <a:gd name="T13" fmla="*/ 695 h 785"/>
                <a:gd name="T14" fmla="*/ 1200 w 1246"/>
                <a:gd name="T15" fmla="*/ 619 h 785"/>
                <a:gd name="T16" fmla="*/ 1189 w 1246"/>
                <a:gd name="T17" fmla="*/ 473 h 785"/>
                <a:gd name="T18" fmla="*/ 1149 w 1246"/>
                <a:gd name="T19" fmla="*/ 372 h 785"/>
                <a:gd name="T20" fmla="*/ 1130 w 1246"/>
                <a:gd name="T21" fmla="*/ 241 h 785"/>
                <a:gd name="T22" fmla="*/ 1038 w 1246"/>
                <a:gd name="T23" fmla="*/ 144 h 785"/>
                <a:gd name="T24" fmla="*/ 909 w 1246"/>
                <a:gd name="T25" fmla="*/ 63 h 785"/>
                <a:gd name="T26" fmla="*/ 719 w 1246"/>
                <a:gd name="T27" fmla="*/ 37 h 785"/>
                <a:gd name="T28" fmla="*/ 533 w 1246"/>
                <a:gd name="T29" fmla="*/ 33 h 785"/>
                <a:gd name="T30" fmla="*/ 397 w 1246"/>
                <a:gd name="T31" fmla="*/ 63 h 785"/>
                <a:gd name="T32" fmla="*/ 251 w 1246"/>
                <a:gd name="T33" fmla="*/ 125 h 785"/>
                <a:gd name="T34" fmla="*/ 131 w 1246"/>
                <a:gd name="T35" fmla="*/ 188 h 785"/>
                <a:gd name="T36" fmla="*/ 117 w 1246"/>
                <a:gd name="T37" fmla="*/ 273 h 785"/>
                <a:gd name="T38" fmla="*/ 47 w 1246"/>
                <a:gd name="T39" fmla="*/ 398 h 785"/>
                <a:gd name="T40" fmla="*/ 40 w 1246"/>
                <a:gd name="T41" fmla="*/ 549 h 785"/>
                <a:gd name="T42" fmla="*/ 130 w 1246"/>
                <a:gd name="T43" fmla="*/ 663 h 785"/>
                <a:gd name="T44" fmla="*/ 166 w 1246"/>
                <a:gd name="T45" fmla="*/ 713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6" h="785">
                  <a:moveTo>
                    <a:pt x="166" y="713"/>
                  </a:moveTo>
                  <a:cubicBezTo>
                    <a:pt x="207" y="750"/>
                    <a:pt x="246" y="720"/>
                    <a:pt x="266" y="713"/>
                  </a:cubicBezTo>
                  <a:cubicBezTo>
                    <a:pt x="286" y="706"/>
                    <a:pt x="327" y="785"/>
                    <a:pt x="382" y="777"/>
                  </a:cubicBezTo>
                  <a:cubicBezTo>
                    <a:pt x="437" y="770"/>
                    <a:pt x="504" y="693"/>
                    <a:pt x="548" y="687"/>
                  </a:cubicBezTo>
                  <a:cubicBezTo>
                    <a:pt x="592" y="682"/>
                    <a:pt x="627" y="726"/>
                    <a:pt x="710" y="713"/>
                  </a:cubicBezTo>
                  <a:cubicBezTo>
                    <a:pt x="793" y="700"/>
                    <a:pt x="815" y="772"/>
                    <a:pt x="911" y="770"/>
                  </a:cubicBezTo>
                  <a:cubicBezTo>
                    <a:pt x="1007" y="768"/>
                    <a:pt x="1009" y="702"/>
                    <a:pt x="1032" y="695"/>
                  </a:cubicBezTo>
                  <a:cubicBezTo>
                    <a:pt x="1056" y="687"/>
                    <a:pt x="1154" y="700"/>
                    <a:pt x="1200" y="619"/>
                  </a:cubicBezTo>
                  <a:cubicBezTo>
                    <a:pt x="1246" y="538"/>
                    <a:pt x="1180" y="525"/>
                    <a:pt x="1189" y="473"/>
                  </a:cubicBezTo>
                  <a:cubicBezTo>
                    <a:pt x="1198" y="422"/>
                    <a:pt x="1185" y="396"/>
                    <a:pt x="1149" y="372"/>
                  </a:cubicBezTo>
                  <a:cubicBezTo>
                    <a:pt x="1112" y="348"/>
                    <a:pt x="1156" y="308"/>
                    <a:pt x="1130" y="241"/>
                  </a:cubicBezTo>
                  <a:cubicBezTo>
                    <a:pt x="1104" y="175"/>
                    <a:pt x="1071" y="221"/>
                    <a:pt x="1038" y="144"/>
                  </a:cubicBezTo>
                  <a:cubicBezTo>
                    <a:pt x="1005" y="66"/>
                    <a:pt x="961" y="125"/>
                    <a:pt x="909" y="63"/>
                  </a:cubicBezTo>
                  <a:cubicBezTo>
                    <a:pt x="857" y="0"/>
                    <a:pt x="804" y="61"/>
                    <a:pt x="719" y="37"/>
                  </a:cubicBezTo>
                  <a:cubicBezTo>
                    <a:pt x="634" y="13"/>
                    <a:pt x="585" y="11"/>
                    <a:pt x="533" y="33"/>
                  </a:cubicBezTo>
                  <a:cubicBezTo>
                    <a:pt x="482" y="55"/>
                    <a:pt x="476" y="86"/>
                    <a:pt x="397" y="63"/>
                  </a:cubicBezTo>
                  <a:cubicBezTo>
                    <a:pt x="318" y="39"/>
                    <a:pt x="301" y="110"/>
                    <a:pt x="251" y="125"/>
                  </a:cubicBezTo>
                  <a:cubicBezTo>
                    <a:pt x="201" y="140"/>
                    <a:pt x="141" y="151"/>
                    <a:pt x="131" y="188"/>
                  </a:cubicBezTo>
                  <a:cubicBezTo>
                    <a:pt x="122" y="225"/>
                    <a:pt x="152" y="247"/>
                    <a:pt x="117" y="273"/>
                  </a:cubicBezTo>
                  <a:cubicBezTo>
                    <a:pt x="82" y="298"/>
                    <a:pt x="19" y="335"/>
                    <a:pt x="47" y="398"/>
                  </a:cubicBezTo>
                  <a:cubicBezTo>
                    <a:pt x="74" y="461"/>
                    <a:pt x="0" y="496"/>
                    <a:pt x="40" y="549"/>
                  </a:cubicBezTo>
                  <a:cubicBezTo>
                    <a:pt x="80" y="602"/>
                    <a:pt x="126" y="619"/>
                    <a:pt x="130" y="663"/>
                  </a:cubicBezTo>
                  <a:cubicBezTo>
                    <a:pt x="133" y="707"/>
                    <a:pt x="166" y="713"/>
                    <a:pt x="166"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Freeform 28"/>
            <p:cNvSpPr>
              <a:spLocks/>
            </p:cNvSpPr>
            <p:nvPr/>
          </p:nvSpPr>
          <p:spPr bwMode="auto">
            <a:xfrm>
              <a:off x="7126288" y="1925638"/>
              <a:ext cx="488950" cy="312738"/>
            </a:xfrm>
            <a:custGeom>
              <a:avLst/>
              <a:gdLst>
                <a:gd name="T0" fmla="*/ 1090 w 1136"/>
                <a:gd name="T1" fmla="*/ 619 h 726"/>
                <a:gd name="T2" fmla="*/ 1079 w 1136"/>
                <a:gd name="T3" fmla="*/ 473 h 726"/>
                <a:gd name="T4" fmla="*/ 1038 w 1136"/>
                <a:gd name="T5" fmla="*/ 372 h 726"/>
                <a:gd name="T6" fmla="*/ 1020 w 1136"/>
                <a:gd name="T7" fmla="*/ 241 h 726"/>
                <a:gd name="T8" fmla="*/ 927 w 1136"/>
                <a:gd name="T9" fmla="*/ 143 h 726"/>
                <a:gd name="T10" fmla="*/ 798 w 1136"/>
                <a:gd name="T11" fmla="*/ 62 h 726"/>
                <a:gd name="T12" fmla="*/ 609 w 1136"/>
                <a:gd name="T13" fmla="*/ 36 h 726"/>
                <a:gd name="T14" fmla="*/ 423 w 1136"/>
                <a:gd name="T15" fmla="*/ 33 h 726"/>
                <a:gd name="T16" fmla="*/ 286 w 1136"/>
                <a:gd name="T17" fmla="*/ 62 h 726"/>
                <a:gd name="T18" fmla="*/ 277 w 1136"/>
                <a:gd name="T19" fmla="*/ 60 h 726"/>
                <a:gd name="T20" fmla="*/ 251 w 1136"/>
                <a:gd name="T21" fmla="*/ 74 h 726"/>
                <a:gd name="T22" fmla="*/ 187 w 1136"/>
                <a:gd name="T23" fmla="*/ 93 h 726"/>
                <a:gd name="T24" fmla="*/ 141 w 1136"/>
                <a:gd name="T25" fmla="*/ 125 h 726"/>
                <a:gd name="T26" fmla="*/ 136 w 1136"/>
                <a:gd name="T27" fmla="*/ 126 h 726"/>
                <a:gd name="T28" fmla="*/ 131 w 1136"/>
                <a:gd name="T29" fmla="*/ 137 h 726"/>
                <a:gd name="T30" fmla="*/ 117 w 1136"/>
                <a:gd name="T31" fmla="*/ 222 h 726"/>
                <a:gd name="T32" fmla="*/ 47 w 1136"/>
                <a:gd name="T33" fmla="*/ 347 h 726"/>
                <a:gd name="T34" fmla="*/ 40 w 1136"/>
                <a:gd name="T35" fmla="*/ 498 h 726"/>
                <a:gd name="T36" fmla="*/ 130 w 1136"/>
                <a:gd name="T37" fmla="*/ 612 h 726"/>
                <a:gd name="T38" fmla="*/ 166 w 1136"/>
                <a:gd name="T39" fmla="*/ 662 h 726"/>
                <a:gd name="T40" fmla="*/ 266 w 1136"/>
                <a:gd name="T41" fmla="*/ 662 h 726"/>
                <a:gd name="T42" fmla="*/ 366 w 1136"/>
                <a:gd name="T43" fmla="*/ 726 h 726"/>
                <a:gd name="T44" fmla="*/ 437 w 1136"/>
                <a:gd name="T45" fmla="*/ 687 h 726"/>
                <a:gd name="T46" fmla="*/ 459 w 1136"/>
                <a:gd name="T47" fmla="*/ 688 h 726"/>
                <a:gd name="T48" fmla="*/ 548 w 1136"/>
                <a:gd name="T49" fmla="*/ 636 h 726"/>
                <a:gd name="T50" fmla="*/ 710 w 1136"/>
                <a:gd name="T51" fmla="*/ 662 h 726"/>
                <a:gd name="T52" fmla="*/ 900 w 1136"/>
                <a:gd name="T53" fmla="*/ 719 h 726"/>
                <a:gd name="T54" fmla="*/ 922 w 1136"/>
                <a:gd name="T55" fmla="*/ 694 h 726"/>
                <a:gd name="T56" fmla="*/ 998 w 1136"/>
                <a:gd name="T57" fmla="*/ 684 h 726"/>
                <a:gd name="T58" fmla="*/ 1032 w 1136"/>
                <a:gd name="T59" fmla="*/ 644 h 726"/>
                <a:gd name="T60" fmla="*/ 1075 w 1136"/>
                <a:gd name="T61" fmla="*/ 639 h 726"/>
                <a:gd name="T62" fmla="*/ 1090 w 1136"/>
                <a:gd name="T63" fmla="*/ 619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726">
                  <a:moveTo>
                    <a:pt x="1090" y="619"/>
                  </a:moveTo>
                  <a:cubicBezTo>
                    <a:pt x="1136" y="538"/>
                    <a:pt x="1069" y="525"/>
                    <a:pt x="1079" y="473"/>
                  </a:cubicBezTo>
                  <a:cubicBezTo>
                    <a:pt x="1088" y="422"/>
                    <a:pt x="1075" y="396"/>
                    <a:pt x="1038" y="372"/>
                  </a:cubicBezTo>
                  <a:cubicBezTo>
                    <a:pt x="1001" y="348"/>
                    <a:pt x="1045" y="307"/>
                    <a:pt x="1020" y="241"/>
                  </a:cubicBezTo>
                  <a:cubicBezTo>
                    <a:pt x="994" y="175"/>
                    <a:pt x="961" y="221"/>
                    <a:pt x="927" y="143"/>
                  </a:cubicBezTo>
                  <a:cubicBezTo>
                    <a:pt x="894" y="66"/>
                    <a:pt x="850" y="125"/>
                    <a:pt x="798" y="62"/>
                  </a:cubicBezTo>
                  <a:cubicBezTo>
                    <a:pt x="747" y="0"/>
                    <a:pt x="693" y="60"/>
                    <a:pt x="609" y="36"/>
                  </a:cubicBezTo>
                  <a:cubicBezTo>
                    <a:pt x="524" y="12"/>
                    <a:pt x="474" y="11"/>
                    <a:pt x="423" y="33"/>
                  </a:cubicBezTo>
                  <a:cubicBezTo>
                    <a:pt x="371" y="55"/>
                    <a:pt x="365" y="86"/>
                    <a:pt x="286" y="62"/>
                  </a:cubicBezTo>
                  <a:cubicBezTo>
                    <a:pt x="283" y="61"/>
                    <a:pt x="280" y="61"/>
                    <a:pt x="277" y="60"/>
                  </a:cubicBezTo>
                  <a:cubicBezTo>
                    <a:pt x="269" y="66"/>
                    <a:pt x="261" y="71"/>
                    <a:pt x="251" y="74"/>
                  </a:cubicBezTo>
                  <a:cubicBezTo>
                    <a:pt x="230" y="80"/>
                    <a:pt x="207" y="86"/>
                    <a:pt x="187" y="93"/>
                  </a:cubicBezTo>
                  <a:cubicBezTo>
                    <a:pt x="173" y="106"/>
                    <a:pt x="159" y="119"/>
                    <a:pt x="141" y="125"/>
                  </a:cubicBezTo>
                  <a:cubicBezTo>
                    <a:pt x="139" y="125"/>
                    <a:pt x="138" y="126"/>
                    <a:pt x="136" y="126"/>
                  </a:cubicBezTo>
                  <a:cubicBezTo>
                    <a:pt x="134" y="130"/>
                    <a:pt x="132" y="133"/>
                    <a:pt x="131" y="137"/>
                  </a:cubicBezTo>
                  <a:cubicBezTo>
                    <a:pt x="122" y="174"/>
                    <a:pt x="152" y="196"/>
                    <a:pt x="117" y="222"/>
                  </a:cubicBezTo>
                  <a:cubicBezTo>
                    <a:pt x="82" y="247"/>
                    <a:pt x="19" y="284"/>
                    <a:pt x="47" y="347"/>
                  </a:cubicBezTo>
                  <a:cubicBezTo>
                    <a:pt x="74" y="410"/>
                    <a:pt x="0" y="445"/>
                    <a:pt x="40" y="498"/>
                  </a:cubicBezTo>
                  <a:cubicBezTo>
                    <a:pt x="80" y="551"/>
                    <a:pt x="126" y="568"/>
                    <a:pt x="130" y="612"/>
                  </a:cubicBezTo>
                  <a:cubicBezTo>
                    <a:pt x="133" y="656"/>
                    <a:pt x="166" y="662"/>
                    <a:pt x="166" y="662"/>
                  </a:cubicBezTo>
                  <a:cubicBezTo>
                    <a:pt x="207" y="699"/>
                    <a:pt x="246" y="669"/>
                    <a:pt x="266" y="662"/>
                  </a:cubicBezTo>
                  <a:cubicBezTo>
                    <a:pt x="284" y="655"/>
                    <a:pt x="319" y="719"/>
                    <a:pt x="366" y="726"/>
                  </a:cubicBezTo>
                  <a:cubicBezTo>
                    <a:pt x="392" y="707"/>
                    <a:pt x="417" y="689"/>
                    <a:pt x="437" y="687"/>
                  </a:cubicBezTo>
                  <a:cubicBezTo>
                    <a:pt x="445" y="686"/>
                    <a:pt x="452" y="687"/>
                    <a:pt x="459" y="688"/>
                  </a:cubicBezTo>
                  <a:cubicBezTo>
                    <a:pt x="492" y="665"/>
                    <a:pt x="523" y="639"/>
                    <a:pt x="548" y="636"/>
                  </a:cubicBezTo>
                  <a:cubicBezTo>
                    <a:pt x="592" y="631"/>
                    <a:pt x="627" y="675"/>
                    <a:pt x="710" y="662"/>
                  </a:cubicBezTo>
                  <a:cubicBezTo>
                    <a:pt x="790" y="650"/>
                    <a:pt x="813" y="715"/>
                    <a:pt x="900" y="719"/>
                  </a:cubicBezTo>
                  <a:cubicBezTo>
                    <a:pt x="908" y="707"/>
                    <a:pt x="913" y="697"/>
                    <a:pt x="922" y="694"/>
                  </a:cubicBezTo>
                  <a:cubicBezTo>
                    <a:pt x="934" y="691"/>
                    <a:pt x="965" y="692"/>
                    <a:pt x="998" y="684"/>
                  </a:cubicBezTo>
                  <a:cubicBezTo>
                    <a:pt x="1014" y="666"/>
                    <a:pt x="1020" y="647"/>
                    <a:pt x="1032" y="644"/>
                  </a:cubicBezTo>
                  <a:cubicBezTo>
                    <a:pt x="1040" y="641"/>
                    <a:pt x="1056" y="641"/>
                    <a:pt x="1075" y="639"/>
                  </a:cubicBezTo>
                  <a:cubicBezTo>
                    <a:pt x="1080" y="633"/>
                    <a:pt x="1085" y="626"/>
                    <a:pt x="1090"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87" name="Group 186"/>
          <p:cNvGrpSpPr/>
          <p:nvPr/>
        </p:nvGrpSpPr>
        <p:grpSpPr>
          <a:xfrm>
            <a:off x="3672578" y="2478776"/>
            <a:ext cx="390966" cy="431452"/>
            <a:chOff x="7126288" y="1903413"/>
            <a:chExt cx="536575" cy="592138"/>
          </a:xfrm>
          <a:solidFill>
            <a:srgbClr val="5E6A71"/>
          </a:solidFill>
        </p:grpSpPr>
        <p:sp>
          <p:nvSpPr>
            <p:cNvPr id="188" name="Freeform 26"/>
            <p:cNvSpPr>
              <a:spLocks/>
            </p:cNvSpPr>
            <p:nvPr/>
          </p:nvSpPr>
          <p:spPr bwMode="auto">
            <a:xfrm>
              <a:off x="7294563" y="2179638"/>
              <a:ext cx="207963" cy="315913"/>
            </a:xfrm>
            <a:custGeom>
              <a:avLst/>
              <a:gdLst>
                <a:gd name="T0" fmla="*/ 0 w 483"/>
                <a:gd name="T1" fmla="*/ 120 h 737"/>
                <a:gd name="T2" fmla="*/ 157 w 483"/>
                <a:gd name="T3" fmla="*/ 146 h 737"/>
                <a:gd name="T4" fmla="*/ 210 w 483"/>
                <a:gd name="T5" fmla="*/ 345 h 737"/>
                <a:gd name="T6" fmla="*/ 11 w 483"/>
                <a:gd name="T7" fmla="*/ 730 h 737"/>
                <a:gd name="T8" fmla="*/ 448 w 483"/>
                <a:gd name="T9" fmla="*/ 737 h 737"/>
                <a:gd name="T10" fmla="*/ 292 w 483"/>
                <a:gd name="T11" fmla="*/ 577 h 737"/>
                <a:gd name="T12" fmla="*/ 293 w 483"/>
                <a:gd name="T13" fmla="*/ 260 h 737"/>
                <a:gd name="T14" fmla="*/ 483 w 483"/>
                <a:gd name="T15" fmla="*/ 96 h 737"/>
                <a:gd name="T16" fmla="*/ 457 w 483"/>
                <a:gd name="T17" fmla="*/ 68 h 737"/>
                <a:gd name="T18" fmla="*/ 266 w 483"/>
                <a:gd name="T19" fmla="*/ 197 h 737"/>
                <a:gd name="T20" fmla="*/ 323 w 483"/>
                <a:gd name="T21" fmla="*/ 50 h 737"/>
                <a:gd name="T22" fmla="*/ 279 w 483"/>
                <a:gd name="T23" fmla="*/ 37 h 737"/>
                <a:gd name="T24" fmla="*/ 218 w 483"/>
                <a:gd name="T25" fmla="*/ 137 h 737"/>
                <a:gd name="T26" fmla="*/ 146 w 483"/>
                <a:gd name="T27" fmla="*/ 0 h 737"/>
                <a:gd name="T28" fmla="*/ 115 w 483"/>
                <a:gd name="T29" fmla="*/ 19 h 737"/>
                <a:gd name="T30" fmla="*/ 161 w 483"/>
                <a:gd name="T31" fmla="*/ 107 h 737"/>
                <a:gd name="T32" fmla="*/ 19 w 483"/>
                <a:gd name="T33" fmla="*/ 90 h 737"/>
                <a:gd name="T34" fmla="*/ 0 w 483"/>
                <a:gd name="T35" fmla="*/ 12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737">
                  <a:moveTo>
                    <a:pt x="0" y="120"/>
                  </a:moveTo>
                  <a:cubicBezTo>
                    <a:pt x="0" y="120"/>
                    <a:pt x="129" y="127"/>
                    <a:pt x="157" y="146"/>
                  </a:cubicBezTo>
                  <a:cubicBezTo>
                    <a:pt x="185" y="164"/>
                    <a:pt x="223" y="179"/>
                    <a:pt x="210" y="345"/>
                  </a:cubicBezTo>
                  <a:cubicBezTo>
                    <a:pt x="198" y="510"/>
                    <a:pt x="253" y="667"/>
                    <a:pt x="11" y="730"/>
                  </a:cubicBezTo>
                  <a:cubicBezTo>
                    <a:pt x="448" y="737"/>
                    <a:pt x="448" y="737"/>
                    <a:pt x="448" y="737"/>
                  </a:cubicBezTo>
                  <a:cubicBezTo>
                    <a:pt x="448" y="737"/>
                    <a:pt x="315" y="713"/>
                    <a:pt x="292" y="577"/>
                  </a:cubicBezTo>
                  <a:cubicBezTo>
                    <a:pt x="268" y="440"/>
                    <a:pt x="255" y="328"/>
                    <a:pt x="293" y="260"/>
                  </a:cubicBezTo>
                  <a:cubicBezTo>
                    <a:pt x="332" y="192"/>
                    <a:pt x="402" y="127"/>
                    <a:pt x="483" y="96"/>
                  </a:cubicBezTo>
                  <a:cubicBezTo>
                    <a:pt x="457" y="68"/>
                    <a:pt x="457" y="68"/>
                    <a:pt x="457" y="68"/>
                  </a:cubicBezTo>
                  <a:cubicBezTo>
                    <a:pt x="457" y="68"/>
                    <a:pt x="349" y="112"/>
                    <a:pt x="266" y="197"/>
                  </a:cubicBezTo>
                  <a:cubicBezTo>
                    <a:pt x="251" y="208"/>
                    <a:pt x="253" y="101"/>
                    <a:pt x="323" y="50"/>
                  </a:cubicBezTo>
                  <a:cubicBezTo>
                    <a:pt x="279" y="37"/>
                    <a:pt x="279" y="37"/>
                    <a:pt x="279" y="37"/>
                  </a:cubicBezTo>
                  <a:cubicBezTo>
                    <a:pt x="279" y="37"/>
                    <a:pt x="242" y="132"/>
                    <a:pt x="218" y="137"/>
                  </a:cubicBezTo>
                  <a:cubicBezTo>
                    <a:pt x="194" y="142"/>
                    <a:pt x="146" y="0"/>
                    <a:pt x="146" y="0"/>
                  </a:cubicBezTo>
                  <a:cubicBezTo>
                    <a:pt x="115" y="19"/>
                    <a:pt x="115" y="19"/>
                    <a:pt x="115" y="19"/>
                  </a:cubicBezTo>
                  <a:cubicBezTo>
                    <a:pt x="115" y="19"/>
                    <a:pt x="153" y="96"/>
                    <a:pt x="161" y="107"/>
                  </a:cubicBezTo>
                  <a:cubicBezTo>
                    <a:pt x="168" y="118"/>
                    <a:pt x="94" y="96"/>
                    <a:pt x="19" y="90"/>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27"/>
            <p:cNvSpPr>
              <a:spLocks/>
            </p:cNvSpPr>
            <p:nvPr/>
          </p:nvSpPr>
          <p:spPr bwMode="auto">
            <a:xfrm>
              <a:off x="7126288" y="1903413"/>
              <a:ext cx="536575" cy="338138"/>
            </a:xfrm>
            <a:custGeom>
              <a:avLst/>
              <a:gdLst>
                <a:gd name="T0" fmla="*/ 166 w 1246"/>
                <a:gd name="T1" fmla="*/ 713 h 785"/>
                <a:gd name="T2" fmla="*/ 266 w 1246"/>
                <a:gd name="T3" fmla="*/ 713 h 785"/>
                <a:gd name="T4" fmla="*/ 382 w 1246"/>
                <a:gd name="T5" fmla="*/ 777 h 785"/>
                <a:gd name="T6" fmla="*/ 548 w 1246"/>
                <a:gd name="T7" fmla="*/ 687 h 785"/>
                <a:gd name="T8" fmla="*/ 710 w 1246"/>
                <a:gd name="T9" fmla="*/ 713 h 785"/>
                <a:gd name="T10" fmla="*/ 911 w 1246"/>
                <a:gd name="T11" fmla="*/ 770 h 785"/>
                <a:gd name="T12" fmla="*/ 1032 w 1246"/>
                <a:gd name="T13" fmla="*/ 695 h 785"/>
                <a:gd name="T14" fmla="*/ 1200 w 1246"/>
                <a:gd name="T15" fmla="*/ 619 h 785"/>
                <a:gd name="T16" fmla="*/ 1189 w 1246"/>
                <a:gd name="T17" fmla="*/ 473 h 785"/>
                <a:gd name="T18" fmla="*/ 1149 w 1246"/>
                <a:gd name="T19" fmla="*/ 372 h 785"/>
                <a:gd name="T20" fmla="*/ 1130 w 1246"/>
                <a:gd name="T21" fmla="*/ 241 h 785"/>
                <a:gd name="T22" fmla="*/ 1038 w 1246"/>
                <a:gd name="T23" fmla="*/ 144 h 785"/>
                <a:gd name="T24" fmla="*/ 909 w 1246"/>
                <a:gd name="T25" fmla="*/ 63 h 785"/>
                <a:gd name="T26" fmla="*/ 719 w 1246"/>
                <a:gd name="T27" fmla="*/ 37 h 785"/>
                <a:gd name="T28" fmla="*/ 533 w 1246"/>
                <a:gd name="T29" fmla="*/ 33 h 785"/>
                <a:gd name="T30" fmla="*/ 397 w 1246"/>
                <a:gd name="T31" fmla="*/ 63 h 785"/>
                <a:gd name="T32" fmla="*/ 251 w 1246"/>
                <a:gd name="T33" fmla="*/ 125 h 785"/>
                <a:gd name="T34" fmla="*/ 131 w 1246"/>
                <a:gd name="T35" fmla="*/ 188 h 785"/>
                <a:gd name="T36" fmla="*/ 117 w 1246"/>
                <a:gd name="T37" fmla="*/ 273 h 785"/>
                <a:gd name="T38" fmla="*/ 47 w 1246"/>
                <a:gd name="T39" fmla="*/ 398 h 785"/>
                <a:gd name="T40" fmla="*/ 40 w 1246"/>
                <a:gd name="T41" fmla="*/ 549 h 785"/>
                <a:gd name="T42" fmla="*/ 130 w 1246"/>
                <a:gd name="T43" fmla="*/ 663 h 785"/>
                <a:gd name="T44" fmla="*/ 166 w 1246"/>
                <a:gd name="T45" fmla="*/ 713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6" h="785">
                  <a:moveTo>
                    <a:pt x="166" y="713"/>
                  </a:moveTo>
                  <a:cubicBezTo>
                    <a:pt x="207" y="750"/>
                    <a:pt x="246" y="720"/>
                    <a:pt x="266" y="713"/>
                  </a:cubicBezTo>
                  <a:cubicBezTo>
                    <a:pt x="286" y="706"/>
                    <a:pt x="327" y="785"/>
                    <a:pt x="382" y="777"/>
                  </a:cubicBezTo>
                  <a:cubicBezTo>
                    <a:pt x="437" y="770"/>
                    <a:pt x="504" y="693"/>
                    <a:pt x="548" y="687"/>
                  </a:cubicBezTo>
                  <a:cubicBezTo>
                    <a:pt x="592" y="682"/>
                    <a:pt x="627" y="726"/>
                    <a:pt x="710" y="713"/>
                  </a:cubicBezTo>
                  <a:cubicBezTo>
                    <a:pt x="793" y="700"/>
                    <a:pt x="815" y="772"/>
                    <a:pt x="911" y="770"/>
                  </a:cubicBezTo>
                  <a:cubicBezTo>
                    <a:pt x="1007" y="768"/>
                    <a:pt x="1009" y="702"/>
                    <a:pt x="1032" y="695"/>
                  </a:cubicBezTo>
                  <a:cubicBezTo>
                    <a:pt x="1056" y="687"/>
                    <a:pt x="1154" y="700"/>
                    <a:pt x="1200" y="619"/>
                  </a:cubicBezTo>
                  <a:cubicBezTo>
                    <a:pt x="1246" y="538"/>
                    <a:pt x="1180" y="525"/>
                    <a:pt x="1189" y="473"/>
                  </a:cubicBezTo>
                  <a:cubicBezTo>
                    <a:pt x="1198" y="422"/>
                    <a:pt x="1185" y="396"/>
                    <a:pt x="1149" y="372"/>
                  </a:cubicBezTo>
                  <a:cubicBezTo>
                    <a:pt x="1112" y="348"/>
                    <a:pt x="1156" y="308"/>
                    <a:pt x="1130" y="241"/>
                  </a:cubicBezTo>
                  <a:cubicBezTo>
                    <a:pt x="1104" y="175"/>
                    <a:pt x="1071" y="221"/>
                    <a:pt x="1038" y="144"/>
                  </a:cubicBezTo>
                  <a:cubicBezTo>
                    <a:pt x="1005" y="66"/>
                    <a:pt x="961" y="125"/>
                    <a:pt x="909" y="63"/>
                  </a:cubicBezTo>
                  <a:cubicBezTo>
                    <a:pt x="857" y="0"/>
                    <a:pt x="804" y="61"/>
                    <a:pt x="719" y="37"/>
                  </a:cubicBezTo>
                  <a:cubicBezTo>
                    <a:pt x="634" y="13"/>
                    <a:pt x="585" y="11"/>
                    <a:pt x="533" y="33"/>
                  </a:cubicBezTo>
                  <a:cubicBezTo>
                    <a:pt x="482" y="55"/>
                    <a:pt x="476" y="86"/>
                    <a:pt x="397" y="63"/>
                  </a:cubicBezTo>
                  <a:cubicBezTo>
                    <a:pt x="318" y="39"/>
                    <a:pt x="301" y="110"/>
                    <a:pt x="251" y="125"/>
                  </a:cubicBezTo>
                  <a:cubicBezTo>
                    <a:pt x="201" y="140"/>
                    <a:pt x="141" y="151"/>
                    <a:pt x="131" y="188"/>
                  </a:cubicBezTo>
                  <a:cubicBezTo>
                    <a:pt x="122" y="225"/>
                    <a:pt x="152" y="247"/>
                    <a:pt x="117" y="273"/>
                  </a:cubicBezTo>
                  <a:cubicBezTo>
                    <a:pt x="82" y="298"/>
                    <a:pt x="19" y="335"/>
                    <a:pt x="47" y="398"/>
                  </a:cubicBezTo>
                  <a:cubicBezTo>
                    <a:pt x="74" y="461"/>
                    <a:pt x="0" y="496"/>
                    <a:pt x="40" y="549"/>
                  </a:cubicBezTo>
                  <a:cubicBezTo>
                    <a:pt x="80" y="602"/>
                    <a:pt x="126" y="619"/>
                    <a:pt x="130" y="663"/>
                  </a:cubicBezTo>
                  <a:cubicBezTo>
                    <a:pt x="133" y="707"/>
                    <a:pt x="166" y="713"/>
                    <a:pt x="166"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28"/>
            <p:cNvSpPr>
              <a:spLocks/>
            </p:cNvSpPr>
            <p:nvPr/>
          </p:nvSpPr>
          <p:spPr bwMode="auto">
            <a:xfrm>
              <a:off x="7126288" y="1925638"/>
              <a:ext cx="488950" cy="312738"/>
            </a:xfrm>
            <a:custGeom>
              <a:avLst/>
              <a:gdLst>
                <a:gd name="T0" fmla="*/ 1090 w 1136"/>
                <a:gd name="T1" fmla="*/ 619 h 726"/>
                <a:gd name="T2" fmla="*/ 1079 w 1136"/>
                <a:gd name="T3" fmla="*/ 473 h 726"/>
                <a:gd name="T4" fmla="*/ 1038 w 1136"/>
                <a:gd name="T5" fmla="*/ 372 h 726"/>
                <a:gd name="T6" fmla="*/ 1020 w 1136"/>
                <a:gd name="T7" fmla="*/ 241 h 726"/>
                <a:gd name="T8" fmla="*/ 927 w 1136"/>
                <a:gd name="T9" fmla="*/ 143 h 726"/>
                <a:gd name="T10" fmla="*/ 798 w 1136"/>
                <a:gd name="T11" fmla="*/ 62 h 726"/>
                <a:gd name="T12" fmla="*/ 609 w 1136"/>
                <a:gd name="T13" fmla="*/ 36 h 726"/>
                <a:gd name="T14" fmla="*/ 423 w 1136"/>
                <a:gd name="T15" fmla="*/ 33 h 726"/>
                <a:gd name="T16" fmla="*/ 286 w 1136"/>
                <a:gd name="T17" fmla="*/ 62 h 726"/>
                <a:gd name="T18" fmla="*/ 277 w 1136"/>
                <a:gd name="T19" fmla="*/ 60 h 726"/>
                <a:gd name="T20" fmla="*/ 251 w 1136"/>
                <a:gd name="T21" fmla="*/ 74 h 726"/>
                <a:gd name="T22" fmla="*/ 187 w 1136"/>
                <a:gd name="T23" fmla="*/ 93 h 726"/>
                <a:gd name="T24" fmla="*/ 141 w 1136"/>
                <a:gd name="T25" fmla="*/ 125 h 726"/>
                <a:gd name="T26" fmla="*/ 136 w 1136"/>
                <a:gd name="T27" fmla="*/ 126 h 726"/>
                <a:gd name="T28" fmla="*/ 131 w 1136"/>
                <a:gd name="T29" fmla="*/ 137 h 726"/>
                <a:gd name="T30" fmla="*/ 117 w 1136"/>
                <a:gd name="T31" fmla="*/ 222 h 726"/>
                <a:gd name="T32" fmla="*/ 47 w 1136"/>
                <a:gd name="T33" fmla="*/ 347 h 726"/>
                <a:gd name="T34" fmla="*/ 40 w 1136"/>
                <a:gd name="T35" fmla="*/ 498 h 726"/>
                <a:gd name="T36" fmla="*/ 130 w 1136"/>
                <a:gd name="T37" fmla="*/ 612 h 726"/>
                <a:gd name="T38" fmla="*/ 166 w 1136"/>
                <a:gd name="T39" fmla="*/ 662 h 726"/>
                <a:gd name="T40" fmla="*/ 266 w 1136"/>
                <a:gd name="T41" fmla="*/ 662 h 726"/>
                <a:gd name="T42" fmla="*/ 366 w 1136"/>
                <a:gd name="T43" fmla="*/ 726 h 726"/>
                <a:gd name="T44" fmla="*/ 437 w 1136"/>
                <a:gd name="T45" fmla="*/ 687 h 726"/>
                <a:gd name="T46" fmla="*/ 459 w 1136"/>
                <a:gd name="T47" fmla="*/ 688 h 726"/>
                <a:gd name="T48" fmla="*/ 548 w 1136"/>
                <a:gd name="T49" fmla="*/ 636 h 726"/>
                <a:gd name="T50" fmla="*/ 710 w 1136"/>
                <a:gd name="T51" fmla="*/ 662 h 726"/>
                <a:gd name="T52" fmla="*/ 900 w 1136"/>
                <a:gd name="T53" fmla="*/ 719 h 726"/>
                <a:gd name="T54" fmla="*/ 922 w 1136"/>
                <a:gd name="T55" fmla="*/ 694 h 726"/>
                <a:gd name="T56" fmla="*/ 998 w 1136"/>
                <a:gd name="T57" fmla="*/ 684 h 726"/>
                <a:gd name="T58" fmla="*/ 1032 w 1136"/>
                <a:gd name="T59" fmla="*/ 644 h 726"/>
                <a:gd name="T60" fmla="*/ 1075 w 1136"/>
                <a:gd name="T61" fmla="*/ 639 h 726"/>
                <a:gd name="T62" fmla="*/ 1090 w 1136"/>
                <a:gd name="T63" fmla="*/ 619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726">
                  <a:moveTo>
                    <a:pt x="1090" y="619"/>
                  </a:moveTo>
                  <a:cubicBezTo>
                    <a:pt x="1136" y="538"/>
                    <a:pt x="1069" y="525"/>
                    <a:pt x="1079" y="473"/>
                  </a:cubicBezTo>
                  <a:cubicBezTo>
                    <a:pt x="1088" y="422"/>
                    <a:pt x="1075" y="396"/>
                    <a:pt x="1038" y="372"/>
                  </a:cubicBezTo>
                  <a:cubicBezTo>
                    <a:pt x="1001" y="348"/>
                    <a:pt x="1045" y="307"/>
                    <a:pt x="1020" y="241"/>
                  </a:cubicBezTo>
                  <a:cubicBezTo>
                    <a:pt x="994" y="175"/>
                    <a:pt x="961" y="221"/>
                    <a:pt x="927" y="143"/>
                  </a:cubicBezTo>
                  <a:cubicBezTo>
                    <a:pt x="894" y="66"/>
                    <a:pt x="850" y="125"/>
                    <a:pt x="798" y="62"/>
                  </a:cubicBezTo>
                  <a:cubicBezTo>
                    <a:pt x="747" y="0"/>
                    <a:pt x="693" y="60"/>
                    <a:pt x="609" y="36"/>
                  </a:cubicBezTo>
                  <a:cubicBezTo>
                    <a:pt x="524" y="12"/>
                    <a:pt x="474" y="11"/>
                    <a:pt x="423" y="33"/>
                  </a:cubicBezTo>
                  <a:cubicBezTo>
                    <a:pt x="371" y="55"/>
                    <a:pt x="365" y="86"/>
                    <a:pt x="286" y="62"/>
                  </a:cubicBezTo>
                  <a:cubicBezTo>
                    <a:pt x="283" y="61"/>
                    <a:pt x="280" y="61"/>
                    <a:pt x="277" y="60"/>
                  </a:cubicBezTo>
                  <a:cubicBezTo>
                    <a:pt x="269" y="66"/>
                    <a:pt x="261" y="71"/>
                    <a:pt x="251" y="74"/>
                  </a:cubicBezTo>
                  <a:cubicBezTo>
                    <a:pt x="230" y="80"/>
                    <a:pt x="207" y="86"/>
                    <a:pt x="187" y="93"/>
                  </a:cubicBezTo>
                  <a:cubicBezTo>
                    <a:pt x="173" y="106"/>
                    <a:pt x="159" y="119"/>
                    <a:pt x="141" y="125"/>
                  </a:cubicBezTo>
                  <a:cubicBezTo>
                    <a:pt x="139" y="125"/>
                    <a:pt x="138" y="126"/>
                    <a:pt x="136" y="126"/>
                  </a:cubicBezTo>
                  <a:cubicBezTo>
                    <a:pt x="134" y="130"/>
                    <a:pt x="132" y="133"/>
                    <a:pt x="131" y="137"/>
                  </a:cubicBezTo>
                  <a:cubicBezTo>
                    <a:pt x="122" y="174"/>
                    <a:pt x="152" y="196"/>
                    <a:pt x="117" y="222"/>
                  </a:cubicBezTo>
                  <a:cubicBezTo>
                    <a:pt x="82" y="247"/>
                    <a:pt x="19" y="284"/>
                    <a:pt x="47" y="347"/>
                  </a:cubicBezTo>
                  <a:cubicBezTo>
                    <a:pt x="74" y="410"/>
                    <a:pt x="0" y="445"/>
                    <a:pt x="40" y="498"/>
                  </a:cubicBezTo>
                  <a:cubicBezTo>
                    <a:pt x="80" y="551"/>
                    <a:pt x="126" y="568"/>
                    <a:pt x="130" y="612"/>
                  </a:cubicBezTo>
                  <a:cubicBezTo>
                    <a:pt x="133" y="656"/>
                    <a:pt x="166" y="662"/>
                    <a:pt x="166" y="662"/>
                  </a:cubicBezTo>
                  <a:cubicBezTo>
                    <a:pt x="207" y="699"/>
                    <a:pt x="246" y="669"/>
                    <a:pt x="266" y="662"/>
                  </a:cubicBezTo>
                  <a:cubicBezTo>
                    <a:pt x="284" y="655"/>
                    <a:pt x="319" y="719"/>
                    <a:pt x="366" y="726"/>
                  </a:cubicBezTo>
                  <a:cubicBezTo>
                    <a:pt x="392" y="707"/>
                    <a:pt x="417" y="689"/>
                    <a:pt x="437" y="687"/>
                  </a:cubicBezTo>
                  <a:cubicBezTo>
                    <a:pt x="445" y="686"/>
                    <a:pt x="452" y="687"/>
                    <a:pt x="459" y="688"/>
                  </a:cubicBezTo>
                  <a:cubicBezTo>
                    <a:pt x="492" y="665"/>
                    <a:pt x="523" y="639"/>
                    <a:pt x="548" y="636"/>
                  </a:cubicBezTo>
                  <a:cubicBezTo>
                    <a:pt x="592" y="631"/>
                    <a:pt x="627" y="675"/>
                    <a:pt x="710" y="662"/>
                  </a:cubicBezTo>
                  <a:cubicBezTo>
                    <a:pt x="790" y="650"/>
                    <a:pt x="813" y="715"/>
                    <a:pt x="900" y="719"/>
                  </a:cubicBezTo>
                  <a:cubicBezTo>
                    <a:pt x="908" y="707"/>
                    <a:pt x="913" y="697"/>
                    <a:pt x="922" y="694"/>
                  </a:cubicBezTo>
                  <a:cubicBezTo>
                    <a:pt x="934" y="691"/>
                    <a:pt x="965" y="692"/>
                    <a:pt x="998" y="684"/>
                  </a:cubicBezTo>
                  <a:cubicBezTo>
                    <a:pt x="1014" y="666"/>
                    <a:pt x="1020" y="647"/>
                    <a:pt x="1032" y="644"/>
                  </a:cubicBezTo>
                  <a:cubicBezTo>
                    <a:pt x="1040" y="641"/>
                    <a:pt x="1056" y="641"/>
                    <a:pt x="1075" y="639"/>
                  </a:cubicBezTo>
                  <a:cubicBezTo>
                    <a:pt x="1080" y="633"/>
                    <a:pt x="1085" y="626"/>
                    <a:pt x="1090"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1" name="Group 190"/>
          <p:cNvGrpSpPr/>
          <p:nvPr/>
        </p:nvGrpSpPr>
        <p:grpSpPr>
          <a:xfrm>
            <a:off x="2782686" y="2522074"/>
            <a:ext cx="351730" cy="388153"/>
            <a:chOff x="7126288" y="1903413"/>
            <a:chExt cx="536575" cy="592138"/>
          </a:xfrm>
          <a:solidFill>
            <a:srgbClr val="5E6A71"/>
          </a:solidFill>
        </p:grpSpPr>
        <p:sp>
          <p:nvSpPr>
            <p:cNvPr id="192" name="Freeform 26"/>
            <p:cNvSpPr>
              <a:spLocks/>
            </p:cNvSpPr>
            <p:nvPr/>
          </p:nvSpPr>
          <p:spPr bwMode="auto">
            <a:xfrm>
              <a:off x="7294563" y="2179638"/>
              <a:ext cx="207963" cy="315913"/>
            </a:xfrm>
            <a:custGeom>
              <a:avLst/>
              <a:gdLst>
                <a:gd name="T0" fmla="*/ 0 w 483"/>
                <a:gd name="T1" fmla="*/ 120 h 737"/>
                <a:gd name="T2" fmla="*/ 157 w 483"/>
                <a:gd name="T3" fmla="*/ 146 h 737"/>
                <a:gd name="T4" fmla="*/ 210 w 483"/>
                <a:gd name="T5" fmla="*/ 345 h 737"/>
                <a:gd name="T6" fmla="*/ 11 w 483"/>
                <a:gd name="T7" fmla="*/ 730 h 737"/>
                <a:gd name="T8" fmla="*/ 448 w 483"/>
                <a:gd name="T9" fmla="*/ 737 h 737"/>
                <a:gd name="T10" fmla="*/ 292 w 483"/>
                <a:gd name="T11" fmla="*/ 577 h 737"/>
                <a:gd name="T12" fmla="*/ 293 w 483"/>
                <a:gd name="T13" fmla="*/ 260 h 737"/>
                <a:gd name="T14" fmla="*/ 483 w 483"/>
                <a:gd name="T15" fmla="*/ 96 h 737"/>
                <a:gd name="T16" fmla="*/ 457 w 483"/>
                <a:gd name="T17" fmla="*/ 68 h 737"/>
                <a:gd name="T18" fmla="*/ 266 w 483"/>
                <a:gd name="T19" fmla="*/ 197 h 737"/>
                <a:gd name="T20" fmla="*/ 323 w 483"/>
                <a:gd name="T21" fmla="*/ 50 h 737"/>
                <a:gd name="T22" fmla="*/ 279 w 483"/>
                <a:gd name="T23" fmla="*/ 37 h 737"/>
                <a:gd name="T24" fmla="*/ 218 w 483"/>
                <a:gd name="T25" fmla="*/ 137 h 737"/>
                <a:gd name="T26" fmla="*/ 146 w 483"/>
                <a:gd name="T27" fmla="*/ 0 h 737"/>
                <a:gd name="T28" fmla="*/ 115 w 483"/>
                <a:gd name="T29" fmla="*/ 19 h 737"/>
                <a:gd name="T30" fmla="*/ 161 w 483"/>
                <a:gd name="T31" fmla="*/ 107 h 737"/>
                <a:gd name="T32" fmla="*/ 19 w 483"/>
                <a:gd name="T33" fmla="*/ 90 h 737"/>
                <a:gd name="T34" fmla="*/ 0 w 483"/>
                <a:gd name="T35" fmla="*/ 12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737">
                  <a:moveTo>
                    <a:pt x="0" y="120"/>
                  </a:moveTo>
                  <a:cubicBezTo>
                    <a:pt x="0" y="120"/>
                    <a:pt x="129" y="127"/>
                    <a:pt x="157" y="146"/>
                  </a:cubicBezTo>
                  <a:cubicBezTo>
                    <a:pt x="185" y="164"/>
                    <a:pt x="223" y="179"/>
                    <a:pt x="210" y="345"/>
                  </a:cubicBezTo>
                  <a:cubicBezTo>
                    <a:pt x="198" y="510"/>
                    <a:pt x="253" y="667"/>
                    <a:pt x="11" y="730"/>
                  </a:cubicBezTo>
                  <a:cubicBezTo>
                    <a:pt x="448" y="737"/>
                    <a:pt x="448" y="737"/>
                    <a:pt x="448" y="737"/>
                  </a:cubicBezTo>
                  <a:cubicBezTo>
                    <a:pt x="448" y="737"/>
                    <a:pt x="315" y="713"/>
                    <a:pt x="292" y="577"/>
                  </a:cubicBezTo>
                  <a:cubicBezTo>
                    <a:pt x="268" y="440"/>
                    <a:pt x="255" y="328"/>
                    <a:pt x="293" y="260"/>
                  </a:cubicBezTo>
                  <a:cubicBezTo>
                    <a:pt x="332" y="192"/>
                    <a:pt x="402" y="127"/>
                    <a:pt x="483" y="96"/>
                  </a:cubicBezTo>
                  <a:cubicBezTo>
                    <a:pt x="457" y="68"/>
                    <a:pt x="457" y="68"/>
                    <a:pt x="457" y="68"/>
                  </a:cubicBezTo>
                  <a:cubicBezTo>
                    <a:pt x="457" y="68"/>
                    <a:pt x="349" y="112"/>
                    <a:pt x="266" y="197"/>
                  </a:cubicBezTo>
                  <a:cubicBezTo>
                    <a:pt x="251" y="208"/>
                    <a:pt x="253" y="101"/>
                    <a:pt x="323" y="50"/>
                  </a:cubicBezTo>
                  <a:cubicBezTo>
                    <a:pt x="279" y="37"/>
                    <a:pt x="279" y="37"/>
                    <a:pt x="279" y="37"/>
                  </a:cubicBezTo>
                  <a:cubicBezTo>
                    <a:pt x="279" y="37"/>
                    <a:pt x="242" y="132"/>
                    <a:pt x="218" y="137"/>
                  </a:cubicBezTo>
                  <a:cubicBezTo>
                    <a:pt x="194" y="142"/>
                    <a:pt x="146" y="0"/>
                    <a:pt x="146" y="0"/>
                  </a:cubicBezTo>
                  <a:cubicBezTo>
                    <a:pt x="115" y="19"/>
                    <a:pt x="115" y="19"/>
                    <a:pt x="115" y="19"/>
                  </a:cubicBezTo>
                  <a:cubicBezTo>
                    <a:pt x="115" y="19"/>
                    <a:pt x="153" y="96"/>
                    <a:pt x="161" y="107"/>
                  </a:cubicBezTo>
                  <a:cubicBezTo>
                    <a:pt x="168" y="118"/>
                    <a:pt x="94" y="96"/>
                    <a:pt x="19" y="90"/>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3" name="Freeform 27"/>
            <p:cNvSpPr>
              <a:spLocks/>
            </p:cNvSpPr>
            <p:nvPr/>
          </p:nvSpPr>
          <p:spPr bwMode="auto">
            <a:xfrm>
              <a:off x="7126288" y="1903413"/>
              <a:ext cx="536575" cy="338138"/>
            </a:xfrm>
            <a:custGeom>
              <a:avLst/>
              <a:gdLst>
                <a:gd name="T0" fmla="*/ 166 w 1246"/>
                <a:gd name="T1" fmla="*/ 713 h 785"/>
                <a:gd name="T2" fmla="*/ 266 w 1246"/>
                <a:gd name="T3" fmla="*/ 713 h 785"/>
                <a:gd name="T4" fmla="*/ 382 w 1246"/>
                <a:gd name="T5" fmla="*/ 777 h 785"/>
                <a:gd name="T6" fmla="*/ 548 w 1246"/>
                <a:gd name="T7" fmla="*/ 687 h 785"/>
                <a:gd name="T8" fmla="*/ 710 w 1246"/>
                <a:gd name="T9" fmla="*/ 713 h 785"/>
                <a:gd name="T10" fmla="*/ 911 w 1246"/>
                <a:gd name="T11" fmla="*/ 770 h 785"/>
                <a:gd name="T12" fmla="*/ 1032 w 1246"/>
                <a:gd name="T13" fmla="*/ 695 h 785"/>
                <a:gd name="T14" fmla="*/ 1200 w 1246"/>
                <a:gd name="T15" fmla="*/ 619 h 785"/>
                <a:gd name="T16" fmla="*/ 1189 w 1246"/>
                <a:gd name="T17" fmla="*/ 473 h 785"/>
                <a:gd name="T18" fmla="*/ 1149 w 1246"/>
                <a:gd name="T19" fmla="*/ 372 h 785"/>
                <a:gd name="T20" fmla="*/ 1130 w 1246"/>
                <a:gd name="T21" fmla="*/ 241 h 785"/>
                <a:gd name="T22" fmla="*/ 1038 w 1246"/>
                <a:gd name="T23" fmla="*/ 144 h 785"/>
                <a:gd name="T24" fmla="*/ 909 w 1246"/>
                <a:gd name="T25" fmla="*/ 63 h 785"/>
                <a:gd name="T26" fmla="*/ 719 w 1246"/>
                <a:gd name="T27" fmla="*/ 37 h 785"/>
                <a:gd name="T28" fmla="*/ 533 w 1246"/>
                <a:gd name="T29" fmla="*/ 33 h 785"/>
                <a:gd name="T30" fmla="*/ 397 w 1246"/>
                <a:gd name="T31" fmla="*/ 63 h 785"/>
                <a:gd name="T32" fmla="*/ 251 w 1246"/>
                <a:gd name="T33" fmla="*/ 125 h 785"/>
                <a:gd name="T34" fmla="*/ 131 w 1246"/>
                <a:gd name="T35" fmla="*/ 188 h 785"/>
                <a:gd name="T36" fmla="*/ 117 w 1246"/>
                <a:gd name="T37" fmla="*/ 273 h 785"/>
                <a:gd name="T38" fmla="*/ 47 w 1246"/>
                <a:gd name="T39" fmla="*/ 398 h 785"/>
                <a:gd name="T40" fmla="*/ 40 w 1246"/>
                <a:gd name="T41" fmla="*/ 549 h 785"/>
                <a:gd name="T42" fmla="*/ 130 w 1246"/>
                <a:gd name="T43" fmla="*/ 663 h 785"/>
                <a:gd name="T44" fmla="*/ 166 w 1246"/>
                <a:gd name="T45" fmla="*/ 713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6" h="785">
                  <a:moveTo>
                    <a:pt x="166" y="713"/>
                  </a:moveTo>
                  <a:cubicBezTo>
                    <a:pt x="207" y="750"/>
                    <a:pt x="246" y="720"/>
                    <a:pt x="266" y="713"/>
                  </a:cubicBezTo>
                  <a:cubicBezTo>
                    <a:pt x="286" y="706"/>
                    <a:pt x="327" y="785"/>
                    <a:pt x="382" y="777"/>
                  </a:cubicBezTo>
                  <a:cubicBezTo>
                    <a:pt x="437" y="770"/>
                    <a:pt x="504" y="693"/>
                    <a:pt x="548" y="687"/>
                  </a:cubicBezTo>
                  <a:cubicBezTo>
                    <a:pt x="592" y="682"/>
                    <a:pt x="627" y="726"/>
                    <a:pt x="710" y="713"/>
                  </a:cubicBezTo>
                  <a:cubicBezTo>
                    <a:pt x="793" y="700"/>
                    <a:pt x="815" y="772"/>
                    <a:pt x="911" y="770"/>
                  </a:cubicBezTo>
                  <a:cubicBezTo>
                    <a:pt x="1007" y="768"/>
                    <a:pt x="1009" y="702"/>
                    <a:pt x="1032" y="695"/>
                  </a:cubicBezTo>
                  <a:cubicBezTo>
                    <a:pt x="1056" y="687"/>
                    <a:pt x="1154" y="700"/>
                    <a:pt x="1200" y="619"/>
                  </a:cubicBezTo>
                  <a:cubicBezTo>
                    <a:pt x="1246" y="538"/>
                    <a:pt x="1180" y="525"/>
                    <a:pt x="1189" y="473"/>
                  </a:cubicBezTo>
                  <a:cubicBezTo>
                    <a:pt x="1198" y="422"/>
                    <a:pt x="1185" y="396"/>
                    <a:pt x="1149" y="372"/>
                  </a:cubicBezTo>
                  <a:cubicBezTo>
                    <a:pt x="1112" y="348"/>
                    <a:pt x="1156" y="308"/>
                    <a:pt x="1130" y="241"/>
                  </a:cubicBezTo>
                  <a:cubicBezTo>
                    <a:pt x="1104" y="175"/>
                    <a:pt x="1071" y="221"/>
                    <a:pt x="1038" y="144"/>
                  </a:cubicBezTo>
                  <a:cubicBezTo>
                    <a:pt x="1005" y="66"/>
                    <a:pt x="961" y="125"/>
                    <a:pt x="909" y="63"/>
                  </a:cubicBezTo>
                  <a:cubicBezTo>
                    <a:pt x="857" y="0"/>
                    <a:pt x="804" y="61"/>
                    <a:pt x="719" y="37"/>
                  </a:cubicBezTo>
                  <a:cubicBezTo>
                    <a:pt x="634" y="13"/>
                    <a:pt x="585" y="11"/>
                    <a:pt x="533" y="33"/>
                  </a:cubicBezTo>
                  <a:cubicBezTo>
                    <a:pt x="482" y="55"/>
                    <a:pt x="476" y="86"/>
                    <a:pt x="397" y="63"/>
                  </a:cubicBezTo>
                  <a:cubicBezTo>
                    <a:pt x="318" y="39"/>
                    <a:pt x="301" y="110"/>
                    <a:pt x="251" y="125"/>
                  </a:cubicBezTo>
                  <a:cubicBezTo>
                    <a:pt x="201" y="140"/>
                    <a:pt x="141" y="151"/>
                    <a:pt x="131" y="188"/>
                  </a:cubicBezTo>
                  <a:cubicBezTo>
                    <a:pt x="122" y="225"/>
                    <a:pt x="152" y="247"/>
                    <a:pt x="117" y="273"/>
                  </a:cubicBezTo>
                  <a:cubicBezTo>
                    <a:pt x="82" y="298"/>
                    <a:pt x="19" y="335"/>
                    <a:pt x="47" y="398"/>
                  </a:cubicBezTo>
                  <a:cubicBezTo>
                    <a:pt x="74" y="461"/>
                    <a:pt x="0" y="496"/>
                    <a:pt x="40" y="549"/>
                  </a:cubicBezTo>
                  <a:cubicBezTo>
                    <a:pt x="80" y="602"/>
                    <a:pt x="126" y="619"/>
                    <a:pt x="130" y="663"/>
                  </a:cubicBezTo>
                  <a:cubicBezTo>
                    <a:pt x="133" y="707"/>
                    <a:pt x="166" y="713"/>
                    <a:pt x="166"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4" name="Freeform 28"/>
            <p:cNvSpPr>
              <a:spLocks/>
            </p:cNvSpPr>
            <p:nvPr/>
          </p:nvSpPr>
          <p:spPr bwMode="auto">
            <a:xfrm>
              <a:off x="7126288" y="1925638"/>
              <a:ext cx="488950" cy="312738"/>
            </a:xfrm>
            <a:custGeom>
              <a:avLst/>
              <a:gdLst>
                <a:gd name="T0" fmla="*/ 1090 w 1136"/>
                <a:gd name="T1" fmla="*/ 619 h 726"/>
                <a:gd name="T2" fmla="*/ 1079 w 1136"/>
                <a:gd name="T3" fmla="*/ 473 h 726"/>
                <a:gd name="T4" fmla="*/ 1038 w 1136"/>
                <a:gd name="T5" fmla="*/ 372 h 726"/>
                <a:gd name="T6" fmla="*/ 1020 w 1136"/>
                <a:gd name="T7" fmla="*/ 241 h 726"/>
                <a:gd name="T8" fmla="*/ 927 w 1136"/>
                <a:gd name="T9" fmla="*/ 143 h 726"/>
                <a:gd name="T10" fmla="*/ 798 w 1136"/>
                <a:gd name="T11" fmla="*/ 62 h 726"/>
                <a:gd name="T12" fmla="*/ 609 w 1136"/>
                <a:gd name="T13" fmla="*/ 36 h 726"/>
                <a:gd name="T14" fmla="*/ 423 w 1136"/>
                <a:gd name="T15" fmla="*/ 33 h 726"/>
                <a:gd name="T16" fmla="*/ 286 w 1136"/>
                <a:gd name="T17" fmla="*/ 62 h 726"/>
                <a:gd name="T18" fmla="*/ 277 w 1136"/>
                <a:gd name="T19" fmla="*/ 60 h 726"/>
                <a:gd name="T20" fmla="*/ 251 w 1136"/>
                <a:gd name="T21" fmla="*/ 74 h 726"/>
                <a:gd name="T22" fmla="*/ 187 w 1136"/>
                <a:gd name="T23" fmla="*/ 93 h 726"/>
                <a:gd name="T24" fmla="*/ 141 w 1136"/>
                <a:gd name="T25" fmla="*/ 125 h 726"/>
                <a:gd name="T26" fmla="*/ 136 w 1136"/>
                <a:gd name="T27" fmla="*/ 126 h 726"/>
                <a:gd name="T28" fmla="*/ 131 w 1136"/>
                <a:gd name="T29" fmla="*/ 137 h 726"/>
                <a:gd name="T30" fmla="*/ 117 w 1136"/>
                <a:gd name="T31" fmla="*/ 222 h 726"/>
                <a:gd name="T32" fmla="*/ 47 w 1136"/>
                <a:gd name="T33" fmla="*/ 347 h 726"/>
                <a:gd name="T34" fmla="*/ 40 w 1136"/>
                <a:gd name="T35" fmla="*/ 498 h 726"/>
                <a:gd name="T36" fmla="*/ 130 w 1136"/>
                <a:gd name="T37" fmla="*/ 612 h 726"/>
                <a:gd name="T38" fmla="*/ 166 w 1136"/>
                <a:gd name="T39" fmla="*/ 662 h 726"/>
                <a:gd name="T40" fmla="*/ 266 w 1136"/>
                <a:gd name="T41" fmla="*/ 662 h 726"/>
                <a:gd name="T42" fmla="*/ 366 w 1136"/>
                <a:gd name="T43" fmla="*/ 726 h 726"/>
                <a:gd name="T44" fmla="*/ 437 w 1136"/>
                <a:gd name="T45" fmla="*/ 687 h 726"/>
                <a:gd name="T46" fmla="*/ 459 w 1136"/>
                <a:gd name="T47" fmla="*/ 688 h 726"/>
                <a:gd name="T48" fmla="*/ 548 w 1136"/>
                <a:gd name="T49" fmla="*/ 636 h 726"/>
                <a:gd name="T50" fmla="*/ 710 w 1136"/>
                <a:gd name="T51" fmla="*/ 662 h 726"/>
                <a:gd name="T52" fmla="*/ 900 w 1136"/>
                <a:gd name="T53" fmla="*/ 719 h 726"/>
                <a:gd name="T54" fmla="*/ 922 w 1136"/>
                <a:gd name="T55" fmla="*/ 694 h 726"/>
                <a:gd name="T56" fmla="*/ 998 w 1136"/>
                <a:gd name="T57" fmla="*/ 684 h 726"/>
                <a:gd name="T58" fmla="*/ 1032 w 1136"/>
                <a:gd name="T59" fmla="*/ 644 h 726"/>
                <a:gd name="T60" fmla="*/ 1075 w 1136"/>
                <a:gd name="T61" fmla="*/ 639 h 726"/>
                <a:gd name="T62" fmla="*/ 1090 w 1136"/>
                <a:gd name="T63" fmla="*/ 619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726">
                  <a:moveTo>
                    <a:pt x="1090" y="619"/>
                  </a:moveTo>
                  <a:cubicBezTo>
                    <a:pt x="1136" y="538"/>
                    <a:pt x="1069" y="525"/>
                    <a:pt x="1079" y="473"/>
                  </a:cubicBezTo>
                  <a:cubicBezTo>
                    <a:pt x="1088" y="422"/>
                    <a:pt x="1075" y="396"/>
                    <a:pt x="1038" y="372"/>
                  </a:cubicBezTo>
                  <a:cubicBezTo>
                    <a:pt x="1001" y="348"/>
                    <a:pt x="1045" y="307"/>
                    <a:pt x="1020" y="241"/>
                  </a:cubicBezTo>
                  <a:cubicBezTo>
                    <a:pt x="994" y="175"/>
                    <a:pt x="961" y="221"/>
                    <a:pt x="927" y="143"/>
                  </a:cubicBezTo>
                  <a:cubicBezTo>
                    <a:pt x="894" y="66"/>
                    <a:pt x="850" y="125"/>
                    <a:pt x="798" y="62"/>
                  </a:cubicBezTo>
                  <a:cubicBezTo>
                    <a:pt x="747" y="0"/>
                    <a:pt x="693" y="60"/>
                    <a:pt x="609" y="36"/>
                  </a:cubicBezTo>
                  <a:cubicBezTo>
                    <a:pt x="524" y="12"/>
                    <a:pt x="474" y="11"/>
                    <a:pt x="423" y="33"/>
                  </a:cubicBezTo>
                  <a:cubicBezTo>
                    <a:pt x="371" y="55"/>
                    <a:pt x="365" y="86"/>
                    <a:pt x="286" y="62"/>
                  </a:cubicBezTo>
                  <a:cubicBezTo>
                    <a:pt x="283" y="61"/>
                    <a:pt x="280" y="61"/>
                    <a:pt x="277" y="60"/>
                  </a:cubicBezTo>
                  <a:cubicBezTo>
                    <a:pt x="269" y="66"/>
                    <a:pt x="261" y="71"/>
                    <a:pt x="251" y="74"/>
                  </a:cubicBezTo>
                  <a:cubicBezTo>
                    <a:pt x="230" y="80"/>
                    <a:pt x="207" y="86"/>
                    <a:pt x="187" y="93"/>
                  </a:cubicBezTo>
                  <a:cubicBezTo>
                    <a:pt x="173" y="106"/>
                    <a:pt x="159" y="119"/>
                    <a:pt x="141" y="125"/>
                  </a:cubicBezTo>
                  <a:cubicBezTo>
                    <a:pt x="139" y="125"/>
                    <a:pt x="138" y="126"/>
                    <a:pt x="136" y="126"/>
                  </a:cubicBezTo>
                  <a:cubicBezTo>
                    <a:pt x="134" y="130"/>
                    <a:pt x="132" y="133"/>
                    <a:pt x="131" y="137"/>
                  </a:cubicBezTo>
                  <a:cubicBezTo>
                    <a:pt x="122" y="174"/>
                    <a:pt x="152" y="196"/>
                    <a:pt x="117" y="222"/>
                  </a:cubicBezTo>
                  <a:cubicBezTo>
                    <a:pt x="82" y="247"/>
                    <a:pt x="19" y="284"/>
                    <a:pt x="47" y="347"/>
                  </a:cubicBezTo>
                  <a:cubicBezTo>
                    <a:pt x="74" y="410"/>
                    <a:pt x="0" y="445"/>
                    <a:pt x="40" y="498"/>
                  </a:cubicBezTo>
                  <a:cubicBezTo>
                    <a:pt x="80" y="551"/>
                    <a:pt x="126" y="568"/>
                    <a:pt x="130" y="612"/>
                  </a:cubicBezTo>
                  <a:cubicBezTo>
                    <a:pt x="133" y="656"/>
                    <a:pt x="166" y="662"/>
                    <a:pt x="166" y="662"/>
                  </a:cubicBezTo>
                  <a:cubicBezTo>
                    <a:pt x="207" y="699"/>
                    <a:pt x="246" y="669"/>
                    <a:pt x="266" y="662"/>
                  </a:cubicBezTo>
                  <a:cubicBezTo>
                    <a:pt x="284" y="655"/>
                    <a:pt x="319" y="719"/>
                    <a:pt x="366" y="726"/>
                  </a:cubicBezTo>
                  <a:cubicBezTo>
                    <a:pt x="392" y="707"/>
                    <a:pt x="417" y="689"/>
                    <a:pt x="437" y="687"/>
                  </a:cubicBezTo>
                  <a:cubicBezTo>
                    <a:pt x="445" y="686"/>
                    <a:pt x="452" y="687"/>
                    <a:pt x="459" y="688"/>
                  </a:cubicBezTo>
                  <a:cubicBezTo>
                    <a:pt x="492" y="665"/>
                    <a:pt x="523" y="639"/>
                    <a:pt x="548" y="636"/>
                  </a:cubicBezTo>
                  <a:cubicBezTo>
                    <a:pt x="592" y="631"/>
                    <a:pt x="627" y="675"/>
                    <a:pt x="710" y="662"/>
                  </a:cubicBezTo>
                  <a:cubicBezTo>
                    <a:pt x="790" y="650"/>
                    <a:pt x="813" y="715"/>
                    <a:pt x="900" y="719"/>
                  </a:cubicBezTo>
                  <a:cubicBezTo>
                    <a:pt x="908" y="707"/>
                    <a:pt x="913" y="697"/>
                    <a:pt x="922" y="694"/>
                  </a:cubicBezTo>
                  <a:cubicBezTo>
                    <a:pt x="934" y="691"/>
                    <a:pt x="965" y="692"/>
                    <a:pt x="998" y="684"/>
                  </a:cubicBezTo>
                  <a:cubicBezTo>
                    <a:pt x="1014" y="666"/>
                    <a:pt x="1020" y="647"/>
                    <a:pt x="1032" y="644"/>
                  </a:cubicBezTo>
                  <a:cubicBezTo>
                    <a:pt x="1040" y="641"/>
                    <a:pt x="1056" y="641"/>
                    <a:pt x="1075" y="639"/>
                  </a:cubicBezTo>
                  <a:cubicBezTo>
                    <a:pt x="1080" y="633"/>
                    <a:pt x="1085" y="626"/>
                    <a:pt x="1090"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95" name="Group 194"/>
          <p:cNvGrpSpPr/>
          <p:nvPr/>
        </p:nvGrpSpPr>
        <p:grpSpPr>
          <a:xfrm>
            <a:off x="1890942" y="2584172"/>
            <a:ext cx="295459" cy="326055"/>
            <a:chOff x="7126288" y="1903413"/>
            <a:chExt cx="536575" cy="592138"/>
          </a:xfrm>
          <a:solidFill>
            <a:srgbClr val="5E6A71"/>
          </a:solidFill>
        </p:grpSpPr>
        <p:sp>
          <p:nvSpPr>
            <p:cNvPr id="196" name="Freeform 26"/>
            <p:cNvSpPr>
              <a:spLocks/>
            </p:cNvSpPr>
            <p:nvPr/>
          </p:nvSpPr>
          <p:spPr bwMode="auto">
            <a:xfrm>
              <a:off x="7294563" y="2179638"/>
              <a:ext cx="207963" cy="315913"/>
            </a:xfrm>
            <a:custGeom>
              <a:avLst/>
              <a:gdLst>
                <a:gd name="T0" fmla="*/ 0 w 483"/>
                <a:gd name="T1" fmla="*/ 120 h 737"/>
                <a:gd name="T2" fmla="*/ 157 w 483"/>
                <a:gd name="T3" fmla="*/ 146 h 737"/>
                <a:gd name="T4" fmla="*/ 210 w 483"/>
                <a:gd name="T5" fmla="*/ 345 h 737"/>
                <a:gd name="T6" fmla="*/ 11 w 483"/>
                <a:gd name="T7" fmla="*/ 730 h 737"/>
                <a:gd name="T8" fmla="*/ 448 w 483"/>
                <a:gd name="T9" fmla="*/ 737 h 737"/>
                <a:gd name="T10" fmla="*/ 292 w 483"/>
                <a:gd name="T11" fmla="*/ 577 h 737"/>
                <a:gd name="T12" fmla="*/ 293 w 483"/>
                <a:gd name="T13" fmla="*/ 260 h 737"/>
                <a:gd name="T14" fmla="*/ 483 w 483"/>
                <a:gd name="T15" fmla="*/ 96 h 737"/>
                <a:gd name="T16" fmla="*/ 457 w 483"/>
                <a:gd name="T17" fmla="*/ 68 h 737"/>
                <a:gd name="T18" fmla="*/ 266 w 483"/>
                <a:gd name="T19" fmla="*/ 197 h 737"/>
                <a:gd name="T20" fmla="*/ 323 w 483"/>
                <a:gd name="T21" fmla="*/ 50 h 737"/>
                <a:gd name="T22" fmla="*/ 279 w 483"/>
                <a:gd name="T23" fmla="*/ 37 h 737"/>
                <a:gd name="T24" fmla="*/ 218 w 483"/>
                <a:gd name="T25" fmla="*/ 137 h 737"/>
                <a:gd name="T26" fmla="*/ 146 w 483"/>
                <a:gd name="T27" fmla="*/ 0 h 737"/>
                <a:gd name="T28" fmla="*/ 115 w 483"/>
                <a:gd name="T29" fmla="*/ 19 h 737"/>
                <a:gd name="T30" fmla="*/ 161 w 483"/>
                <a:gd name="T31" fmla="*/ 107 h 737"/>
                <a:gd name="T32" fmla="*/ 19 w 483"/>
                <a:gd name="T33" fmla="*/ 90 h 737"/>
                <a:gd name="T34" fmla="*/ 0 w 483"/>
                <a:gd name="T35" fmla="*/ 12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3" h="737">
                  <a:moveTo>
                    <a:pt x="0" y="120"/>
                  </a:moveTo>
                  <a:cubicBezTo>
                    <a:pt x="0" y="120"/>
                    <a:pt x="129" y="127"/>
                    <a:pt x="157" y="146"/>
                  </a:cubicBezTo>
                  <a:cubicBezTo>
                    <a:pt x="185" y="164"/>
                    <a:pt x="223" y="179"/>
                    <a:pt x="210" y="345"/>
                  </a:cubicBezTo>
                  <a:cubicBezTo>
                    <a:pt x="198" y="510"/>
                    <a:pt x="253" y="667"/>
                    <a:pt x="11" y="730"/>
                  </a:cubicBezTo>
                  <a:cubicBezTo>
                    <a:pt x="448" y="737"/>
                    <a:pt x="448" y="737"/>
                    <a:pt x="448" y="737"/>
                  </a:cubicBezTo>
                  <a:cubicBezTo>
                    <a:pt x="448" y="737"/>
                    <a:pt x="315" y="713"/>
                    <a:pt x="292" y="577"/>
                  </a:cubicBezTo>
                  <a:cubicBezTo>
                    <a:pt x="268" y="440"/>
                    <a:pt x="255" y="328"/>
                    <a:pt x="293" y="260"/>
                  </a:cubicBezTo>
                  <a:cubicBezTo>
                    <a:pt x="332" y="192"/>
                    <a:pt x="402" y="127"/>
                    <a:pt x="483" y="96"/>
                  </a:cubicBezTo>
                  <a:cubicBezTo>
                    <a:pt x="457" y="68"/>
                    <a:pt x="457" y="68"/>
                    <a:pt x="457" y="68"/>
                  </a:cubicBezTo>
                  <a:cubicBezTo>
                    <a:pt x="457" y="68"/>
                    <a:pt x="349" y="112"/>
                    <a:pt x="266" y="197"/>
                  </a:cubicBezTo>
                  <a:cubicBezTo>
                    <a:pt x="251" y="208"/>
                    <a:pt x="253" y="101"/>
                    <a:pt x="323" y="50"/>
                  </a:cubicBezTo>
                  <a:cubicBezTo>
                    <a:pt x="279" y="37"/>
                    <a:pt x="279" y="37"/>
                    <a:pt x="279" y="37"/>
                  </a:cubicBezTo>
                  <a:cubicBezTo>
                    <a:pt x="279" y="37"/>
                    <a:pt x="242" y="132"/>
                    <a:pt x="218" y="137"/>
                  </a:cubicBezTo>
                  <a:cubicBezTo>
                    <a:pt x="194" y="142"/>
                    <a:pt x="146" y="0"/>
                    <a:pt x="146" y="0"/>
                  </a:cubicBezTo>
                  <a:cubicBezTo>
                    <a:pt x="115" y="19"/>
                    <a:pt x="115" y="19"/>
                    <a:pt x="115" y="19"/>
                  </a:cubicBezTo>
                  <a:cubicBezTo>
                    <a:pt x="115" y="19"/>
                    <a:pt x="153" y="96"/>
                    <a:pt x="161" y="107"/>
                  </a:cubicBezTo>
                  <a:cubicBezTo>
                    <a:pt x="168" y="118"/>
                    <a:pt x="94" y="96"/>
                    <a:pt x="19" y="90"/>
                  </a:cubicBezTo>
                  <a:lnTo>
                    <a:pt x="0"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7" name="Freeform 27"/>
            <p:cNvSpPr>
              <a:spLocks/>
            </p:cNvSpPr>
            <p:nvPr/>
          </p:nvSpPr>
          <p:spPr bwMode="auto">
            <a:xfrm>
              <a:off x="7126288" y="1903413"/>
              <a:ext cx="536575" cy="338138"/>
            </a:xfrm>
            <a:custGeom>
              <a:avLst/>
              <a:gdLst>
                <a:gd name="T0" fmla="*/ 166 w 1246"/>
                <a:gd name="T1" fmla="*/ 713 h 785"/>
                <a:gd name="T2" fmla="*/ 266 w 1246"/>
                <a:gd name="T3" fmla="*/ 713 h 785"/>
                <a:gd name="T4" fmla="*/ 382 w 1246"/>
                <a:gd name="T5" fmla="*/ 777 h 785"/>
                <a:gd name="T6" fmla="*/ 548 w 1246"/>
                <a:gd name="T7" fmla="*/ 687 h 785"/>
                <a:gd name="T8" fmla="*/ 710 w 1246"/>
                <a:gd name="T9" fmla="*/ 713 h 785"/>
                <a:gd name="T10" fmla="*/ 911 w 1246"/>
                <a:gd name="T11" fmla="*/ 770 h 785"/>
                <a:gd name="T12" fmla="*/ 1032 w 1246"/>
                <a:gd name="T13" fmla="*/ 695 h 785"/>
                <a:gd name="T14" fmla="*/ 1200 w 1246"/>
                <a:gd name="T15" fmla="*/ 619 h 785"/>
                <a:gd name="T16" fmla="*/ 1189 w 1246"/>
                <a:gd name="T17" fmla="*/ 473 h 785"/>
                <a:gd name="T18" fmla="*/ 1149 w 1246"/>
                <a:gd name="T19" fmla="*/ 372 h 785"/>
                <a:gd name="T20" fmla="*/ 1130 w 1246"/>
                <a:gd name="T21" fmla="*/ 241 h 785"/>
                <a:gd name="T22" fmla="*/ 1038 w 1246"/>
                <a:gd name="T23" fmla="*/ 144 h 785"/>
                <a:gd name="T24" fmla="*/ 909 w 1246"/>
                <a:gd name="T25" fmla="*/ 63 h 785"/>
                <a:gd name="T26" fmla="*/ 719 w 1246"/>
                <a:gd name="T27" fmla="*/ 37 h 785"/>
                <a:gd name="T28" fmla="*/ 533 w 1246"/>
                <a:gd name="T29" fmla="*/ 33 h 785"/>
                <a:gd name="T30" fmla="*/ 397 w 1246"/>
                <a:gd name="T31" fmla="*/ 63 h 785"/>
                <a:gd name="T32" fmla="*/ 251 w 1246"/>
                <a:gd name="T33" fmla="*/ 125 h 785"/>
                <a:gd name="T34" fmla="*/ 131 w 1246"/>
                <a:gd name="T35" fmla="*/ 188 h 785"/>
                <a:gd name="T36" fmla="*/ 117 w 1246"/>
                <a:gd name="T37" fmla="*/ 273 h 785"/>
                <a:gd name="T38" fmla="*/ 47 w 1246"/>
                <a:gd name="T39" fmla="*/ 398 h 785"/>
                <a:gd name="T40" fmla="*/ 40 w 1246"/>
                <a:gd name="T41" fmla="*/ 549 h 785"/>
                <a:gd name="T42" fmla="*/ 130 w 1246"/>
                <a:gd name="T43" fmla="*/ 663 h 785"/>
                <a:gd name="T44" fmla="*/ 166 w 1246"/>
                <a:gd name="T45" fmla="*/ 713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6" h="785">
                  <a:moveTo>
                    <a:pt x="166" y="713"/>
                  </a:moveTo>
                  <a:cubicBezTo>
                    <a:pt x="207" y="750"/>
                    <a:pt x="246" y="720"/>
                    <a:pt x="266" y="713"/>
                  </a:cubicBezTo>
                  <a:cubicBezTo>
                    <a:pt x="286" y="706"/>
                    <a:pt x="327" y="785"/>
                    <a:pt x="382" y="777"/>
                  </a:cubicBezTo>
                  <a:cubicBezTo>
                    <a:pt x="437" y="770"/>
                    <a:pt x="504" y="693"/>
                    <a:pt x="548" y="687"/>
                  </a:cubicBezTo>
                  <a:cubicBezTo>
                    <a:pt x="592" y="682"/>
                    <a:pt x="627" y="726"/>
                    <a:pt x="710" y="713"/>
                  </a:cubicBezTo>
                  <a:cubicBezTo>
                    <a:pt x="793" y="700"/>
                    <a:pt x="815" y="772"/>
                    <a:pt x="911" y="770"/>
                  </a:cubicBezTo>
                  <a:cubicBezTo>
                    <a:pt x="1007" y="768"/>
                    <a:pt x="1009" y="702"/>
                    <a:pt x="1032" y="695"/>
                  </a:cubicBezTo>
                  <a:cubicBezTo>
                    <a:pt x="1056" y="687"/>
                    <a:pt x="1154" y="700"/>
                    <a:pt x="1200" y="619"/>
                  </a:cubicBezTo>
                  <a:cubicBezTo>
                    <a:pt x="1246" y="538"/>
                    <a:pt x="1180" y="525"/>
                    <a:pt x="1189" y="473"/>
                  </a:cubicBezTo>
                  <a:cubicBezTo>
                    <a:pt x="1198" y="422"/>
                    <a:pt x="1185" y="396"/>
                    <a:pt x="1149" y="372"/>
                  </a:cubicBezTo>
                  <a:cubicBezTo>
                    <a:pt x="1112" y="348"/>
                    <a:pt x="1156" y="308"/>
                    <a:pt x="1130" y="241"/>
                  </a:cubicBezTo>
                  <a:cubicBezTo>
                    <a:pt x="1104" y="175"/>
                    <a:pt x="1071" y="221"/>
                    <a:pt x="1038" y="144"/>
                  </a:cubicBezTo>
                  <a:cubicBezTo>
                    <a:pt x="1005" y="66"/>
                    <a:pt x="961" y="125"/>
                    <a:pt x="909" y="63"/>
                  </a:cubicBezTo>
                  <a:cubicBezTo>
                    <a:pt x="857" y="0"/>
                    <a:pt x="804" y="61"/>
                    <a:pt x="719" y="37"/>
                  </a:cubicBezTo>
                  <a:cubicBezTo>
                    <a:pt x="634" y="13"/>
                    <a:pt x="585" y="11"/>
                    <a:pt x="533" y="33"/>
                  </a:cubicBezTo>
                  <a:cubicBezTo>
                    <a:pt x="482" y="55"/>
                    <a:pt x="476" y="86"/>
                    <a:pt x="397" y="63"/>
                  </a:cubicBezTo>
                  <a:cubicBezTo>
                    <a:pt x="318" y="39"/>
                    <a:pt x="301" y="110"/>
                    <a:pt x="251" y="125"/>
                  </a:cubicBezTo>
                  <a:cubicBezTo>
                    <a:pt x="201" y="140"/>
                    <a:pt x="141" y="151"/>
                    <a:pt x="131" y="188"/>
                  </a:cubicBezTo>
                  <a:cubicBezTo>
                    <a:pt x="122" y="225"/>
                    <a:pt x="152" y="247"/>
                    <a:pt x="117" y="273"/>
                  </a:cubicBezTo>
                  <a:cubicBezTo>
                    <a:pt x="82" y="298"/>
                    <a:pt x="19" y="335"/>
                    <a:pt x="47" y="398"/>
                  </a:cubicBezTo>
                  <a:cubicBezTo>
                    <a:pt x="74" y="461"/>
                    <a:pt x="0" y="496"/>
                    <a:pt x="40" y="549"/>
                  </a:cubicBezTo>
                  <a:cubicBezTo>
                    <a:pt x="80" y="602"/>
                    <a:pt x="126" y="619"/>
                    <a:pt x="130" y="663"/>
                  </a:cubicBezTo>
                  <a:cubicBezTo>
                    <a:pt x="133" y="707"/>
                    <a:pt x="166" y="713"/>
                    <a:pt x="166" y="7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8" name="Freeform 28"/>
            <p:cNvSpPr>
              <a:spLocks/>
            </p:cNvSpPr>
            <p:nvPr/>
          </p:nvSpPr>
          <p:spPr bwMode="auto">
            <a:xfrm>
              <a:off x="7126288" y="1925638"/>
              <a:ext cx="488950" cy="312738"/>
            </a:xfrm>
            <a:custGeom>
              <a:avLst/>
              <a:gdLst>
                <a:gd name="T0" fmla="*/ 1090 w 1136"/>
                <a:gd name="T1" fmla="*/ 619 h 726"/>
                <a:gd name="T2" fmla="*/ 1079 w 1136"/>
                <a:gd name="T3" fmla="*/ 473 h 726"/>
                <a:gd name="T4" fmla="*/ 1038 w 1136"/>
                <a:gd name="T5" fmla="*/ 372 h 726"/>
                <a:gd name="T6" fmla="*/ 1020 w 1136"/>
                <a:gd name="T7" fmla="*/ 241 h 726"/>
                <a:gd name="T8" fmla="*/ 927 w 1136"/>
                <a:gd name="T9" fmla="*/ 143 h 726"/>
                <a:gd name="T10" fmla="*/ 798 w 1136"/>
                <a:gd name="T11" fmla="*/ 62 h 726"/>
                <a:gd name="T12" fmla="*/ 609 w 1136"/>
                <a:gd name="T13" fmla="*/ 36 h 726"/>
                <a:gd name="T14" fmla="*/ 423 w 1136"/>
                <a:gd name="T15" fmla="*/ 33 h 726"/>
                <a:gd name="T16" fmla="*/ 286 w 1136"/>
                <a:gd name="T17" fmla="*/ 62 h 726"/>
                <a:gd name="T18" fmla="*/ 277 w 1136"/>
                <a:gd name="T19" fmla="*/ 60 h 726"/>
                <a:gd name="T20" fmla="*/ 251 w 1136"/>
                <a:gd name="T21" fmla="*/ 74 h 726"/>
                <a:gd name="T22" fmla="*/ 187 w 1136"/>
                <a:gd name="T23" fmla="*/ 93 h 726"/>
                <a:gd name="T24" fmla="*/ 141 w 1136"/>
                <a:gd name="T25" fmla="*/ 125 h 726"/>
                <a:gd name="T26" fmla="*/ 136 w 1136"/>
                <a:gd name="T27" fmla="*/ 126 h 726"/>
                <a:gd name="T28" fmla="*/ 131 w 1136"/>
                <a:gd name="T29" fmla="*/ 137 h 726"/>
                <a:gd name="T30" fmla="*/ 117 w 1136"/>
                <a:gd name="T31" fmla="*/ 222 h 726"/>
                <a:gd name="T32" fmla="*/ 47 w 1136"/>
                <a:gd name="T33" fmla="*/ 347 h 726"/>
                <a:gd name="T34" fmla="*/ 40 w 1136"/>
                <a:gd name="T35" fmla="*/ 498 h 726"/>
                <a:gd name="T36" fmla="*/ 130 w 1136"/>
                <a:gd name="T37" fmla="*/ 612 h 726"/>
                <a:gd name="T38" fmla="*/ 166 w 1136"/>
                <a:gd name="T39" fmla="*/ 662 h 726"/>
                <a:gd name="T40" fmla="*/ 266 w 1136"/>
                <a:gd name="T41" fmla="*/ 662 h 726"/>
                <a:gd name="T42" fmla="*/ 366 w 1136"/>
                <a:gd name="T43" fmla="*/ 726 h 726"/>
                <a:gd name="T44" fmla="*/ 437 w 1136"/>
                <a:gd name="T45" fmla="*/ 687 h 726"/>
                <a:gd name="T46" fmla="*/ 459 w 1136"/>
                <a:gd name="T47" fmla="*/ 688 h 726"/>
                <a:gd name="T48" fmla="*/ 548 w 1136"/>
                <a:gd name="T49" fmla="*/ 636 h 726"/>
                <a:gd name="T50" fmla="*/ 710 w 1136"/>
                <a:gd name="T51" fmla="*/ 662 h 726"/>
                <a:gd name="T52" fmla="*/ 900 w 1136"/>
                <a:gd name="T53" fmla="*/ 719 h 726"/>
                <a:gd name="T54" fmla="*/ 922 w 1136"/>
                <a:gd name="T55" fmla="*/ 694 h 726"/>
                <a:gd name="T56" fmla="*/ 998 w 1136"/>
                <a:gd name="T57" fmla="*/ 684 h 726"/>
                <a:gd name="T58" fmla="*/ 1032 w 1136"/>
                <a:gd name="T59" fmla="*/ 644 h 726"/>
                <a:gd name="T60" fmla="*/ 1075 w 1136"/>
                <a:gd name="T61" fmla="*/ 639 h 726"/>
                <a:gd name="T62" fmla="*/ 1090 w 1136"/>
                <a:gd name="T63" fmla="*/ 619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36" h="726">
                  <a:moveTo>
                    <a:pt x="1090" y="619"/>
                  </a:moveTo>
                  <a:cubicBezTo>
                    <a:pt x="1136" y="538"/>
                    <a:pt x="1069" y="525"/>
                    <a:pt x="1079" y="473"/>
                  </a:cubicBezTo>
                  <a:cubicBezTo>
                    <a:pt x="1088" y="422"/>
                    <a:pt x="1075" y="396"/>
                    <a:pt x="1038" y="372"/>
                  </a:cubicBezTo>
                  <a:cubicBezTo>
                    <a:pt x="1001" y="348"/>
                    <a:pt x="1045" y="307"/>
                    <a:pt x="1020" y="241"/>
                  </a:cubicBezTo>
                  <a:cubicBezTo>
                    <a:pt x="994" y="175"/>
                    <a:pt x="961" y="221"/>
                    <a:pt x="927" y="143"/>
                  </a:cubicBezTo>
                  <a:cubicBezTo>
                    <a:pt x="894" y="66"/>
                    <a:pt x="850" y="125"/>
                    <a:pt x="798" y="62"/>
                  </a:cubicBezTo>
                  <a:cubicBezTo>
                    <a:pt x="747" y="0"/>
                    <a:pt x="693" y="60"/>
                    <a:pt x="609" y="36"/>
                  </a:cubicBezTo>
                  <a:cubicBezTo>
                    <a:pt x="524" y="12"/>
                    <a:pt x="474" y="11"/>
                    <a:pt x="423" y="33"/>
                  </a:cubicBezTo>
                  <a:cubicBezTo>
                    <a:pt x="371" y="55"/>
                    <a:pt x="365" y="86"/>
                    <a:pt x="286" y="62"/>
                  </a:cubicBezTo>
                  <a:cubicBezTo>
                    <a:pt x="283" y="61"/>
                    <a:pt x="280" y="61"/>
                    <a:pt x="277" y="60"/>
                  </a:cubicBezTo>
                  <a:cubicBezTo>
                    <a:pt x="269" y="66"/>
                    <a:pt x="261" y="71"/>
                    <a:pt x="251" y="74"/>
                  </a:cubicBezTo>
                  <a:cubicBezTo>
                    <a:pt x="230" y="80"/>
                    <a:pt x="207" y="86"/>
                    <a:pt x="187" y="93"/>
                  </a:cubicBezTo>
                  <a:cubicBezTo>
                    <a:pt x="173" y="106"/>
                    <a:pt x="159" y="119"/>
                    <a:pt x="141" y="125"/>
                  </a:cubicBezTo>
                  <a:cubicBezTo>
                    <a:pt x="139" y="125"/>
                    <a:pt x="138" y="126"/>
                    <a:pt x="136" y="126"/>
                  </a:cubicBezTo>
                  <a:cubicBezTo>
                    <a:pt x="134" y="130"/>
                    <a:pt x="132" y="133"/>
                    <a:pt x="131" y="137"/>
                  </a:cubicBezTo>
                  <a:cubicBezTo>
                    <a:pt x="122" y="174"/>
                    <a:pt x="152" y="196"/>
                    <a:pt x="117" y="222"/>
                  </a:cubicBezTo>
                  <a:cubicBezTo>
                    <a:pt x="82" y="247"/>
                    <a:pt x="19" y="284"/>
                    <a:pt x="47" y="347"/>
                  </a:cubicBezTo>
                  <a:cubicBezTo>
                    <a:pt x="74" y="410"/>
                    <a:pt x="0" y="445"/>
                    <a:pt x="40" y="498"/>
                  </a:cubicBezTo>
                  <a:cubicBezTo>
                    <a:pt x="80" y="551"/>
                    <a:pt x="126" y="568"/>
                    <a:pt x="130" y="612"/>
                  </a:cubicBezTo>
                  <a:cubicBezTo>
                    <a:pt x="133" y="656"/>
                    <a:pt x="166" y="662"/>
                    <a:pt x="166" y="662"/>
                  </a:cubicBezTo>
                  <a:cubicBezTo>
                    <a:pt x="207" y="699"/>
                    <a:pt x="246" y="669"/>
                    <a:pt x="266" y="662"/>
                  </a:cubicBezTo>
                  <a:cubicBezTo>
                    <a:pt x="284" y="655"/>
                    <a:pt x="319" y="719"/>
                    <a:pt x="366" y="726"/>
                  </a:cubicBezTo>
                  <a:cubicBezTo>
                    <a:pt x="392" y="707"/>
                    <a:pt x="417" y="689"/>
                    <a:pt x="437" y="687"/>
                  </a:cubicBezTo>
                  <a:cubicBezTo>
                    <a:pt x="445" y="686"/>
                    <a:pt x="452" y="687"/>
                    <a:pt x="459" y="688"/>
                  </a:cubicBezTo>
                  <a:cubicBezTo>
                    <a:pt x="492" y="665"/>
                    <a:pt x="523" y="639"/>
                    <a:pt x="548" y="636"/>
                  </a:cubicBezTo>
                  <a:cubicBezTo>
                    <a:pt x="592" y="631"/>
                    <a:pt x="627" y="675"/>
                    <a:pt x="710" y="662"/>
                  </a:cubicBezTo>
                  <a:cubicBezTo>
                    <a:pt x="790" y="650"/>
                    <a:pt x="813" y="715"/>
                    <a:pt x="900" y="719"/>
                  </a:cubicBezTo>
                  <a:cubicBezTo>
                    <a:pt x="908" y="707"/>
                    <a:pt x="913" y="697"/>
                    <a:pt x="922" y="694"/>
                  </a:cubicBezTo>
                  <a:cubicBezTo>
                    <a:pt x="934" y="691"/>
                    <a:pt x="965" y="692"/>
                    <a:pt x="998" y="684"/>
                  </a:cubicBezTo>
                  <a:cubicBezTo>
                    <a:pt x="1014" y="666"/>
                    <a:pt x="1020" y="647"/>
                    <a:pt x="1032" y="644"/>
                  </a:cubicBezTo>
                  <a:cubicBezTo>
                    <a:pt x="1040" y="641"/>
                    <a:pt x="1056" y="641"/>
                    <a:pt x="1075" y="639"/>
                  </a:cubicBezTo>
                  <a:cubicBezTo>
                    <a:pt x="1080" y="633"/>
                    <a:pt x="1085" y="626"/>
                    <a:pt x="1090" y="6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151" name="Group 150"/>
          <p:cNvGrpSpPr/>
          <p:nvPr/>
        </p:nvGrpSpPr>
        <p:grpSpPr>
          <a:xfrm>
            <a:off x="2275226" y="1472503"/>
            <a:ext cx="544387" cy="437966"/>
            <a:chOff x="538163" y="2776538"/>
            <a:chExt cx="633412" cy="509587"/>
          </a:xfrm>
          <a:solidFill>
            <a:schemeClr val="accent2"/>
          </a:solidFill>
        </p:grpSpPr>
        <p:sp>
          <p:nvSpPr>
            <p:cNvPr id="152" name="Freeform 20"/>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53" name="Freeform 21"/>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54" name="Freeform 22"/>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grpSp>
      <p:grpSp>
        <p:nvGrpSpPr>
          <p:cNvPr id="155" name="Group 154"/>
          <p:cNvGrpSpPr/>
          <p:nvPr/>
        </p:nvGrpSpPr>
        <p:grpSpPr>
          <a:xfrm>
            <a:off x="3171884" y="1472503"/>
            <a:ext cx="544387" cy="437966"/>
            <a:chOff x="538163" y="2776538"/>
            <a:chExt cx="633412" cy="509587"/>
          </a:xfrm>
          <a:solidFill>
            <a:schemeClr val="accent2"/>
          </a:solidFill>
        </p:grpSpPr>
        <p:sp>
          <p:nvSpPr>
            <p:cNvPr id="156" name="Freeform 20"/>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57" name="Freeform 21"/>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58" name="Freeform 22"/>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grpSp>
      <p:grpSp>
        <p:nvGrpSpPr>
          <p:cNvPr id="159" name="Group 158"/>
          <p:cNvGrpSpPr/>
          <p:nvPr/>
        </p:nvGrpSpPr>
        <p:grpSpPr>
          <a:xfrm>
            <a:off x="4119757" y="1472503"/>
            <a:ext cx="544387" cy="437966"/>
            <a:chOff x="538163" y="2776538"/>
            <a:chExt cx="633412" cy="509587"/>
          </a:xfrm>
          <a:solidFill>
            <a:schemeClr val="accent2"/>
          </a:solidFill>
        </p:grpSpPr>
        <p:sp>
          <p:nvSpPr>
            <p:cNvPr id="160" name="Freeform 20"/>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61" name="Freeform 21"/>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62" name="Freeform 22"/>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grpSp>
      <p:grpSp>
        <p:nvGrpSpPr>
          <p:cNvPr id="163" name="Group 162"/>
          <p:cNvGrpSpPr/>
          <p:nvPr/>
        </p:nvGrpSpPr>
        <p:grpSpPr>
          <a:xfrm>
            <a:off x="5160139" y="1472503"/>
            <a:ext cx="544387" cy="437966"/>
            <a:chOff x="538163" y="2776538"/>
            <a:chExt cx="633412" cy="509587"/>
          </a:xfrm>
          <a:solidFill>
            <a:schemeClr val="accent2"/>
          </a:solidFill>
        </p:grpSpPr>
        <p:sp>
          <p:nvSpPr>
            <p:cNvPr id="164" name="Freeform 20"/>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65" name="Freeform 21"/>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166" name="Freeform 22"/>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grpSp>
      <p:sp>
        <p:nvSpPr>
          <p:cNvPr id="211" name="TextBox 210">
            <a:extLst>
              <a:ext uri="{FF2B5EF4-FFF2-40B4-BE49-F238E27FC236}">
                <a16:creationId xmlns:a16="http://schemas.microsoft.com/office/drawing/2014/main" id="{F82DAF5E-126C-F249-9A57-0C7579E4A75A}"/>
              </a:ext>
            </a:extLst>
          </p:cNvPr>
          <p:cNvSpPr txBox="1"/>
          <p:nvPr/>
        </p:nvSpPr>
        <p:spPr>
          <a:xfrm>
            <a:off x="1093902" y="3777977"/>
            <a:ext cx="163506" cy="276999"/>
          </a:xfrm>
          <a:prstGeom prst="rect">
            <a:avLst/>
          </a:prstGeom>
          <a:noFill/>
          <a:ln w="12700">
            <a:noFill/>
          </a:ln>
        </p:spPr>
        <p:txBody>
          <a:bodyPr wrap="none" lIns="0" tIns="0" rIns="0" bIns="0" rtlCol="0" anchor="t" anchorCtr="0">
            <a:spAutoFit/>
          </a:bodyPr>
          <a:lstStyle/>
          <a:p>
            <a:pPr algn="ctr"/>
            <a:r>
              <a:rPr lang="en-GB" sz="1800" b="1">
                <a:solidFill>
                  <a:schemeClr val="accent6"/>
                </a:solidFill>
              </a:rPr>
              <a:t>– </a:t>
            </a:r>
          </a:p>
        </p:txBody>
      </p:sp>
      <p:grpSp>
        <p:nvGrpSpPr>
          <p:cNvPr id="213" name="Group 212"/>
          <p:cNvGrpSpPr/>
          <p:nvPr/>
        </p:nvGrpSpPr>
        <p:grpSpPr>
          <a:xfrm>
            <a:off x="1958625" y="3446783"/>
            <a:ext cx="130241" cy="305859"/>
            <a:chOff x="3281315" y="1703922"/>
            <a:chExt cx="117989" cy="277086"/>
          </a:xfrm>
          <a:solidFill>
            <a:schemeClr val="accent6"/>
          </a:solidFill>
        </p:grpSpPr>
        <p:sp>
          <p:nvSpPr>
            <p:cNvPr id="214" name="Freeform 9"/>
            <p:cNvSpPr>
              <a:spLocks/>
            </p:cNvSpPr>
            <p:nvPr/>
          </p:nvSpPr>
          <p:spPr bwMode="auto">
            <a:xfrm>
              <a:off x="3329272" y="1966545"/>
              <a:ext cx="31971" cy="14463"/>
            </a:xfrm>
            <a:custGeom>
              <a:avLst/>
              <a:gdLst>
                <a:gd name="T0" fmla="*/ 39 w 41"/>
                <a:gd name="T1" fmla="*/ 1 h 19"/>
                <a:gd name="T2" fmla="*/ 21 w 41"/>
                <a:gd name="T3" fmla="*/ 3 h 19"/>
                <a:gd name="T4" fmla="*/ 0 w 41"/>
                <a:gd name="T5" fmla="*/ 0 h 19"/>
                <a:gd name="T6" fmla="*/ 21 w 41"/>
                <a:gd name="T7" fmla="*/ 19 h 19"/>
                <a:gd name="T8" fmla="*/ 41 w 41"/>
                <a:gd name="T9" fmla="*/ 0 h 19"/>
                <a:gd name="T10" fmla="*/ 39 w 41"/>
                <a:gd name="T11" fmla="*/ 1 h 19"/>
              </a:gdLst>
              <a:ahLst/>
              <a:cxnLst>
                <a:cxn ang="0">
                  <a:pos x="T0" y="T1"/>
                </a:cxn>
                <a:cxn ang="0">
                  <a:pos x="T2" y="T3"/>
                </a:cxn>
                <a:cxn ang="0">
                  <a:pos x="T4" y="T5"/>
                </a:cxn>
                <a:cxn ang="0">
                  <a:pos x="T6" y="T7"/>
                </a:cxn>
                <a:cxn ang="0">
                  <a:pos x="T8" y="T9"/>
                </a:cxn>
                <a:cxn ang="0">
                  <a:pos x="T10" y="T11"/>
                </a:cxn>
              </a:cxnLst>
              <a:rect l="0" t="0" r="r" b="b"/>
              <a:pathLst>
                <a:path w="41" h="19">
                  <a:moveTo>
                    <a:pt x="39" y="1"/>
                  </a:moveTo>
                  <a:cubicBezTo>
                    <a:pt x="33" y="2"/>
                    <a:pt x="27" y="3"/>
                    <a:pt x="21" y="3"/>
                  </a:cubicBezTo>
                  <a:cubicBezTo>
                    <a:pt x="14" y="3"/>
                    <a:pt x="7" y="2"/>
                    <a:pt x="0" y="0"/>
                  </a:cubicBezTo>
                  <a:cubicBezTo>
                    <a:pt x="1" y="11"/>
                    <a:pt x="10" y="19"/>
                    <a:pt x="21" y="19"/>
                  </a:cubicBezTo>
                  <a:cubicBezTo>
                    <a:pt x="32" y="19"/>
                    <a:pt x="40" y="11"/>
                    <a:pt x="41" y="0"/>
                  </a:cubicBezTo>
                  <a:lnTo>
                    <a:pt x="3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5" name="Freeform 10"/>
            <p:cNvSpPr>
              <a:spLocks/>
            </p:cNvSpPr>
            <p:nvPr/>
          </p:nvSpPr>
          <p:spPr bwMode="auto">
            <a:xfrm>
              <a:off x="3336884" y="1703922"/>
              <a:ext cx="17508" cy="13702"/>
            </a:xfrm>
            <a:custGeom>
              <a:avLst/>
              <a:gdLst>
                <a:gd name="T0" fmla="*/ 2 w 22"/>
                <a:gd name="T1" fmla="*/ 18 h 18"/>
                <a:gd name="T2" fmla="*/ 5 w 22"/>
                <a:gd name="T3" fmla="*/ 18 h 18"/>
                <a:gd name="T4" fmla="*/ 16 w 22"/>
                <a:gd name="T5" fmla="*/ 18 h 18"/>
                <a:gd name="T6" fmla="*/ 20 w 22"/>
                <a:gd name="T7" fmla="*/ 18 h 18"/>
                <a:gd name="T8" fmla="*/ 20 w 22"/>
                <a:gd name="T9" fmla="*/ 18 h 18"/>
                <a:gd name="T10" fmla="*/ 22 w 22"/>
                <a:gd name="T11" fmla="*/ 13 h 18"/>
                <a:gd name="T12" fmla="*/ 21 w 22"/>
                <a:gd name="T13" fmla="*/ 6 h 18"/>
                <a:gd name="T14" fmla="*/ 15 w 22"/>
                <a:gd name="T15" fmla="*/ 0 h 18"/>
                <a:gd name="T16" fmla="*/ 11 w 22"/>
                <a:gd name="T17" fmla="*/ 0 h 18"/>
                <a:gd name="T18" fmla="*/ 7 w 22"/>
                <a:gd name="T19" fmla="*/ 0 h 18"/>
                <a:gd name="T20" fmla="*/ 1 w 22"/>
                <a:gd name="T21" fmla="*/ 6 h 18"/>
                <a:gd name="T22" fmla="*/ 0 w 22"/>
                <a:gd name="T23" fmla="*/ 13 h 18"/>
                <a:gd name="T24" fmla="*/ 1 w 22"/>
                <a:gd name="T25" fmla="*/ 18 h 18"/>
                <a:gd name="T26" fmla="*/ 2 w 22"/>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2" y="18"/>
                  </a:moveTo>
                  <a:cubicBezTo>
                    <a:pt x="3" y="18"/>
                    <a:pt x="4" y="18"/>
                    <a:pt x="5" y="18"/>
                  </a:cubicBezTo>
                  <a:cubicBezTo>
                    <a:pt x="9" y="17"/>
                    <a:pt x="13" y="17"/>
                    <a:pt x="16" y="18"/>
                  </a:cubicBezTo>
                  <a:cubicBezTo>
                    <a:pt x="18" y="18"/>
                    <a:pt x="19" y="18"/>
                    <a:pt x="20" y="18"/>
                  </a:cubicBezTo>
                  <a:cubicBezTo>
                    <a:pt x="20" y="18"/>
                    <a:pt x="20" y="18"/>
                    <a:pt x="20" y="18"/>
                  </a:cubicBezTo>
                  <a:cubicBezTo>
                    <a:pt x="21" y="17"/>
                    <a:pt x="22" y="15"/>
                    <a:pt x="22" y="13"/>
                  </a:cubicBezTo>
                  <a:cubicBezTo>
                    <a:pt x="21" y="6"/>
                    <a:pt x="21" y="6"/>
                    <a:pt x="21" y="6"/>
                  </a:cubicBezTo>
                  <a:cubicBezTo>
                    <a:pt x="20" y="3"/>
                    <a:pt x="18" y="1"/>
                    <a:pt x="15" y="0"/>
                  </a:cubicBezTo>
                  <a:cubicBezTo>
                    <a:pt x="13" y="0"/>
                    <a:pt x="12" y="0"/>
                    <a:pt x="11" y="0"/>
                  </a:cubicBezTo>
                  <a:cubicBezTo>
                    <a:pt x="9" y="0"/>
                    <a:pt x="8" y="0"/>
                    <a:pt x="7" y="0"/>
                  </a:cubicBezTo>
                  <a:cubicBezTo>
                    <a:pt x="4" y="0"/>
                    <a:pt x="1" y="3"/>
                    <a:pt x="1" y="6"/>
                  </a:cubicBezTo>
                  <a:cubicBezTo>
                    <a:pt x="0" y="13"/>
                    <a:pt x="0" y="13"/>
                    <a:pt x="0" y="13"/>
                  </a:cubicBezTo>
                  <a:cubicBezTo>
                    <a:pt x="0" y="15"/>
                    <a:pt x="0" y="17"/>
                    <a:pt x="1" y="18"/>
                  </a:cubicBezTo>
                  <a:cubicBezTo>
                    <a:pt x="1" y="18"/>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6" name="Freeform 11"/>
            <p:cNvSpPr>
              <a:spLocks/>
            </p:cNvSpPr>
            <p:nvPr/>
          </p:nvSpPr>
          <p:spPr bwMode="auto">
            <a:xfrm>
              <a:off x="3355915" y="1713818"/>
              <a:ext cx="15224" cy="15986"/>
            </a:xfrm>
            <a:custGeom>
              <a:avLst/>
              <a:gdLst>
                <a:gd name="T0" fmla="*/ 20 w 20"/>
                <a:gd name="T1" fmla="*/ 13 h 21"/>
                <a:gd name="T2" fmla="*/ 19 w 20"/>
                <a:gd name="T3" fmla="*/ 6 h 21"/>
                <a:gd name="T4" fmla="*/ 13 w 20"/>
                <a:gd name="T5" fmla="*/ 0 h 21"/>
                <a:gd name="T6" fmla="*/ 9 w 20"/>
                <a:gd name="T7" fmla="*/ 0 h 21"/>
                <a:gd name="T8" fmla="*/ 5 w 20"/>
                <a:gd name="T9" fmla="*/ 0 h 21"/>
                <a:gd name="T10" fmla="*/ 2 w 20"/>
                <a:gd name="T11" fmla="*/ 1 h 21"/>
                <a:gd name="T12" fmla="*/ 0 w 20"/>
                <a:gd name="T13" fmla="*/ 7 h 21"/>
                <a:gd name="T14" fmla="*/ 5 w 20"/>
                <a:gd name="T15" fmla="*/ 17 h 21"/>
                <a:gd name="T16" fmla="*/ 6 w 20"/>
                <a:gd name="T17" fmla="*/ 20 h 21"/>
                <a:gd name="T18" fmla="*/ 14 w 20"/>
                <a:gd name="T19" fmla="*/ 20 h 21"/>
                <a:gd name="T20" fmla="*/ 14 w 20"/>
                <a:gd name="T21" fmla="*/ 20 h 21"/>
                <a:gd name="T22" fmla="*/ 18 w 20"/>
                <a:gd name="T23" fmla="*/ 18 h 21"/>
                <a:gd name="T24" fmla="*/ 20 w 20"/>
                <a:gd name="T25"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1">
                  <a:moveTo>
                    <a:pt x="20" y="13"/>
                  </a:moveTo>
                  <a:cubicBezTo>
                    <a:pt x="19" y="6"/>
                    <a:pt x="19" y="6"/>
                    <a:pt x="19" y="6"/>
                  </a:cubicBezTo>
                  <a:cubicBezTo>
                    <a:pt x="18" y="3"/>
                    <a:pt x="16" y="0"/>
                    <a:pt x="13" y="0"/>
                  </a:cubicBezTo>
                  <a:cubicBezTo>
                    <a:pt x="12" y="0"/>
                    <a:pt x="10" y="0"/>
                    <a:pt x="9" y="0"/>
                  </a:cubicBezTo>
                  <a:cubicBezTo>
                    <a:pt x="8" y="0"/>
                    <a:pt x="6" y="0"/>
                    <a:pt x="5" y="0"/>
                  </a:cubicBezTo>
                  <a:cubicBezTo>
                    <a:pt x="4" y="0"/>
                    <a:pt x="3" y="1"/>
                    <a:pt x="2" y="1"/>
                  </a:cubicBezTo>
                  <a:cubicBezTo>
                    <a:pt x="2" y="4"/>
                    <a:pt x="1" y="6"/>
                    <a:pt x="0" y="7"/>
                  </a:cubicBezTo>
                  <a:cubicBezTo>
                    <a:pt x="3" y="10"/>
                    <a:pt x="5" y="13"/>
                    <a:pt x="5" y="17"/>
                  </a:cubicBezTo>
                  <a:cubicBezTo>
                    <a:pt x="6" y="20"/>
                    <a:pt x="6" y="20"/>
                    <a:pt x="6" y="20"/>
                  </a:cubicBezTo>
                  <a:cubicBezTo>
                    <a:pt x="8" y="21"/>
                    <a:pt x="11" y="21"/>
                    <a:pt x="14" y="20"/>
                  </a:cubicBezTo>
                  <a:cubicBezTo>
                    <a:pt x="14" y="20"/>
                    <a:pt x="14" y="20"/>
                    <a:pt x="14" y="20"/>
                  </a:cubicBezTo>
                  <a:cubicBezTo>
                    <a:pt x="16" y="20"/>
                    <a:pt x="17" y="19"/>
                    <a:pt x="18" y="18"/>
                  </a:cubicBezTo>
                  <a:cubicBezTo>
                    <a:pt x="20" y="16"/>
                    <a:pt x="20" y="14"/>
                    <a:pt x="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7" name="Freeform 12"/>
            <p:cNvSpPr>
              <a:spLocks/>
            </p:cNvSpPr>
            <p:nvPr/>
          </p:nvSpPr>
          <p:spPr bwMode="auto">
            <a:xfrm>
              <a:off x="3319376" y="1713818"/>
              <a:ext cx="15986" cy="15986"/>
            </a:xfrm>
            <a:custGeom>
              <a:avLst/>
              <a:gdLst>
                <a:gd name="T0" fmla="*/ 15 w 21"/>
                <a:gd name="T1" fmla="*/ 17 h 21"/>
                <a:gd name="T2" fmla="*/ 21 w 21"/>
                <a:gd name="T3" fmla="*/ 7 h 21"/>
                <a:gd name="T4" fmla="*/ 19 w 21"/>
                <a:gd name="T5" fmla="*/ 1 h 21"/>
                <a:gd name="T6" fmla="*/ 15 w 21"/>
                <a:gd name="T7" fmla="*/ 0 h 21"/>
                <a:gd name="T8" fmla="*/ 11 w 21"/>
                <a:gd name="T9" fmla="*/ 0 h 21"/>
                <a:gd name="T10" fmla="*/ 8 w 21"/>
                <a:gd name="T11" fmla="*/ 0 h 21"/>
                <a:gd name="T12" fmla="*/ 2 w 21"/>
                <a:gd name="T13" fmla="*/ 6 h 21"/>
                <a:gd name="T14" fmla="*/ 1 w 21"/>
                <a:gd name="T15" fmla="*/ 13 h 21"/>
                <a:gd name="T16" fmla="*/ 2 w 21"/>
                <a:gd name="T17" fmla="*/ 18 h 21"/>
                <a:gd name="T18" fmla="*/ 7 w 21"/>
                <a:gd name="T19" fmla="*/ 20 h 21"/>
                <a:gd name="T20" fmla="*/ 15 w 21"/>
                <a:gd name="T21" fmla="*/ 20 h 21"/>
                <a:gd name="T22" fmla="*/ 15 w 21"/>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5" y="17"/>
                  </a:moveTo>
                  <a:cubicBezTo>
                    <a:pt x="16" y="13"/>
                    <a:pt x="18" y="10"/>
                    <a:pt x="21" y="7"/>
                  </a:cubicBezTo>
                  <a:cubicBezTo>
                    <a:pt x="19" y="6"/>
                    <a:pt x="19" y="4"/>
                    <a:pt x="19" y="1"/>
                  </a:cubicBezTo>
                  <a:cubicBezTo>
                    <a:pt x="18" y="1"/>
                    <a:pt x="17" y="0"/>
                    <a:pt x="15" y="0"/>
                  </a:cubicBezTo>
                  <a:cubicBezTo>
                    <a:pt x="14" y="0"/>
                    <a:pt x="13" y="0"/>
                    <a:pt x="11" y="0"/>
                  </a:cubicBezTo>
                  <a:cubicBezTo>
                    <a:pt x="10" y="0"/>
                    <a:pt x="9" y="0"/>
                    <a:pt x="8" y="0"/>
                  </a:cubicBezTo>
                  <a:cubicBezTo>
                    <a:pt x="4" y="0"/>
                    <a:pt x="2" y="3"/>
                    <a:pt x="2" y="6"/>
                  </a:cubicBezTo>
                  <a:cubicBezTo>
                    <a:pt x="1" y="13"/>
                    <a:pt x="1" y="13"/>
                    <a:pt x="1" y="13"/>
                  </a:cubicBezTo>
                  <a:cubicBezTo>
                    <a:pt x="0" y="14"/>
                    <a:pt x="1" y="16"/>
                    <a:pt x="2" y="18"/>
                  </a:cubicBezTo>
                  <a:cubicBezTo>
                    <a:pt x="3" y="19"/>
                    <a:pt x="5" y="20"/>
                    <a:pt x="7" y="20"/>
                  </a:cubicBezTo>
                  <a:cubicBezTo>
                    <a:pt x="9" y="21"/>
                    <a:pt x="12" y="21"/>
                    <a:pt x="15" y="20"/>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8" name="Freeform 13"/>
            <p:cNvSpPr>
              <a:spLocks/>
            </p:cNvSpPr>
            <p:nvPr/>
          </p:nvSpPr>
          <p:spPr bwMode="auto">
            <a:xfrm>
              <a:off x="3332317" y="1749595"/>
              <a:ext cx="25882" cy="23598"/>
            </a:xfrm>
            <a:custGeom>
              <a:avLst/>
              <a:gdLst>
                <a:gd name="T0" fmla="*/ 2 w 33"/>
                <a:gd name="T1" fmla="*/ 9 h 31"/>
                <a:gd name="T2" fmla="*/ 0 w 33"/>
                <a:gd name="T3" fmla="*/ 19 h 31"/>
                <a:gd name="T4" fmla="*/ 2 w 33"/>
                <a:gd name="T5" fmla="*/ 27 h 31"/>
                <a:gd name="T6" fmla="*/ 9 w 33"/>
                <a:gd name="T7" fmla="*/ 31 h 31"/>
                <a:gd name="T8" fmla="*/ 24 w 33"/>
                <a:gd name="T9" fmla="*/ 31 h 31"/>
                <a:gd name="T10" fmla="*/ 24 w 33"/>
                <a:gd name="T11" fmla="*/ 31 h 31"/>
                <a:gd name="T12" fmla="*/ 31 w 33"/>
                <a:gd name="T13" fmla="*/ 27 h 31"/>
                <a:gd name="T14" fmla="*/ 33 w 33"/>
                <a:gd name="T15" fmla="*/ 19 h 31"/>
                <a:gd name="T16" fmla="*/ 32 w 33"/>
                <a:gd name="T17" fmla="*/ 9 h 31"/>
                <a:gd name="T18" fmla="*/ 23 w 33"/>
                <a:gd name="T19" fmla="*/ 0 h 31"/>
                <a:gd name="T20" fmla="*/ 16 w 33"/>
                <a:gd name="T21" fmla="*/ 0 h 31"/>
                <a:gd name="T22" fmla="*/ 11 w 33"/>
                <a:gd name="T23" fmla="*/ 0 h 31"/>
                <a:gd name="T24" fmla="*/ 2 w 33"/>
                <a:gd name="T2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1">
                  <a:moveTo>
                    <a:pt x="2" y="9"/>
                  </a:moveTo>
                  <a:cubicBezTo>
                    <a:pt x="0" y="19"/>
                    <a:pt x="0" y="19"/>
                    <a:pt x="0" y="19"/>
                  </a:cubicBezTo>
                  <a:cubicBezTo>
                    <a:pt x="0" y="22"/>
                    <a:pt x="1" y="25"/>
                    <a:pt x="2" y="27"/>
                  </a:cubicBezTo>
                  <a:cubicBezTo>
                    <a:pt x="4" y="29"/>
                    <a:pt x="7" y="31"/>
                    <a:pt x="9" y="31"/>
                  </a:cubicBezTo>
                  <a:cubicBezTo>
                    <a:pt x="14" y="31"/>
                    <a:pt x="19" y="31"/>
                    <a:pt x="24" y="31"/>
                  </a:cubicBezTo>
                  <a:cubicBezTo>
                    <a:pt x="24" y="31"/>
                    <a:pt x="24" y="31"/>
                    <a:pt x="24" y="31"/>
                  </a:cubicBezTo>
                  <a:cubicBezTo>
                    <a:pt x="27" y="31"/>
                    <a:pt x="29" y="29"/>
                    <a:pt x="31" y="27"/>
                  </a:cubicBezTo>
                  <a:cubicBezTo>
                    <a:pt x="33" y="25"/>
                    <a:pt x="33" y="22"/>
                    <a:pt x="33" y="19"/>
                  </a:cubicBezTo>
                  <a:cubicBezTo>
                    <a:pt x="32" y="9"/>
                    <a:pt x="32" y="9"/>
                    <a:pt x="32" y="9"/>
                  </a:cubicBezTo>
                  <a:cubicBezTo>
                    <a:pt x="31" y="4"/>
                    <a:pt x="27" y="1"/>
                    <a:pt x="23" y="0"/>
                  </a:cubicBezTo>
                  <a:cubicBezTo>
                    <a:pt x="21" y="0"/>
                    <a:pt x="19" y="0"/>
                    <a:pt x="16" y="0"/>
                  </a:cubicBezTo>
                  <a:cubicBezTo>
                    <a:pt x="15" y="0"/>
                    <a:pt x="13" y="0"/>
                    <a:pt x="11" y="0"/>
                  </a:cubicBezTo>
                  <a:cubicBezTo>
                    <a:pt x="6" y="1"/>
                    <a:pt x="3" y="4"/>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9" name="Freeform 14"/>
            <p:cNvSpPr>
              <a:spLocks/>
            </p:cNvSpPr>
            <p:nvPr/>
          </p:nvSpPr>
          <p:spPr bwMode="auto">
            <a:xfrm>
              <a:off x="3357437" y="1733610"/>
              <a:ext cx="22837" cy="21314"/>
            </a:xfrm>
            <a:custGeom>
              <a:avLst/>
              <a:gdLst>
                <a:gd name="T0" fmla="*/ 29 w 29"/>
                <a:gd name="T1" fmla="*/ 17 h 27"/>
                <a:gd name="T2" fmla="*/ 27 w 29"/>
                <a:gd name="T3" fmla="*/ 8 h 27"/>
                <a:gd name="T4" fmla="*/ 19 w 29"/>
                <a:gd name="T5" fmla="*/ 0 h 27"/>
                <a:gd name="T6" fmla="*/ 14 w 29"/>
                <a:gd name="T7" fmla="*/ 0 h 27"/>
                <a:gd name="T8" fmla="*/ 9 w 29"/>
                <a:gd name="T9" fmla="*/ 0 h 27"/>
                <a:gd name="T10" fmla="*/ 5 w 29"/>
                <a:gd name="T11" fmla="*/ 2 h 27"/>
                <a:gd name="T12" fmla="*/ 2 w 29"/>
                <a:gd name="T13" fmla="*/ 10 h 27"/>
                <a:gd name="T14" fmla="*/ 1 w 29"/>
                <a:gd name="T15" fmla="*/ 11 h 27"/>
                <a:gd name="T16" fmla="*/ 0 w 29"/>
                <a:gd name="T17" fmla="*/ 17 h 27"/>
                <a:gd name="T18" fmla="*/ 0 w 29"/>
                <a:gd name="T19" fmla="*/ 17 h 27"/>
                <a:gd name="T20" fmla="*/ 5 w 29"/>
                <a:gd name="T21" fmla="*/ 26 h 27"/>
                <a:gd name="T22" fmla="*/ 8 w 29"/>
                <a:gd name="T23" fmla="*/ 27 h 27"/>
                <a:gd name="T24" fmla="*/ 21 w 29"/>
                <a:gd name="T25" fmla="*/ 27 h 27"/>
                <a:gd name="T26" fmla="*/ 27 w 29"/>
                <a:gd name="T27" fmla="*/ 24 h 27"/>
                <a:gd name="T28" fmla="*/ 29 w 29"/>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7">
                  <a:moveTo>
                    <a:pt x="29" y="17"/>
                  </a:moveTo>
                  <a:cubicBezTo>
                    <a:pt x="27" y="8"/>
                    <a:pt x="27" y="8"/>
                    <a:pt x="27" y="8"/>
                  </a:cubicBezTo>
                  <a:cubicBezTo>
                    <a:pt x="27" y="4"/>
                    <a:pt x="23" y="1"/>
                    <a:pt x="19" y="0"/>
                  </a:cubicBezTo>
                  <a:cubicBezTo>
                    <a:pt x="18" y="0"/>
                    <a:pt x="16" y="0"/>
                    <a:pt x="14" y="0"/>
                  </a:cubicBezTo>
                  <a:cubicBezTo>
                    <a:pt x="12" y="0"/>
                    <a:pt x="11" y="0"/>
                    <a:pt x="9" y="0"/>
                  </a:cubicBezTo>
                  <a:cubicBezTo>
                    <a:pt x="8" y="0"/>
                    <a:pt x="6" y="1"/>
                    <a:pt x="5" y="2"/>
                  </a:cubicBezTo>
                  <a:cubicBezTo>
                    <a:pt x="5" y="5"/>
                    <a:pt x="3" y="8"/>
                    <a:pt x="2" y="10"/>
                  </a:cubicBezTo>
                  <a:cubicBezTo>
                    <a:pt x="1" y="11"/>
                    <a:pt x="1" y="11"/>
                    <a:pt x="1" y="11"/>
                  </a:cubicBezTo>
                  <a:cubicBezTo>
                    <a:pt x="0" y="17"/>
                    <a:pt x="0" y="17"/>
                    <a:pt x="0" y="17"/>
                  </a:cubicBezTo>
                  <a:cubicBezTo>
                    <a:pt x="0" y="17"/>
                    <a:pt x="0" y="17"/>
                    <a:pt x="0" y="17"/>
                  </a:cubicBezTo>
                  <a:cubicBezTo>
                    <a:pt x="3" y="20"/>
                    <a:pt x="5" y="23"/>
                    <a:pt x="5" y="26"/>
                  </a:cubicBezTo>
                  <a:cubicBezTo>
                    <a:pt x="6" y="27"/>
                    <a:pt x="7" y="27"/>
                    <a:pt x="8" y="27"/>
                  </a:cubicBezTo>
                  <a:cubicBezTo>
                    <a:pt x="12" y="27"/>
                    <a:pt x="16" y="27"/>
                    <a:pt x="21" y="27"/>
                  </a:cubicBezTo>
                  <a:cubicBezTo>
                    <a:pt x="23" y="27"/>
                    <a:pt x="25" y="26"/>
                    <a:pt x="27" y="24"/>
                  </a:cubicBezTo>
                  <a:cubicBezTo>
                    <a:pt x="28" y="22"/>
                    <a:pt x="29" y="19"/>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0" name="Freeform 15"/>
            <p:cNvSpPr>
              <a:spLocks/>
            </p:cNvSpPr>
            <p:nvPr/>
          </p:nvSpPr>
          <p:spPr bwMode="auto">
            <a:xfrm>
              <a:off x="3311002" y="1733610"/>
              <a:ext cx="22837" cy="21314"/>
            </a:xfrm>
            <a:custGeom>
              <a:avLst/>
              <a:gdLst>
                <a:gd name="T0" fmla="*/ 30 w 30"/>
                <a:gd name="T1" fmla="*/ 18 h 27"/>
                <a:gd name="T2" fmla="*/ 30 w 30"/>
                <a:gd name="T3" fmla="*/ 17 h 27"/>
                <a:gd name="T4" fmla="*/ 29 w 30"/>
                <a:gd name="T5" fmla="*/ 11 h 27"/>
                <a:gd name="T6" fmla="*/ 28 w 30"/>
                <a:gd name="T7" fmla="*/ 10 h 27"/>
                <a:gd name="T8" fmla="*/ 25 w 30"/>
                <a:gd name="T9" fmla="*/ 2 h 27"/>
                <a:gd name="T10" fmla="*/ 20 w 30"/>
                <a:gd name="T11" fmla="*/ 0 h 27"/>
                <a:gd name="T12" fmla="*/ 15 w 30"/>
                <a:gd name="T13" fmla="*/ 0 h 27"/>
                <a:gd name="T14" fmla="*/ 10 w 30"/>
                <a:gd name="T15" fmla="*/ 0 h 27"/>
                <a:gd name="T16" fmla="*/ 2 w 30"/>
                <a:gd name="T17" fmla="*/ 8 h 27"/>
                <a:gd name="T18" fmla="*/ 1 w 30"/>
                <a:gd name="T19" fmla="*/ 17 h 27"/>
                <a:gd name="T20" fmla="*/ 3 w 30"/>
                <a:gd name="T21" fmla="*/ 24 h 27"/>
                <a:gd name="T22" fmla="*/ 9 w 30"/>
                <a:gd name="T23" fmla="*/ 27 h 27"/>
                <a:gd name="T24" fmla="*/ 22 w 30"/>
                <a:gd name="T25" fmla="*/ 27 h 27"/>
                <a:gd name="T26" fmla="*/ 24 w 30"/>
                <a:gd name="T27" fmla="*/ 26 h 27"/>
                <a:gd name="T28" fmla="*/ 30 w 30"/>
                <a:gd name="T2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7">
                  <a:moveTo>
                    <a:pt x="30" y="18"/>
                  </a:moveTo>
                  <a:cubicBezTo>
                    <a:pt x="30" y="17"/>
                    <a:pt x="30" y="17"/>
                    <a:pt x="30" y="17"/>
                  </a:cubicBezTo>
                  <a:cubicBezTo>
                    <a:pt x="29" y="11"/>
                    <a:pt x="29" y="11"/>
                    <a:pt x="29" y="11"/>
                  </a:cubicBezTo>
                  <a:cubicBezTo>
                    <a:pt x="28" y="11"/>
                    <a:pt x="28" y="11"/>
                    <a:pt x="28" y="10"/>
                  </a:cubicBezTo>
                  <a:cubicBezTo>
                    <a:pt x="26" y="8"/>
                    <a:pt x="25" y="5"/>
                    <a:pt x="25" y="2"/>
                  </a:cubicBezTo>
                  <a:cubicBezTo>
                    <a:pt x="23" y="1"/>
                    <a:pt x="22" y="0"/>
                    <a:pt x="20" y="0"/>
                  </a:cubicBezTo>
                  <a:cubicBezTo>
                    <a:pt x="19" y="0"/>
                    <a:pt x="17" y="0"/>
                    <a:pt x="15" y="0"/>
                  </a:cubicBezTo>
                  <a:cubicBezTo>
                    <a:pt x="13" y="0"/>
                    <a:pt x="12" y="0"/>
                    <a:pt x="10" y="0"/>
                  </a:cubicBezTo>
                  <a:cubicBezTo>
                    <a:pt x="6" y="0"/>
                    <a:pt x="3" y="4"/>
                    <a:pt x="2" y="8"/>
                  </a:cubicBezTo>
                  <a:cubicBezTo>
                    <a:pt x="1" y="17"/>
                    <a:pt x="1" y="17"/>
                    <a:pt x="1" y="17"/>
                  </a:cubicBezTo>
                  <a:cubicBezTo>
                    <a:pt x="0" y="19"/>
                    <a:pt x="1" y="22"/>
                    <a:pt x="3" y="24"/>
                  </a:cubicBezTo>
                  <a:cubicBezTo>
                    <a:pt x="4" y="26"/>
                    <a:pt x="6" y="27"/>
                    <a:pt x="9" y="27"/>
                  </a:cubicBezTo>
                  <a:cubicBezTo>
                    <a:pt x="13" y="27"/>
                    <a:pt x="17" y="27"/>
                    <a:pt x="22" y="27"/>
                  </a:cubicBezTo>
                  <a:cubicBezTo>
                    <a:pt x="22" y="27"/>
                    <a:pt x="23" y="27"/>
                    <a:pt x="24" y="26"/>
                  </a:cubicBezTo>
                  <a:cubicBezTo>
                    <a:pt x="25" y="23"/>
                    <a:pt x="27" y="20"/>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1" name="Freeform 16"/>
            <p:cNvSpPr>
              <a:spLocks/>
            </p:cNvSpPr>
            <p:nvPr/>
          </p:nvSpPr>
          <p:spPr bwMode="auto">
            <a:xfrm>
              <a:off x="3306435" y="1759492"/>
              <a:ext cx="25882" cy="23598"/>
            </a:xfrm>
            <a:custGeom>
              <a:avLst/>
              <a:gdLst>
                <a:gd name="T0" fmla="*/ 31 w 34"/>
                <a:gd name="T1" fmla="*/ 18 h 31"/>
                <a:gd name="T2" fmla="*/ 28 w 34"/>
                <a:gd name="T3" fmla="*/ 5 h 31"/>
                <a:gd name="T4" fmla="*/ 28 w 34"/>
                <a:gd name="T5" fmla="*/ 3 h 31"/>
                <a:gd name="T6" fmla="*/ 23 w 34"/>
                <a:gd name="T7" fmla="*/ 0 h 31"/>
                <a:gd name="T8" fmla="*/ 17 w 34"/>
                <a:gd name="T9" fmla="*/ 0 h 31"/>
                <a:gd name="T10" fmla="*/ 11 w 34"/>
                <a:gd name="T11" fmla="*/ 0 h 31"/>
                <a:gd name="T12" fmla="*/ 2 w 34"/>
                <a:gd name="T13" fmla="*/ 9 h 31"/>
                <a:gd name="T14" fmla="*/ 1 w 34"/>
                <a:gd name="T15" fmla="*/ 19 h 31"/>
                <a:gd name="T16" fmla="*/ 3 w 34"/>
                <a:gd name="T17" fmla="*/ 27 h 31"/>
                <a:gd name="T18" fmla="*/ 10 w 34"/>
                <a:gd name="T19" fmla="*/ 31 h 31"/>
                <a:gd name="T20" fmla="*/ 24 w 34"/>
                <a:gd name="T21" fmla="*/ 31 h 31"/>
                <a:gd name="T22" fmla="*/ 31 w 34"/>
                <a:gd name="T23" fmla="*/ 27 h 31"/>
                <a:gd name="T24" fmla="*/ 33 w 34"/>
                <a:gd name="T25" fmla="*/ 20 h 31"/>
                <a:gd name="T26" fmla="*/ 31 w 34"/>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31" y="18"/>
                  </a:moveTo>
                  <a:cubicBezTo>
                    <a:pt x="29" y="14"/>
                    <a:pt x="27" y="10"/>
                    <a:pt x="28" y="5"/>
                  </a:cubicBezTo>
                  <a:cubicBezTo>
                    <a:pt x="28" y="3"/>
                    <a:pt x="28" y="3"/>
                    <a:pt x="28" y="3"/>
                  </a:cubicBezTo>
                  <a:cubicBezTo>
                    <a:pt x="27" y="1"/>
                    <a:pt x="25" y="0"/>
                    <a:pt x="23" y="0"/>
                  </a:cubicBezTo>
                  <a:cubicBezTo>
                    <a:pt x="21" y="0"/>
                    <a:pt x="19" y="0"/>
                    <a:pt x="17" y="0"/>
                  </a:cubicBezTo>
                  <a:cubicBezTo>
                    <a:pt x="15" y="0"/>
                    <a:pt x="13" y="0"/>
                    <a:pt x="11" y="0"/>
                  </a:cubicBezTo>
                  <a:cubicBezTo>
                    <a:pt x="7" y="1"/>
                    <a:pt x="3" y="4"/>
                    <a:pt x="2" y="9"/>
                  </a:cubicBezTo>
                  <a:cubicBezTo>
                    <a:pt x="1" y="19"/>
                    <a:pt x="1" y="19"/>
                    <a:pt x="1" y="19"/>
                  </a:cubicBezTo>
                  <a:cubicBezTo>
                    <a:pt x="0" y="22"/>
                    <a:pt x="1" y="25"/>
                    <a:pt x="3" y="27"/>
                  </a:cubicBezTo>
                  <a:cubicBezTo>
                    <a:pt x="5" y="29"/>
                    <a:pt x="7" y="31"/>
                    <a:pt x="10" y="31"/>
                  </a:cubicBezTo>
                  <a:cubicBezTo>
                    <a:pt x="15" y="31"/>
                    <a:pt x="20" y="31"/>
                    <a:pt x="24" y="31"/>
                  </a:cubicBezTo>
                  <a:cubicBezTo>
                    <a:pt x="27" y="31"/>
                    <a:pt x="30" y="29"/>
                    <a:pt x="31" y="27"/>
                  </a:cubicBezTo>
                  <a:cubicBezTo>
                    <a:pt x="33" y="25"/>
                    <a:pt x="34" y="23"/>
                    <a:pt x="33" y="20"/>
                  </a:cubicBezTo>
                  <a:cubicBezTo>
                    <a:pt x="33" y="19"/>
                    <a:pt x="32" y="19"/>
                    <a:pt x="3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2" name="Freeform 17"/>
            <p:cNvSpPr>
              <a:spLocks/>
            </p:cNvSpPr>
            <p:nvPr/>
          </p:nvSpPr>
          <p:spPr bwMode="auto">
            <a:xfrm>
              <a:off x="3358960" y="1759492"/>
              <a:ext cx="25882" cy="23598"/>
            </a:xfrm>
            <a:custGeom>
              <a:avLst/>
              <a:gdLst>
                <a:gd name="T0" fmla="*/ 33 w 33"/>
                <a:gd name="T1" fmla="*/ 19 h 31"/>
                <a:gd name="T2" fmla="*/ 31 w 33"/>
                <a:gd name="T3" fmla="*/ 9 h 31"/>
                <a:gd name="T4" fmla="*/ 22 w 33"/>
                <a:gd name="T5" fmla="*/ 0 h 31"/>
                <a:gd name="T6" fmla="*/ 16 w 33"/>
                <a:gd name="T7" fmla="*/ 0 h 31"/>
                <a:gd name="T8" fmla="*/ 11 w 33"/>
                <a:gd name="T9" fmla="*/ 0 h 31"/>
                <a:gd name="T10" fmla="*/ 5 w 33"/>
                <a:gd name="T11" fmla="*/ 3 h 31"/>
                <a:gd name="T12" fmla="*/ 5 w 33"/>
                <a:gd name="T13" fmla="*/ 5 h 31"/>
                <a:gd name="T14" fmla="*/ 2 w 33"/>
                <a:gd name="T15" fmla="*/ 18 h 31"/>
                <a:gd name="T16" fmla="*/ 0 w 33"/>
                <a:gd name="T17" fmla="*/ 20 h 31"/>
                <a:gd name="T18" fmla="*/ 2 w 33"/>
                <a:gd name="T19" fmla="*/ 27 h 31"/>
                <a:gd name="T20" fmla="*/ 9 w 33"/>
                <a:gd name="T21" fmla="*/ 31 h 31"/>
                <a:gd name="T22" fmla="*/ 24 w 33"/>
                <a:gd name="T23" fmla="*/ 31 h 31"/>
                <a:gd name="T24" fmla="*/ 31 w 33"/>
                <a:gd name="T25" fmla="*/ 27 h 31"/>
                <a:gd name="T26" fmla="*/ 33 w 33"/>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1">
                  <a:moveTo>
                    <a:pt x="33" y="19"/>
                  </a:moveTo>
                  <a:cubicBezTo>
                    <a:pt x="31" y="9"/>
                    <a:pt x="31" y="9"/>
                    <a:pt x="31" y="9"/>
                  </a:cubicBezTo>
                  <a:cubicBezTo>
                    <a:pt x="31" y="4"/>
                    <a:pt x="27" y="1"/>
                    <a:pt x="22" y="0"/>
                  </a:cubicBezTo>
                  <a:cubicBezTo>
                    <a:pt x="20" y="0"/>
                    <a:pt x="18" y="0"/>
                    <a:pt x="16" y="0"/>
                  </a:cubicBezTo>
                  <a:cubicBezTo>
                    <a:pt x="14" y="0"/>
                    <a:pt x="13" y="0"/>
                    <a:pt x="11" y="0"/>
                  </a:cubicBezTo>
                  <a:cubicBezTo>
                    <a:pt x="9" y="0"/>
                    <a:pt x="7" y="1"/>
                    <a:pt x="5" y="3"/>
                  </a:cubicBezTo>
                  <a:cubicBezTo>
                    <a:pt x="5" y="5"/>
                    <a:pt x="5" y="5"/>
                    <a:pt x="5" y="5"/>
                  </a:cubicBezTo>
                  <a:cubicBezTo>
                    <a:pt x="6" y="10"/>
                    <a:pt x="5" y="14"/>
                    <a:pt x="2" y="18"/>
                  </a:cubicBezTo>
                  <a:cubicBezTo>
                    <a:pt x="1" y="19"/>
                    <a:pt x="1" y="19"/>
                    <a:pt x="0" y="20"/>
                  </a:cubicBezTo>
                  <a:cubicBezTo>
                    <a:pt x="0" y="23"/>
                    <a:pt x="1" y="25"/>
                    <a:pt x="2" y="27"/>
                  </a:cubicBezTo>
                  <a:cubicBezTo>
                    <a:pt x="4" y="29"/>
                    <a:pt x="6" y="31"/>
                    <a:pt x="9" y="31"/>
                  </a:cubicBezTo>
                  <a:cubicBezTo>
                    <a:pt x="14" y="31"/>
                    <a:pt x="19" y="31"/>
                    <a:pt x="24" y="31"/>
                  </a:cubicBezTo>
                  <a:cubicBezTo>
                    <a:pt x="26" y="31"/>
                    <a:pt x="29" y="29"/>
                    <a:pt x="31" y="27"/>
                  </a:cubicBezTo>
                  <a:cubicBezTo>
                    <a:pt x="32" y="25"/>
                    <a:pt x="33" y="22"/>
                    <a:pt x="3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3" name="Freeform 18"/>
            <p:cNvSpPr>
              <a:spLocks/>
            </p:cNvSpPr>
            <p:nvPr/>
          </p:nvSpPr>
          <p:spPr bwMode="auto">
            <a:xfrm>
              <a:off x="3331556" y="1779283"/>
              <a:ext cx="28165" cy="25121"/>
            </a:xfrm>
            <a:custGeom>
              <a:avLst/>
              <a:gdLst>
                <a:gd name="T0" fmla="*/ 2 w 36"/>
                <a:gd name="T1" fmla="*/ 9 h 33"/>
                <a:gd name="T2" fmla="*/ 0 w 36"/>
                <a:gd name="T3" fmla="*/ 20 h 33"/>
                <a:gd name="T4" fmla="*/ 3 w 36"/>
                <a:gd name="T5" fmla="*/ 29 h 33"/>
                <a:gd name="T6" fmla="*/ 10 w 36"/>
                <a:gd name="T7" fmla="*/ 33 h 33"/>
                <a:gd name="T8" fmla="*/ 25 w 36"/>
                <a:gd name="T9" fmla="*/ 33 h 33"/>
                <a:gd name="T10" fmla="*/ 33 w 36"/>
                <a:gd name="T11" fmla="*/ 29 h 33"/>
                <a:gd name="T12" fmla="*/ 35 w 36"/>
                <a:gd name="T13" fmla="*/ 20 h 33"/>
                <a:gd name="T14" fmla="*/ 33 w 36"/>
                <a:gd name="T15" fmla="*/ 10 h 33"/>
                <a:gd name="T16" fmla="*/ 24 w 36"/>
                <a:gd name="T17" fmla="*/ 0 h 33"/>
                <a:gd name="T18" fmla="*/ 17 w 36"/>
                <a:gd name="T19" fmla="*/ 0 h 33"/>
                <a:gd name="T20" fmla="*/ 12 w 36"/>
                <a:gd name="T21" fmla="*/ 0 h 33"/>
                <a:gd name="T22" fmla="*/ 2 w 36"/>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3">
                  <a:moveTo>
                    <a:pt x="2" y="9"/>
                  </a:moveTo>
                  <a:cubicBezTo>
                    <a:pt x="0" y="20"/>
                    <a:pt x="0" y="20"/>
                    <a:pt x="0" y="20"/>
                  </a:cubicBezTo>
                  <a:cubicBezTo>
                    <a:pt x="0" y="23"/>
                    <a:pt x="1" y="26"/>
                    <a:pt x="3" y="29"/>
                  </a:cubicBezTo>
                  <a:cubicBezTo>
                    <a:pt x="4" y="31"/>
                    <a:pt x="7" y="33"/>
                    <a:pt x="10" y="33"/>
                  </a:cubicBezTo>
                  <a:cubicBezTo>
                    <a:pt x="15" y="33"/>
                    <a:pt x="20" y="33"/>
                    <a:pt x="25" y="33"/>
                  </a:cubicBezTo>
                  <a:cubicBezTo>
                    <a:pt x="28" y="33"/>
                    <a:pt x="31" y="31"/>
                    <a:pt x="33" y="29"/>
                  </a:cubicBezTo>
                  <a:cubicBezTo>
                    <a:pt x="35" y="26"/>
                    <a:pt x="36" y="23"/>
                    <a:pt x="35" y="20"/>
                  </a:cubicBezTo>
                  <a:cubicBezTo>
                    <a:pt x="33" y="10"/>
                    <a:pt x="33" y="10"/>
                    <a:pt x="33" y="10"/>
                  </a:cubicBezTo>
                  <a:cubicBezTo>
                    <a:pt x="33" y="5"/>
                    <a:pt x="29" y="1"/>
                    <a:pt x="24" y="0"/>
                  </a:cubicBezTo>
                  <a:cubicBezTo>
                    <a:pt x="22" y="0"/>
                    <a:pt x="20" y="0"/>
                    <a:pt x="17" y="0"/>
                  </a:cubicBezTo>
                  <a:cubicBezTo>
                    <a:pt x="16" y="0"/>
                    <a:pt x="14" y="0"/>
                    <a:pt x="12" y="0"/>
                  </a:cubicBezTo>
                  <a:cubicBezTo>
                    <a:pt x="7" y="1"/>
                    <a:pt x="3"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4" name="Freeform 19"/>
            <p:cNvSpPr>
              <a:spLocks/>
            </p:cNvSpPr>
            <p:nvPr/>
          </p:nvSpPr>
          <p:spPr bwMode="auto">
            <a:xfrm>
              <a:off x="3359721" y="1787657"/>
              <a:ext cx="27404" cy="25882"/>
            </a:xfrm>
            <a:custGeom>
              <a:avLst/>
              <a:gdLst>
                <a:gd name="T0" fmla="*/ 35 w 35"/>
                <a:gd name="T1" fmla="*/ 21 h 33"/>
                <a:gd name="T2" fmla="*/ 33 w 35"/>
                <a:gd name="T3" fmla="*/ 10 h 33"/>
                <a:gd name="T4" fmla="*/ 24 w 35"/>
                <a:gd name="T5" fmla="*/ 0 h 33"/>
                <a:gd name="T6" fmla="*/ 17 w 35"/>
                <a:gd name="T7" fmla="*/ 0 h 33"/>
                <a:gd name="T8" fmla="*/ 11 w 35"/>
                <a:gd name="T9" fmla="*/ 0 h 33"/>
                <a:gd name="T10" fmla="*/ 5 w 35"/>
                <a:gd name="T11" fmla="*/ 3 h 33"/>
                <a:gd name="T12" fmla="*/ 6 w 35"/>
                <a:gd name="T13" fmla="*/ 8 h 33"/>
                <a:gd name="T14" fmla="*/ 2 w 35"/>
                <a:gd name="T15" fmla="*/ 22 h 33"/>
                <a:gd name="T16" fmla="*/ 0 w 35"/>
                <a:gd name="T17" fmla="*/ 24 h 33"/>
                <a:gd name="T18" fmla="*/ 2 w 35"/>
                <a:gd name="T19" fmla="*/ 29 h 33"/>
                <a:gd name="T20" fmla="*/ 10 w 35"/>
                <a:gd name="T21" fmla="*/ 33 h 33"/>
                <a:gd name="T22" fmla="*/ 25 w 35"/>
                <a:gd name="T23" fmla="*/ 33 h 33"/>
                <a:gd name="T24" fmla="*/ 25 w 35"/>
                <a:gd name="T25" fmla="*/ 33 h 33"/>
                <a:gd name="T26" fmla="*/ 32 w 35"/>
                <a:gd name="T27" fmla="*/ 29 h 33"/>
                <a:gd name="T28" fmla="*/ 35 w 35"/>
                <a:gd name="T2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5" y="21"/>
                  </a:moveTo>
                  <a:cubicBezTo>
                    <a:pt x="33" y="10"/>
                    <a:pt x="33" y="10"/>
                    <a:pt x="33" y="10"/>
                  </a:cubicBezTo>
                  <a:cubicBezTo>
                    <a:pt x="32" y="5"/>
                    <a:pt x="28" y="1"/>
                    <a:pt x="24" y="0"/>
                  </a:cubicBezTo>
                  <a:cubicBezTo>
                    <a:pt x="21" y="0"/>
                    <a:pt x="19" y="0"/>
                    <a:pt x="17" y="0"/>
                  </a:cubicBezTo>
                  <a:cubicBezTo>
                    <a:pt x="15" y="0"/>
                    <a:pt x="13" y="0"/>
                    <a:pt x="11" y="0"/>
                  </a:cubicBezTo>
                  <a:cubicBezTo>
                    <a:pt x="9" y="1"/>
                    <a:pt x="7" y="2"/>
                    <a:pt x="5" y="3"/>
                  </a:cubicBezTo>
                  <a:cubicBezTo>
                    <a:pt x="6" y="8"/>
                    <a:pt x="6" y="8"/>
                    <a:pt x="6" y="8"/>
                  </a:cubicBezTo>
                  <a:cubicBezTo>
                    <a:pt x="6" y="13"/>
                    <a:pt x="5" y="18"/>
                    <a:pt x="2" y="22"/>
                  </a:cubicBezTo>
                  <a:cubicBezTo>
                    <a:pt x="1" y="23"/>
                    <a:pt x="1" y="23"/>
                    <a:pt x="0" y="24"/>
                  </a:cubicBezTo>
                  <a:cubicBezTo>
                    <a:pt x="0" y="26"/>
                    <a:pt x="1" y="27"/>
                    <a:pt x="2" y="29"/>
                  </a:cubicBezTo>
                  <a:cubicBezTo>
                    <a:pt x="4" y="31"/>
                    <a:pt x="7" y="33"/>
                    <a:pt x="10" y="33"/>
                  </a:cubicBezTo>
                  <a:cubicBezTo>
                    <a:pt x="15" y="33"/>
                    <a:pt x="20" y="33"/>
                    <a:pt x="25" y="33"/>
                  </a:cubicBezTo>
                  <a:cubicBezTo>
                    <a:pt x="25" y="33"/>
                    <a:pt x="25" y="33"/>
                    <a:pt x="25" y="33"/>
                  </a:cubicBezTo>
                  <a:cubicBezTo>
                    <a:pt x="28" y="33"/>
                    <a:pt x="31" y="31"/>
                    <a:pt x="32" y="29"/>
                  </a:cubicBezTo>
                  <a:cubicBezTo>
                    <a:pt x="34" y="27"/>
                    <a:pt x="35" y="23"/>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5" name="Freeform 20"/>
            <p:cNvSpPr>
              <a:spLocks/>
            </p:cNvSpPr>
            <p:nvPr/>
          </p:nvSpPr>
          <p:spPr bwMode="auto">
            <a:xfrm>
              <a:off x="3304152" y="1787657"/>
              <a:ext cx="26643" cy="25882"/>
            </a:xfrm>
            <a:custGeom>
              <a:avLst/>
              <a:gdLst>
                <a:gd name="T0" fmla="*/ 33 w 35"/>
                <a:gd name="T1" fmla="*/ 22 h 33"/>
                <a:gd name="T2" fmla="*/ 30 w 35"/>
                <a:gd name="T3" fmla="*/ 8 h 33"/>
                <a:gd name="T4" fmla="*/ 30 w 35"/>
                <a:gd name="T5" fmla="*/ 3 h 33"/>
                <a:gd name="T6" fmla="*/ 24 w 35"/>
                <a:gd name="T7" fmla="*/ 0 h 33"/>
                <a:gd name="T8" fmla="*/ 18 w 35"/>
                <a:gd name="T9" fmla="*/ 0 h 33"/>
                <a:gd name="T10" fmla="*/ 12 w 35"/>
                <a:gd name="T11" fmla="*/ 0 h 33"/>
                <a:gd name="T12" fmla="*/ 2 w 35"/>
                <a:gd name="T13" fmla="*/ 10 h 33"/>
                <a:gd name="T14" fmla="*/ 1 w 35"/>
                <a:gd name="T15" fmla="*/ 21 h 33"/>
                <a:gd name="T16" fmla="*/ 3 w 35"/>
                <a:gd name="T17" fmla="*/ 29 h 33"/>
                <a:gd name="T18" fmla="*/ 10 w 35"/>
                <a:gd name="T19" fmla="*/ 33 h 33"/>
                <a:gd name="T20" fmla="*/ 26 w 35"/>
                <a:gd name="T21" fmla="*/ 33 h 33"/>
                <a:gd name="T22" fmla="*/ 26 w 35"/>
                <a:gd name="T23" fmla="*/ 33 h 33"/>
                <a:gd name="T24" fmla="*/ 33 w 35"/>
                <a:gd name="T25" fmla="*/ 29 h 33"/>
                <a:gd name="T26" fmla="*/ 35 w 35"/>
                <a:gd name="T27" fmla="*/ 24 h 33"/>
                <a:gd name="T28" fmla="*/ 33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3" y="22"/>
                  </a:moveTo>
                  <a:cubicBezTo>
                    <a:pt x="30" y="18"/>
                    <a:pt x="29" y="13"/>
                    <a:pt x="30" y="8"/>
                  </a:cubicBezTo>
                  <a:cubicBezTo>
                    <a:pt x="30" y="3"/>
                    <a:pt x="30" y="3"/>
                    <a:pt x="30" y="3"/>
                  </a:cubicBezTo>
                  <a:cubicBezTo>
                    <a:pt x="29" y="2"/>
                    <a:pt x="27" y="1"/>
                    <a:pt x="24" y="0"/>
                  </a:cubicBezTo>
                  <a:cubicBezTo>
                    <a:pt x="22" y="0"/>
                    <a:pt x="20" y="0"/>
                    <a:pt x="18" y="0"/>
                  </a:cubicBezTo>
                  <a:cubicBezTo>
                    <a:pt x="16" y="0"/>
                    <a:pt x="14" y="0"/>
                    <a:pt x="12" y="0"/>
                  </a:cubicBezTo>
                  <a:cubicBezTo>
                    <a:pt x="7" y="1"/>
                    <a:pt x="3" y="5"/>
                    <a:pt x="2" y="10"/>
                  </a:cubicBezTo>
                  <a:cubicBezTo>
                    <a:pt x="1" y="21"/>
                    <a:pt x="1" y="21"/>
                    <a:pt x="1" y="21"/>
                  </a:cubicBezTo>
                  <a:cubicBezTo>
                    <a:pt x="0" y="24"/>
                    <a:pt x="1" y="27"/>
                    <a:pt x="3" y="29"/>
                  </a:cubicBezTo>
                  <a:cubicBezTo>
                    <a:pt x="5" y="31"/>
                    <a:pt x="7" y="33"/>
                    <a:pt x="10" y="33"/>
                  </a:cubicBezTo>
                  <a:cubicBezTo>
                    <a:pt x="15" y="33"/>
                    <a:pt x="21" y="33"/>
                    <a:pt x="26" y="33"/>
                  </a:cubicBezTo>
                  <a:cubicBezTo>
                    <a:pt x="26" y="33"/>
                    <a:pt x="26" y="33"/>
                    <a:pt x="26" y="33"/>
                  </a:cubicBezTo>
                  <a:cubicBezTo>
                    <a:pt x="29" y="33"/>
                    <a:pt x="31" y="31"/>
                    <a:pt x="33" y="29"/>
                  </a:cubicBezTo>
                  <a:cubicBezTo>
                    <a:pt x="34" y="27"/>
                    <a:pt x="35" y="26"/>
                    <a:pt x="35" y="24"/>
                  </a:cubicBezTo>
                  <a:cubicBezTo>
                    <a:pt x="35" y="23"/>
                    <a:pt x="34" y="23"/>
                    <a:pt x="3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6" name="Freeform 21"/>
            <p:cNvSpPr>
              <a:spLocks/>
            </p:cNvSpPr>
            <p:nvPr/>
          </p:nvSpPr>
          <p:spPr bwMode="auto">
            <a:xfrm>
              <a:off x="3330033" y="1812777"/>
              <a:ext cx="30449" cy="27404"/>
            </a:xfrm>
            <a:custGeom>
              <a:avLst/>
              <a:gdLst>
                <a:gd name="T0" fmla="*/ 3 w 39"/>
                <a:gd name="T1" fmla="*/ 10 h 36"/>
                <a:gd name="T2" fmla="*/ 1 w 39"/>
                <a:gd name="T3" fmla="*/ 22 h 36"/>
                <a:gd name="T4" fmla="*/ 3 w 39"/>
                <a:gd name="T5" fmla="*/ 31 h 36"/>
                <a:gd name="T6" fmla="*/ 11 w 39"/>
                <a:gd name="T7" fmla="*/ 35 h 36"/>
                <a:gd name="T8" fmla="*/ 28 w 39"/>
                <a:gd name="T9" fmla="*/ 35 h 36"/>
                <a:gd name="T10" fmla="*/ 36 w 39"/>
                <a:gd name="T11" fmla="*/ 31 h 36"/>
                <a:gd name="T12" fmla="*/ 39 w 39"/>
                <a:gd name="T13" fmla="*/ 22 h 36"/>
                <a:gd name="T14" fmla="*/ 37 w 39"/>
                <a:gd name="T15" fmla="*/ 10 h 36"/>
                <a:gd name="T16" fmla="*/ 27 w 39"/>
                <a:gd name="T17" fmla="*/ 0 h 36"/>
                <a:gd name="T18" fmla="*/ 19 w 39"/>
                <a:gd name="T19" fmla="*/ 0 h 36"/>
                <a:gd name="T20" fmla="*/ 13 w 39"/>
                <a:gd name="T21" fmla="*/ 0 h 36"/>
                <a:gd name="T22" fmla="*/ 3 w 39"/>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3" y="10"/>
                  </a:moveTo>
                  <a:cubicBezTo>
                    <a:pt x="1" y="22"/>
                    <a:pt x="1" y="22"/>
                    <a:pt x="1" y="22"/>
                  </a:cubicBezTo>
                  <a:cubicBezTo>
                    <a:pt x="0" y="25"/>
                    <a:pt x="1" y="29"/>
                    <a:pt x="3" y="31"/>
                  </a:cubicBezTo>
                  <a:cubicBezTo>
                    <a:pt x="5" y="34"/>
                    <a:pt x="8" y="35"/>
                    <a:pt x="11" y="35"/>
                  </a:cubicBezTo>
                  <a:cubicBezTo>
                    <a:pt x="17" y="36"/>
                    <a:pt x="23" y="36"/>
                    <a:pt x="28" y="35"/>
                  </a:cubicBezTo>
                  <a:cubicBezTo>
                    <a:pt x="31" y="35"/>
                    <a:pt x="34" y="34"/>
                    <a:pt x="36" y="31"/>
                  </a:cubicBezTo>
                  <a:cubicBezTo>
                    <a:pt x="38" y="29"/>
                    <a:pt x="39" y="25"/>
                    <a:pt x="39" y="22"/>
                  </a:cubicBezTo>
                  <a:cubicBezTo>
                    <a:pt x="37" y="10"/>
                    <a:pt x="37" y="10"/>
                    <a:pt x="37" y="10"/>
                  </a:cubicBezTo>
                  <a:cubicBezTo>
                    <a:pt x="36" y="5"/>
                    <a:pt x="32" y="1"/>
                    <a:pt x="27" y="0"/>
                  </a:cubicBezTo>
                  <a:cubicBezTo>
                    <a:pt x="24" y="0"/>
                    <a:pt x="22" y="0"/>
                    <a:pt x="19" y="0"/>
                  </a:cubicBezTo>
                  <a:cubicBezTo>
                    <a:pt x="17" y="0"/>
                    <a:pt x="15" y="0"/>
                    <a:pt x="13" y="0"/>
                  </a:cubicBezTo>
                  <a:cubicBezTo>
                    <a:pt x="8" y="1"/>
                    <a:pt x="3" y="5"/>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7" name="Freeform 22"/>
            <p:cNvSpPr>
              <a:spLocks/>
            </p:cNvSpPr>
            <p:nvPr/>
          </p:nvSpPr>
          <p:spPr bwMode="auto">
            <a:xfrm>
              <a:off x="3362004" y="1818867"/>
              <a:ext cx="28926" cy="27404"/>
            </a:xfrm>
            <a:custGeom>
              <a:avLst/>
              <a:gdLst>
                <a:gd name="T0" fmla="*/ 36 w 37"/>
                <a:gd name="T1" fmla="*/ 22 h 36"/>
                <a:gd name="T2" fmla="*/ 35 w 37"/>
                <a:gd name="T3" fmla="*/ 10 h 36"/>
                <a:gd name="T4" fmla="*/ 24 w 37"/>
                <a:gd name="T5" fmla="*/ 0 h 36"/>
                <a:gd name="T6" fmla="*/ 17 w 37"/>
                <a:gd name="T7" fmla="*/ 0 h 36"/>
                <a:gd name="T8" fmla="*/ 11 w 37"/>
                <a:gd name="T9" fmla="*/ 0 h 36"/>
                <a:gd name="T10" fmla="*/ 3 w 37"/>
                <a:gd name="T11" fmla="*/ 4 h 36"/>
                <a:gd name="T12" fmla="*/ 5 w 37"/>
                <a:gd name="T13" fmla="*/ 13 h 36"/>
                <a:gd name="T14" fmla="*/ 1 w 37"/>
                <a:gd name="T15" fmla="*/ 28 h 36"/>
                <a:gd name="T16" fmla="*/ 0 w 37"/>
                <a:gd name="T17" fmla="*/ 29 h 36"/>
                <a:gd name="T18" fmla="*/ 1 w 37"/>
                <a:gd name="T19" fmla="*/ 31 h 36"/>
                <a:gd name="T20" fmla="*/ 9 w 37"/>
                <a:gd name="T21" fmla="*/ 35 h 36"/>
                <a:gd name="T22" fmla="*/ 26 w 37"/>
                <a:gd name="T23" fmla="*/ 35 h 36"/>
                <a:gd name="T24" fmla="*/ 34 w 37"/>
                <a:gd name="T25" fmla="*/ 31 h 36"/>
                <a:gd name="T26" fmla="*/ 36 w 37"/>
                <a:gd name="T2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6">
                  <a:moveTo>
                    <a:pt x="36" y="22"/>
                  </a:moveTo>
                  <a:cubicBezTo>
                    <a:pt x="35" y="10"/>
                    <a:pt x="35" y="10"/>
                    <a:pt x="35" y="10"/>
                  </a:cubicBezTo>
                  <a:cubicBezTo>
                    <a:pt x="34" y="5"/>
                    <a:pt x="30" y="0"/>
                    <a:pt x="24" y="0"/>
                  </a:cubicBezTo>
                  <a:cubicBezTo>
                    <a:pt x="22" y="0"/>
                    <a:pt x="20" y="0"/>
                    <a:pt x="17" y="0"/>
                  </a:cubicBezTo>
                  <a:cubicBezTo>
                    <a:pt x="15" y="0"/>
                    <a:pt x="13" y="0"/>
                    <a:pt x="11" y="0"/>
                  </a:cubicBezTo>
                  <a:cubicBezTo>
                    <a:pt x="8" y="0"/>
                    <a:pt x="5" y="2"/>
                    <a:pt x="3" y="4"/>
                  </a:cubicBezTo>
                  <a:cubicBezTo>
                    <a:pt x="5" y="13"/>
                    <a:pt x="5" y="13"/>
                    <a:pt x="5" y="13"/>
                  </a:cubicBezTo>
                  <a:cubicBezTo>
                    <a:pt x="6" y="18"/>
                    <a:pt x="4" y="24"/>
                    <a:pt x="1" y="28"/>
                  </a:cubicBezTo>
                  <a:cubicBezTo>
                    <a:pt x="0" y="28"/>
                    <a:pt x="0" y="28"/>
                    <a:pt x="0" y="29"/>
                  </a:cubicBezTo>
                  <a:cubicBezTo>
                    <a:pt x="0" y="30"/>
                    <a:pt x="0" y="30"/>
                    <a:pt x="1" y="31"/>
                  </a:cubicBezTo>
                  <a:cubicBezTo>
                    <a:pt x="3" y="33"/>
                    <a:pt x="6" y="35"/>
                    <a:pt x="9" y="35"/>
                  </a:cubicBezTo>
                  <a:cubicBezTo>
                    <a:pt x="15" y="36"/>
                    <a:pt x="20" y="36"/>
                    <a:pt x="26" y="35"/>
                  </a:cubicBezTo>
                  <a:cubicBezTo>
                    <a:pt x="29" y="35"/>
                    <a:pt x="32" y="33"/>
                    <a:pt x="34" y="31"/>
                  </a:cubicBezTo>
                  <a:cubicBezTo>
                    <a:pt x="36" y="28"/>
                    <a:pt x="37" y="25"/>
                    <a:pt x="3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8" name="Freeform 23"/>
            <p:cNvSpPr>
              <a:spLocks/>
            </p:cNvSpPr>
            <p:nvPr/>
          </p:nvSpPr>
          <p:spPr bwMode="auto">
            <a:xfrm>
              <a:off x="3281315" y="1812777"/>
              <a:ext cx="74600" cy="149961"/>
            </a:xfrm>
            <a:custGeom>
              <a:avLst/>
              <a:gdLst>
                <a:gd name="T0" fmla="*/ 23 w 96"/>
                <a:gd name="T1" fmla="*/ 136 h 195"/>
                <a:gd name="T2" fmla="*/ 83 w 96"/>
                <a:gd name="T3" fmla="*/ 195 h 195"/>
                <a:gd name="T4" fmla="*/ 96 w 96"/>
                <a:gd name="T5" fmla="*/ 194 h 195"/>
                <a:gd name="T6" fmla="*/ 0 w 96"/>
                <a:gd name="T7" fmla="*/ 0 h 195"/>
                <a:gd name="T8" fmla="*/ 23 w 96"/>
                <a:gd name="T9" fmla="*/ 76 h 195"/>
                <a:gd name="T10" fmla="*/ 23 w 96"/>
                <a:gd name="T11" fmla="*/ 112 h 195"/>
                <a:gd name="T12" fmla="*/ 23 w 96"/>
                <a:gd name="T13" fmla="*/ 136 h 195"/>
              </a:gdLst>
              <a:ahLst/>
              <a:cxnLst>
                <a:cxn ang="0">
                  <a:pos x="T0" y="T1"/>
                </a:cxn>
                <a:cxn ang="0">
                  <a:pos x="T2" y="T3"/>
                </a:cxn>
                <a:cxn ang="0">
                  <a:pos x="T4" y="T5"/>
                </a:cxn>
                <a:cxn ang="0">
                  <a:pos x="T6" y="T7"/>
                </a:cxn>
                <a:cxn ang="0">
                  <a:pos x="T8" y="T9"/>
                </a:cxn>
                <a:cxn ang="0">
                  <a:pos x="T10" y="T11"/>
                </a:cxn>
                <a:cxn ang="0">
                  <a:pos x="T12" y="T13"/>
                </a:cxn>
              </a:cxnLst>
              <a:rect l="0" t="0" r="r" b="b"/>
              <a:pathLst>
                <a:path w="96" h="195">
                  <a:moveTo>
                    <a:pt x="23" y="136"/>
                  </a:moveTo>
                  <a:cubicBezTo>
                    <a:pt x="23" y="169"/>
                    <a:pt x="50" y="195"/>
                    <a:pt x="83" y="195"/>
                  </a:cubicBezTo>
                  <a:cubicBezTo>
                    <a:pt x="87" y="195"/>
                    <a:pt x="92" y="195"/>
                    <a:pt x="96" y="194"/>
                  </a:cubicBezTo>
                  <a:cubicBezTo>
                    <a:pt x="91" y="125"/>
                    <a:pt x="57" y="40"/>
                    <a:pt x="0" y="0"/>
                  </a:cubicBezTo>
                  <a:cubicBezTo>
                    <a:pt x="13" y="26"/>
                    <a:pt x="21" y="52"/>
                    <a:pt x="23" y="76"/>
                  </a:cubicBezTo>
                  <a:cubicBezTo>
                    <a:pt x="24" y="89"/>
                    <a:pt x="24" y="101"/>
                    <a:pt x="23" y="112"/>
                  </a:cubicBezTo>
                  <a:cubicBezTo>
                    <a:pt x="23" y="120"/>
                    <a:pt x="23" y="128"/>
                    <a:pt x="2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9" name="Freeform 24"/>
            <p:cNvSpPr>
              <a:spLocks/>
            </p:cNvSpPr>
            <p:nvPr/>
          </p:nvSpPr>
          <p:spPr bwMode="auto">
            <a:xfrm>
              <a:off x="3303390" y="1818867"/>
              <a:ext cx="25882" cy="26643"/>
            </a:xfrm>
            <a:custGeom>
              <a:avLst/>
              <a:gdLst>
                <a:gd name="T0" fmla="*/ 24 w 34"/>
                <a:gd name="T1" fmla="*/ 35 h 35"/>
                <a:gd name="T2" fmla="*/ 24 w 34"/>
                <a:gd name="T3" fmla="*/ 35 h 35"/>
                <a:gd name="T4" fmla="*/ 32 w 34"/>
                <a:gd name="T5" fmla="*/ 31 h 35"/>
                <a:gd name="T6" fmla="*/ 34 w 34"/>
                <a:gd name="T7" fmla="*/ 29 h 35"/>
                <a:gd name="T8" fmla="*/ 33 w 34"/>
                <a:gd name="T9" fmla="*/ 28 h 35"/>
                <a:gd name="T10" fmla="*/ 29 w 34"/>
                <a:gd name="T11" fmla="*/ 13 h 35"/>
                <a:gd name="T12" fmla="*/ 30 w 34"/>
                <a:gd name="T13" fmla="*/ 4 h 35"/>
                <a:gd name="T14" fmla="*/ 23 w 34"/>
                <a:gd name="T15" fmla="*/ 0 h 35"/>
                <a:gd name="T16" fmla="*/ 16 w 34"/>
                <a:gd name="T17" fmla="*/ 0 h 35"/>
                <a:gd name="T18" fmla="*/ 10 w 34"/>
                <a:gd name="T19" fmla="*/ 0 h 35"/>
                <a:gd name="T20" fmla="*/ 0 w 34"/>
                <a:gd name="T21" fmla="*/ 6 h 35"/>
                <a:gd name="T22" fmla="*/ 24 w 34"/>
                <a:gd name="T2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5">
                  <a:moveTo>
                    <a:pt x="24" y="35"/>
                  </a:moveTo>
                  <a:cubicBezTo>
                    <a:pt x="24" y="35"/>
                    <a:pt x="24" y="35"/>
                    <a:pt x="24" y="35"/>
                  </a:cubicBezTo>
                  <a:cubicBezTo>
                    <a:pt x="28" y="35"/>
                    <a:pt x="30" y="33"/>
                    <a:pt x="32" y="31"/>
                  </a:cubicBezTo>
                  <a:cubicBezTo>
                    <a:pt x="33" y="30"/>
                    <a:pt x="33" y="30"/>
                    <a:pt x="34" y="29"/>
                  </a:cubicBezTo>
                  <a:cubicBezTo>
                    <a:pt x="33" y="28"/>
                    <a:pt x="33" y="28"/>
                    <a:pt x="33" y="28"/>
                  </a:cubicBezTo>
                  <a:cubicBezTo>
                    <a:pt x="29" y="24"/>
                    <a:pt x="28" y="18"/>
                    <a:pt x="29" y="13"/>
                  </a:cubicBezTo>
                  <a:cubicBezTo>
                    <a:pt x="30" y="4"/>
                    <a:pt x="30" y="4"/>
                    <a:pt x="30" y="4"/>
                  </a:cubicBezTo>
                  <a:cubicBezTo>
                    <a:pt x="28" y="2"/>
                    <a:pt x="26" y="0"/>
                    <a:pt x="23" y="0"/>
                  </a:cubicBezTo>
                  <a:cubicBezTo>
                    <a:pt x="20" y="0"/>
                    <a:pt x="18" y="0"/>
                    <a:pt x="16" y="0"/>
                  </a:cubicBezTo>
                  <a:cubicBezTo>
                    <a:pt x="14" y="0"/>
                    <a:pt x="12" y="0"/>
                    <a:pt x="10" y="0"/>
                  </a:cubicBezTo>
                  <a:cubicBezTo>
                    <a:pt x="5" y="0"/>
                    <a:pt x="2" y="3"/>
                    <a:pt x="0" y="6"/>
                  </a:cubicBezTo>
                  <a:cubicBezTo>
                    <a:pt x="9" y="15"/>
                    <a:pt x="16" y="25"/>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0" name="Freeform 25"/>
            <p:cNvSpPr>
              <a:spLocks/>
            </p:cNvSpPr>
            <p:nvPr/>
          </p:nvSpPr>
          <p:spPr bwMode="auto">
            <a:xfrm>
              <a:off x="3330794" y="1847032"/>
              <a:ext cx="29688" cy="27404"/>
            </a:xfrm>
            <a:custGeom>
              <a:avLst/>
              <a:gdLst>
                <a:gd name="T0" fmla="*/ 2 w 38"/>
                <a:gd name="T1" fmla="*/ 11 h 36"/>
                <a:gd name="T2" fmla="*/ 0 w 38"/>
                <a:gd name="T3" fmla="*/ 19 h 36"/>
                <a:gd name="T4" fmla="*/ 9 w 38"/>
                <a:gd name="T5" fmla="*/ 36 h 36"/>
                <a:gd name="T6" fmla="*/ 10 w 38"/>
                <a:gd name="T7" fmla="*/ 36 h 36"/>
                <a:gd name="T8" fmla="*/ 27 w 38"/>
                <a:gd name="T9" fmla="*/ 36 h 36"/>
                <a:gd name="T10" fmla="*/ 35 w 38"/>
                <a:gd name="T11" fmla="*/ 32 h 36"/>
                <a:gd name="T12" fmla="*/ 38 w 38"/>
                <a:gd name="T13" fmla="*/ 22 h 36"/>
                <a:gd name="T14" fmla="*/ 36 w 38"/>
                <a:gd name="T15" fmla="*/ 11 h 36"/>
                <a:gd name="T16" fmla="*/ 26 w 38"/>
                <a:gd name="T17" fmla="*/ 1 h 36"/>
                <a:gd name="T18" fmla="*/ 18 w 38"/>
                <a:gd name="T19" fmla="*/ 0 h 36"/>
                <a:gd name="T20" fmla="*/ 12 w 38"/>
                <a:gd name="T21" fmla="*/ 1 h 36"/>
                <a:gd name="T22" fmla="*/ 2 w 38"/>
                <a:gd name="T2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2" y="11"/>
                  </a:moveTo>
                  <a:cubicBezTo>
                    <a:pt x="0" y="19"/>
                    <a:pt x="0" y="19"/>
                    <a:pt x="0" y="19"/>
                  </a:cubicBezTo>
                  <a:cubicBezTo>
                    <a:pt x="4" y="24"/>
                    <a:pt x="6" y="30"/>
                    <a:pt x="9" y="36"/>
                  </a:cubicBezTo>
                  <a:cubicBezTo>
                    <a:pt x="10" y="36"/>
                    <a:pt x="10" y="36"/>
                    <a:pt x="10" y="36"/>
                  </a:cubicBezTo>
                  <a:cubicBezTo>
                    <a:pt x="16" y="36"/>
                    <a:pt x="22" y="36"/>
                    <a:pt x="27" y="36"/>
                  </a:cubicBezTo>
                  <a:cubicBezTo>
                    <a:pt x="30" y="36"/>
                    <a:pt x="33" y="34"/>
                    <a:pt x="35" y="32"/>
                  </a:cubicBezTo>
                  <a:cubicBezTo>
                    <a:pt x="37" y="29"/>
                    <a:pt x="38" y="26"/>
                    <a:pt x="38" y="22"/>
                  </a:cubicBezTo>
                  <a:cubicBezTo>
                    <a:pt x="36" y="11"/>
                    <a:pt x="36" y="11"/>
                    <a:pt x="36" y="11"/>
                  </a:cubicBezTo>
                  <a:cubicBezTo>
                    <a:pt x="35" y="5"/>
                    <a:pt x="31" y="1"/>
                    <a:pt x="26" y="1"/>
                  </a:cubicBezTo>
                  <a:cubicBezTo>
                    <a:pt x="23" y="0"/>
                    <a:pt x="21" y="0"/>
                    <a:pt x="18" y="0"/>
                  </a:cubicBezTo>
                  <a:cubicBezTo>
                    <a:pt x="16" y="0"/>
                    <a:pt x="14" y="0"/>
                    <a:pt x="12" y="1"/>
                  </a:cubicBezTo>
                  <a:cubicBezTo>
                    <a:pt x="7" y="1"/>
                    <a:pt x="2" y="5"/>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1" name="Freeform 26"/>
            <p:cNvSpPr>
              <a:spLocks/>
            </p:cNvSpPr>
            <p:nvPr/>
          </p:nvSpPr>
          <p:spPr bwMode="auto">
            <a:xfrm>
              <a:off x="3349063" y="1859212"/>
              <a:ext cx="50241" cy="101243"/>
            </a:xfrm>
            <a:custGeom>
              <a:avLst/>
              <a:gdLst>
                <a:gd name="T0" fmla="*/ 55 w 65"/>
                <a:gd name="T1" fmla="*/ 75 h 131"/>
                <a:gd name="T2" fmla="*/ 65 w 65"/>
                <a:gd name="T3" fmla="*/ 0 h 131"/>
                <a:gd name="T4" fmla="*/ 0 w 65"/>
                <a:gd name="T5" fmla="*/ 53 h 131"/>
                <a:gd name="T6" fmla="*/ 17 w 65"/>
                <a:gd name="T7" fmla="*/ 131 h 131"/>
                <a:gd name="T8" fmla="*/ 55 w 65"/>
                <a:gd name="T9" fmla="*/ 75 h 131"/>
              </a:gdLst>
              <a:ahLst/>
              <a:cxnLst>
                <a:cxn ang="0">
                  <a:pos x="T0" y="T1"/>
                </a:cxn>
                <a:cxn ang="0">
                  <a:pos x="T2" y="T3"/>
                </a:cxn>
                <a:cxn ang="0">
                  <a:pos x="T4" y="T5"/>
                </a:cxn>
                <a:cxn ang="0">
                  <a:pos x="T6" y="T7"/>
                </a:cxn>
                <a:cxn ang="0">
                  <a:pos x="T8" y="T9"/>
                </a:cxn>
              </a:cxnLst>
              <a:rect l="0" t="0" r="r" b="b"/>
              <a:pathLst>
                <a:path w="65" h="131">
                  <a:moveTo>
                    <a:pt x="55" y="75"/>
                  </a:moveTo>
                  <a:cubicBezTo>
                    <a:pt x="55" y="49"/>
                    <a:pt x="59" y="19"/>
                    <a:pt x="65" y="0"/>
                  </a:cubicBezTo>
                  <a:cubicBezTo>
                    <a:pt x="33" y="19"/>
                    <a:pt x="12" y="34"/>
                    <a:pt x="0" y="53"/>
                  </a:cubicBezTo>
                  <a:cubicBezTo>
                    <a:pt x="9" y="79"/>
                    <a:pt x="15" y="106"/>
                    <a:pt x="17" y="131"/>
                  </a:cubicBezTo>
                  <a:cubicBezTo>
                    <a:pt x="39" y="122"/>
                    <a:pt x="55" y="100"/>
                    <a:pt x="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2" name="Freeform 27"/>
            <p:cNvSpPr>
              <a:spLocks/>
            </p:cNvSpPr>
            <p:nvPr/>
          </p:nvSpPr>
          <p:spPr bwMode="auto">
            <a:xfrm>
              <a:off x="3360482" y="1851599"/>
              <a:ext cx="28165" cy="24359"/>
            </a:xfrm>
            <a:custGeom>
              <a:avLst/>
              <a:gdLst>
                <a:gd name="T0" fmla="*/ 3 w 36"/>
                <a:gd name="T1" fmla="*/ 32 h 32"/>
                <a:gd name="T2" fmla="*/ 36 w 36"/>
                <a:gd name="T3" fmla="*/ 9 h 32"/>
                <a:gd name="T4" fmla="*/ 26 w 36"/>
                <a:gd name="T5" fmla="*/ 0 h 32"/>
                <a:gd name="T6" fmla="*/ 19 w 36"/>
                <a:gd name="T7" fmla="*/ 0 h 32"/>
                <a:gd name="T8" fmla="*/ 13 w 36"/>
                <a:gd name="T9" fmla="*/ 0 h 32"/>
                <a:gd name="T10" fmla="*/ 2 w 36"/>
                <a:gd name="T11" fmla="*/ 10 h 32"/>
                <a:gd name="T12" fmla="*/ 1 w 36"/>
                <a:gd name="T13" fmla="*/ 22 h 32"/>
                <a:gd name="T14" fmla="*/ 3 w 36"/>
                <a:gd name="T15" fmla="*/ 31 h 32"/>
                <a:gd name="T16" fmla="*/ 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 y="32"/>
                  </a:moveTo>
                  <a:cubicBezTo>
                    <a:pt x="13" y="24"/>
                    <a:pt x="23" y="17"/>
                    <a:pt x="36" y="9"/>
                  </a:cubicBezTo>
                  <a:cubicBezTo>
                    <a:pt x="35" y="4"/>
                    <a:pt x="31" y="1"/>
                    <a:pt x="26" y="0"/>
                  </a:cubicBezTo>
                  <a:cubicBezTo>
                    <a:pt x="24" y="0"/>
                    <a:pt x="22" y="0"/>
                    <a:pt x="19" y="0"/>
                  </a:cubicBezTo>
                  <a:cubicBezTo>
                    <a:pt x="17" y="0"/>
                    <a:pt x="15" y="0"/>
                    <a:pt x="13" y="0"/>
                  </a:cubicBezTo>
                  <a:cubicBezTo>
                    <a:pt x="7" y="1"/>
                    <a:pt x="3" y="5"/>
                    <a:pt x="2" y="10"/>
                  </a:cubicBezTo>
                  <a:cubicBezTo>
                    <a:pt x="1" y="22"/>
                    <a:pt x="1" y="22"/>
                    <a:pt x="1" y="22"/>
                  </a:cubicBezTo>
                  <a:cubicBezTo>
                    <a:pt x="0" y="25"/>
                    <a:pt x="1" y="29"/>
                    <a:pt x="3" y="31"/>
                  </a:cubicBezTo>
                  <a:cubicBezTo>
                    <a:pt x="3" y="31"/>
                    <a:pt x="3" y="31"/>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3" name="Freeform 28"/>
            <p:cNvSpPr>
              <a:spLocks/>
            </p:cNvSpPr>
            <p:nvPr/>
          </p:nvSpPr>
          <p:spPr bwMode="auto">
            <a:xfrm>
              <a:off x="3342974" y="1883571"/>
              <a:ext cx="10657" cy="9896"/>
            </a:xfrm>
            <a:custGeom>
              <a:avLst/>
              <a:gdLst>
                <a:gd name="T0" fmla="*/ 14 w 14"/>
                <a:gd name="T1" fmla="*/ 2 h 13"/>
                <a:gd name="T2" fmla="*/ 10 w 14"/>
                <a:gd name="T3" fmla="*/ 0 h 13"/>
                <a:gd name="T4" fmla="*/ 3 w 14"/>
                <a:gd name="T5" fmla="*/ 0 h 13"/>
                <a:gd name="T6" fmla="*/ 0 w 14"/>
                <a:gd name="T7" fmla="*/ 0 h 13"/>
                <a:gd name="T8" fmla="*/ 5 w 14"/>
                <a:gd name="T9" fmla="*/ 13 h 13"/>
                <a:gd name="T10" fmla="*/ 14 w 14"/>
                <a:gd name="T11" fmla="*/ 2 h 13"/>
              </a:gdLst>
              <a:ahLst/>
              <a:cxnLst>
                <a:cxn ang="0">
                  <a:pos x="T0" y="T1"/>
                </a:cxn>
                <a:cxn ang="0">
                  <a:pos x="T2" y="T3"/>
                </a:cxn>
                <a:cxn ang="0">
                  <a:pos x="T4" y="T5"/>
                </a:cxn>
                <a:cxn ang="0">
                  <a:pos x="T6" y="T7"/>
                </a:cxn>
                <a:cxn ang="0">
                  <a:pos x="T8" y="T9"/>
                </a:cxn>
                <a:cxn ang="0">
                  <a:pos x="T10" y="T11"/>
                </a:cxn>
              </a:cxnLst>
              <a:rect l="0" t="0" r="r" b="b"/>
              <a:pathLst>
                <a:path w="14" h="13">
                  <a:moveTo>
                    <a:pt x="14" y="2"/>
                  </a:moveTo>
                  <a:cubicBezTo>
                    <a:pt x="13" y="1"/>
                    <a:pt x="12" y="1"/>
                    <a:pt x="10" y="0"/>
                  </a:cubicBezTo>
                  <a:cubicBezTo>
                    <a:pt x="8" y="0"/>
                    <a:pt x="6" y="0"/>
                    <a:pt x="3" y="0"/>
                  </a:cubicBezTo>
                  <a:cubicBezTo>
                    <a:pt x="2" y="0"/>
                    <a:pt x="1" y="0"/>
                    <a:pt x="0" y="0"/>
                  </a:cubicBezTo>
                  <a:cubicBezTo>
                    <a:pt x="1" y="5"/>
                    <a:pt x="3" y="9"/>
                    <a:pt x="5" y="13"/>
                  </a:cubicBezTo>
                  <a:cubicBezTo>
                    <a:pt x="8" y="9"/>
                    <a:pt x="11" y="5"/>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4" name="Freeform 29"/>
            <p:cNvSpPr>
              <a:spLocks/>
            </p:cNvSpPr>
            <p:nvPr/>
          </p:nvSpPr>
          <p:spPr bwMode="auto">
            <a:xfrm>
              <a:off x="3333839" y="1721430"/>
              <a:ext cx="22837" cy="21314"/>
            </a:xfrm>
            <a:custGeom>
              <a:avLst/>
              <a:gdLst>
                <a:gd name="T0" fmla="*/ 27 w 29"/>
                <a:gd name="T1" fmla="*/ 24 h 27"/>
                <a:gd name="T2" fmla="*/ 29 w 29"/>
                <a:gd name="T3" fmla="*/ 17 h 27"/>
                <a:gd name="T4" fmla="*/ 28 w 29"/>
                <a:gd name="T5" fmla="*/ 8 h 27"/>
                <a:gd name="T6" fmla="*/ 20 w 29"/>
                <a:gd name="T7" fmla="*/ 0 h 27"/>
                <a:gd name="T8" fmla="*/ 15 w 29"/>
                <a:gd name="T9" fmla="*/ 0 h 27"/>
                <a:gd name="T10" fmla="*/ 10 w 29"/>
                <a:gd name="T11" fmla="*/ 0 h 27"/>
                <a:gd name="T12" fmla="*/ 2 w 29"/>
                <a:gd name="T13" fmla="*/ 8 h 27"/>
                <a:gd name="T14" fmla="*/ 0 w 29"/>
                <a:gd name="T15" fmla="*/ 17 h 27"/>
                <a:gd name="T16" fmla="*/ 2 w 29"/>
                <a:gd name="T17" fmla="*/ 24 h 27"/>
                <a:gd name="T18" fmla="*/ 8 w 29"/>
                <a:gd name="T19" fmla="*/ 27 h 27"/>
                <a:gd name="T20" fmla="*/ 21 w 29"/>
                <a:gd name="T21" fmla="*/ 27 h 27"/>
                <a:gd name="T22" fmla="*/ 27 w 29"/>
                <a:gd name="T23"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7" y="24"/>
                  </a:moveTo>
                  <a:cubicBezTo>
                    <a:pt x="29" y="22"/>
                    <a:pt x="29" y="19"/>
                    <a:pt x="29" y="17"/>
                  </a:cubicBezTo>
                  <a:cubicBezTo>
                    <a:pt x="28" y="8"/>
                    <a:pt x="28" y="8"/>
                    <a:pt x="28" y="8"/>
                  </a:cubicBezTo>
                  <a:cubicBezTo>
                    <a:pt x="27" y="4"/>
                    <a:pt x="24" y="1"/>
                    <a:pt x="20" y="0"/>
                  </a:cubicBezTo>
                  <a:cubicBezTo>
                    <a:pt x="18" y="0"/>
                    <a:pt x="16" y="0"/>
                    <a:pt x="15" y="0"/>
                  </a:cubicBezTo>
                  <a:cubicBezTo>
                    <a:pt x="13" y="0"/>
                    <a:pt x="11" y="0"/>
                    <a:pt x="10" y="0"/>
                  </a:cubicBezTo>
                  <a:cubicBezTo>
                    <a:pt x="6" y="0"/>
                    <a:pt x="2" y="4"/>
                    <a:pt x="2" y="8"/>
                  </a:cubicBezTo>
                  <a:cubicBezTo>
                    <a:pt x="0" y="17"/>
                    <a:pt x="0" y="17"/>
                    <a:pt x="0" y="17"/>
                  </a:cubicBezTo>
                  <a:cubicBezTo>
                    <a:pt x="0" y="19"/>
                    <a:pt x="1" y="22"/>
                    <a:pt x="2" y="24"/>
                  </a:cubicBezTo>
                  <a:cubicBezTo>
                    <a:pt x="4" y="26"/>
                    <a:pt x="6" y="27"/>
                    <a:pt x="8" y="27"/>
                  </a:cubicBezTo>
                  <a:cubicBezTo>
                    <a:pt x="13" y="27"/>
                    <a:pt x="17" y="27"/>
                    <a:pt x="21" y="27"/>
                  </a:cubicBezTo>
                  <a:cubicBezTo>
                    <a:pt x="24" y="27"/>
                    <a:pt x="26" y="26"/>
                    <a:pt x="2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35" name="Group 234"/>
          <p:cNvGrpSpPr/>
          <p:nvPr/>
        </p:nvGrpSpPr>
        <p:grpSpPr>
          <a:xfrm>
            <a:off x="2888173" y="3446783"/>
            <a:ext cx="130241" cy="305859"/>
            <a:chOff x="3281315" y="1703922"/>
            <a:chExt cx="117989" cy="277086"/>
          </a:xfrm>
          <a:solidFill>
            <a:schemeClr val="accent6"/>
          </a:solidFill>
        </p:grpSpPr>
        <p:sp>
          <p:nvSpPr>
            <p:cNvPr id="243" name="Freeform 9"/>
            <p:cNvSpPr>
              <a:spLocks/>
            </p:cNvSpPr>
            <p:nvPr/>
          </p:nvSpPr>
          <p:spPr bwMode="auto">
            <a:xfrm>
              <a:off x="3329272" y="1966545"/>
              <a:ext cx="31971" cy="14463"/>
            </a:xfrm>
            <a:custGeom>
              <a:avLst/>
              <a:gdLst>
                <a:gd name="T0" fmla="*/ 39 w 41"/>
                <a:gd name="T1" fmla="*/ 1 h 19"/>
                <a:gd name="T2" fmla="*/ 21 w 41"/>
                <a:gd name="T3" fmla="*/ 3 h 19"/>
                <a:gd name="T4" fmla="*/ 0 w 41"/>
                <a:gd name="T5" fmla="*/ 0 h 19"/>
                <a:gd name="T6" fmla="*/ 21 w 41"/>
                <a:gd name="T7" fmla="*/ 19 h 19"/>
                <a:gd name="T8" fmla="*/ 41 w 41"/>
                <a:gd name="T9" fmla="*/ 0 h 19"/>
                <a:gd name="T10" fmla="*/ 39 w 41"/>
                <a:gd name="T11" fmla="*/ 1 h 19"/>
              </a:gdLst>
              <a:ahLst/>
              <a:cxnLst>
                <a:cxn ang="0">
                  <a:pos x="T0" y="T1"/>
                </a:cxn>
                <a:cxn ang="0">
                  <a:pos x="T2" y="T3"/>
                </a:cxn>
                <a:cxn ang="0">
                  <a:pos x="T4" y="T5"/>
                </a:cxn>
                <a:cxn ang="0">
                  <a:pos x="T6" y="T7"/>
                </a:cxn>
                <a:cxn ang="0">
                  <a:pos x="T8" y="T9"/>
                </a:cxn>
                <a:cxn ang="0">
                  <a:pos x="T10" y="T11"/>
                </a:cxn>
              </a:cxnLst>
              <a:rect l="0" t="0" r="r" b="b"/>
              <a:pathLst>
                <a:path w="41" h="19">
                  <a:moveTo>
                    <a:pt x="39" y="1"/>
                  </a:moveTo>
                  <a:cubicBezTo>
                    <a:pt x="33" y="2"/>
                    <a:pt x="27" y="3"/>
                    <a:pt x="21" y="3"/>
                  </a:cubicBezTo>
                  <a:cubicBezTo>
                    <a:pt x="14" y="3"/>
                    <a:pt x="7" y="2"/>
                    <a:pt x="0" y="0"/>
                  </a:cubicBezTo>
                  <a:cubicBezTo>
                    <a:pt x="1" y="11"/>
                    <a:pt x="10" y="19"/>
                    <a:pt x="21" y="19"/>
                  </a:cubicBezTo>
                  <a:cubicBezTo>
                    <a:pt x="32" y="19"/>
                    <a:pt x="40" y="11"/>
                    <a:pt x="41" y="0"/>
                  </a:cubicBezTo>
                  <a:lnTo>
                    <a:pt x="3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1" name="Freeform 10"/>
            <p:cNvSpPr>
              <a:spLocks/>
            </p:cNvSpPr>
            <p:nvPr/>
          </p:nvSpPr>
          <p:spPr bwMode="auto">
            <a:xfrm>
              <a:off x="3336884" y="1703922"/>
              <a:ext cx="17508" cy="13702"/>
            </a:xfrm>
            <a:custGeom>
              <a:avLst/>
              <a:gdLst>
                <a:gd name="T0" fmla="*/ 2 w 22"/>
                <a:gd name="T1" fmla="*/ 18 h 18"/>
                <a:gd name="T2" fmla="*/ 5 w 22"/>
                <a:gd name="T3" fmla="*/ 18 h 18"/>
                <a:gd name="T4" fmla="*/ 16 w 22"/>
                <a:gd name="T5" fmla="*/ 18 h 18"/>
                <a:gd name="T6" fmla="*/ 20 w 22"/>
                <a:gd name="T7" fmla="*/ 18 h 18"/>
                <a:gd name="T8" fmla="*/ 20 w 22"/>
                <a:gd name="T9" fmla="*/ 18 h 18"/>
                <a:gd name="T10" fmla="*/ 22 w 22"/>
                <a:gd name="T11" fmla="*/ 13 h 18"/>
                <a:gd name="T12" fmla="*/ 21 w 22"/>
                <a:gd name="T13" fmla="*/ 6 h 18"/>
                <a:gd name="T14" fmla="*/ 15 w 22"/>
                <a:gd name="T15" fmla="*/ 0 h 18"/>
                <a:gd name="T16" fmla="*/ 11 w 22"/>
                <a:gd name="T17" fmla="*/ 0 h 18"/>
                <a:gd name="T18" fmla="*/ 7 w 22"/>
                <a:gd name="T19" fmla="*/ 0 h 18"/>
                <a:gd name="T20" fmla="*/ 1 w 22"/>
                <a:gd name="T21" fmla="*/ 6 h 18"/>
                <a:gd name="T22" fmla="*/ 0 w 22"/>
                <a:gd name="T23" fmla="*/ 13 h 18"/>
                <a:gd name="T24" fmla="*/ 1 w 22"/>
                <a:gd name="T25" fmla="*/ 18 h 18"/>
                <a:gd name="T26" fmla="*/ 2 w 22"/>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2" y="18"/>
                  </a:moveTo>
                  <a:cubicBezTo>
                    <a:pt x="3" y="18"/>
                    <a:pt x="4" y="18"/>
                    <a:pt x="5" y="18"/>
                  </a:cubicBezTo>
                  <a:cubicBezTo>
                    <a:pt x="9" y="17"/>
                    <a:pt x="13" y="17"/>
                    <a:pt x="16" y="18"/>
                  </a:cubicBezTo>
                  <a:cubicBezTo>
                    <a:pt x="18" y="18"/>
                    <a:pt x="19" y="18"/>
                    <a:pt x="20" y="18"/>
                  </a:cubicBezTo>
                  <a:cubicBezTo>
                    <a:pt x="20" y="18"/>
                    <a:pt x="20" y="18"/>
                    <a:pt x="20" y="18"/>
                  </a:cubicBezTo>
                  <a:cubicBezTo>
                    <a:pt x="21" y="17"/>
                    <a:pt x="22" y="15"/>
                    <a:pt x="22" y="13"/>
                  </a:cubicBezTo>
                  <a:cubicBezTo>
                    <a:pt x="21" y="6"/>
                    <a:pt x="21" y="6"/>
                    <a:pt x="21" y="6"/>
                  </a:cubicBezTo>
                  <a:cubicBezTo>
                    <a:pt x="20" y="3"/>
                    <a:pt x="18" y="1"/>
                    <a:pt x="15" y="0"/>
                  </a:cubicBezTo>
                  <a:cubicBezTo>
                    <a:pt x="13" y="0"/>
                    <a:pt x="12" y="0"/>
                    <a:pt x="11" y="0"/>
                  </a:cubicBezTo>
                  <a:cubicBezTo>
                    <a:pt x="9" y="0"/>
                    <a:pt x="8" y="0"/>
                    <a:pt x="7" y="0"/>
                  </a:cubicBezTo>
                  <a:cubicBezTo>
                    <a:pt x="4" y="0"/>
                    <a:pt x="1" y="3"/>
                    <a:pt x="1" y="6"/>
                  </a:cubicBezTo>
                  <a:cubicBezTo>
                    <a:pt x="0" y="13"/>
                    <a:pt x="0" y="13"/>
                    <a:pt x="0" y="13"/>
                  </a:cubicBezTo>
                  <a:cubicBezTo>
                    <a:pt x="0" y="15"/>
                    <a:pt x="0" y="17"/>
                    <a:pt x="1" y="18"/>
                  </a:cubicBezTo>
                  <a:cubicBezTo>
                    <a:pt x="1" y="18"/>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9" name="Freeform 11"/>
            <p:cNvSpPr>
              <a:spLocks/>
            </p:cNvSpPr>
            <p:nvPr/>
          </p:nvSpPr>
          <p:spPr bwMode="auto">
            <a:xfrm>
              <a:off x="3355915" y="1713818"/>
              <a:ext cx="15224" cy="15986"/>
            </a:xfrm>
            <a:custGeom>
              <a:avLst/>
              <a:gdLst>
                <a:gd name="T0" fmla="*/ 20 w 20"/>
                <a:gd name="T1" fmla="*/ 13 h 21"/>
                <a:gd name="T2" fmla="*/ 19 w 20"/>
                <a:gd name="T3" fmla="*/ 6 h 21"/>
                <a:gd name="T4" fmla="*/ 13 w 20"/>
                <a:gd name="T5" fmla="*/ 0 h 21"/>
                <a:gd name="T6" fmla="*/ 9 w 20"/>
                <a:gd name="T7" fmla="*/ 0 h 21"/>
                <a:gd name="T8" fmla="*/ 5 w 20"/>
                <a:gd name="T9" fmla="*/ 0 h 21"/>
                <a:gd name="T10" fmla="*/ 2 w 20"/>
                <a:gd name="T11" fmla="*/ 1 h 21"/>
                <a:gd name="T12" fmla="*/ 0 w 20"/>
                <a:gd name="T13" fmla="*/ 7 h 21"/>
                <a:gd name="T14" fmla="*/ 5 w 20"/>
                <a:gd name="T15" fmla="*/ 17 h 21"/>
                <a:gd name="T16" fmla="*/ 6 w 20"/>
                <a:gd name="T17" fmla="*/ 20 h 21"/>
                <a:gd name="T18" fmla="*/ 14 w 20"/>
                <a:gd name="T19" fmla="*/ 20 h 21"/>
                <a:gd name="T20" fmla="*/ 14 w 20"/>
                <a:gd name="T21" fmla="*/ 20 h 21"/>
                <a:gd name="T22" fmla="*/ 18 w 20"/>
                <a:gd name="T23" fmla="*/ 18 h 21"/>
                <a:gd name="T24" fmla="*/ 20 w 20"/>
                <a:gd name="T25"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1">
                  <a:moveTo>
                    <a:pt x="20" y="13"/>
                  </a:moveTo>
                  <a:cubicBezTo>
                    <a:pt x="19" y="6"/>
                    <a:pt x="19" y="6"/>
                    <a:pt x="19" y="6"/>
                  </a:cubicBezTo>
                  <a:cubicBezTo>
                    <a:pt x="18" y="3"/>
                    <a:pt x="16" y="0"/>
                    <a:pt x="13" y="0"/>
                  </a:cubicBezTo>
                  <a:cubicBezTo>
                    <a:pt x="12" y="0"/>
                    <a:pt x="10" y="0"/>
                    <a:pt x="9" y="0"/>
                  </a:cubicBezTo>
                  <a:cubicBezTo>
                    <a:pt x="8" y="0"/>
                    <a:pt x="6" y="0"/>
                    <a:pt x="5" y="0"/>
                  </a:cubicBezTo>
                  <a:cubicBezTo>
                    <a:pt x="4" y="0"/>
                    <a:pt x="3" y="1"/>
                    <a:pt x="2" y="1"/>
                  </a:cubicBezTo>
                  <a:cubicBezTo>
                    <a:pt x="2" y="4"/>
                    <a:pt x="1" y="6"/>
                    <a:pt x="0" y="7"/>
                  </a:cubicBezTo>
                  <a:cubicBezTo>
                    <a:pt x="3" y="10"/>
                    <a:pt x="5" y="13"/>
                    <a:pt x="5" y="17"/>
                  </a:cubicBezTo>
                  <a:cubicBezTo>
                    <a:pt x="6" y="20"/>
                    <a:pt x="6" y="20"/>
                    <a:pt x="6" y="20"/>
                  </a:cubicBezTo>
                  <a:cubicBezTo>
                    <a:pt x="8" y="21"/>
                    <a:pt x="11" y="21"/>
                    <a:pt x="14" y="20"/>
                  </a:cubicBezTo>
                  <a:cubicBezTo>
                    <a:pt x="14" y="20"/>
                    <a:pt x="14" y="20"/>
                    <a:pt x="14" y="20"/>
                  </a:cubicBezTo>
                  <a:cubicBezTo>
                    <a:pt x="16" y="20"/>
                    <a:pt x="17" y="19"/>
                    <a:pt x="18" y="18"/>
                  </a:cubicBezTo>
                  <a:cubicBezTo>
                    <a:pt x="20" y="16"/>
                    <a:pt x="20" y="14"/>
                    <a:pt x="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1" name="Freeform 12"/>
            <p:cNvSpPr>
              <a:spLocks/>
            </p:cNvSpPr>
            <p:nvPr/>
          </p:nvSpPr>
          <p:spPr bwMode="auto">
            <a:xfrm>
              <a:off x="3319376" y="1713818"/>
              <a:ext cx="15986" cy="15986"/>
            </a:xfrm>
            <a:custGeom>
              <a:avLst/>
              <a:gdLst>
                <a:gd name="T0" fmla="*/ 15 w 21"/>
                <a:gd name="T1" fmla="*/ 17 h 21"/>
                <a:gd name="T2" fmla="*/ 21 w 21"/>
                <a:gd name="T3" fmla="*/ 7 h 21"/>
                <a:gd name="T4" fmla="*/ 19 w 21"/>
                <a:gd name="T5" fmla="*/ 1 h 21"/>
                <a:gd name="T6" fmla="*/ 15 w 21"/>
                <a:gd name="T7" fmla="*/ 0 h 21"/>
                <a:gd name="T8" fmla="*/ 11 w 21"/>
                <a:gd name="T9" fmla="*/ 0 h 21"/>
                <a:gd name="T10" fmla="*/ 8 w 21"/>
                <a:gd name="T11" fmla="*/ 0 h 21"/>
                <a:gd name="T12" fmla="*/ 2 w 21"/>
                <a:gd name="T13" fmla="*/ 6 h 21"/>
                <a:gd name="T14" fmla="*/ 1 w 21"/>
                <a:gd name="T15" fmla="*/ 13 h 21"/>
                <a:gd name="T16" fmla="*/ 2 w 21"/>
                <a:gd name="T17" fmla="*/ 18 h 21"/>
                <a:gd name="T18" fmla="*/ 7 w 21"/>
                <a:gd name="T19" fmla="*/ 20 h 21"/>
                <a:gd name="T20" fmla="*/ 15 w 21"/>
                <a:gd name="T21" fmla="*/ 20 h 21"/>
                <a:gd name="T22" fmla="*/ 15 w 21"/>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5" y="17"/>
                  </a:moveTo>
                  <a:cubicBezTo>
                    <a:pt x="16" y="13"/>
                    <a:pt x="18" y="10"/>
                    <a:pt x="21" y="7"/>
                  </a:cubicBezTo>
                  <a:cubicBezTo>
                    <a:pt x="19" y="6"/>
                    <a:pt x="19" y="4"/>
                    <a:pt x="19" y="1"/>
                  </a:cubicBezTo>
                  <a:cubicBezTo>
                    <a:pt x="18" y="1"/>
                    <a:pt x="17" y="0"/>
                    <a:pt x="15" y="0"/>
                  </a:cubicBezTo>
                  <a:cubicBezTo>
                    <a:pt x="14" y="0"/>
                    <a:pt x="13" y="0"/>
                    <a:pt x="11" y="0"/>
                  </a:cubicBezTo>
                  <a:cubicBezTo>
                    <a:pt x="10" y="0"/>
                    <a:pt x="9" y="0"/>
                    <a:pt x="8" y="0"/>
                  </a:cubicBezTo>
                  <a:cubicBezTo>
                    <a:pt x="4" y="0"/>
                    <a:pt x="2" y="3"/>
                    <a:pt x="2" y="6"/>
                  </a:cubicBezTo>
                  <a:cubicBezTo>
                    <a:pt x="1" y="13"/>
                    <a:pt x="1" y="13"/>
                    <a:pt x="1" y="13"/>
                  </a:cubicBezTo>
                  <a:cubicBezTo>
                    <a:pt x="0" y="14"/>
                    <a:pt x="1" y="16"/>
                    <a:pt x="2" y="18"/>
                  </a:cubicBezTo>
                  <a:cubicBezTo>
                    <a:pt x="3" y="19"/>
                    <a:pt x="5" y="20"/>
                    <a:pt x="7" y="20"/>
                  </a:cubicBezTo>
                  <a:cubicBezTo>
                    <a:pt x="9" y="21"/>
                    <a:pt x="12" y="21"/>
                    <a:pt x="15" y="20"/>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3" name="Freeform 13"/>
            <p:cNvSpPr>
              <a:spLocks/>
            </p:cNvSpPr>
            <p:nvPr/>
          </p:nvSpPr>
          <p:spPr bwMode="auto">
            <a:xfrm>
              <a:off x="3332317" y="1749595"/>
              <a:ext cx="25882" cy="23598"/>
            </a:xfrm>
            <a:custGeom>
              <a:avLst/>
              <a:gdLst>
                <a:gd name="T0" fmla="*/ 2 w 33"/>
                <a:gd name="T1" fmla="*/ 9 h 31"/>
                <a:gd name="T2" fmla="*/ 0 w 33"/>
                <a:gd name="T3" fmla="*/ 19 h 31"/>
                <a:gd name="T4" fmla="*/ 2 w 33"/>
                <a:gd name="T5" fmla="*/ 27 h 31"/>
                <a:gd name="T6" fmla="*/ 9 w 33"/>
                <a:gd name="T7" fmla="*/ 31 h 31"/>
                <a:gd name="T8" fmla="*/ 24 w 33"/>
                <a:gd name="T9" fmla="*/ 31 h 31"/>
                <a:gd name="T10" fmla="*/ 24 w 33"/>
                <a:gd name="T11" fmla="*/ 31 h 31"/>
                <a:gd name="T12" fmla="*/ 31 w 33"/>
                <a:gd name="T13" fmla="*/ 27 h 31"/>
                <a:gd name="T14" fmla="*/ 33 w 33"/>
                <a:gd name="T15" fmla="*/ 19 h 31"/>
                <a:gd name="T16" fmla="*/ 32 w 33"/>
                <a:gd name="T17" fmla="*/ 9 h 31"/>
                <a:gd name="T18" fmla="*/ 23 w 33"/>
                <a:gd name="T19" fmla="*/ 0 h 31"/>
                <a:gd name="T20" fmla="*/ 16 w 33"/>
                <a:gd name="T21" fmla="*/ 0 h 31"/>
                <a:gd name="T22" fmla="*/ 11 w 33"/>
                <a:gd name="T23" fmla="*/ 0 h 31"/>
                <a:gd name="T24" fmla="*/ 2 w 33"/>
                <a:gd name="T2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1">
                  <a:moveTo>
                    <a:pt x="2" y="9"/>
                  </a:moveTo>
                  <a:cubicBezTo>
                    <a:pt x="0" y="19"/>
                    <a:pt x="0" y="19"/>
                    <a:pt x="0" y="19"/>
                  </a:cubicBezTo>
                  <a:cubicBezTo>
                    <a:pt x="0" y="22"/>
                    <a:pt x="1" y="25"/>
                    <a:pt x="2" y="27"/>
                  </a:cubicBezTo>
                  <a:cubicBezTo>
                    <a:pt x="4" y="29"/>
                    <a:pt x="7" y="31"/>
                    <a:pt x="9" y="31"/>
                  </a:cubicBezTo>
                  <a:cubicBezTo>
                    <a:pt x="14" y="31"/>
                    <a:pt x="19" y="31"/>
                    <a:pt x="24" y="31"/>
                  </a:cubicBezTo>
                  <a:cubicBezTo>
                    <a:pt x="24" y="31"/>
                    <a:pt x="24" y="31"/>
                    <a:pt x="24" y="31"/>
                  </a:cubicBezTo>
                  <a:cubicBezTo>
                    <a:pt x="27" y="31"/>
                    <a:pt x="29" y="29"/>
                    <a:pt x="31" y="27"/>
                  </a:cubicBezTo>
                  <a:cubicBezTo>
                    <a:pt x="33" y="25"/>
                    <a:pt x="33" y="22"/>
                    <a:pt x="33" y="19"/>
                  </a:cubicBezTo>
                  <a:cubicBezTo>
                    <a:pt x="32" y="9"/>
                    <a:pt x="32" y="9"/>
                    <a:pt x="32" y="9"/>
                  </a:cubicBezTo>
                  <a:cubicBezTo>
                    <a:pt x="31" y="4"/>
                    <a:pt x="27" y="1"/>
                    <a:pt x="23" y="0"/>
                  </a:cubicBezTo>
                  <a:cubicBezTo>
                    <a:pt x="21" y="0"/>
                    <a:pt x="19" y="0"/>
                    <a:pt x="16" y="0"/>
                  </a:cubicBezTo>
                  <a:cubicBezTo>
                    <a:pt x="15" y="0"/>
                    <a:pt x="13" y="0"/>
                    <a:pt x="11" y="0"/>
                  </a:cubicBezTo>
                  <a:cubicBezTo>
                    <a:pt x="6" y="1"/>
                    <a:pt x="3" y="4"/>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5" name="Freeform 14"/>
            <p:cNvSpPr>
              <a:spLocks/>
            </p:cNvSpPr>
            <p:nvPr/>
          </p:nvSpPr>
          <p:spPr bwMode="auto">
            <a:xfrm>
              <a:off x="3357437" y="1733610"/>
              <a:ext cx="22837" cy="21314"/>
            </a:xfrm>
            <a:custGeom>
              <a:avLst/>
              <a:gdLst>
                <a:gd name="T0" fmla="*/ 29 w 29"/>
                <a:gd name="T1" fmla="*/ 17 h 27"/>
                <a:gd name="T2" fmla="*/ 27 w 29"/>
                <a:gd name="T3" fmla="*/ 8 h 27"/>
                <a:gd name="T4" fmla="*/ 19 w 29"/>
                <a:gd name="T5" fmla="*/ 0 h 27"/>
                <a:gd name="T6" fmla="*/ 14 w 29"/>
                <a:gd name="T7" fmla="*/ 0 h 27"/>
                <a:gd name="T8" fmla="*/ 9 w 29"/>
                <a:gd name="T9" fmla="*/ 0 h 27"/>
                <a:gd name="T10" fmla="*/ 5 w 29"/>
                <a:gd name="T11" fmla="*/ 2 h 27"/>
                <a:gd name="T12" fmla="*/ 2 w 29"/>
                <a:gd name="T13" fmla="*/ 10 h 27"/>
                <a:gd name="T14" fmla="*/ 1 w 29"/>
                <a:gd name="T15" fmla="*/ 11 h 27"/>
                <a:gd name="T16" fmla="*/ 0 w 29"/>
                <a:gd name="T17" fmla="*/ 17 h 27"/>
                <a:gd name="T18" fmla="*/ 0 w 29"/>
                <a:gd name="T19" fmla="*/ 17 h 27"/>
                <a:gd name="T20" fmla="*/ 5 w 29"/>
                <a:gd name="T21" fmla="*/ 26 h 27"/>
                <a:gd name="T22" fmla="*/ 8 w 29"/>
                <a:gd name="T23" fmla="*/ 27 h 27"/>
                <a:gd name="T24" fmla="*/ 21 w 29"/>
                <a:gd name="T25" fmla="*/ 27 h 27"/>
                <a:gd name="T26" fmla="*/ 27 w 29"/>
                <a:gd name="T27" fmla="*/ 24 h 27"/>
                <a:gd name="T28" fmla="*/ 29 w 29"/>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7">
                  <a:moveTo>
                    <a:pt x="29" y="17"/>
                  </a:moveTo>
                  <a:cubicBezTo>
                    <a:pt x="27" y="8"/>
                    <a:pt x="27" y="8"/>
                    <a:pt x="27" y="8"/>
                  </a:cubicBezTo>
                  <a:cubicBezTo>
                    <a:pt x="27" y="4"/>
                    <a:pt x="23" y="1"/>
                    <a:pt x="19" y="0"/>
                  </a:cubicBezTo>
                  <a:cubicBezTo>
                    <a:pt x="18" y="0"/>
                    <a:pt x="16" y="0"/>
                    <a:pt x="14" y="0"/>
                  </a:cubicBezTo>
                  <a:cubicBezTo>
                    <a:pt x="12" y="0"/>
                    <a:pt x="11" y="0"/>
                    <a:pt x="9" y="0"/>
                  </a:cubicBezTo>
                  <a:cubicBezTo>
                    <a:pt x="8" y="0"/>
                    <a:pt x="6" y="1"/>
                    <a:pt x="5" y="2"/>
                  </a:cubicBezTo>
                  <a:cubicBezTo>
                    <a:pt x="5" y="5"/>
                    <a:pt x="3" y="8"/>
                    <a:pt x="2" y="10"/>
                  </a:cubicBezTo>
                  <a:cubicBezTo>
                    <a:pt x="1" y="11"/>
                    <a:pt x="1" y="11"/>
                    <a:pt x="1" y="11"/>
                  </a:cubicBezTo>
                  <a:cubicBezTo>
                    <a:pt x="0" y="17"/>
                    <a:pt x="0" y="17"/>
                    <a:pt x="0" y="17"/>
                  </a:cubicBezTo>
                  <a:cubicBezTo>
                    <a:pt x="0" y="17"/>
                    <a:pt x="0" y="17"/>
                    <a:pt x="0" y="17"/>
                  </a:cubicBezTo>
                  <a:cubicBezTo>
                    <a:pt x="3" y="20"/>
                    <a:pt x="5" y="23"/>
                    <a:pt x="5" y="26"/>
                  </a:cubicBezTo>
                  <a:cubicBezTo>
                    <a:pt x="6" y="27"/>
                    <a:pt x="7" y="27"/>
                    <a:pt x="8" y="27"/>
                  </a:cubicBezTo>
                  <a:cubicBezTo>
                    <a:pt x="12" y="27"/>
                    <a:pt x="16" y="27"/>
                    <a:pt x="21" y="27"/>
                  </a:cubicBezTo>
                  <a:cubicBezTo>
                    <a:pt x="23" y="27"/>
                    <a:pt x="25" y="26"/>
                    <a:pt x="27" y="24"/>
                  </a:cubicBezTo>
                  <a:cubicBezTo>
                    <a:pt x="28" y="22"/>
                    <a:pt x="29" y="19"/>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7" name="Freeform 15"/>
            <p:cNvSpPr>
              <a:spLocks/>
            </p:cNvSpPr>
            <p:nvPr/>
          </p:nvSpPr>
          <p:spPr bwMode="auto">
            <a:xfrm>
              <a:off x="3311002" y="1733610"/>
              <a:ext cx="22837" cy="21314"/>
            </a:xfrm>
            <a:custGeom>
              <a:avLst/>
              <a:gdLst>
                <a:gd name="T0" fmla="*/ 30 w 30"/>
                <a:gd name="T1" fmla="*/ 18 h 27"/>
                <a:gd name="T2" fmla="*/ 30 w 30"/>
                <a:gd name="T3" fmla="*/ 17 h 27"/>
                <a:gd name="T4" fmla="*/ 29 w 30"/>
                <a:gd name="T5" fmla="*/ 11 h 27"/>
                <a:gd name="T6" fmla="*/ 28 w 30"/>
                <a:gd name="T7" fmla="*/ 10 h 27"/>
                <a:gd name="T8" fmla="*/ 25 w 30"/>
                <a:gd name="T9" fmla="*/ 2 h 27"/>
                <a:gd name="T10" fmla="*/ 20 w 30"/>
                <a:gd name="T11" fmla="*/ 0 h 27"/>
                <a:gd name="T12" fmla="*/ 15 w 30"/>
                <a:gd name="T13" fmla="*/ 0 h 27"/>
                <a:gd name="T14" fmla="*/ 10 w 30"/>
                <a:gd name="T15" fmla="*/ 0 h 27"/>
                <a:gd name="T16" fmla="*/ 2 w 30"/>
                <a:gd name="T17" fmla="*/ 8 h 27"/>
                <a:gd name="T18" fmla="*/ 1 w 30"/>
                <a:gd name="T19" fmla="*/ 17 h 27"/>
                <a:gd name="T20" fmla="*/ 3 w 30"/>
                <a:gd name="T21" fmla="*/ 24 h 27"/>
                <a:gd name="T22" fmla="*/ 9 w 30"/>
                <a:gd name="T23" fmla="*/ 27 h 27"/>
                <a:gd name="T24" fmla="*/ 22 w 30"/>
                <a:gd name="T25" fmla="*/ 27 h 27"/>
                <a:gd name="T26" fmla="*/ 24 w 30"/>
                <a:gd name="T27" fmla="*/ 26 h 27"/>
                <a:gd name="T28" fmla="*/ 30 w 30"/>
                <a:gd name="T2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7">
                  <a:moveTo>
                    <a:pt x="30" y="18"/>
                  </a:moveTo>
                  <a:cubicBezTo>
                    <a:pt x="30" y="17"/>
                    <a:pt x="30" y="17"/>
                    <a:pt x="30" y="17"/>
                  </a:cubicBezTo>
                  <a:cubicBezTo>
                    <a:pt x="29" y="11"/>
                    <a:pt x="29" y="11"/>
                    <a:pt x="29" y="11"/>
                  </a:cubicBezTo>
                  <a:cubicBezTo>
                    <a:pt x="28" y="11"/>
                    <a:pt x="28" y="11"/>
                    <a:pt x="28" y="10"/>
                  </a:cubicBezTo>
                  <a:cubicBezTo>
                    <a:pt x="26" y="8"/>
                    <a:pt x="25" y="5"/>
                    <a:pt x="25" y="2"/>
                  </a:cubicBezTo>
                  <a:cubicBezTo>
                    <a:pt x="23" y="1"/>
                    <a:pt x="22" y="0"/>
                    <a:pt x="20" y="0"/>
                  </a:cubicBezTo>
                  <a:cubicBezTo>
                    <a:pt x="19" y="0"/>
                    <a:pt x="17" y="0"/>
                    <a:pt x="15" y="0"/>
                  </a:cubicBezTo>
                  <a:cubicBezTo>
                    <a:pt x="13" y="0"/>
                    <a:pt x="12" y="0"/>
                    <a:pt x="10" y="0"/>
                  </a:cubicBezTo>
                  <a:cubicBezTo>
                    <a:pt x="6" y="0"/>
                    <a:pt x="3" y="4"/>
                    <a:pt x="2" y="8"/>
                  </a:cubicBezTo>
                  <a:cubicBezTo>
                    <a:pt x="1" y="17"/>
                    <a:pt x="1" y="17"/>
                    <a:pt x="1" y="17"/>
                  </a:cubicBezTo>
                  <a:cubicBezTo>
                    <a:pt x="0" y="19"/>
                    <a:pt x="1" y="22"/>
                    <a:pt x="3" y="24"/>
                  </a:cubicBezTo>
                  <a:cubicBezTo>
                    <a:pt x="4" y="26"/>
                    <a:pt x="6" y="27"/>
                    <a:pt x="9" y="27"/>
                  </a:cubicBezTo>
                  <a:cubicBezTo>
                    <a:pt x="13" y="27"/>
                    <a:pt x="17" y="27"/>
                    <a:pt x="22" y="27"/>
                  </a:cubicBezTo>
                  <a:cubicBezTo>
                    <a:pt x="22" y="27"/>
                    <a:pt x="23" y="27"/>
                    <a:pt x="24" y="26"/>
                  </a:cubicBezTo>
                  <a:cubicBezTo>
                    <a:pt x="25" y="23"/>
                    <a:pt x="27" y="20"/>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8" name="Freeform 16"/>
            <p:cNvSpPr>
              <a:spLocks/>
            </p:cNvSpPr>
            <p:nvPr/>
          </p:nvSpPr>
          <p:spPr bwMode="auto">
            <a:xfrm>
              <a:off x="3306435" y="1759492"/>
              <a:ext cx="25882" cy="23598"/>
            </a:xfrm>
            <a:custGeom>
              <a:avLst/>
              <a:gdLst>
                <a:gd name="T0" fmla="*/ 31 w 34"/>
                <a:gd name="T1" fmla="*/ 18 h 31"/>
                <a:gd name="T2" fmla="*/ 28 w 34"/>
                <a:gd name="T3" fmla="*/ 5 h 31"/>
                <a:gd name="T4" fmla="*/ 28 w 34"/>
                <a:gd name="T5" fmla="*/ 3 h 31"/>
                <a:gd name="T6" fmla="*/ 23 w 34"/>
                <a:gd name="T7" fmla="*/ 0 h 31"/>
                <a:gd name="T8" fmla="*/ 17 w 34"/>
                <a:gd name="T9" fmla="*/ 0 h 31"/>
                <a:gd name="T10" fmla="*/ 11 w 34"/>
                <a:gd name="T11" fmla="*/ 0 h 31"/>
                <a:gd name="T12" fmla="*/ 2 w 34"/>
                <a:gd name="T13" fmla="*/ 9 h 31"/>
                <a:gd name="T14" fmla="*/ 1 w 34"/>
                <a:gd name="T15" fmla="*/ 19 h 31"/>
                <a:gd name="T16" fmla="*/ 3 w 34"/>
                <a:gd name="T17" fmla="*/ 27 h 31"/>
                <a:gd name="T18" fmla="*/ 10 w 34"/>
                <a:gd name="T19" fmla="*/ 31 h 31"/>
                <a:gd name="T20" fmla="*/ 24 w 34"/>
                <a:gd name="T21" fmla="*/ 31 h 31"/>
                <a:gd name="T22" fmla="*/ 31 w 34"/>
                <a:gd name="T23" fmla="*/ 27 h 31"/>
                <a:gd name="T24" fmla="*/ 33 w 34"/>
                <a:gd name="T25" fmla="*/ 20 h 31"/>
                <a:gd name="T26" fmla="*/ 31 w 34"/>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31" y="18"/>
                  </a:moveTo>
                  <a:cubicBezTo>
                    <a:pt x="29" y="14"/>
                    <a:pt x="27" y="10"/>
                    <a:pt x="28" y="5"/>
                  </a:cubicBezTo>
                  <a:cubicBezTo>
                    <a:pt x="28" y="3"/>
                    <a:pt x="28" y="3"/>
                    <a:pt x="28" y="3"/>
                  </a:cubicBezTo>
                  <a:cubicBezTo>
                    <a:pt x="27" y="1"/>
                    <a:pt x="25" y="0"/>
                    <a:pt x="23" y="0"/>
                  </a:cubicBezTo>
                  <a:cubicBezTo>
                    <a:pt x="21" y="0"/>
                    <a:pt x="19" y="0"/>
                    <a:pt x="17" y="0"/>
                  </a:cubicBezTo>
                  <a:cubicBezTo>
                    <a:pt x="15" y="0"/>
                    <a:pt x="13" y="0"/>
                    <a:pt x="11" y="0"/>
                  </a:cubicBezTo>
                  <a:cubicBezTo>
                    <a:pt x="7" y="1"/>
                    <a:pt x="3" y="4"/>
                    <a:pt x="2" y="9"/>
                  </a:cubicBezTo>
                  <a:cubicBezTo>
                    <a:pt x="1" y="19"/>
                    <a:pt x="1" y="19"/>
                    <a:pt x="1" y="19"/>
                  </a:cubicBezTo>
                  <a:cubicBezTo>
                    <a:pt x="0" y="22"/>
                    <a:pt x="1" y="25"/>
                    <a:pt x="3" y="27"/>
                  </a:cubicBezTo>
                  <a:cubicBezTo>
                    <a:pt x="5" y="29"/>
                    <a:pt x="7" y="31"/>
                    <a:pt x="10" y="31"/>
                  </a:cubicBezTo>
                  <a:cubicBezTo>
                    <a:pt x="15" y="31"/>
                    <a:pt x="20" y="31"/>
                    <a:pt x="24" y="31"/>
                  </a:cubicBezTo>
                  <a:cubicBezTo>
                    <a:pt x="27" y="31"/>
                    <a:pt x="30" y="29"/>
                    <a:pt x="31" y="27"/>
                  </a:cubicBezTo>
                  <a:cubicBezTo>
                    <a:pt x="33" y="25"/>
                    <a:pt x="34" y="23"/>
                    <a:pt x="33" y="20"/>
                  </a:cubicBezTo>
                  <a:cubicBezTo>
                    <a:pt x="33" y="19"/>
                    <a:pt x="32" y="19"/>
                    <a:pt x="3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9" name="Freeform 17"/>
            <p:cNvSpPr>
              <a:spLocks/>
            </p:cNvSpPr>
            <p:nvPr/>
          </p:nvSpPr>
          <p:spPr bwMode="auto">
            <a:xfrm>
              <a:off x="3358960" y="1759492"/>
              <a:ext cx="25882" cy="23598"/>
            </a:xfrm>
            <a:custGeom>
              <a:avLst/>
              <a:gdLst>
                <a:gd name="T0" fmla="*/ 33 w 33"/>
                <a:gd name="T1" fmla="*/ 19 h 31"/>
                <a:gd name="T2" fmla="*/ 31 w 33"/>
                <a:gd name="T3" fmla="*/ 9 h 31"/>
                <a:gd name="T4" fmla="*/ 22 w 33"/>
                <a:gd name="T5" fmla="*/ 0 h 31"/>
                <a:gd name="T6" fmla="*/ 16 w 33"/>
                <a:gd name="T7" fmla="*/ 0 h 31"/>
                <a:gd name="T8" fmla="*/ 11 w 33"/>
                <a:gd name="T9" fmla="*/ 0 h 31"/>
                <a:gd name="T10" fmla="*/ 5 w 33"/>
                <a:gd name="T11" fmla="*/ 3 h 31"/>
                <a:gd name="T12" fmla="*/ 5 w 33"/>
                <a:gd name="T13" fmla="*/ 5 h 31"/>
                <a:gd name="T14" fmla="*/ 2 w 33"/>
                <a:gd name="T15" fmla="*/ 18 h 31"/>
                <a:gd name="T16" fmla="*/ 0 w 33"/>
                <a:gd name="T17" fmla="*/ 20 h 31"/>
                <a:gd name="T18" fmla="*/ 2 w 33"/>
                <a:gd name="T19" fmla="*/ 27 h 31"/>
                <a:gd name="T20" fmla="*/ 9 w 33"/>
                <a:gd name="T21" fmla="*/ 31 h 31"/>
                <a:gd name="T22" fmla="*/ 24 w 33"/>
                <a:gd name="T23" fmla="*/ 31 h 31"/>
                <a:gd name="T24" fmla="*/ 31 w 33"/>
                <a:gd name="T25" fmla="*/ 27 h 31"/>
                <a:gd name="T26" fmla="*/ 33 w 33"/>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1">
                  <a:moveTo>
                    <a:pt x="33" y="19"/>
                  </a:moveTo>
                  <a:cubicBezTo>
                    <a:pt x="31" y="9"/>
                    <a:pt x="31" y="9"/>
                    <a:pt x="31" y="9"/>
                  </a:cubicBezTo>
                  <a:cubicBezTo>
                    <a:pt x="31" y="4"/>
                    <a:pt x="27" y="1"/>
                    <a:pt x="22" y="0"/>
                  </a:cubicBezTo>
                  <a:cubicBezTo>
                    <a:pt x="20" y="0"/>
                    <a:pt x="18" y="0"/>
                    <a:pt x="16" y="0"/>
                  </a:cubicBezTo>
                  <a:cubicBezTo>
                    <a:pt x="14" y="0"/>
                    <a:pt x="13" y="0"/>
                    <a:pt x="11" y="0"/>
                  </a:cubicBezTo>
                  <a:cubicBezTo>
                    <a:pt x="9" y="0"/>
                    <a:pt x="7" y="1"/>
                    <a:pt x="5" y="3"/>
                  </a:cubicBezTo>
                  <a:cubicBezTo>
                    <a:pt x="5" y="5"/>
                    <a:pt x="5" y="5"/>
                    <a:pt x="5" y="5"/>
                  </a:cubicBezTo>
                  <a:cubicBezTo>
                    <a:pt x="6" y="10"/>
                    <a:pt x="5" y="14"/>
                    <a:pt x="2" y="18"/>
                  </a:cubicBezTo>
                  <a:cubicBezTo>
                    <a:pt x="1" y="19"/>
                    <a:pt x="1" y="19"/>
                    <a:pt x="0" y="20"/>
                  </a:cubicBezTo>
                  <a:cubicBezTo>
                    <a:pt x="0" y="23"/>
                    <a:pt x="1" y="25"/>
                    <a:pt x="2" y="27"/>
                  </a:cubicBezTo>
                  <a:cubicBezTo>
                    <a:pt x="4" y="29"/>
                    <a:pt x="6" y="31"/>
                    <a:pt x="9" y="31"/>
                  </a:cubicBezTo>
                  <a:cubicBezTo>
                    <a:pt x="14" y="31"/>
                    <a:pt x="19" y="31"/>
                    <a:pt x="24" y="31"/>
                  </a:cubicBezTo>
                  <a:cubicBezTo>
                    <a:pt x="26" y="31"/>
                    <a:pt x="29" y="29"/>
                    <a:pt x="31" y="27"/>
                  </a:cubicBezTo>
                  <a:cubicBezTo>
                    <a:pt x="32" y="25"/>
                    <a:pt x="33" y="22"/>
                    <a:pt x="3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0" name="Freeform 18"/>
            <p:cNvSpPr>
              <a:spLocks/>
            </p:cNvSpPr>
            <p:nvPr/>
          </p:nvSpPr>
          <p:spPr bwMode="auto">
            <a:xfrm>
              <a:off x="3331556" y="1779283"/>
              <a:ext cx="28165" cy="25121"/>
            </a:xfrm>
            <a:custGeom>
              <a:avLst/>
              <a:gdLst>
                <a:gd name="T0" fmla="*/ 2 w 36"/>
                <a:gd name="T1" fmla="*/ 9 h 33"/>
                <a:gd name="T2" fmla="*/ 0 w 36"/>
                <a:gd name="T3" fmla="*/ 20 h 33"/>
                <a:gd name="T4" fmla="*/ 3 w 36"/>
                <a:gd name="T5" fmla="*/ 29 h 33"/>
                <a:gd name="T6" fmla="*/ 10 w 36"/>
                <a:gd name="T7" fmla="*/ 33 h 33"/>
                <a:gd name="T8" fmla="*/ 25 w 36"/>
                <a:gd name="T9" fmla="*/ 33 h 33"/>
                <a:gd name="T10" fmla="*/ 33 w 36"/>
                <a:gd name="T11" fmla="*/ 29 h 33"/>
                <a:gd name="T12" fmla="*/ 35 w 36"/>
                <a:gd name="T13" fmla="*/ 20 h 33"/>
                <a:gd name="T14" fmla="*/ 33 w 36"/>
                <a:gd name="T15" fmla="*/ 10 h 33"/>
                <a:gd name="T16" fmla="*/ 24 w 36"/>
                <a:gd name="T17" fmla="*/ 0 h 33"/>
                <a:gd name="T18" fmla="*/ 17 w 36"/>
                <a:gd name="T19" fmla="*/ 0 h 33"/>
                <a:gd name="T20" fmla="*/ 12 w 36"/>
                <a:gd name="T21" fmla="*/ 0 h 33"/>
                <a:gd name="T22" fmla="*/ 2 w 36"/>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3">
                  <a:moveTo>
                    <a:pt x="2" y="9"/>
                  </a:moveTo>
                  <a:cubicBezTo>
                    <a:pt x="0" y="20"/>
                    <a:pt x="0" y="20"/>
                    <a:pt x="0" y="20"/>
                  </a:cubicBezTo>
                  <a:cubicBezTo>
                    <a:pt x="0" y="23"/>
                    <a:pt x="1" y="26"/>
                    <a:pt x="3" y="29"/>
                  </a:cubicBezTo>
                  <a:cubicBezTo>
                    <a:pt x="4" y="31"/>
                    <a:pt x="7" y="33"/>
                    <a:pt x="10" y="33"/>
                  </a:cubicBezTo>
                  <a:cubicBezTo>
                    <a:pt x="15" y="33"/>
                    <a:pt x="20" y="33"/>
                    <a:pt x="25" y="33"/>
                  </a:cubicBezTo>
                  <a:cubicBezTo>
                    <a:pt x="28" y="33"/>
                    <a:pt x="31" y="31"/>
                    <a:pt x="33" y="29"/>
                  </a:cubicBezTo>
                  <a:cubicBezTo>
                    <a:pt x="35" y="26"/>
                    <a:pt x="36" y="23"/>
                    <a:pt x="35" y="20"/>
                  </a:cubicBezTo>
                  <a:cubicBezTo>
                    <a:pt x="33" y="10"/>
                    <a:pt x="33" y="10"/>
                    <a:pt x="33" y="10"/>
                  </a:cubicBezTo>
                  <a:cubicBezTo>
                    <a:pt x="33" y="5"/>
                    <a:pt x="29" y="1"/>
                    <a:pt x="24" y="0"/>
                  </a:cubicBezTo>
                  <a:cubicBezTo>
                    <a:pt x="22" y="0"/>
                    <a:pt x="20" y="0"/>
                    <a:pt x="17" y="0"/>
                  </a:cubicBezTo>
                  <a:cubicBezTo>
                    <a:pt x="16" y="0"/>
                    <a:pt x="14" y="0"/>
                    <a:pt x="12" y="0"/>
                  </a:cubicBezTo>
                  <a:cubicBezTo>
                    <a:pt x="7" y="1"/>
                    <a:pt x="3"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1" name="Freeform 19"/>
            <p:cNvSpPr>
              <a:spLocks/>
            </p:cNvSpPr>
            <p:nvPr/>
          </p:nvSpPr>
          <p:spPr bwMode="auto">
            <a:xfrm>
              <a:off x="3359721" y="1787657"/>
              <a:ext cx="27404" cy="25882"/>
            </a:xfrm>
            <a:custGeom>
              <a:avLst/>
              <a:gdLst>
                <a:gd name="T0" fmla="*/ 35 w 35"/>
                <a:gd name="T1" fmla="*/ 21 h 33"/>
                <a:gd name="T2" fmla="*/ 33 w 35"/>
                <a:gd name="T3" fmla="*/ 10 h 33"/>
                <a:gd name="T4" fmla="*/ 24 w 35"/>
                <a:gd name="T5" fmla="*/ 0 h 33"/>
                <a:gd name="T6" fmla="*/ 17 w 35"/>
                <a:gd name="T7" fmla="*/ 0 h 33"/>
                <a:gd name="T8" fmla="*/ 11 w 35"/>
                <a:gd name="T9" fmla="*/ 0 h 33"/>
                <a:gd name="T10" fmla="*/ 5 w 35"/>
                <a:gd name="T11" fmla="*/ 3 h 33"/>
                <a:gd name="T12" fmla="*/ 6 w 35"/>
                <a:gd name="T13" fmla="*/ 8 h 33"/>
                <a:gd name="T14" fmla="*/ 2 w 35"/>
                <a:gd name="T15" fmla="*/ 22 h 33"/>
                <a:gd name="T16" fmla="*/ 0 w 35"/>
                <a:gd name="T17" fmla="*/ 24 h 33"/>
                <a:gd name="T18" fmla="*/ 2 w 35"/>
                <a:gd name="T19" fmla="*/ 29 h 33"/>
                <a:gd name="T20" fmla="*/ 10 w 35"/>
                <a:gd name="T21" fmla="*/ 33 h 33"/>
                <a:gd name="T22" fmla="*/ 25 w 35"/>
                <a:gd name="T23" fmla="*/ 33 h 33"/>
                <a:gd name="T24" fmla="*/ 25 w 35"/>
                <a:gd name="T25" fmla="*/ 33 h 33"/>
                <a:gd name="T26" fmla="*/ 32 w 35"/>
                <a:gd name="T27" fmla="*/ 29 h 33"/>
                <a:gd name="T28" fmla="*/ 35 w 35"/>
                <a:gd name="T2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5" y="21"/>
                  </a:moveTo>
                  <a:cubicBezTo>
                    <a:pt x="33" y="10"/>
                    <a:pt x="33" y="10"/>
                    <a:pt x="33" y="10"/>
                  </a:cubicBezTo>
                  <a:cubicBezTo>
                    <a:pt x="32" y="5"/>
                    <a:pt x="28" y="1"/>
                    <a:pt x="24" y="0"/>
                  </a:cubicBezTo>
                  <a:cubicBezTo>
                    <a:pt x="21" y="0"/>
                    <a:pt x="19" y="0"/>
                    <a:pt x="17" y="0"/>
                  </a:cubicBezTo>
                  <a:cubicBezTo>
                    <a:pt x="15" y="0"/>
                    <a:pt x="13" y="0"/>
                    <a:pt x="11" y="0"/>
                  </a:cubicBezTo>
                  <a:cubicBezTo>
                    <a:pt x="9" y="1"/>
                    <a:pt x="7" y="2"/>
                    <a:pt x="5" y="3"/>
                  </a:cubicBezTo>
                  <a:cubicBezTo>
                    <a:pt x="6" y="8"/>
                    <a:pt x="6" y="8"/>
                    <a:pt x="6" y="8"/>
                  </a:cubicBezTo>
                  <a:cubicBezTo>
                    <a:pt x="6" y="13"/>
                    <a:pt x="5" y="18"/>
                    <a:pt x="2" y="22"/>
                  </a:cubicBezTo>
                  <a:cubicBezTo>
                    <a:pt x="1" y="23"/>
                    <a:pt x="1" y="23"/>
                    <a:pt x="0" y="24"/>
                  </a:cubicBezTo>
                  <a:cubicBezTo>
                    <a:pt x="0" y="26"/>
                    <a:pt x="1" y="27"/>
                    <a:pt x="2" y="29"/>
                  </a:cubicBezTo>
                  <a:cubicBezTo>
                    <a:pt x="4" y="31"/>
                    <a:pt x="7" y="33"/>
                    <a:pt x="10" y="33"/>
                  </a:cubicBezTo>
                  <a:cubicBezTo>
                    <a:pt x="15" y="33"/>
                    <a:pt x="20" y="33"/>
                    <a:pt x="25" y="33"/>
                  </a:cubicBezTo>
                  <a:cubicBezTo>
                    <a:pt x="25" y="33"/>
                    <a:pt x="25" y="33"/>
                    <a:pt x="25" y="33"/>
                  </a:cubicBezTo>
                  <a:cubicBezTo>
                    <a:pt x="28" y="33"/>
                    <a:pt x="31" y="31"/>
                    <a:pt x="32" y="29"/>
                  </a:cubicBezTo>
                  <a:cubicBezTo>
                    <a:pt x="34" y="27"/>
                    <a:pt x="35" y="23"/>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2" name="Freeform 20"/>
            <p:cNvSpPr>
              <a:spLocks/>
            </p:cNvSpPr>
            <p:nvPr/>
          </p:nvSpPr>
          <p:spPr bwMode="auto">
            <a:xfrm>
              <a:off x="3304152" y="1787657"/>
              <a:ext cx="26643" cy="25882"/>
            </a:xfrm>
            <a:custGeom>
              <a:avLst/>
              <a:gdLst>
                <a:gd name="T0" fmla="*/ 33 w 35"/>
                <a:gd name="T1" fmla="*/ 22 h 33"/>
                <a:gd name="T2" fmla="*/ 30 w 35"/>
                <a:gd name="T3" fmla="*/ 8 h 33"/>
                <a:gd name="T4" fmla="*/ 30 w 35"/>
                <a:gd name="T5" fmla="*/ 3 h 33"/>
                <a:gd name="T6" fmla="*/ 24 w 35"/>
                <a:gd name="T7" fmla="*/ 0 h 33"/>
                <a:gd name="T8" fmla="*/ 18 w 35"/>
                <a:gd name="T9" fmla="*/ 0 h 33"/>
                <a:gd name="T10" fmla="*/ 12 w 35"/>
                <a:gd name="T11" fmla="*/ 0 h 33"/>
                <a:gd name="T12" fmla="*/ 2 w 35"/>
                <a:gd name="T13" fmla="*/ 10 h 33"/>
                <a:gd name="T14" fmla="*/ 1 w 35"/>
                <a:gd name="T15" fmla="*/ 21 h 33"/>
                <a:gd name="T16" fmla="*/ 3 w 35"/>
                <a:gd name="T17" fmla="*/ 29 h 33"/>
                <a:gd name="T18" fmla="*/ 10 w 35"/>
                <a:gd name="T19" fmla="*/ 33 h 33"/>
                <a:gd name="T20" fmla="*/ 26 w 35"/>
                <a:gd name="T21" fmla="*/ 33 h 33"/>
                <a:gd name="T22" fmla="*/ 26 w 35"/>
                <a:gd name="T23" fmla="*/ 33 h 33"/>
                <a:gd name="T24" fmla="*/ 33 w 35"/>
                <a:gd name="T25" fmla="*/ 29 h 33"/>
                <a:gd name="T26" fmla="*/ 35 w 35"/>
                <a:gd name="T27" fmla="*/ 24 h 33"/>
                <a:gd name="T28" fmla="*/ 33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3" y="22"/>
                  </a:moveTo>
                  <a:cubicBezTo>
                    <a:pt x="30" y="18"/>
                    <a:pt x="29" y="13"/>
                    <a:pt x="30" y="8"/>
                  </a:cubicBezTo>
                  <a:cubicBezTo>
                    <a:pt x="30" y="3"/>
                    <a:pt x="30" y="3"/>
                    <a:pt x="30" y="3"/>
                  </a:cubicBezTo>
                  <a:cubicBezTo>
                    <a:pt x="29" y="2"/>
                    <a:pt x="27" y="1"/>
                    <a:pt x="24" y="0"/>
                  </a:cubicBezTo>
                  <a:cubicBezTo>
                    <a:pt x="22" y="0"/>
                    <a:pt x="20" y="0"/>
                    <a:pt x="18" y="0"/>
                  </a:cubicBezTo>
                  <a:cubicBezTo>
                    <a:pt x="16" y="0"/>
                    <a:pt x="14" y="0"/>
                    <a:pt x="12" y="0"/>
                  </a:cubicBezTo>
                  <a:cubicBezTo>
                    <a:pt x="7" y="1"/>
                    <a:pt x="3" y="5"/>
                    <a:pt x="2" y="10"/>
                  </a:cubicBezTo>
                  <a:cubicBezTo>
                    <a:pt x="1" y="21"/>
                    <a:pt x="1" y="21"/>
                    <a:pt x="1" y="21"/>
                  </a:cubicBezTo>
                  <a:cubicBezTo>
                    <a:pt x="0" y="24"/>
                    <a:pt x="1" y="27"/>
                    <a:pt x="3" y="29"/>
                  </a:cubicBezTo>
                  <a:cubicBezTo>
                    <a:pt x="5" y="31"/>
                    <a:pt x="7" y="33"/>
                    <a:pt x="10" y="33"/>
                  </a:cubicBezTo>
                  <a:cubicBezTo>
                    <a:pt x="15" y="33"/>
                    <a:pt x="21" y="33"/>
                    <a:pt x="26" y="33"/>
                  </a:cubicBezTo>
                  <a:cubicBezTo>
                    <a:pt x="26" y="33"/>
                    <a:pt x="26" y="33"/>
                    <a:pt x="26" y="33"/>
                  </a:cubicBezTo>
                  <a:cubicBezTo>
                    <a:pt x="29" y="33"/>
                    <a:pt x="31" y="31"/>
                    <a:pt x="33" y="29"/>
                  </a:cubicBezTo>
                  <a:cubicBezTo>
                    <a:pt x="34" y="27"/>
                    <a:pt x="35" y="26"/>
                    <a:pt x="35" y="24"/>
                  </a:cubicBezTo>
                  <a:cubicBezTo>
                    <a:pt x="35" y="23"/>
                    <a:pt x="34" y="23"/>
                    <a:pt x="3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3" name="Freeform 21"/>
            <p:cNvSpPr>
              <a:spLocks/>
            </p:cNvSpPr>
            <p:nvPr/>
          </p:nvSpPr>
          <p:spPr bwMode="auto">
            <a:xfrm>
              <a:off x="3330033" y="1812777"/>
              <a:ext cx="30449" cy="27404"/>
            </a:xfrm>
            <a:custGeom>
              <a:avLst/>
              <a:gdLst>
                <a:gd name="T0" fmla="*/ 3 w 39"/>
                <a:gd name="T1" fmla="*/ 10 h 36"/>
                <a:gd name="T2" fmla="*/ 1 w 39"/>
                <a:gd name="T3" fmla="*/ 22 h 36"/>
                <a:gd name="T4" fmla="*/ 3 w 39"/>
                <a:gd name="T5" fmla="*/ 31 h 36"/>
                <a:gd name="T6" fmla="*/ 11 w 39"/>
                <a:gd name="T7" fmla="*/ 35 h 36"/>
                <a:gd name="T8" fmla="*/ 28 w 39"/>
                <a:gd name="T9" fmla="*/ 35 h 36"/>
                <a:gd name="T10" fmla="*/ 36 w 39"/>
                <a:gd name="T11" fmla="*/ 31 h 36"/>
                <a:gd name="T12" fmla="*/ 39 w 39"/>
                <a:gd name="T13" fmla="*/ 22 h 36"/>
                <a:gd name="T14" fmla="*/ 37 w 39"/>
                <a:gd name="T15" fmla="*/ 10 h 36"/>
                <a:gd name="T16" fmla="*/ 27 w 39"/>
                <a:gd name="T17" fmla="*/ 0 h 36"/>
                <a:gd name="T18" fmla="*/ 19 w 39"/>
                <a:gd name="T19" fmla="*/ 0 h 36"/>
                <a:gd name="T20" fmla="*/ 13 w 39"/>
                <a:gd name="T21" fmla="*/ 0 h 36"/>
                <a:gd name="T22" fmla="*/ 3 w 39"/>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3" y="10"/>
                  </a:moveTo>
                  <a:cubicBezTo>
                    <a:pt x="1" y="22"/>
                    <a:pt x="1" y="22"/>
                    <a:pt x="1" y="22"/>
                  </a:cubicBezTo>
                  <a:cubicBezTo>
                    <a:pt x="0" y="25"/>
                    <a:pt x="1" y="29"/>
                    <a:pt x="3" y="31"/>
                  </a:cubicBezTo>
                  <a:cubicBezTo>
                    <a:pt x="5" y="34"/>
                    <a:pt x="8" y="35"/>
                    <a:pt x="11" y="35"/>
                  </a:cubicBezTo>
                  <a:cubicBezTo>
                    <a:pt x="17" y="36"/>
                    <a:pt x="23" y="36"/>
                    <a:pt x="28" y="35"/>
                  </a:cubicBezTo>
                  <a:cubicBezTo>
                    <a:pt x="31" y="35"/>
                    <a:pt x="34" y="34"/>
                    <a:pt x="36" y="31"/>
                  </a:cubicBezTo>
                  <a:cubicBezTo>
                    <a:pt x="38" y="29"/>
                    <a:pt x="39" y="25"/>
                    <a:pt x="39" y="22"/>
                  </a:cubicBezTo>
                  <a:cubicBezTo>
                    <a:pt x="37" y="10"/>
                    <a:pt x="37" y="10"/>
                    <a:pt x="37" y="10"/>
                  </a:cubicBezTo>
                  <a:cubicBezTo>
                    <a:pt x="36" y="5"/>
                    <a:pt x="32" y="1"/>
                    <a:pt x="27" y="0"/>
                  </a:cubicBezTo>
                  <a:cubicBezTo>
                    <a:pt x="24" y="0"/>
                    <a:pt x="22" y="0"/>
                    <a:pt x="19" y="0"/>
                  </a:cubicBezTo>
                  <a:cubicBezTo>
                    <a:pt x="17" y="0"/>
                    <a:pt x="15" y="0"/>
                    <a:pt x="13" y="0"/>
                  </a:cubicBezTo>
                  <a:cubicBezTo>
                    <a:pt x="8" y="1"/>
                    <a:pt x="3" y="5"/>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7" name="Freeform 22"/>
            <p:cNvSpPr>
              <a:spLocks/>
            </p:cNvSpPr>
            <p:nvPr/>
          </p:nvSpPr>
          <p:spPr bwMode="auto">
            <a:xfrm>
              <a:off x="3362004" y="1818867"/>
              <a:ext cx="28926" cy="27404"/>
            </a:xfrm>
            <a:custGeom>
              <a:avLst/>
              <a:gdLst>
                <a:gd name="T0" fmla="*/ 36 w 37"/>
                <a:gd name="T1" fmla="*/ 22 h 36"/>
                <a:gd name="T2" fmla="*/ 35 w 37"/>
                <a:gd name="T3" fmla="*/ 10 h 36"/>
                <a:gd name="T4" fmla="*/ 24 w 37"/>
                <a:gd name="T5" fmla="*/ 0 h 36"/>
                <a:gd name="T6" fmla="*/ 17 w 37"/>
                <a:gd name="T7" fmla="*/ 0 h 36"/>
                <a:gd name="T8" fmla="*/ 11 w 37"/>
                <a:gd name="T9" fmla="*/ 0 h 36"/>
                <a:gd name="T10" fmla="*/ 3 w 37"/>
                <a:gd name="T11" fmla="*/ 4 h 36"/>
                <a:gd name="T12" fmla="*/ 5 w 37"/>
                <a:gd name="T13" fmla="*/ 13 h 36"/>
                <a:gd name="T14" fmla="*/ 1 w 37"/>
                <a:gd name="T15" fmla="*/ 28 h 36"/>
                <a:gd name="T16" fmla="*/ 0 w 37"/>
                <a:gd name="T17" fmla="*/ 29 h 36"/>
                <a:gd name="T18" fmla="*/ 1 w 37"/>
                <a:gd name="T19" fmla="*/ 31 h 36"/>
                <a:gd name="T20" fmla="*/ 9 w 37"/>
                <a:gd name="T21" fmla="*/ 35 h 36"/>
                <a:gd name="T22" fmla="*/ 26 w 37"/>
                <a:gd name="T23" fmla="*/ 35 h 36"/>
                <a:gd name="T24" fmla="*/ 34 w 37"/>
                <a:gd name="T25" fmla="*/ 31 h 36"/>
                <a:gd name="T26" fmla="*/ 36 w 37"/>
                <a:gd name="T2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6">
                  <a:moveTo>
                    <a:pt x="36" y="22"/>
                  </a:moveTo>
                  <a:cubicBezTo>
                    <a:pt x="35" y="10"/>
                    <a:pt x="35" y="10"/>
                    <a:pt x="35" y="10"/>
                  </a:cubicBezTo>
                  <a:cubicBezTo>
                    <a:pt x="34" y="5"/>
                    <a:pt x="30" y="0"/>
                    <a:pt x="24" y="0"/>
                  </a:cubicBezTo>
                  <a:cubicBezTo>
                    <a:pt x="22" y="0"/>
                    <a:pt x="20" y="0"/>
                    <a:pt x="17" y="0"/>
                  </a:cubicBezTo>
                  <a:cubicBezTo>
                    <a:pt x="15" y="0"/>
                    <a:pt x="13" y="0"/>
                    <a:pt x="11" y="0"/>
                  </a:cubicBezTo>
                  <a:cubicBezTo>
                    <a:pt x="8" y="0"/>
                    <a:pt x="5" y="2"/>
                    <a:pt x="3" y="4"/>
                  </a:cubicBezTo>
                  <a:cubicBezTo>
                    <a:pt x="5" y="13"/>
                    <a:pt x="5" y="13"/>
                    <a:pt x="5" y="13"/>
                  </a:cubicBezTo>
                  <a:cubicBezTo>
                    <a:pt x="6" y="18"/>
                    <a:pt x="4" y="24"/>
                    <a:pt x="1" y="28"/>
                  </a:cubicBezTo>
                  <a:cubicBezTo>
                    <a:pt x="0" y="28"/>
                    <a:pt x="0" y="28"/>
                    <a:pt x="0" y="29"/>
                  </a:cubicBezTo>
                  <a:cubicBezTo>
                    <a:pt x="0" y="30"/>
                    <a:pt x="0" y="30"/>
                    <a:pt x="1" y="31"/>
                  </a:cubicBezTo>
                  <a:cubicBezTo>
                    <a:pt x="3" y="33"/>
                    <a:pt x="6" y="35"/>
                    <a:pt x="9" y="35"/>
                  </a:cubicBezTo>
                  <a:cubicBezTo>
                    <a:pt x="15" y="36"/>
                    <a:pt x="20" y="36"/>
                    <a:pt x="26" y="35"/>
                  </a:cubicBezTo>
                  <a:cubicBezTo>
                    <a:pt x="29" y="35"/>
                    <a:pt x="32" y="33"/>
                    <a:pt x="34" y="31"/>
                  </a:cubicBezTo>
                  <a:cubicBezTo>
                    <a:pt x="36" y="28"/>
                    <a:pt x="37" y="25"/>
                    <a:pt x="3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5" name="Freeform 23"/>
            <p:cNvSpPr>
              <a:spLocks/>
            </p:cNvSpPr>
            <p:nvPr/>
          </p:nvSpPr>
          <p:spPr bwMode="auto">
            <a:xfrm>
              <a:off x="3281315" y="1812777"/>
              <a:ext cx="74600" cy="149961"/>
            </a:xfrm>
            <a:custGeom>
              <a:avLst/>
              <a:gdLst>
                <a:gd name="T0" fmla="*/ 23 w 96"/>
                <a:gd name="T1" fmla="*/ 136 h 195"/>
                <a:gd name="T2" fmla="*/ 83 w 96"/>
                <a:gd name="T3" fmla="*/ 195 h 195"/>
                <a:gd name="T4" fmla="*/ 96 w 96"/>
                <a:gd name="T5" fmla="*/ 194 h 195"/>
                <a:gd name="T6" fmla="*/ 0 w 96"/>
                <a:gd name="T7" fmla="*/ 0 h 195"/>
                <a:gd name="T8" fmla="*/ 23 w 96"/>
                <a:gd name="T9" fmla="*/ 76 h 195"/>
                <a:gd name="T10" fmla="*/ 23 w 96"/>
                <a:gd name="T11" fmla="*/ 112 h 195"/>
                <a:gd name="T12" fmla="*/ 23 w 96"/>
                <a:gd name="T13" fmla="*/ 136 h 195"/>
              </a:gdLst>
              <a:ahLst/>
              <a:cxnLst>
                <a:cxn ang="0">
                  <a:pos x="T0" y="T1"/>
                </a:cxn>
                <a:cxn ang="0">
                  <a:pos x="T2" y="T3"/>
                </a:cxn>
                <a:cxn ang="0">
                  <a:pos x="T4" y="T5"/>
                </a:cxn>
                <a:cxn ang="0">
                  <a:pos x="T6" y="T7"/>
                </a:cxn>
                <a:cxn ang="0">
                  <a:pos x="T8" y="T9"/>
                </a:cxn>
                <a:cxn ang="0">
                  <a:pos x="T10" y="T11"/>
                </a:cxn>
                <a:cxn ang="0">
                  <a:pos x="T12" y="T13"/>
                </a:cxn>
              </a:cxnLst>
              <a:rect l="0" t="0" r="r" b="b"/>
              <a:pathLst>
                <a:path w="96" h="195">
                  <a:moveTo>
                    <a:pt x="23" y="136"/>
                  </a:moveTo>
                  <a:cubicBezTo>
                    <a:pt x="23" y="169"/>
                    <a:pt x="50" y="195"/>
                    <a:pt x="83" y="195"/>
                  </a:cubicBezTo>
                  <a:cubicBezTo>
                    <a:pt x="87" y="195"/>
                    <a:pt x="92" y="195"/>
                    <a:pt x="96" y="194"/>
                  </a:cubicBezTo>
                  <a:cubicBezTo>
                    <a:pt x="91" y="125"/>
                    <a:pt x="57" y="40"/>
                    <a:pt x="0" y="0"/>
                  </a:cubicBezTo>
                  <a:cubicBezTo>
                    <a:pt x="13" y="26"/>
                    <a:pt x="21" y="52"/>
                    <a:pt x="23" y="76"/>
                  </a:cubicBezTo>
                  <a:cubicBezTo>
                    <a:pt x="24" y="89"/>
                    <a:pt x="24" y="101"/>
                    <a:pt x="23" y="112"/>
                  </a:cubicBezTo>
                  <a:cubicBezTo>
                    <a:pt x="23" y="120"/>
                    <a:pt x="23" y="128"/>
                    <a:pt x="2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6" name="Freeform 24"/>
            <p:cNvSpPr>
              <a:spLocks/>
            </p:cNvSpPr>
            <p:nvPr/>
          </p:nvSpPr>
          <p:spPr bwMode="auto">
            <a:xfrm>
              <a:off x="3303390" y="1818867"/>
              <a:ext cx="25882" cy="26643"/>
            </a:xfrm>
            <a:custGeom>
              <a:avLst/>
              <a:gdLst>
                <a:gd name="T0" fmla="*/ 24 w 34"/>
                <a:gd name="T1" fmla="*/ 35 h 35"/>
                <a:gd name="T2" fmla="*/ 24 w 34"/>
                <a:gd name="T3" fmla="*/ 35 h 35"/>
                <a:gd name="T4" fmla="*/ 32 w 34"/>
                <a:gd name="T5" fmla="*/ 31 h 35"/>
                <a:gd name="T6" fmla="*/ 34 w 34"/>
                <a:gd name="T7" fmla="*/ 29 h 35"/>
                <a:gd name="T8" fmla="*/ 33 w 34"/>
                <a:gd name="T9" fmla="*/ 28 h 35"/>
                <a:gd name="T10" fmla="*/ 29 w 34"/>
                <a:gd name="T11" fmla="*/ 13 h 35"/>
                <a:gd name="T12" fmla="*/ 30 w 34"/>
                <a:gd name="T13" fmla="*/ 4 h 35"/>
                <a:gd name="T14" fmla="*/ 23 w 34"/>
                <a:gd name="T15" fmla="*/ 0 h 35"/>
                <a:gd name="T16" fmla="*/ 16 w 34"/>
                <a:gd name="T17" fmla="*/ 0 h 35"/>
                <a:gd name="T18" fmla="*/ 10 w 34"/>
                <a:gd name="T19" fmla="*/ 0 h 35"/>
                <a:gd name="T20" fmla="*/ 0 w 34"/>
                <a:gd name="T21" fmla="*/ 6 h 35"/>
                <a:gd name="T22" fmla="*/ 24 w 34"/>
                <a:gd name="T2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5">
                  <a:moveTo>
                    <a:pt x="24" y="35"/>
                  </a:moveTo>
                  <a:cubicBezTo>
                    <a:pt x="24" y="35"/>
                    <a:pt x="24" y="35"/>
                    <a:pt x="24" y="35"/>
                  </a:cubicBezTo>
                  <a:cubicBezTo>
                    <a:pt x="28" y="35"/>
                    <a:pt x="30" y="33"/>
                    <a:pt x="32" y="31"/>
                  </a:cubicBezTo>
                  <a:cubicBezTo>
                    <a:pt x="33" y="30"/>
                    <a:pt x="33" y="30"/>
                    <a:pt x="34" y="29"/>
                  </a:cubicBezTo>
                  <a:cubicBezTo>
                    <a:pt x="33" y="28"/>
                    <a:pt x="33" y="28"/>
                    <a:pt x="33" y="28"/>
                  </a:cubicBezTo>
                  <a:cubicBezTo>
                    <a:pt x="29" y="24"/>
                    <a:pt x="28" y="18"/>
                    <a:pt x="29" y="13"/>
                  </a:cubicBezTo>
                  <a:cubicBezTo>
                    <a:pt x="30" y="4"/>
                    <a:pt x="30" y="4"/>
                    <a:pt x="30" y="4"/>
                  </a:cubicBezTo>
                  <a:cubicBezTo>
                    <a:pt x="28" y="2"/>
                    <a:pt x="26" y="0"/>
                    <a:pt x="23" y="0"/>
                  </a:cubicBezTo>
                  <a:cubicBezTo>
                    <a:pt x="20" y="0"/>
                    <a:pt x="18" y="0"/>
                    <a:pt x="16" y="0"/>
                  </a:cubicBezTo>
                  <a:cubicBezTo>
                    <a:pt x="14" y="0"/>
                    <a:pt x="12" y="0"/>
                    <a:pt x="10" y="0"/>
                  </a:cubicBezTo>
                  <a:cubicBezTo>
                    <a:pt x="5" y="0"/>
                    <a:pt x="2" y="3"/>
                    <a:pt x="0" y="6"/>
                  </a:cubicBezTo>
                  <a:cubicBezTo>
                    <a:pt x="9" y="15"/>
                    <a:pt x="16" y="25"/>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7" name="Freeform 25"/>
            <p:cNvSpPr>
              <a:spLocks/>
            </p:cNvSpPr>
            <p:nvPr/>
          </p:nvSpPr>
          <p:spPr bwMode="auto">
            <a:xfrm>
              <a:off x="3330794" y="1847032"/>
              <a:ext cx="29688" cy="27404"/>
            </a:xfrm>
            <a:custGeom>
              <a:avLst/>
              <a:gdLst>
                <a:gd name="T0" fmla="*/ 2 w 38"/>
                <a:gd name="T1" fmla="*/ 11 h 36"/>
                <a:gd name="T2" fmla="*/ 0 w 38"/>
                <a:gd name="T3" fmla="*/ 19 h 36"/>
                <a:gd name="T4" fmla="*/ 9 w 38"/>
                <a:gd name="T5" fmla="*/ 36 h 36"/>
                <a:gd name="T6" fmla="*/ 10 w 38"/>
                <a:gd name="T7" fmla="*/ 36 h 36"/>
                <a:gd name="T8" fmla="*/ 27 w 38"/>
                <a:gd name="T9" fmla="*/ 36 h 36"/>
                <a:gd name="T10" fmla="*/ 35 w 38"/>
                <a:gd name="T11" fmla="*/ 32 h 36"/>
                <a:gd name="T12" fmla="*/ 38 w 38"/>
                <a:gd name="T13" fmla="*/ 22 h 36"/>
                <a:gd name="T14" fmla="*/ 36 w 38"/>
                <a:gd name="T15" fmla="*/ 11 h 36"/>
                <a:gd name="T16" fmla="*/ 26 w 38"/>
                <a:gd name="T17" fmla="*/ 1 h 36"/>
                <a:gd name="T18" fmla="*/ 18 w 38"/>
                <a:gd name="T19" fmla="*/ 0 h 36"/>
                <a:gd name="T20" fmla="*/ 12 w 38"/>
                <a:gd name="T21" fmla="*/ 1 h 36"/>
                <a:gd name="T22" fmla="*/ 2 w 38"/>
                <a:gd name="T2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2" y="11"/>
                  </a:moveTo>
                  <a:cubicBezTo>
                    <a:pt x="0" y="19"/>
                    <a:pt x="0" y="19"/>
                    <a:pt x="0" y="19"/>
                  </a:cubicBezTo>
                  <a:cubicBezTo>
                    <a:pt x="4" y="24"/>
                    <a:pt x="6" y="30"/>
                    <a:pt x="9" y="36"/>
                  </a:cubicBezTo>
                  <a:cubicBezTo>
                    <a:pt x="10" y="36"/>
                    <a:pt x="10" y="36"/>
                    <a:pt x="10" y="36"/>
                  </a:cubicBezTo>
                  <a:cubicBezTo>
                    <a:pt x="16" y="36"/>
                    <a:pt x="22" y="36"/>
                    <a:pt x="27" y="36"/>
                  </a:cubicBezTo>
                  <a:cubicBezTo>
                    <a:pt x="30" y="36"/>
                    <a:pt x="33" y="34"/>
                    <a:pt x="35" y="32"/>
                  </a:cubicBezTo>
                  <a:cubicBezTo>
                    <a:pt x="37" y="29"/>
                    <a:pt x="38" y="26"/>
                    <a:pt x="38" y="22"/>
                  </a:cubicBezTo>
                  <a:cubicBezTo>
                    <a:pt x="36" y="11"/>
                    <a:pt x="36" y="11"/>
                    <a:pt x="36" y="11"/>
                  </a:cubicBezTo>
                  <a:cubicBezTo>
                    <a:pt x="35" y="5"/>
                    <a:pt x="31" y="1"/>
                    <a:pt x="26" y="1"/>
                  </a:cubicBezTo>
                  <a:cubicBezTo>
                    <a:pt x="23" y="0"/>
                    <a:pt x="21" y="0"/>
                    <a:pt x="18" y="0"/>
                  </a:cubicBezTo>
                  <a:cubicBezTo>
                    <a:pt x="16" y="0"/>
                    <a:pt x="14" y="0"/>
                    <a:pt x="12" y="1"/>
                  </a:cubicBezTo>
                  <a:cubicBezTo>
                    <a:pt x="7" y="1"/>
                    <a:pt x="2" y="5"/>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8" name="Freeform 26"/>
            <p:cNvSpPr>
              <a:spLocks/>
            </p:cNvSpPr>
            <p:nvPr/>
          </p:nvSpPr>
          <p:spPr bwMode="auto">
            <a:xfrm>
              <a:off x="3349063" y="1859212"/>
              <a:ext cx="50241" cy="101243"/>
            </a:xfrm>
            <a:custGeom>
              <a:avLst/>
              <a:gdLst>
                <a:gd name="T0" fmla="*/ 55 w 65"/>
                <a:gd name="T1" fmla="*/ 75 h 131"/>
                <a:gd name="T2" fmla="*/ 65 w 65"/>
                <a:gd name="T3" fmla="*/ 0 h 131"/>
                <a:gd name="T4" fmla="*/ 0 w 65"/>
                <a:gd name="T5" fmla="*/ 53 h 131"/>
                <a:gd name="T6" fmla="*/ 17 w 65"/>
                <a:gd name="T7" fmla="*/ 131 h 131"/>
                <a:gd name="T8" fmla="*/ 55 w 65"/>
                <a:gd name="T9" fmla="*/ 75 h 131"/>
              </a:gdLst>
              <a:ahLst/>
              <a:cxnLst>
                <a:cxn ang="0">
                  <a:pos x="T0" y="T1"/>
                </a:cxn>
                <a:cxn ang="0">
                  <a:pos x="T2" y="T3"/>
                </a:cxn>
                <a:cxn ang="0">
                  <a:pos x="T4" y="T5"/>
                </a:cxn>
                <a:cxn ang="0">
                  <a:pos x="T6" y="T7"/>
                </a:cxn>
                <a:cxn ang="0">
                  <a:pos x="T8" y="T9"/>
                </a:cxn>
              </a:cxnLst>
              <a:rect l="0" t="0" r="r" b="b"/>
              <a:pathLst>
                <a:path w="65" h="131">
                  <a:moveTo>
                    <a:pt x="55" y="75"/>
                  </a:moveTo>
                  <a:cubicBezTo>
                    <a:pt x="55" y="49"/>
                    <a:pt x="59" y="19"/>
                    <a:pt x="65" y="0"/>
                  </a:cubicBezTo>
                  <a:cubicBezTo>
                    <a:pt x="33" y="19"/>
                    <a:pt x="12" y="34"/>
                    <a:pt x="0" y="53"/>
                  </a:cubicBezTo>
                  <a:cubicBezTo>
                    <a:pt x="9" y="79"/>
                    <a:pt x="15" y="106"/>
                    <a:pt x="17" y="131"/>
                  </a:cubicBezTo>
                  <a:cubicBezTo>
                    <a:pt x="39" y="122"/>
                    <a:pt x="55" y="100"/>
                    <a:pt x="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9" name="Freeform 27"/>
            <p:cNvSpPr>
              <a:spLocks/>
            </p:cNvSpPr>
            <p:nvPr/>
          </p:nvSpPr>
          <p:spPr bwMode="auto">
            <a:xfrm>
              <a:off x="3360482" y="1851599"/>
              <a:ext cx="28165" cy="24359"/>
            </a:xfrm>
            <a:custGeom>
              <a:avLst/>
              <a:gdLst>
                <a:gd name="T0" fmla="*/ 3 w 36"/>
                <a:gd name="T1" fmla="*/ 32 h 32"/>
                <a:gd name="T2" fmla="*/ 36 w 36"/>
                <a:gd name="T3" fmla="*/ 9 h 32"/>
                <a:gd name="T4" fmla="*/ 26 w 36"/>
                <a:gd name="T5" fmla="*/ 0 h 32"/>
                <a:gd name="T6" fmla="*/ 19 w 36"/>
                <a:gd name="T7" fmla="*/ 0 h 32"/>
                <a:gd name="T8" fmla="*/ 13 w 36"/>
                <a:gd name="T9" fmla="*/ 0 h 32"/>
                <a:gd name="T10" fmla="*/ 2 w 36"/>
                <a:gd name="T11" fmla="*/ 10 h 32"/>
                <a:gd name="T12" fmla="*/ 1 w 36"/>
                <a:gd name="T13" fmla="*/ 22 h 32"/>
                <a:gd name="T14" fmla="*/ 3 w 36"/>
                <a:gd name="T15" fmla="*/ 31 h 32"/>
                <a:gd name="T16" fmla="*/ 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 y="32"/>
                  </a:moveTo>
                  <a:cubicBezTo>
                    <a:pt x="13" y="24"/>
                    <a:pt x="23" y="17"/>
                    <a:pt x="36" y="9"/>
                  </a:cubicBezTo>
                  <a:cubicBezTo>
                    <a:pt x="35" y="4"/>
                    <a:pt x="31" y="1"/>
                    <a:pt x="26" y="0"/>
                  </a:cubicBezTo>
                  <a:cubicBezTo>
                    <a:pt x="24" y="0"/>
                    <a:pt x="22" y="0"/>
                    <a:pt x="19" y="0"/>
                  </a:cubicBezTo>
                  <a:cubicBezTo>
                    <a:pt x="17" y="0"/>
                    <a:pt x="15" y="0"/>
                    <a:pt x="13" y="0"/>
                  </a:cubicBezTo>
                  <a:cubicBezTo>
                    <a:pt x="7" y="1"/>
                    <a:pt x="3" y="5"/>
                    <a:pt x="2" y="10"/>
                  </a:cubicBezTo>
                  <a:cubicBezTo>
                    <a:pt x="1" y="22"/>
                    <a:pt x="1" y="22"/>
                    <a:pt x="1" y="22"/>
                  </a:cubicBezTo>
                  <a:cubicBezTo>
                    <a:pt x="0" y="25"/>
                    <a:pt x="1" y="29"/>
                    <a:pt x="3" y="31"/>
                  </a:cubicBezTo>
                  <a:cubicBezTo>
                    <a:pt x="3" y="31"/>
                    <a:pt x="3" y="31"/>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0" name="Freeform 28"/>
            <p:cNvSpPr>
              <a:spLocks/>
            </p:cNvSpPr>
            <p:nvPr/>
          </p:nvSpPr>
          <p:spPr bwMode="auto">
            <a:xfrm>
              <a:off x="3342974" y="1883571"/>
              <a:ext cx="10657" cy="9896"/>
            </a:xfrm>
            <a:custGeom>
              <a:avLst/>
              <a:gdLst>
                <a:gd name="T0" fmla="*/ 14 w 14"/>
                <a:gd name="T1" fmla="*/ 2 h 13"/>
                <a:gd name="T2" fmla="*/ 10 w 14"/>
                <a:gd name="T3" fmla="*/ 0 h 13"/>
                <a:gd name="T4" fmla="*/ 3 w 14"/>
                <a:gd name="T5" fmla="*/ 0 h 13"/>
                <a:gd name="T6" fmla="*/ 0 w 14"/>
                <a:gd name="T7" fmla="*/ 0 h 13"/>
                <a:gd name="T8" fmla="*/ 5 w 14"/>
                <a:gd name="T9" fmla="*/ 13 h 13"/>
                <a:gd name="T10" fmla="*/ 14 w 14"/>
                <a:gd name="T11" fmla="*/ 2 h 13"/>
              </a:gdLst>
              <a:ahLst/>
              <a:cxnLst>
                <a:cxn ang="0">
                  <a:pos x="T0" y="T1"/>
                </a:cxn>
                <a:cxn ang="0">
                  <a:pos x="T2" y="T3"/>
                </a:cxn>
                <a:cxn ang="0">
                  <a:pos x="T4" y="T5"/>
                </a:cxn>
                <a:cxn ang="0">
                  <a:pos x="T6" y="T7"/>
                </a:cxn>
                <a:cxn ang="0">
                  <a:pos x="T8" y="T9"/>
                </a:cxn>
                <a:cxn ang="0">
                  <a:pos x="T10" y="T11"/>
                </a:cxn>
              </a:cxnLst>
              <a:rect l="0" t="0" r="r" b="b"/>
              <a:pathLst>
                <a:path w="14" h="13">
                  <a:moveTo>
                    <a:pt x="14" y="2"/>
                  </a:moveTo>
                  <a:cubicBezTo>
                    <a:pt x="13" y="1"/>
                    <a:pt x="12" y="1"/>
                    <a:pt x="10" y="0"/>
                  </a:cubicBezTo>
                  <a:cubicBezTo>
                    <a:pt x="8" y="0"/>
                    <a:pt x="6" y="0"/>
                    <a:pt x="3" y="0"/>
                  </a:cubicBezTo>
                  <a:cubicBezTo>
                    <a:pt x="2" y="0"/>
                    <a:pt x="1" y="0"/>
                    <a:pt x="0" y="0"/>
                  </a:cubicBezTo>
                  <a:cubicBezTo>
                    <a:pt x="1" y="5"/>
                    <a:pt x="3" y="9"/>
                    <a:pt x="5" y="13"/>
                  </a:cubicBezTo>
                  <a:cubicBezTo>
                    <a:pt x="8" y="9"/>
                    <a:pt x="11" y="5"/>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1" name="Freeform 29"/>
            <p:cNvSpPr>
              <a:spLocks/>
            </p:cNvSpPr>
            <p:nvPr/>
          </p:nvSpPr>
          <p:spPr bwMode="auto">
            <a:xfrm>
              <a:off x="3333839" y="1721430"/>
              <a:ext cx="22837" cy="21314"/>
            </a:xfrm>
            <a:custGeom>
              <a:avLst/>
              <a:gdLst>
                <a:gd name="T0" fmla="*/ 27 w 29"/>
                <a:gd name="T1" fmla="*/ 24 h 27"/>
                <a:gd name="T2" fmla="*/ 29 w 29"/>
                <a:gd name="T3" fmla="*/ 17 h 27"/>
                <a:gd name="T4" fmla="*/ 28 w 29"/>
                <a:gd name="T5" fmla="*/ 8 h 27"/>
                <a:gd name="T6" fmla="*/ 20 w 29"/>
                <a:gd name="T7" fmla="*/ 0 h 27"/>
                <a:gd name="T8" fmla="*/ 15 w 29"/>
                <a:gd name="T9" fmla="*/ 0 h 27"/>
                <a:gd name="T10" fmla="*/ 10 w 29"/>
                <a:gd name="T11" fmla="*/ 0 h 27"/>
                <a:gd name="T12" fmla="*/ 2 w 29"/>
                <a:gd name="T13" fmla="*/ 8 h 27"/>
                <a:gd name="T14" fmla="*/ 0 w 29"/>
                <a:gd name="T15" fmla="*/ 17 h 27"/>
                <a:gd name="T16" fmla="*/ 2 w 29"/>
                <a:gd name="T17" fmla="*/ 24 h 27"/>
                <a:gd name="T18" fmla="*/ 8 w 29"/>
                <a:gd name="T19" fmla="*/ 27 h 27"/>
                <a:gd name="T20" fmla="*/ 21 w 29"/>
                <a:gd name="T21" fmla="*/ 27 h 27"/>
                <a:gd name="T22" fmla="*/ 27 w 29"/>
                <a:gd name="T23"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7" y="24"/>
                  </a:moveTo>
                  <a:cubicBezTo>
                    <a:pt x="29" y="22"/>
                    <a:pt x="29" y="19"/>
                    <a:pt x="29" y="17"/>
                  </a:cubicBezTo>
                  <a:cubicBezTo>
                    <a:pt x="28" y="8"/>
                    <a:pt x="28" y="8"/>
                    <a:pt x="28" y="8"/>
                  </a:cubicBezTo>
                  <a:cubicBezTo>
                    <a:pt x="27" y="4"/>
                    <a:pt x="24" y="1"/>
                    <a:pt x="20" y="0"/>
                  </a:cubicBezTo>
                  <a:cubicBezTo>
                    <a:pt x="18" y="0"/>
                    <a:pt x="16" y="0"/>
                    <a:pt x="15" y="0"/>
                  </a:cubicBezTo>
                  <a:cubicBezTo>
                    <a:pt x="13" y="0"/>
                    <a:pt x="11" y="0"/>
                    <a:pt x="10" y="0"/>
                  </a:cubicBezTo>
                  <a:cubicBezTo>
                    <a:pt x="6" y="0"/>
                    <a:pt x="2" y="4"/>
                    <a:pt x="2" y="8"/>
                  </a:cubicBezTo>
                  <a:cubicBezTo>
                    <a:pt x="0" y="17"/>
                    <a:pt x="0" y="17"/>
                    <a:pt x="0" y="17"/>
                  </a:cubicBezTo>
                  <a:cubicBezTo>
                    <a:pt x="0" y="19"/>
                    <a:pt x="1" y="22"/>
                    <a:pt x="2" y="24"/>
                  </a:cubicBezTo>
                  <a:cubicBezTo>
                    <a:pt x="4" y="26"/>
                    <a:pt x="6" y="27"/>
                    <a:pt x="8" y="27"/>
                  </a:cubicBezTo>
                  <a:cubicBezTo>
                    <a:pt x="13" y="27"/>
                    <a:pt x="17" y="27"/>
                    <a:pt x="21" y="27"/>
                  </a:cubicBezTo>
                  <a:cubicBezTo>
                    <a:pt x="24" y="27"/>
                    <a:pt x="26" y="26"/>
                    <a:pt x="2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62" name="Group 361"/>
          <p:cNvGrpSpPr/>
          <p:nvPr/>
        </p:nvGrpSpPr>
        <p:grpSpPr>
          <a:xfrm>
            <a:off x="3701522" y="3446783"/>
            <a:ext cx="130241" cy="305859"/>
            <a:chOff x="3281315" y="1703922"/>
            <a:chExt cx="117989" cy="277086"/>
          </a:xfrm>
          <a:solidFill>
            <a:schemeClr val="accent6"/>
          </a:solidFill>
        </p:grpSpPr>
        <p:sp>
          <p:nvSpPr>
            <p:cNvPr id="367" name="Freeform 9"/>
            <p:cNvSpPr>
              <a:spLocks/>
            </p:cNvSpPr>
            <p:nvPr/>
          </p:nvSpPr>
          <p:spPr bwMode="auto">
            <a:xfrm>
              <a:off x="3329272" y="1966545"/>
              <a:ext cx="31971" cy="14463"/>
            </a:xfrm>
            <a:custGeom>
              <a:avLst/>
              <a:gdLst>
                <a:gd name="T0" fmla="*/ 39 w 41"/>
                <a:gd name="T1" fmla="*/ 1 h 19"/>
                <a:gd name="T2" fmla="*/ 21 w 41"/>
                <a:gd name="T3" fmla="*/ 3 h 19"/>
                <a:gd name="T4" fmla="*/ 0 w 41"/>
                <a:gd name="T5" fmla="*/ 0 h 19"/>
                <a:gd name="T6" fmla="*/ 21 w 41"/>
                <a:gd name="T7" fmla="*/ 19 h 19"/>
                <a:gd name="T8" fmla="*/ 41 w 41"/>
                <a:gd name="T9" fmla="*/ 0 h 19"/>
                <a:gd name="T10" fmla="*/ 39 w 41"/>
                <a:gd name="T11" fmla="*/ 1 h 19"/>
              </a:gdLst>
              <a:ahLst/>
              <a:cxnLst>
                <a:cxn ang="0">
                  <a:pos x="T0" y="T1"/>
                </a:cxn>
                <a:cxn ang="0">
                  <a:pos x="T2" y="T3"/>
                </a:cxn>
                <a:cxn ang="0">
                  <a:pos x="T4" y="T5"/>
                </a:cxn>
                <a:cxn ang="0">
                  <a:pos x="T6" y="T7"/>
                </a:cxn>
                <a:cxn ang="0">
                  <a:pos x="T8" y="T9"/>
                </a:cxn>
                <a:cxn ang="0">
                  <a:pos x="T10" y="T11"/>
                </a:cxn>
              </a:cxnLst>
              <a:rect l="0" t="0" r="r" b="b"/>
              <a:pathLst>
                <a:path w="41" h="19">
                  <a:moveTo>
                    <a:pt x="39" y="1"/>
                  </a:moveTo>
                  <a:cubicBezTo>
                    <a:pt x="33" y="2"/>
                    <a:pt x="27" y="3"/>
                    <a:pt x="21" y="3"/>
                  </a:cubicBezTo>
                  <a:cubicBezTo>
                    <a:pt x="14" y="3"/>
                    <a:pt x="7" y="2"/>
                    <a:pt x="0" y="0"/>
                  </a:cubicBezTo>
                  <a:cubicBezTo>
                    <a:pt x="1" y="11"/>
                    <a:pt x="10" y="19"/>
                    <a:pt x="21" y="19"/>
                  </a:cubicBezTo>
                  <a:cubicBezTo>
                    <a:pt x="32" y="19"/>
                    <a:pt x="40" y="11"/>
                    <a:pt x="41" y="0"/>
                  </a:cubicBezTo>
                  <a:lnTo>
                    <a:pt x="3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8" name="Freeform 10"/>
            <p:cNvSpPr>
              <a:spLocks/>
            </p:cNvSpPr>
            <p:nvPr/>
          </p:nvSpPr>
          <p:spPr bwMode="auto">
            <a:xfrm>
              <a:off x="3336884" y="1703922"/>
              <a:ext cx="17508" cy="13702"/>
            </a:xfrm>
            <a:custGeom>
              <a:avLst/>
              <a:gdLst>
                <a:gd name="T0" fmla="*/ 2 w 22"/>
                <a:gd name="T1" fmla="*/ 18 h 18"/>
                <a:gd name="T2" fmla="*/ 5 w 22"/>
                <a:gd name="T3" fmla="*/ 18 h 18"/>
                <a:gd name="T4" fmla="*/ 16 w 22"/>
                <a:gd name="T5" fmla="*/ 18 h 18"/>
                <a:gd name="T6" fmla="*/ 20 w 22"/>
                <a:gd name="T7" fmla="*/ 18 h 18"/>
                <a:gd name="T8" fmla="*/ 20 w 22"/>
                <a:gd name="T9" fmla="*/ 18 h 18"/>
                <a:gd name="T10" fmla="*/ 22 w 22"/>
                <a:gd name="T11" fmla="*/ 13 h 18"/>
                <a:gd name="T12" fmla="*/ 21 w 22"/>
                <a:gd name="T13" fmla="*/ 6 h 18"/>
                <a:gd name="T14" fmla="*/ 15 w 22"/>
                <a:gd name="T15" fmla="*/ 0 h 18"/>
                <a:gd name="T16" fmla="*/ 11 w 22"/>
                <a:gd name="T17" fmla="*/ 0 h 18"/>
                <a:gd name="T18" fmla="*/ 7 w 22"/>
                <a:gd name="T19" fmla="*/ 0 h 18"/>
                <a:gd name="T20" fmla="*/ 1 w 22"/>
                <a:gd name="T21" fmla="*/ 6 h 18"/>
                <a:gd name="T22" fmla="*/ 0 w 22"/>
                <a:gd name="T23" fmla="*/ 13 h 18"/>
                <a:gd name="T24" fmla="*/ 1 w 22"/>
                <a:gd name="T25" fmla="*/ 18 h 18"/>
                <a:gd name="T26" fmla="*/ 2 w 22"/>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2" y="18"/>
                  </a:moveTo>
                  <a:cubicBezTo>
                    <a:pt x="3" y="18"/>
                    <a:pt x="4" y="18"/>
                    <a:pt x="5" y="18"/>
                  </a:cubicBezTo>
                  <a:cubicBezTo>
                    <a:pt x="9" y="17"/>
                    <a:pt x="13" y="17"/>
                    <a:pt x="16" y="18"/>
                  </a:cubicBezTo>
                  <a:cubicBezTo>
                    <a:pt x="18" y="18"/>
                    <a:pt x="19" y="18"/>
                    <a:pt x="20" y="18"/>
                  </a:cubicBezTo>
                  <a:cubicBezTo>
                    <a:pt x="20" y="18"/>
                    <a:pt x="20" y="18"/>
                    <a:pt x="20" y="18"/>
                  </a:cubicBezTo>
                  <a:cubicBezTo>
                    <a:pt x="21" y="17"/>
                    <a:pt x="22" y="15"/>
                    <a:pt x="22" y="13"/>
                  </a:cubicBezTo>
                  <a:cubicBezTo>
                    <a:pt x="21" y="6"/>
                    <a:pt x="21" y="6"/>
                    <a:pt x="21" y="6"/>
                  </a:cubicBezTo>
                  <a:cubicBezTo>
                    <a:pt x="20" y="3"/>
                    <a:pt x="18" y="1"/>
                    <a:pt x="15" y="0"/>
                  </a:cubicBezTo>
                  <a:cubicBezTo>
                    <a:pt x="13" y="0"/>
                    <a:pt x="12" y="0"/>
                    <a:pt x="11" y="0"/>
                  </a:cubicBezTo>
                  <a:cubicBezTo>
                    <a:pt x="9" y="0"/>
                    <a:pt x="8" y="0"/>
                    <a:pt x="7" y="0"/>
                  </a:cubicBezTo>
                  <a:cubicBezTo>
                    <a:pt x="4" y="0"/>
                    <a:pt x="1" y="3"/>
                    <a:pt x="1" y="6"/>
                  </a:cubicBezTo>
                  <a:cubicBezTo>
                    <a:pt x="0" y="13"/>
                    <a:pt x="0" y="13"/>
                    <a:pt x="0" y="13"/>
                  </a:cubicBezTo>
                  <a:cubicBezTo>
                    <a:pt x="0" y="15"/>
                    <a:pt x="0" y="17"/>
                    <a:pt x="1" y="18"/>
                  </a:cubicBezTo>
                  <a:cubicBezTo>
                    <a:pt x="1" y="18"/>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9" name="Freeform 11"/>
            <p:cNvSpPr>
              <a:spLocks/>
            </p:cNvSpPr>
            <p:nvPr/>
          </p:nvSpPr>
          <p:spPr bwMode="auto">
            <a:xfrm>
              <a:off x="3355915" y="1713818"/>
              <a:ext cx="15224" cy="15986"/>
            </a:xfrm>
            <a:custGeom>
              <a:avLst/>
              <a:gdLst>
                <a:gd name="T0" fmla="*/ 20 w 20"/>
                <a:gd name="T1" fmla="*/ 13 h 21"/>
                <a:gd name="T2" fmla="*/ 19 w 20"/>
                <a:gd name="T3" fmla="*/ 6 h 21"/>
                <a:gd name="T4" fmla="*/ 13 w 20"/>
                <a:gd name="T5" fmla="*/ 0 h 21"/>
                <a:gd name="T6" fmla="*/ 9 w 20"/>
                <a:gd name="T7" fmla="*/ 0 h 21"/>
                <a:gd name="T8" fmla="*/ 5 w 20"/>
                <a:gd name="T9" fmla="*/ 0 h 21"/>
                <a:gd name="T10" fmla="*/ 2 w 20"/>
                <a:gd name="T11" fmla="*/ 1 h 21"/>
                <a:gd name="T12" fmla="*/ 0 w 20"/>
                <a:gd name="T13" fmla="*/ 7 h 21"/>
                <a:gd name="T14" fmla="*/ 5 w 20"/>
                <a:gd name="T15" fmla="*/ 17 h 21"/>
                <a:gd name="T16" fmla="*/ 6 w 20"/>
                <a:gd name="T17" fmla="*/ 20 h 21"/>
                <a:gd name="T18" fmla="*/ 14 w 20"/>
                <a:gd name="T19" fmla="*/ 20 h 21"/>
                <a:gd name="T20" fmla="*/ 14 w 20"/>
                <a:gd name="T21" fmla="*/ 20 h 21"/>
                <a:gd name="T22" fmla="*/ 18 w 20"/>
                <a:gd name="T23" fmla="*/ 18 h 21"/>
                <a:gd name="T24" fmla="*/ 20 w 20"/>
                <a:gd name="T25"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1">
                  <a:moveTo>
                    <a:pt x="20" y="13"/>
                  </a:moveTo>
                  <a:cubicBezTo>
                    <a:pt x="19" y="6"/>
                    <a:pt x="19" y="6"/>
                    <a:pt x="19" y="6"/>
                  </a:cubicBezTo>
                  <a:cubicBezTo>
                    <a:pt x="18" y="3"/>
                    <a:pt x="16" y="0"/>
                    <a:pt x="13" y="0"/>
                  </a:cubicBezTo>
                  <a:cubicBezTo>
                    <a:pt x="12" y="0"/>
                    <a:pt x="10" y="0"/>
                    <a:pt x="9" y="0"/>
                  </a:cubicBezTo>
                  <a:cubicBezTo>
                    <a:pt x="8" y="0"/>
                    <a:pt x="6" y="0"/>
                    <a:pt x="5" y="0"/>
                  </a:cubicBezTo>
                  <a:cubicBezTo>
                    <a:pt x="4" y="0"/>
                    <a:pt x="3" y="1"/>
                    <a:pt x="2" y="1"/>
                  </a:cubicBezTo>
                  <a:cubicBezTo>
                    <a:pt x="2" y="4"/>
                    <a:pt x="1" y="6"/>
                    <a:pt x="0" y="7"/>
                  </a:cubicBezTo>
                  <a:cubicBezTo>
                    <a:pt x="3" y="10"/>
                    <a:pt x="5" y="13"/>
                    <a:pt x="5" y="17"/>
                  </a:cubicBezTo>
                  <a:cubicBezTo>
                    <a:pt x="6" y="20"/>
                    <a:pt x="6" y="20"/>
                    <a:pt x="6" y="20"/>
                  </a:cubicBezTo>
                  <a:cubicBezTo>
                    <a:pt x="8" y="21"/>
                    <a:pt x="11" y="21"/>
                    <a:pt x="14" y="20"/>
                  </a:cubicBezTo>
                  <a:cubicBezTo>
                    <a:pt x="14" y="20"/>
                    <a:pt x="14" y="20"/>
                    <a:pt x="14" y="20"/>
                  </a:cubicBezTo>
                  <a:cubicBezTo>
                    <a:pt x="16" y="20"/>
                    <a:pt x="17" y="19"/>
                    <a:pt x="18" y="18"/>
                  </a:cubicBezTo>
                  <a:cubicBezTo>
                    <a:pt x="20" y="16"/>
                    <a:pt x="20" y="14"/>
                    <a:pt x="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0" name="Freeform 12"/>
            <p:cNvSpPr>
              <a:spLocks/>
            </p:cNvSpPr>
            <p:nvPr/>
          </p:nvSpPr>
          <p:spPr bwMode="auto">
            <a:xfrm>
              <a:off x="3319376" y="1713818"/>
              <a:ext cx="15986" cy="15986"/>
            </a:xfrm>
            <a:custGeom>
              <a:avLst/>
              <a:gdLst>
                <a:gd name="T0" fmla="*/ 15 w 21"/>
                <a:gd name="T1" fmla="*/ 17 h 21"/>
                <a:gd name="T2" fmla="*/ 21 w 21"/>
                <a:gd name="T3" fmla="*/ 7 h 21"/>
                <a:gd name="T4" fmla="*/ 19 w 21"/>
                <a:gd name="T5" fmla="*/ 1 h 21"/>
                <a:gd name="T6" fmla="*/ 15 w 21"/>
                <a:gd name="T7" fmla="*/ 0 h 21"/>
                <a:gd name="T8" fmla="*/ 11 w 21"/>
                <a:gd name="T9" fmla="*/ 0 h 21"/>
                <a:gd name="T10" fmla="*/ 8 w 21"/>
                <a:gd name="T11" fmla="*/ 0 h 21"/>
                <a:gd name="T12" fmla="*/ 2 w 21"/>
                <a:gd name="T13" fmla="*/ 6 h 21"/>
                <a:gd name="T14" fmla="*/ 1 w 21"/>
                <a:gd name="T15" fmla="*/ 13 h 21"/>
                <a:gd name="T16" fmla="*/ 2 w 21"/>
                <a:gd name="T17" fmla="*/ 18 h 21"/>
                <a:gd name="T18" fmla="*/ 7 w 21"/>
                <a:gd name="T19" fmla="*/ 20 h 21"/>
                <a:gd name="T20" fmla="*/ 15 w 21"/>
                <a:gd name="T21" fmla="*/ 20 h 21"/>
                <a:gd name="T22" fmla="*/ 15 w 21"/>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5" y="17"/>
                  </a:moveTo>
                  <a:cubicBezTo>
                    <a:pt x="16" y="13"/>
                    <a:pt x="18" y="10"/>
                    <a:pt x="21" y="7"/>
                  </a:cubicBezTo>
                  <a:cubicBezTo>
                    <a:pt x="19" y="6"/>
                    <a:pt x="19" y="4"/>
                    <a:pt x="19" y="1"/>
                  </a:cubicBezTo>
                  <a:cubicBezTo>
                    <a:pt x="18" y="1"/>
                    <a:pt x="17" y="0"/>
                    <a:pt x="15" y="0"/>
                  </a:cubicBezTo>
                  <a:cubicBezTo>
                    <a:pt x="14" y="0"/>
                    <a:pt x="13" y="0"/>
                    <a:pt x="11" y="0"/>
                  </a:cubicBezTo>
                  <a:cubicBezTo>
                    <a:pt x="10" y="0"/>
                    <a:pt x="9" y="0"/>
                    <a:pt x="8" y="0"/>
                  </a:cubicBezTo>
                  <a:cubicBezTo>
                    <a:pt x="4" y="0"/>
                    <a:pt x="2" y="3"/>
                    <a:pt x="2" y="6"/>
                  </a:cubicBezTo>
                  <a:cubicBezTo>
                    <a:pt x="1" y="13"/>
                    <a:pt x="1" y="13"/>
                    <a:pt x="1" y="13"/>
                  </a:cubicBezTo>
                  <a:cubicBezTo>
                    <a:pt x="0" y="14"/>
                    <a:pt x="1" y="16"/>
                    <a:pt x="2" y="18"/>
                  </a:cubicBezTo>
                  <a:cubicBezTo>
                    <a:pt x="3" y="19"/>
                    <a:pt x="5" y="20"/>
                    <a:pt x="7" y="20"/>
                  </a:cubicBezTo>
                  <a:cubicBezTo>
                    <a:pt x="9" y="21"/>
                    <a:pt x="12" y="21"/>
                    <a:pt x="15" y="20"/>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1" name="Freeform 13"/>
            <p:cNvSpPr>
              <a:spLocks/>
            </p:cNvSpPr>
            <p:nvPr/>
          </p:nvSpPr>
          <p:spPr bwMode="auto">
            <a:xfrm>
              <a:off x="3332317" y="1749595"/>
              <a:ext cx="25882" cy="23598"/>
            </a:xfrm>
            <a:custGeom>
              <a:avLst/>
              <a:gdLst>
                <a:gd name="T0" fmla="*/ 2 w 33"/>
                <a:gd name="T1" fmla="*/ 9 h 31"/>
                <a:gd name="T2" fmla="*/ 0 w 33"/>
                <a:gd name="T3" fmla="*/ 19 h 31"/>
                <a:gd name="T4" fmla="*/ 2 w 33"/>
                <a:gd name="T5" fmla="*/ 27 h 31"/>
                <a:gd name="T6" fmla="*/ 9 w 33"/>
                <a:gd name="T7" fmla="*/ 31 h 31"/>
                <a:gd name="T8" fmla="*/ 24 w 33"/>
                <a:gd name="T9" fmla="*/ 31 h 31"/>
                <a:gd name="T10" fmla="*/ 24 w 33"/>
                <a:gd name="T11" fmla="*/ 31 h 31"/>
                <a:gd name="T12" fmla="*/ 31 w 33"/>
                <a:gd name="T13" fmla="*/ 27 h 31"/>
                <a:gd name="T14" fmla="*/ 33 w 33"/>
                <a:gd name="T15" fmla="*/ 19 h 31"/>
                <a:gd name="T16" fmla="*/ 32 w 33"/>
                <a:gd name="T17" fmla="*/ 9 h 31"/>
                <a:gd name="T18" fmla="*/ 23 w 33"/>
                <a:gd name="T19" fmla="*/ 0 h 31"/>
                <a:gd name="T20" fmla="*/ 16 w 33"/>
                <a:gd name="T21" fmla="*/ 0 h 31"/>
                <a:gd name="T22" fmla="*/ 11 w 33"/>
                <a:gd name="T23" fmla="*/ 0 h 31"/>
                <a:gd name="T24" fmla="*/ 2 w 33"/>
                <a:gd name="T2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1">
                  <a:moveTo>
                    <a:pt x="2" y="9"/>
                  </a:moveTo>
                  <a:cubicBezTo>
                    <a:pt x="0" y="19"/>
                    <a:pt x="0" y="19"/>
                    <a:pt x="0" y="19"/>
                  </a:cubicBezTo>
                  <a:cubicBezTo>
                    <a:pt x="0" y="22"/>
                    <a:pt x="1" y="25"/>
                    <a:pt x="2" y="27"/>
                  </a:cubicBezTo>
                  <a:cubicBezTo>
                    <a:pt x="4" y="29"/>
                    <a:pt x="7" y="31"/>
                    <a:pt x="9" y="31"/>
                  </a:cubicBezTo>
                  <a:cubicBezTo>
                    <a:pt x="14" y="31"/>
                    <a:pt x="19" y="31"/>
                    <a:pt x="24" y="31"/>
                  </a:cubicBezTo>
                  <a:cubicBezTo>
                    <a:pt x="24" y="31"/>
                    <a:pt x="24" y="31"/>
                    <a:pt x="24" y="31"/>
                  </a:cubicBezTo>
                  <a:cubicBezTo>
                    <a:pt x="27" y="31"/>
                    <a:pt x="29" y="29"/>
                    <a:pt x="31" y="27"/>
                  </a:cubicBezTo>
                  <a:cubicBezTo>
                    <a:pt x="33" y="25"/>
                    <a:pt x="33" y="22"/>
                    <a:pt x="33" y="19"/>
                  </a:cubicBezTo>
                  <a:cubicBezTo>
                    <a:pt x="32" y="9"/>
                    <a:pt x="32" y="9"/>
                    <a:pt x="32" y="9"/>
                  </a:cubicBezTo>
                  <a:cubicBezTo>
                    <a:pt x="31" y="4"/>
                    <a:pt x="27" y="1"/>
                    <a:pt x="23" y="0"/>
                  </a:cubicBezTo>
                  <a:cubicBezTo>
                    <a:pt x="21" y="0"/>
                    <a:pt x="19" y="0"/>
                    <a:pt x="16" y="0"/>
                  </a:cubicBezTo>
                  <a:cubicBezTo>
                    <a:pt x="15" y="0"/>
                    <a:pt x="13" y="0"/>
                    <a:pt x="11" y="0"/>
                  </a:cubicBezTo>
                  <a:cubicBezTo>
                    <a:pt x="6" y="1"/>
                    <a:pt x="3" y="4"/>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2" name="Freeform 14"/>
            <p:cNvSpPr>
              <a:spLocks/>
            </p:cNvSpPr>
            <p:nvPr/>
          </p:nvSpPr>
          <p:spPr bwMode="auto">
            <a:xfrm>
              <a:off x="3357437" y="1733610"/>
              <a:ext cx="22837" cy="21314"/>
            </a:xfrm>
            <a:custGeom>
              <a:avLst/>
              <a:gdLst>
                <a:gd name="T0" fmla="*/ 29 w 29"/>
                <a:gd name="T1" fmla="*/ 17 h 27"/>
                <a:gd name="T2" fmla="*/ 27 w 29"/>
                <a:gd name="T3" fmla="*/ 8 h 27"/>
                <a:gd name="T4" fmla="*/ 19 w 29"/>
                <a:gd name="T5" fmla="*/ 0 h 27"/>
                <a:gd name="T6" fmla="*/ 14 w 29"/>
                <a:gd name="T7" fmla="*/ 0 h 27"/>
                <a:gd name="T8" fmla="*/ 9 w 29"/>
                <a:gd name="T9" fmla="*/ 0 h 27"/>
                <a:gd name="T10" fmla="*/ 5 w 29"/>
                <a:gd name="T11" fmla="*/ 2 h 27"/>
                <a:gd name="T12" fmla="*/ 2 w 29"/>
                <a:gd name="T13" fmla="*/ 10 h 27"/>
                <a:gd name="T14" fmla="*/ 1 w 29"/>
                <a:gd name="T15" fmla="*/ 11 h 27"/>
                <a:gd name="T16" fmla="*/ 0 w 29"/>
                <a:gd name="T17" fmla="*/ 17 h 27"/>
                <a:gd name="T18" fmla="*/ 0 w 29"/>
                <a:gd name="T19" fmla="*/ 17 h 27"/>
                <a:gd name="T20" fmla="*/ 5 w 29"/>
                <a:gd name="T21" fmla="*/ 26 h 27"/>
                <a:gd name="T22" fmla="*/ 8 w 29"/>
                <a:gd name="T23" fmla="*/ 27 h 27"/>
                <a:gd name="T24" fmla="*/ 21 w 29"/>
                <a:gd name="T25" fmla="*/ 27 h 27"/>
                <a:gd name="T26" fmla="*/ 27 w 29"/>
                <a:gd name="T27" fmla="*/ 24 h 27"/>
                <a:gd name="T28" fmla="*/ 29 w 29"/>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7">
                  <a:moveTo>
                    <a:pt x="29" y="17"/>
                  </a:moveTo>
                  <a:cubicBezTo>
                    <a:pt x="27" y="8"/>
                    <a:pt x="27" y="8"/>
                    <a:pt x="27" y="8"/>
                  </a:cubicBezTo>
                  <a:cubicBezTo>
                    <a:pt x="27" y="4"/>
                    <a:pt x="23" y="1"/>
                    <a:pt x="19" y="0"/>
                  </a:cubicBezTo>
                  <a:cubicBezTo>
                    <a:pt x="18" y="0"/>
                    <a:pt x="16" y="0"/>
                    <a:pt x="14" y="0"/>
                  </a:cubicBezTo>
                  <a:cubicBezTo>
                    <a:pt x="12" y="0"/>
                    <a:pt x="11" y="0"/>
                    <a:pt x="9" y="0"/>
                  </a:cubicBezTo>
                  <a:cubicBezTo>
                    <a:pt x="8" y="0"/>
                    <a:pt x="6" y="1"/>
                    <a:pt x="5" y="2"/>
                  </a:cubicBezTo>
                  <a:cubicBezTo>
                    <a:pt x="5" y="5"/>
                    <a:pt x="3" y="8"/>
                    <a:pt x="2" y="10"/>
                  </a:cubicBezTo>
                  <a:cubicBezTo>
                    <a:pt x="1" y="11"/>
                    <a:pt x="1" y="11"/>
                    <a:pt x="1" y="11"/>
                  </a:cubicBezTo>
                  <a:cubicBezTo>
                    <a:pt x="0" y="17"/>
                    <a:pt x="0" y="17"/>
                    <a:pt x="0" y="17"/>
                  </a:cubicBezTo>
                  <a:cubicBezTo>
                    <a:pt x="0" y="17"/>
                    <a:pt x="0" y="17"/>
                    <a:pt x="0" y="17"/>
                  </a:cubicBezTo>
                  <a:cubicBezTo>
                    <a:pt x="3" y="20"/>
                    <a:pt x="5" y="23"/>
                    <a:pt x="5" y="26"/>
                  </a:cubicBezTo>
                  <a:cubicBezTo>
                    <a:pt x="6" y="27"/>
                    <a:pt x="7" y="27"/>
                    <a:pt x="8" y="27"/>
                  </a:cubicBezTo>
                  <a:cubicBezTo>
                    <a:pt x="12" y="27"/>
                    <a:pt x="16" y="27"/>
                    <a:pt x="21" y="27"/>
                  </a:cubicBezTo>
                  <a:cubicBezTo>
                    <a:pt x="23" y="27"/>
                    <a:pt x="25" y="26"/>
                    <a:pt x="27" y="24"/>
                  </a:cubicBezTo>
                  <a:cubicBezTo>
                    <a:pt x="28" y="22"/>
                    <a:pt x="29" y="19"/>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3" name="Freeform 15"/>
            <p:cNvSpPr>
              <a:spLocks/>
            </p:cNvSpPr>
            <p:nvPr/>
          </p:nvSpPr>
          <p:spPr bwMode="auto">
            <a:xfrm>
              <a:off x="3311002" y="1733610"/>
              <a:ext cx="22837" cy="21314"/>
            </a:xfrm>
            <a:custGeom>
              <a:avLst/>
              <a:gdLst>
                <a:gd name="T0" fmla="*/ 30 w 30"/>
                <a:gd name="T1" fmla="*/ 18 h 27"/>
                <a:gd name="T2" fmla="*/ 30 w 30"/>
                <a:gd name="T3" fmla="*/ 17 h 27"/>
                <a:gd name="T4" fmla="*/ 29 w 30"/>
                <a:gd name="T5" fmla="*/ 11 h 27"/>
                <a:gd name="T6" fmla="*/ 28 w 30"/>
                <a:gd name="T7" fmla="*/ 10 h 27"/>
                <a:gd name="T8" fmla="*/ 25 w 30"/>
                <a:gd name="T9" fmla="*/ 2 h 27"/>
                <a:gd name="T10" fmla="*/ 20 w 30"/>
                <a:gd name="T11" fmla="*/ 0 h 27"/>
                <a:gd name="T12" fmla="*/ 15 w 30"/>
                <a:gd name="T13" fmla="*/ 0 h 27"/>
                <a:gd name="T14" fmla="*/ 10 w 30"/>
                <a:gd name="T15" fmla="*/ 0 h 27"/>
                <a:gd name="T16" fmla="*/ 2 w 30"/>
                <a:gd name="T17" fmla="*/ 8 h 27"/>
                <a:gd name="T18" fmla="*/ 1 w 30"/>
                <a:gd name="T19" fmla="*/ 17 h 27"/>
                <a:gd name="T20" fmla="*/ 3 w 30"/>
                <a:gd name="T21" fmla="*/ 24 h 27"/>
                <a:gd name="T22" fmla="*/ 9 w 30"/>
                <a:gd name="T23" fmla="*/ 27 h 27"/>
                <a:gd name="T24" fmla="*/ 22 w 30"/>
                <a:gd name="T25" fmla="*/ 27 h 27"/>
                <a:gd name="T26" fmla="*/ 24 w 30"/>
                <a:gd name="T27" fmla="*/ 26 h 27"/>
                <a:gd name="T28" fmla="*/ 30 w 30"/>
                <a:gd name="T2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7">
                  <a:moveTo>
                    <a:pt x="30" y="18"/>
                  </a:moveTo>
                  <a:cubicBezTo>
                    <a:pt x="30" y="17"/>
                    <a:pt x="30" y="17"/>
                    <a:pt x="30" y="17"/>
                  </a:cubicBezTo>
                  <a:cubicBezTo>
                    <a:pt x="29" y="11"/>
                    <a:pt x="29" y="11"/>
                    <a:pt x="29" y="11"/>
                  </a:cubicBezTo>
                  <a:cubicBezTo>
                    <a:pt x="28" y="11"/>
                    <a:pt x="28" y="11"/>
                    <a:pt x="28" y="10"/>
                  </a:cubicBezTo>
                  <a:cubicBezTo>
                    <a:pt x="26" y="8"/>
                    <a:pt x="25" y="5"/>
                    <a:pt x="25" y="2"/>
                  </a:cubicBezTo>
                  <a:cubicBezTo>
                    <a:pt x="23" y="1"/>
                    <a:pt x="22" y="0"/>
                    <a:pt x="20" y="0"/>
                  </a:cubicBezTo>
                  <a:cubicBezTo>
                    <a:pt x="19" y="0"/>
                    <a:pt x="17" y="0"/>
                    <a:pt x="15" y="0"/>
                  </a:cubicBezTo>
                  <a:cubicBezTo>
                    <a:pt x="13" y="0"/>
                    <a:pt x="12" y="0"/>
                    <a:pt x="10" y="0"/>
                  </a:cubicBezTo>
                  <a:cubicBezTo>
                    <a:pt x="6" y="0"/>
                    <a:pt x="3" y="4"/>
                    <a:pt x="2" y="8"/>
                  </a:cubicBezTo>
                  <a:cubicBezTo>
                    <a:pt x="1" y="17"/>
                    <a:pt x="1" y="17"/>
                    <a:pt x="1" y="17"/>
                  </a:cubicBezTo>
                  <a:cubicBezTo>
                    <a:pt x="0" y="19"/>
                    <a:pt x="1" y="22"/>
                    <a:pt x="3" y="24"/>
                  </a:cubicBezTo>
                  <a:cubicBezTo>
                    <a:pt x="4" y="26"/>
                    <a:pt x="6" y="27"/>
                    <a:pt x="9" y="27"/>
                  </a:cubicBezTo>
                  <a:cubicBezTo>
                    <a:pt x="13" y="27"/>
                    <a:pt x="17" y="27"/>
                    <a:pt x="22" y="27"/>
                  </a:cubicBezTo>
                  <a:cubicBezTo>
                    <a:pt x="22" y="27"/>
                    <a:pt x="23" y="27"/>
                    <a:pt x="24" y="26"/>
                  </a:cubicBezTo>
                  <a:cubicBezTo>
                    <a:pt x="25" y="23"/>
                    <a:pt x="27" y="20"/>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4" name="Freeform 16"/>
            <p:cNvSpPr>
              <a:spLocks/>
            </p:cNvSpPr>
            <p:nvPr/>
          </p:nvSpPr>
          <p:spPr bwMode="auto">
            <a:xfrm>
              <a:off x="3306435" y="1759492"/>
              <a:ext cx="25882" cy="23598"/>
            </a:xfrm>
            <a:custGeom>
              <a:avLst/>
              <a:gdLst>
                <a:gd name="T0" fmla="*/ 31 w 34"/>
                <a:gd name="T1" fmla="*/ 18 h 31"/>
                <a:gd name="T2" fmla="*/ 28 w 34"/>
                <a:gd name="T3" fmla="*/ 5 h 31"/>
                <a:gd name="T4" fmla="*/ 28 w 34"/>
                <a:gd name="T5" fmla="*/ 3 h 31"/>
                <a:gd name="T6" fmla="*/ 23 w 34"/>
                <a:gd name="T7" fmla="*/ 0 h 31"/>
                <a:gd name="T8" fmla="*/ 17 w 34"/>
                <a:gd name="T9" fmla="*/ 0 h 31"/>
                <a:gd name="T10" fmla="*/ 11 w 34"/>
                <a:gd name="T11" fmla="*/ 0 h 31"/>
                <a:gd name="T12" fmla="*/ 2 w 34"/>
                <a:gd name="T13" fmla="*/ 9 h 31"/>
                <a:gd name="T14" fmla="*/ 1 w 34"/>
                <a:gd name="T15" fmla="*/ 19 h 31"/>
                <a:gd name="T16" fmla="*/ 3 w 34"/>
                <a:gd name="T17" fmla="*/ 27 h 31"/>
                <a:gd name="T18" fmla="*/ 10 w 34"/>
                <a:gd name="T19" fmla="*/ 31 h 31"/>
                <a:gd name="T20" fmla="*/ 24 w 34"/>
                <a:gd name="T21" fmla="*/ 31 h 31"/>
                <a:gd name="T22" fmla="*/ 31 w 34"/>
                <a:gd name="T23" fmla="*/ 27 h 31"/>
                <a:gd name="T24" fmla="*/ 33 w 34"/>
                <a:gd name="T25" fmla="*/ 20 h 31"/>
                <a:gd name="T26" fmla="*/ 31 w 34"/>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31" y="18"/>
                  </a:moveTo>
                  <a:cubicBezTo>
                    <a:pt x="29" y="14"/>
                    <a:pt x="27" y="10"/>
                    <a:pt x="28" y="5"/>
                  </a:cubicBezTo>
                  <a:cubicBezTo>
                    <a:pt x="28" y="3"/>
                    <a:pt x="28" y="3"/>
                    <a:pt x="28" y="3"/>
                  </a:cubicBezTo>
                  <a:cubicBezTo>
                    <a:pt x="27" y="1"/>
                    <a:pt x="25" y="0"/>
                    <a:pt x="23" y="0"/>
                  </a:cubicBezTo>
                  <a:cubicBezTo>
                    <a:pt x="21" y="0"/>
                    <a:pt x="19" y="0"/>
                    <a:pt x="17" y="0"/>
                  </a:cubicBezTo>
                  <a:cubicBezTo>
                    <a:pt x="15" y="0"/>
                    <a:pt x="13" y="0"/>
                    <a:pt x="11" y="0"/>
                  </a:cubicBezTo>
                  <a:cubicBezTo>
                    <a:pt x="7" y="1"/>
                    <a:pt x="3" y="4"/>
                    <a:pt x="2" y="9"/>
                  </a:cubicBezTo>
                  <a:cubicBezTo>
                    <a:pt x="1" y="19"/>
                    <a:pt x="1" y="19"/>
                    <a:pt x="1" y="19"/>
                  </a:cubicBezTo>
                  <a:cubicBezTo>
                    <a:pt x="0" y="22"/>
                    <a:pt x="1" y="25"/>
                    <a:pt x="3" y="27"/>
                  </a:cubicBezTo>
                  <a:cubicBezTo>
                    <a:pt x="5" y="29"/>
                    <a:pt x="7" y="31"/>
                    <a:pt x="10" y="31"/>
                  </a:cubicBezTo>
                  <a:cubicBezTo>
                    <a:pt x="15" y="31"/>
                    <a:pt x="20" y="31"/>
                    <a:pt x="24" y="31"/>
                  </a:cubicBezTo>
                  <a:cubicBezTo>
                    <a:pt x="27" y="31"/>
                    <a:pt x="30" y="29"/>
                    <a:pt x="31" y="27"/>
                  </a:cubicBezTo>
                  <a:cubicBezTo>
                    <a:pt x="33" y="25"/>
                    <a:pt x="34" y="23"/>
                    <a:pt x="33" y="20"/>
                  </a:cubicBezTo>
                  <a:cubicBezTo>
                    <a:pt x="33" y="19"/>
                    <a:pt x="32" y="19"/>
                    <a:pt x="3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5" name="Freeform 17"/>
            <p:cNvSpPr>
              <a:spLocks/>
            </p:cNvSpPr>
            <p:nvPr/>
          </p:nvSpPr>
          <p:spPr bwMode="auto">
            <a:xfrm>
              <a:off x="3358960" y="1759492"/>
              <a:ext cx="25882" cy="23598"/>
            </a:xfrm>
            <a:custGeom>
              <a:avLst/>
              <a:gdLst>
                <a:gd name="T0" fmla="*/ 33 w 33"/>
                <a:gd name="T1" fmla="*/ 19 h 31"/>
                <a:gd name="T2" fmla="*/ 31 w 33"/>
                <a:gd name="T3" fmla="*/ 9 h 31"/>
                <a:gd name="T4" fmla="*/ 22 w 33"/>
                <a:gd name="T5" fmla="*/ 0 h 31"/>
                <a:gd name="T6" fmla="*/ 16 w 33"/>
                <a:gd name="T7" fmla="*/ 0 h 31"/>
                <a:gd name="T8" fmla="*/ 11 w 33"/>
                <a:gd name="T9" fmla="*/ 0 h 31"/>
                <a:gd name="T10" fmla="*/ 5 w 33"/>
                <a:gd name="T11" fmla="*/ 3 h 31"/>
                <a:gd name="T12" fmla="*/ 5 w 33"/>
                <a:gd name="T13" fmla="*/ 5 h 31"/>
                <a:gd name="T14" fmla="*/ 2 w 33"/>
                <a:gd name="T15" fmla="*/ 18 h 31"/>
                <a:gd name="T16" fmla="*/ 0 w 33"/>
                <a:gd name="T17" fmla="*/ 20 h 31"/>
                <a:gd name="T18" fmla="*/ 2 w 33"/>
                <a:gd name="T19" fmla="*/ 27 h 31"/>
                <a:gd name="T20" fmla="*/ 9 w 33"/>
                <a:gd name="T21" fmla="*/ 31 h 31"/>
                <a:gd name="T22" fmla="*/ 24 w 33"/>
                <a:gd name="T23" fmla="*/ 31 h 31"/>
                <a:gd name="T24" fmla="*/ 31 w 33"/>
                <a:gd name="T25" fmla="*/ 27 h 31"/>
                <a:gd name="T26" fmla="*/ 33 w 33"/>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1">
                  <a:moveTo>
                    <a:pt x="33" y="19"/>
                  </a:moveTo>
                  <a:cubicBezTo>
                    <a:pt x="31" y="9"/>
                    <a:pt x="31" y="9"/>
                    <a:pt x="31" y="9"/>
                  </a:cubicBezTo>
                  <a:cubicBezTo>
                    <a:pt x="31" y="4"/>
                    <a:pt x="27" y="1"/>
                    <a:pt x="22" y="0"/>
                  </a:cubicBezTo>
                  <a:cubicBezTo>
                    <a:pt x="20" y="0"/>
                    <a:pt x="18" y="0"/>
                    <a:pt x="16" y="0"/>
                  </a:cubicBezTo>
                  <a:cubicBezTo>
                    <a:pt x="14" y="0"/>
                    <a:pt x="13" y="0"/>
                    <a:pt x="11" y="0"/>
                  </a:cubicBezTo>
                  <a:cubicBezTo>
                    <a:pt x="9" y="0"/>
                    <a:pt x="7" y="1"/>
                    <a:pt x="5" y="3"/>
                  </a:cubicBezTo>
                  <a:cubicBezTo>
                    <a:pt x="5" y="5"/>
                    <a:pt x="5" y="5"/>
                    <a:pt x="5" y="5"/>
                  </a:cubicBezTo>
                  <a:cubicBezTo>
                    <a:pt x="6" y="10"/>
                    <a:pt x="5" y="14"/>
                    <a:pt x="2" y="18"/>
                  </a:cubicBezTo>
                  <a:cubicBezTo>
                    <a:pt x="1" y="19"/>
                    <a:pt x="1" y="19"/>
                    <a:pt x="0" y="20"/>
                  </a:cubicBezTo>
                  <a:cubicBezTo>
                    <a:pt x="0" y="23"/>
                    <a:pt x="1" y="25"/>
                    <a:pt x="2" y="27"/>
                  </a:cubicBezTo>
                  <a:cubicBezTo>
                    <a:pt x="4" y="29"/>
                    <a:pt x="6" y="31"/>
                    <a:pt x="9" y="31"/>
                  </a:cubicBezTo>
                  <a:cubicBezTo>
                    <a:pt x="14" y="31"/>
                    <a:pt x="19" y="31"/>
                    <a:pt x="24" y="31"/>
                  </a:cubicBezTo>
                  <a:cubicBezTo>
                    <a:pt x="26" y="31"/>
                    <a:pt x="29" y="29"/>
                    <a:pt x="31" y="27"/>
                  </a:cubicBezTo>
                  <a:cubicBezTo>
                    <a:pt x="32" y="25"/>
                    <a:pt x="33" y="22"/>
                    <a:pt x="3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6" name="Freeform 18"/>
            <p:cNvSpPr>
              <a:spLocks/>
            </p:cNvSpPr>
            <p:nvPr/>
          </p:nvSpPr>
          <p:spPr bwMode="auto">
            <a:xfrm>
              <a:off x="3331556" y="1779283"/>
              <a:ext cx="28165" cy="25121"/>
            </a:xfrm>
            <a:custGeom>
              <a:avLst/>
              <a:gdLst>
                <a:gd name="T0" fmla="*/ 2 w 36"/>
                <a:gd name="T1" fmla="*/ 9 h 33"/>
                <a:gd name="T2" fmla="*/ 0 w 36"/>
                <a:gd name="T3" fmla="*/ 20 h 33"/>
                <a:gd name="T4" fmla="*/ 3 w 36"/>
                <a:gd name="T5" fmla="*/ 29 h 33"/>
                <a:gd name="T6" fmla="*/ 10 w 36"/>
                <a:gd name="T7" fmla="*/ 33 h 33"/>
                <a:gd name="T8" fmla="*/ 25 w 36"/>
                <a:gd name="T9" fmla="*/ 33 h 33"/>
                <a:gd name="T10" fmla="*/ 33 w 36"/>
                <a:gd name="T11" fmla="*/ 29 h 33"/>
                <a:gd name="T12" fmla="*/ 35 w 36"/>
                <a:gd name="T13" fmla="*/ 20 h 33"/>
                <a:gd name="T14" fmla="*/ 33 w 36"/>
                <a:gd name="T15" fmla="*/ 10 h 33"/>
                <a:gd name="T16" fmla="*/ 24 w 36"/>
                <a:gd name="T17" fmla="*/ 0 h 33"/>
                <a:gd name="T18" fmla="*/ 17 w 36"/>
                <a:gd name="T19" fmla="*/ 0 h 33"/>
                <a:gd name="T20" fmla="*/ 12 w 36"/>
                <a:gd name="T21" fmla="*/ 0 h 33"/>
                <a:gd name="T22" fmla="*/ 2 w 36"/>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3">
                  <a:moveTo>
                    <a:pt x="2" y="9"/>
                  </a:moveTo>
                  <a:cubicBezTo>
                    <a:pt x="0" y="20"/>
                    <a:pt x="0" y="20"/>
                    <a:pt x="0" y="20"/>
                  </a:cubicBezTo>
                  <a:cubicBezTo>
                    <a:pt x="0" y="23"/>
                    <a:pt x="1" y="26"/>
                    <a:pt x="3" y="29"/>
                  </a:cubicBezTo>
                  <a:cubicBezTo>
                    <a:pt x="4" y="31"/>
                    <a:pt x="7" y="33"/>
                    <a:pt x="10" y="33"/>
                  </a:cubicBezTo>
                  <a:cubicBezTo>
                    <a:pt x="15" y="33"/>
                    <a:pt x="20" y="33"/>
                    <a:pt x="25" y="33"/>
                  </a:cubicBezTo>
                  <a:cubicBezTo>
                    <a:pt x="28" y="33"/>
                    <a:pt x="31" y="31"/>
                    <a:pt x="33" y="29"/>
                  </a:cubicBezTo>
                  <a:cubicBezTo>
                    <a:pt x="35" y="26"/>
                    <a:pt x="36" y="23"/>
                    <a:pt x="35" y="20"/>
                  </a:cubicBezTo>
                  <a:cubicBezTo>
                    <a:pt x="33" y="10"/>
                    <a:pt x="33" y="10"/>
                    <a:pt x="33" y="10"/>
                  </a:cubicBezTo>
                  <a:cubicBezTo>
                    <a:pt x="33" y="5"/>
                    <a:pt x="29" y="1"/>
                    <a:pt x="24" y="0"/>
                  </a:cubicBezTo>
                  <a:cubicBezTo>
                    <a:pt x="22" y="0"/>
                    <a:pt x="20" y="0"/>
                    <a:pt x="17" y="0"/>
                  </a:cubicBezTo>
                  <a:cubicBezTo>
                    <a:pt x="16" y="0"/>
                    <a:pt x="14" y="0"/>
                    <a:pt x="12" y="0"/>
                  </a:cubicBezTo>
                  <a:cubicBezTo>
                    <a:pt x="7" y="1"/>
                    <a:pt x="3"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7" name="Freeform 19"/>
            <p:cNvSpPr>
              <a:spLocks/>
            </p:cNvSpPr>
            <p:nvPr/>
          </p:nvSpPr>
          <p:spPr bwMode="auto">
            <a:xfrm>
              <a:off x="3359721" y="1787657"/>
              <a:ext cx="27404" cy="25882"/>
            </a:xfrm>
            <a:custGeom>
              <a:avLst/>
              <a:gdLst>
                <a:gd name="T0" fmla="*/ 35 w 35"/>
                <a:gd name="T1" fmla="*/ 21 h 33"/>
                <a:gd name="T2" fmla="*/ 33 w 35"/>
                <a:gd name="T3" fmla="*/ 10 h 33"/>
                <a:gd name="T4" fmla="*/ 24 w 35"/>
                <a:gd name="T5" fmla="*/ 0 h 33"/>
                <a:gd name="T6" fmla="*/ 17 w 35"/>
                <a:gd name="T7" fmla="*/ 0 h 33"/>
                <a:gd name="T8" fmla="*/ 11 w 35"/>
                <a:gd name="T9" fmla="*/ 0 h 33"/>
                <a:gd name="T10" fmla="*/ 5 w 35"/>
                <a:gd name="T11" fmla="*/ 3 h 33"/>
                <a:gd name="T12" fmla="*/ 6 w 35"/>
                <a:gd name="T13" fmla="*/ 8 h 33"/>
                <a:gd name="T14" fmla="*/ 2 w 35"/>
                <a:gd name="T15" fmla="*/ 22 h 33"/>
                <a:gd name="T16" fmla="*/ 0 w 35"/>
                <a:gd name="T17" fmla="*/ 24 h 33"/>
                <a:gd name="T18" fmla="*/ 2 w 35"/>
                <a:gd name="T19" fmla="*/ 29 h 33"/>
                <a:gd name="T20" fmla="*/ 10 w 35"/>
                <a:gd name="T21" fmla="*/ 33 h 33"/>
                <a:gd name="T22" fmla="*/ 25 w 35"/>
                <a:gd name="T23" fmla="*/ 33 h 33"/>
                <a:gd name="T24" fmla="*/ 25 w 35"/>
                <a:gd name="T25" fmla="*/ 33 h 33"/>
                <a:gd name="T26" fmla="*/ 32 w 35"/>
                <a:gd name="T27" fmla="*/ 29 h 33"/>
                <a:gd name="T28" fmla="*/ 35 w 35"/>
                <a:gd name="T2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5" y="21"/>
                  </a:moveTo>
                  <a:cubicBezTo>
                    <a:pt x="33" y="10"/>
                    <a:pt x="33" y="10"/>
                    <a:pt x="33" y="10"/>
                  </a:cubicBezTo>
                  <a:cubicBezTo>
                    <a:pt x="32" y="5"/>
                    <a:pt x="28" y="1"/>
                    <a:pt x="24" y="0"/>
                  </a:cubicBezTo>
                  <a:cubicBezTo>
                    <a:pt x="21" y="0"/>
                    <a:pt x="19" y="0"/>
                    <a:pt x="17" y="0"/>
                  </a:cubicBezTo>
                  <a:cubicBezTo>
                    <a:pt x="15" y="0"/>
                    <a:pt x="13" y="0"/>
                    <a:pt x="11" y="0"/>
                  </a:cubicBezTo>
                  <a:cubicBezTo>
                    <a:pt x="9" y="1"/>
                    <a:pt x="7" y="2"/>
                    <a:pt x="5" y="3"/>
                  </a:cubicBezTo>
                  <a:cubicBezTo>
                    <a:pt x="6" y="8"/>
                    <a:pt x="6" y="8"/>
                    <a:pt x="6" y="8"/>
                  </a:cubicBezTo>
                  <a:cubicBezTo>
                    <a:pt x="6" y="13"/>
                    <a:pt x="5" y="18"/>
                    <a:pt x="2" y="22"/>
                  </a:cubicBezTo>
                  <a:cubicBezTo>
                    <a:pt x="1" y="23"/>
                    <a:pt x="1" y="23"/>
                    <a:pt x="0" y="24"/>
                  </a:cubicBezTo>
                  <a:cubicBezTo>
                    <a:pt x="0" y="26"/>
                    <a:pt x="1" y="27"/>
                    <a:pt x="2" y="29"/>
                  </a:cubicBezTo>
                  <a:cubicBezTo>
                    <a:pt x="4" y="31"/>
                    <a:pt x="7" y="33"/>
                    <a:pt x="10" y="33"/>
                  </a:cubicBezTo>
                  <a:cubicBezTo>
                    <a:pt x="15" y="33"/>
                    <a:pt x="20" y="33"/>
                    <a:pt x="25" y="33"/>
                  </a:cubicBezTo>
                  <a:cubicBezTo>
                    <a:pt x="25" y="33"/>
                    <a:pt x="25" y="33"/>
                    <a:pt x="25" y="33"/>
                  </a:cubicBezTo>
                  <a:cubicBezTo>
                    <a:pt x="28" y="33"/>
                    <a:pt x="31" y="31"/>
                    <a:pt x="32" y="29"/>
                  </a:cubicBezTo>
                  <a:cubicBezTo>
                    <a:pt x="34" y="27"/>
                    <a:pt x="35" y="23"/>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8" name="Freeform 20"/>
            <p:cNvSpPr>
              <a:spLocks/>
            </p:cNvSpPr>
            <p:nvPr/>
          </p:nvSpPr>
          <p:spPr bwMode="auto">
            <a:xfrm>
              <a:off x="3304152" y="1787657"/>
              <a:ext cx="26643" cy="25882"/>
            </a:xfrm>
            <a:custGeom>
              <a:avLst/>
              <a:gdLst>
                <a:gd name="T0" fmla="*/ 33 w 35"/>
                <a:gd name="T1" fmla="*/ 22 h 33"/>
                <a:gd name="T2" fmla="*/ 30 w 35"/>
                <a:gd name="T3" fmla="*/ 8 h 33"/>
                <a:gd name="T4" fmla="*/ 30 w 35"/>
                <a:gd name="T5" fmla="*/ 3 h 33"/>
                <a:gd name="T6" fmla="*/ 24 w 35"/>
                <a:gd name="T7" fmla="*/ 0 h 33"/>
                <a:gd name="T8" fmla="*/ 18 w 35"/>
                <a:gd name="T9" fmla="*/ 0 h 33"/>
                <a:gd name="T10" fmla="*/ 12 w 35"/>
                <a:gd name="T11" fmla="*/ 0 h 33"/>
                <a:gd name="T12" fmla="*/ 2 w 35"/>
                <a:gd name="T13" fmla="*/ 10 h 33"/>
                <a:gd name="T14" fmla="*/ 1 w 35"/>
                <a:gd name="T15" fmla="*/ 21 h 33"/>
                <a:gd name="T16" fmla="*/ 3 w 35"/>
                <a:gd name="T17" fmla="*/ 29 h 33"/>
                <a:gd name="T18" fmla="*/ 10 w 35"/>
                <a:gd name="T19" fmla="*/ 33 h 33"/>
                <a:gd name="T20" fmla="*/ 26 w 35"/>
                <a:gd name="T21" fmla="*/ 33 h 33"/>
                <a:gd name="T22" fmla="*/ 26 w 35"/>
                <a:gd name="T23" fmla="*/ 33 h 33"/>
                <a:gd name="T24" fmla="*/ 33 w 35"/>
                <a:gd name="T25" fmla="*/ 29 h 33"/>
                <a:gd name="T26" fmla="*/ 35 w 35"/>
                <a:gd name="T27" fmla="*/ 24 h 33"/>
                <a:gd name="T28" fmla="*/ 33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3" y="22"/>
                  </a:moveTo>
                  <a:cubicBezTo>
                    <a:pt x="30" y="18"/>
                    <a:pt x="29" y="13"/>
                    <a:pt x="30" y="8"/>
                  </a:cubicBezTo>
                  <a:cubicBezTo>
                    <a:pt x="30" y="3"/>
                    <a:pt x="30" y="3"/>
                    <a:pt x="30" y="3"/>
                  </a:cubicBezTo>
                  <a:cubicBezTo>
                    <a:pt x="29" y="2"/>
                    <a:pt x="27" y="1"/>
                    <a:pt x="24" y="0"/>
                  </a:cubicBezTo>
                  <a:cubicBezTo>
                    <a:pt x="22" y="0"/>
                    <a:pt x="20" y="0"/>
                    <a:pt x="18" y="0"/>
                  </a:cubicBezTo>
                  <a:cubicBezTo>
                    <a:pt x="16" y="0"/>
                    <a:pt x="14" y="0"/>
                    <a:pt x="12" y="0"/>
                  </a:cubicBezTo>
                  <a:cubicBezTo>
                    <a:pt x="7" y="1"/>
                    <a:pt x="3" y="5"/>
                    <a:pt x="2" y="10"/>
                  </a:cubicBezTo>
                  <a:cubicBezTo>
                    <a:pt x="1" y="21"/>
                    <a:pt x="1" y="21"/>
                    <a:pt x="1" y="21"/>
                  </a:cubicBezTo>
                  <a:cubicBezTo>
                    <a:pt x="0" y="24"/>
                    <a:pt x="1" y="27"/>
                    <a:pt x="3" y="29"/>
                  </a:cubicBezTo>
                  <a:cubicBezTo>
                    <a:pt x="5" y="31"/>
                    <a:pt x="7" y="33"/>
                    <a:pt x="10" y="33"/>
                  </a:cubicBezTo>
                  <a:cubicBezTo>
                    <a:pt x="15" y="33"/>
                    <a:pt x="21" y="33"/>
                    <a:pt x="26" y="33"/>
                  </a:cubicBezTo>
                  <a:cubicBezTo>
                    <a:pt x="26" y="33"/>
                    <a:pt x="26" y="33"/>
                    <a:pt x="26" y="33"/>
                  </a:cubicBezTo>
                  <a:cubicBezTo>
                    <a:pt x="29" y="33"/>
                    <a:pt x="31" y="31"/>
                    <a:pt x="33" y="29"/>
                  </a:cubicBezTo>
                  <a:cubicBezTo>
                    <a:pt x="34" y="27"/>
                    <a:pt x="35" y="26"/>
                    <a:pt x="35" y="24"/>
                  </a:cubicBezTo>
                  <a:cubicBezTo>
                    <a:pt x="35" y="23"/>
                    <a:pt x="34" y="23"/>
                    <a:pt x="3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9" name="Freeform 21"/>
            <p:cNvSpPr>
              <a:spLocks/>
            </p:cNvSpPr>
            <p:nvPr/>
          </p:nvSpPr>
          <p:spPr bwMode="auto">
            <a:xfrm>
              <a:off x="3330033" y="1812777"/>
              <a:ext cx="30449" cy="27404"/>
            </a:xfrm>
            <a:custGeom>
              <a:avLst/>
              <a:gdLst>
                <a:gd name="T0" fmla="*/ 3 w 39"/>
                <a:gd name="T1" fmla="*/ 10 h 36"/>
                <a:gd name="T2" fmla="*/ 1 w 39"/>
                <a:gd name="T3" fmla="*/ 22 h 36"/>
                <a:gd name="T4" fmla="*/ 3 w 39"/>
                <a:gd name="T5" fmla="*/ 31 h 36"/>
                <a:gd name="T6" fmla="*/ 11 w 39"/>
                <a:gd name="T7" fmla="*/ 35 h 36"/>
                <a:gd name="T8" fmla="*/ 28 w 39"/>
                <a:gd name="T9" fmla="*/ 35 h 36"/>
                <a:gd name="T10" fmla="*/ 36 w 39"/>
                <a:gd name="T11" fmla="*/ 31 h 36"/>
                <a:gd name="T12" fmla="*/ 39 w 39"/>
                <a:gd name="T13" fmla="*/ 22 h 36"/>
                <a:gd name="T14" fmla="*/ 37 w 39"/>
                <a:gd name="T15" fmla="*/ 10 h 36"/>
                <a:gd name="T16" fmla="*/ 27 w 39"/>
                <a:gd name="T17" fmla="*/ 0 h 36"/>
                <a:gd name="T18" fmla="*/ 19 w 39"/>
                <a:gd name="T19" fmla="*/ 0 h 36"/>
                <a:gd name="T20" fmla="*/ 13 w 39"/>
                <a:gd name="T21" fmla="*/ 0 h 36"/>
                <a:gd name="T22" fmla="*/ 3 w 39"/>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3" y="10"/>
                  </a:moveTo>
                  <a:cubicBezTo>
                    <a:pt x="1" y="22"/>
                    <a:pt x="1" y="22"/>
                    <a:pt x="1" y="22"/>
                  </a:cubicBezTo>
                  <a:cubicBezTo>
                    <a:pt x="0" y="25"/>
                    <a:pt x="1" y="29"/>
                    <a:pt x="3" y="31"/>
                  </a:cubicBezTo>
                  <a:cubicBezTo>
                    <a:pt x="5" y="34"/>
                    <a:pt x="8" y="35"/>
                    <a:pt x="11" y="35"/>
                  </a:cubicBezTo>
                  <a:cubicBezTo>
                    <a:pt x="17" y="36"/>
                    <a:pt x="23" y="36"/>
                    <a:pt x="28" y="35"/>
                  </a:cubicBezTo>
                  <a:cubicBezTo>
                    <a:pt x="31" y="35"/>
                    <a:pt x="34" y="34"/>
                    <a:pt x="36" y="31"/>
                  </a:cubicBezTo>
                  <a:cubicBezTo>
                    <a:pt x="38" y="29"/>
                    <a:pt x="39" y="25"/>
                    <a:pt x="39" y="22"/>
                  </a:cubicBezTo>
                  <a:cubicBezTo>
                    <a:pt x="37" y="10"/>
                    <a:pt x="37" y="10"/>
                    <a:pt x="37" y="10"/>
                  </a:cubicBezTo>
                  <a:cubicBezTo>
                    <a:pt x="36" y="5"/>
                    <a:pt x="32" y="1"/>
                    <a:pt x="27" y="0"/>
                  </a:cubicBezTo>
                  <a:cubicBezTo>
                    <a:pt x="24" y="0"/>
                    <a:pt x="22" y="0"/>
                    <a:pt x="19" y="0"/>
                  </a:cubicBezTo>
                  <a:cubicBezTo>
                    <a:pt x="17" y="0"/>
                    <a:pt x="15" y="0"/>
                    <a:pt x="13" y="0"/>
                  </a:cubicBezTo>
                  <a:cubicBezTo>
                    <a:pt x="8" y="1"/>
                    <a:pt x="3" y="5"/>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0" name="Freeform 22"/>
            <p:cNvSpPr>
              <a:spLocks/>
            </p:cNvSpPr>
            <p:nvPr/>
          </p:nvSpPr>
          <p:spPr bwMode="auto">
            <a:xfrm>
              <a:off x="3362004" y="1818867"/>
              <a:ext cx="28926" cy="27404"/>
            </a:xfrm>
            <a:custGeom>
              <a:avLst/>
              <a:gdLst>
                <a:gd name="T0" fmla="*/ 36 w 37"/>
                <a:gd name="T1" fmla="*/ 22 h 36"/>
                <a:gd name="T2" fmla="*/ 35 w 37"/>
                <a:gd name="T3" fmla="*/ 10 h 36"/>
                <a:gd name="T4" fmla="*/ 24 w 37"/>
                <a:gd name="T5" fmla="*/ 0 h 36"/>
                <a:gd name="T6" fmla="*/ 17 w 37"/>
                <a:gd name="T7" fmla="*/ 0 h 36"/>
                <a:gd name="T8" fmla="*/ 11 w 37"/>
                <a:gd name="T9" fmla="*/ 0 h 36"/>
                <a:gd name="T10" fmla="*/ 3 w 37"/>
                <a:gd name="T11" fmla="*/ 4 h 36"/>
                <a:gd name="T12" fmla="*/ 5 w 37"/>
                <a:gd name="T13" fmla="*/ 13 h 36"/>
                <a:gd name="T14" fmla="*/ 1 w 37"/>
                <a:gd name="T15" fmla="*/ 28 h 36"/>
                <a:gd name="T16" fmla="*/ 0 w 37"/>
                <a:gd name="T17" fmla="*/ 29 h 36"/>
                <a:gd name="T18" fmla="*/ 1 w 37"/>
                <a:gd name="T19" fmla="*/ 31 h 36"/>
                <a:gd name="T20" fmla="*/ 9 w 37"/>
                <a:gd name="T21" fmla="*/ 35 h 36"/>
                <a:gd name="T22" fmla="*/ 26 w 37"/>
                <a:gd name="T23" fmla="*/ 35 h 36"/>
                <a:gd name="T24" fmla="*/ 34 w 37"/>
                <a:gd name="T25" fmla="*/ 31 h 36"/>
                <a:gd name="T26" fmla="*/ 36 w 37"/>
                <a:gd name="T2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6">
                  <a:moveTo>
                    <a:pt x="36" y="22"/>
                  </a:moveTo>
                  <a:cubicBezTo>
                    <a:pt x="35" y="10"/>
                    <a:pt x="35" y="10"/>
                    <a:pt x="35" y="10"/>
                  </a:cubicBezTo>
                  <a:cubicBezTo>
                    <a:pt x="34" y="5"/>
                    <a:pt x="30" y="0"/>
                    <a:pt x="24" y="0"/>
                  </a:cubicBezTo>
                  <a:cubicBezTo>
                    <a:pt x="22" y="0"/>
                    <a:pt x="20" y="0"/>
                    <a:pt x="17" y="0"/>
                  </a:cubicBezTo>
                  <a:cubicBezTo>
                    <a:pt x="15" y="0"/>
                    <a:pt x="13" y="0"/>
                    <a:pt x="11" y="0"/>
                  </a:cubicBezTo>
                  <a:cubicBezTo>
                    <a:pt x="8" y="0"/>
                    <a:pt x="5" y="2"/>
                    <a:pt x="3" y="4"/>
                  </a:cubicBezTo>
                  <a:cubicBezTo>
                    <a:pt x="5" y="13"/>
                    <a:pt x="5" y="13"/>
                    <a:pt x="5" y="13"/>
                  </a:cubicBezTo>
                  <a:cubicBezTo>
                    <a:pt x="6" y="18"/>
                    <a:pt x="4" y="24"/>
                    <a:pt x="1" y="28"/>
                  </a:cubicBezTo>
                  <a:cubicBezTo>
                    <a:pt x="0" y="28"/>
                    <a:pt x="0" y="28"/>
                    <a:pt x="0" y="29"/>
                  </a:cubicBezTo>
                  <a:cubicBezTo>
                    <a:pt x="0" y="30"/>
                    <a:pt x="0" y="30"/>
                    <a:pt x="1" y="31"/>
                  </a:cubicBezTo>
                  <a:cubicBezTo>
                    <a:pt x="3" y="33"/>
                    <a:pt x="6" y="35"/>
                    <a:pt x="9" y="35"/>
                  </a:cubicBezTo>
                  <a:cubicBezTo>
                    <a:pt x="15" y="36"/>
                    <a:pt x="20" y="36"/>
                    <a:pt x="26" y="35"/>
                  </a:cubicBezTo>
                  <a:cubicBezTo>
                    <a:pt x="29" y="35"/>
                    <a:pt x="32" y="33"/>
                    <a:pt x="34" y="31"/>
                  </a:cubicBezTo>
                  <a:cubicBezTo>
                    <a:pt x="36" y="28"/>
                    <a:pt x="37" y="25"/>
                    <a:pt x="3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1" name="Freeform 23"/>
            <p:cNvSpPr>
              <a:spLocks/>
            </p:cNvSpPr>
            <p:nvPr/>
          </p:nvSpPr>
          <p:spPr bwMode="auto">
            <a:xfrm>
              <a:off x="3281315" y="1812777"/>
              <a:ext cx="74600" cy="149961"/>
            </a:xfrm>
            <a:custGeom>
              <a:avLst/>
              <a:gdLst>
                <a:gd name="T0" fmla="*/ 23 w 96"/>
                <a:gd name="T1" fmla="*/ 136 h 195"/>
                <a:gd name="T2" fmla="*/ 83 w 96"/>
                <a:gd name="T3" fmla="*/ 195 h 195"/>
                <a:gd name="T4" fmla="*/ 96 w 96"/>
                <a:gd name="T5" fmla="*/ 194 h 195"/>
                <a:gd name="T6" fmla="*/ 0 w 96"/>
                <a:gd name="T7" fmla="*/ 0 h 195"/>
                <a:gd name="T8" fmla="*/ 23 w 96"/>
                <a:gd name="T9" fmla="*/ 76 h 195"/>
                <a:gd name="T10" fmla="*/ 23 w 96"/>
                <a:gd name="T11" fmla="*/ 112 h 195"/>
                <a:gd name="T12" fmla="*/ 23 w 96"/>
                <a:gd name="T13" fmla="*/ 136 h 195"/>
              </a:gdLst>
              <a:ahLst/>
              <a:cxnLst>
                <a:cxn ang="0">
                  <a:pos x="T0" y="T1"/>
                </a:cxn>
                <a:cxn ang="0">
                  <a:pos x="T2" y="T3"/>
                </a:cxn>
                <a:cxn ang="0">
                  <a:pos x="T4" y="T5"/>
                </a:cxn>
                <a:cxn ang="0">
                  <a:pos x="T6" y="T7"/>
                </a:cxn>
                <a:cxn ang="0">
                  <a:pos x="T8" y="T9"/>
                </a:cxn>
                <a:cxn ang="0">
                  <a:pos x="T10" y="T11"/>
                </a:cxn>
                <a:cxn ang="0">
                  <a:pos x="T12" y="T13"/>
                </a:cxn>
              </a:cxnLst>
              <a:rect l="0" t="0" r="r" b="b"/>
              <a:pathLst>
                <a:path w="96" h="195">
                  <a:moveTo>
                    <a:pt x="23" y="136"/>
                  </a:moveTo>
                  <a:cubicBezTo>
                    <a:pt x="23" y="169"/>
                    <a:pt x="50" y="195"/>
                    <a:pt x="83" y="195"/>
                  </a:cubicBezTo>
                  <a:cubicBezTo>
                    <a:pt x="87" y="195"/>
                    <a:pt x="92" y="195"/>
                    <a:pt x="96" y="194"/>
                  </a:cubicBezTo>
                  <a:cubicBezTo>
                    <a:pt x="91" y="125"/>
                    <a:pt x="57" y="40"/>
                    <a:pt x="0" y="0"/>
                  </a:cubicBezTo>
                  <a:cubicBezTo>
                    <a:pt x="13" y="26"/>
                    <a:pt x="21" y="52"/>
                    <a:pt x="23" y="76"/>
                  </a:cubicBezTo>
                  <a:cubicBezTo>
                    <a:pt x="24" y="89"/>
                    <a:pt x="24" y="101"/>
                    <a:pt x="23" y="112"/>
                  </a:cubicBezTo>
                  <a:cubicBezTo>
                    <a:pt x="23" y="120"/>
                    <a:pt x="23" y="128"/>
                    <a:pt x="2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2" name="Freeform 24"/>
            <p:cNvSpPr>
              <a:spLocks/>
            </p:cNvSpPr>
            <p:nvPr/>
          </p:nvSpPr>
          <p:spPr bwMode="auto">
            <a:xfrm>
              <a:off x="3303390" y="1818867"/>
              <a:ext cx="25882" cy="26643"/>
            </a:xfrm>
            <a:custGeom>
              <a:avLst/>
              <a:gdLst>
                <a:gd name="T0" fmla="*/ 24 w 34"/>
                <a:gd name="T1" fmla="*/ 35 h 35"/>
                <a:gd name="T2" fmla="*/ 24 w 34"/>
                <a:gd name="T3" fmla="*/ 35 h 35"/>
                <a:gd name="T4" fmla="*/ 32 w 34"/>
                <a:gd name="T5" fmla="*/ 31 h 35"/>
                <a:gd name="T6" fmla="*/ 34 w 34"/>
                <a:gd name="T7" fmla="*/ 29 h 35"/>
                <a:gd name="T8" fmla="*/ 33 w 34"/>
                <a:gd name="T9" fmla="*/ 28 h 35"/>
                <a:gd name="T10" fmla="*/ 29 w 34"/>
                <a:gd name="T11" fmla="*/ 13 h 35"/>
                <a:gd name="T12" fmla="*/ 30 w 34"/>
                <a:gd name="T13" fmla="*/ 4 h 35"/>
                <a:gd name="T14" fmla="*/ 23 w 34"/>
                <a:gd name="T15" fmla="*/ 0 h 35"/>
                <a:gd name="T16" fmla="*/ 16 w 34"/>
                <a:gd name="T17" fmla="*/ 0 h 35"/>
                <a:gd name="T18" fmla="*/ 10 w 34"/>
                <a:gd name="T19" fmla="*/ 0 h 35"/>
                <a:gd name="T20" fmla="*/ 0 w 34"/>
                <a:gd name="T21" fmla="*/ 6 h 35"/>
                <a:gd name="T22" fmla="*/ 24 w 34"/>
                <a:gd name="T2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5">
                  <a:moveTo>
                    <a:pt x="24" y="35"/>
                  </a:moveTo>
                  <a:cubicBezTo>
                    <a:pt x="24" y="35"/>
                    <a:pt x="24" y="35"/>
                    <a:pt x="24" y="35"/>
                  </a:cubicBezTo>
                  <a:cubicBezTo>
                    <a:pt x="28" y="35"/>
                    <a:pt x="30" y="33"/>
                    <a:pt x="32" y="31"/>
                  </a:cubicBezTo>
                  <a:cubicBezTo>
                    <a:pt x="33" y="30"/>
                    <a:pt x="33" y="30"/>
                    <a:pt x="34" y="29"/>
                  </a:cubicBezTo>
                  <a:cubicBezTo>
                    <a:pt x="33" y="28"/>
                    <a:pt x="33" y="28"/>
                    <a:pt x="33" y="28"/>
                  </a:cubicBezTo>
                  <a:cubicBezTo>
                    <a:pt x="29" y="24"/>
                    <a:pt x="28" y="18"/>
                    <a:pt x="29" y="13"/>
                  </a:cubicBezTo>
                  <a:cubicBezTo>
                    <a:pt x="30" y="4"/>
                    <a:pt x="30" y="4"/>
                    <a:pt x="30" y="4"/>
                  </a:cubicBezTo>
                  <a:cubicBezTo>
                    <a:pt x="28" y="2"/>
                    <a:pt x="26" y="0"/>
                    <a:pt x="23" y="0"/>
                  </a:cubicBezTo>
                  <a:cubicBezTo>
                    <a:pt x="20" y="0"/>
                    <a:pt x="18" y="0"/>
                    <a:pt x="16" y="0"/>
                  </a:cubicBezTo>
                  <a:cubicBezTo>
                    <a:pt x="14" y="0"/>
                    <a:pt x="12" y="0"/>
                    <a:pt x="10" y="0"/>
                  </a:cubicBezTo>
                  <a:cubicBezTo>
                    <a:pt x="5" y="0"/>
                    <a:pt x="2" y="3"/>
                    <a:pt x="0" y="6"/>
                  </a:cubicBezTo>
                  <a:cubicBezTo>
                    <a:pt x="9" y="15"/>
                    <a:pt x="16" y="25"/>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3" name="Freeform 25"/>
            <p:cNvSpPr>
              <a:spLocks/>
            </p:cNvSpPr>
            <p:nvPr/>
          </p:nvSpPr>
          <p:spPr bwMode="auto">
            <a:xfrm>
              <a:off x="3330794" y="1847032"/>
              <a:ext cx="29688" cy="27404"/>
            </a:xfrm>
            <a:custGeom>
              <a:avLst/>
              <a:gdLst>
                <a:gd name="T0" fmla="*/ 2 w 38"/>
                <a:gd name="T1" fmla="*/ 11 h 36"/>
                <a:gd name="T2" fmla="*/ 0 w 38"/>
                <a:gd name="T3" fmla="*/ 19 h 36"/>
                <a:gd name="T4" fmla="*/ 9 w 38"/>
                <a:gd name="T5" fmla="*/ 36 h 36"/>
                <a:gd name="T6" fmla="*/ 10 w 38"/>
                <a:gd name="T7" fmla="*/ 36 h 36"/>
                <a:gd name="T8" fmla="*/ 27 w 38"/>
                <a:gd name="T9" fmla="*/ 36 h 36"/>
                <a:gd name="T10" fmla="*/ 35 w 38"/>
                <a:gd name="T11" fmla="*/ 32 h 36"/>
                <a:gd name="T12" fmla="*/ 38 w 38"/>
                <a:gd name="T13" fmla="*/ 22 h 36"/>
                <a:gd name="T14" fmla="*/ 36 w 38"/>
                <a:gd name="T15" fmla="*/ 11 h 36"/>
                <a:gd name="T16" fmla="*/ 26 w 38"/>
                <a:gd name="T17" fmla="*/ 1 h 36"/>
                <a:gd name="T18" fmla="*/ 18 w 38"/>
                <a:gd name="T19" fmla="*/ 0 h 36"/>
                <a:gd name="T20" fmla="*/ 12 w 38"/>
                <a:gd name="T21" fmla="*/ 1 h 36"/>
                <a:gd name="T22" fmla="*/ 2 w 38"/>
                <a:gd name="T2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2" y="11"/>
                  </a:moveTo>
                  <a:cubicBezTo>
                    <a:pt x="0" y="19"/>
                    <a:pt x="0" y="19"/>
                    <a:pt x="0" y="19"/>
                  </a:cubicBezTo>
                  <a:cubicBezTo>
                    <a:pt x="4" y="24"/>
                    <a:pt x="6" y="30"/>
                    <a:pt x="9" y="36"/>
                  </a:cubicBezTo>
                  <a:cubicBezTo>
                    <a:pt x="10" y="36"/>
                    <a:pt x="10" y="36"/>
                    <a:pt x="10" y="36"/>
                  </a:cubicBezTo>
                  <a:cubicBezTo>
                    <a:pt x="16" y="36"/>
                    <a:pt x="22" y="36"/>
                    <a:pt x="27" y="36"/>
                  </a:cubicBezTo>
                  <a:cubicBezTo>
                    <a:pt x="30" y="36"/>
                    <a:pt x="33" y="34"/>
                    <a:pt x="35" y="32"/>
                  </a:cubicBezTo>
                  <a:cubicBezTo>
                    <a:pt x="37" y="29"/>
                    <a:pt x="38" y="26"/>
                    <a:pt x="38" y="22"/>
                  </a:cubicBezTo>
                  <a:cubicBezTo>
                    <a:pt x="36" y="11"/>
                    <a:pt x="36" y="11"/>
                    <a:pt x="36" y="11"/>
                  </a:cubicBezTo>
                  <a:cubicBezTo>
                    <a:pt x="35" y="5"/>
                    <a:pt x="31" y="1"/>
                    <a:pt x="26" y="1"/>
                  </a:cubicBezTo>
                  <a:cubicBezTo>
                    <a:pt x="23" y="0"/>
                    <a:pt x="21" y="0"/>
                    <a:pt x="18" y="0"/>
                  </a:cubicBezTo>
                  <a:cubicBezTo>
                    <a:pt x="16" y="0"/>
                    <a:pt x="14" y="0"/>
                    <a:pt x="12" y="1"/>
                  </a:cubicBezTo>
                  <a:cubicBezTo>
                    <a:pt x="7" y="1"/>
                    <a:pt x="2" y="5"/>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4" name="Freeform 26"/>
            <p:cNvSpPr>
              <a:spLocks/>
            </p:cNvSpPr>
            <p:nvPr/>
          </p:nvSpPr>
          <p:spPr bwMode="auto">
            <a:xfrm>
              <a:off x="3349063" y="1859212"/>
              <a:ext cx="50241" cy="101243"/>
            </a:xfrm>
            <a:custGeom>
              <a:avLst/>
              <a:gdLst>
                <a:gd name="T0" fmla="*/ 55 w 65"/>
                <a:gd name="T1" fmla="*/ 75 h 131"/>
                <a:gd name="T2" fmla="*/ 65 w 65"/>
                <a:gd name="T3" fmla="*/ 0 h 131"/>
                <a:gd name="T4" fmla="*/ 0 w 65"/>
                <a:gd name="T5" fmla="*/ 53 h 131"/>
                <a:gd name="T6" fmla="*/ 17 w 65"/>
                <a:gd name="T7" fmla="*/ 131 h 131"/>
                <a:gd name="T8" fmla="*/ 55 w 65"/>
                <a:gd name="T9" fmla="*/ 75 h 131"/>
              </a:gdLst>
              <a:ahLst/>
              <a:cxnLst>
                <a:cxn ang="0">
                  <a:pos x="T0" y="T1"/>
                </a:cxn>
                <a:cxn ang="0">
                  <a:pos x="T2" y="T3"/>
                </a:cxn>
                <a:cxn ang="0">
                  <a:pos x="T4" y="T5"/>
                </a:cxn>
                <a:cxn ang="0">
                  <a:pos x="T6" y="T7"/>
                </a:cxn>
                <a:cxn ang="0">
                  <a:pos x="T8" y="T9"/>
                </a:cxn>
              </a:cxnLst>
              <a:rect l="0" t="0" r="r" b="b"/>
              <a:pathLst>
                <a:path w="65" h="131">
                  <a:moveTo>
                    <a:pt x="55" y="75"/>
                  </a:moveTo>
                  <a:cubicBezTo>
                    <a:pt x="55" y="49"/>
                    <a:pt x="59" y="19"/>
                    <a:pt x="65" y="0"/>
                  </a:cubicBezTo>
                  <a:cubicBezTo>
                    <a:pt x="33" y="19"/>
                    <a:pt x="12" y="34"/>
                    <a:pt x="0" y="53"/>
                  </a:cubicBezTo>
                  <a:cubicBezTo>
                    <a:pt x="9" y="79"/>
                    <a:pt x="15" y="106"/>
                    <a:pt x="17" y="131"/>
                  </a:cubicBezTo>
                  <a:cubicBezTo>
                    <a:pt x="39" y="122"/>
                    <a:pt x="55" y="100"/>
                    <a:pt x="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5" name="Freeform 27"/>
            <p:cNvSpPr>
              <a:spLocks/>
            </p:cNvSpPr>
            <p:nvPr/>
          </p:nvSpPr>
          <p:spPr bwMode="auto">
            <a:xfrm>
              <a:off x="3360482" y="1851599"/>
              <a:ext cx="28165" cy="24359"/>
            </a:xfrm>
            <a:custGeom>
              <a:avLst/>
              <a:gdLst>
                <a:gd name="T0" fmla="*/ 3 w 36"/>
                <a:gd name="T1" fmla="*/ 32 h 32"/>
                <a:gd name="T2" fmla="*/ 36 w 36"/>
                <a:gd name="T3" fmla="*/ 9 h 32"/>
                <a:gd name="T4" fmla="*/ 26 w 36"/>
                <a:gd name="T5" fmla="*/ 0 h 32"/>
                <a:gd name="T6" fmla="*/ 19 w 36"/>
                <a:gd name="T7" fmla="*/ 0 h 32"/>
                <a:gd name="T8" fmla="*/ 13 w 36"/>
                <a:gd name="T9" fmla="*/ 0 h 32"/>
                <a:gd name="T10" fmla="*/ 2 w 36"/>
                <a:gd name="T11" fmla="*/ 10 h 32"/>
                <a:gd name="T12" fmla="*/ 1 w 36"/>
                <a:gd name="T13" fmla="*/ 22 h 32"/>
                <a:gd name="T14" fmla="*/ 3 w 36"/>
                <a:gd name="T15" fmla="*/ 31 h 32"/>
                <a:gd name="T16" fmla="*/ 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 y="32"/>
                  </a:moveTo>
                  <a:cubicBezTo>
                    <a:pt x="13" y="24"/>
                    <a:pt x="23" y="17"/>
                    <a:pt x="36" y="9"/>
                  </a:cubicBezTo>
                  <a:cubicBezTo>
                    <a:pt x="35" y="4"/>
                    <a:pt x="31" y="1"/>
                    <a:pt x="26" y="0"/>
                  </a:cubicBezTo>
                  <a:cubicBezTo>
                    <a:pt x="24" y="0"/>
                    <a:pt x="22" y="0"/>
                    <a:pt x="19" y="0"/>
                  </a:cubicBezTo>
                  <a:cubicBezTo>
                    <a:pt x="17" y="0"/>
                    <a:pt x="15" y="0"/>
                    <a:pt x="13" y="0"/>
                  </a:cubicBezTo>
                  <a:cubicBezTo>
                    <a:pt x="7" y="1"/>
                    <a:pt x="3" y="5"/>
                    <a:pt x="2" y="10"/>
                  </a:cubicBezTo>
                  <a:cubicBezTo>
                    <a:pt x="1" y="22"/>
                    <a:pt x="1" y="22"/>
                    <a:pt x="1" y="22"/>
                  </a:cubicBezTo>
                  <a:cubicBezTo>
                    <a:pt x="0" y="25"/>
                    <a:pt x="1" y="29"/>
                    <a:pt x="3" y="31"/>
                  </a:cubicBezTo>
                  <a:cubicBezTo>
                    <a:pt x="3" y="31"/>
                    <a:pt x="3" y="31"/>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6" name="Freeform 28"/>
            <p:cNvSpPr>
              <a:spLocks/>
            </p:cNvSpPr>
            <p:nvPr/>
          </p:nvSpPr>
          <p:spPr bwMode="auto">
            <a:xfrm>
              <a:off x="3342974" y="1883571"/>
              <a:ext cx="10657" cy="9896"/>
            </a:xfrm>
            <a:custGeom>
              <a:avLst/>
              <a:gdLst>
                <a:gd name="T0" fmla="*/ 14 w 14"/>
                <a:gd name="T1" fmla="*/ 2 h 13"/>
                <a:gd name="T2" fmla="*/ 10 w 14"/>
                <a:gd name="T3" fmla="*/ 0 h 13"/>
                <a:gd name="T4" fmla="*/ 3 w 14"/>
                <a:gd name="T5" fmla="*/ 0 h 13"/>
                <a:gd name="T6" fmla="*/ 0 w 14"/>
                <a:gd name="T7" fmla="*/ 0 h 13"/>
                <a:gd name="T8" fmla="*/ 5 w 14"/>
                <a:gd name="T9" fmla="*/ 13 h 13"/>
                <a:gd name="T10" fmla="*/ 14 w 14"/>
                <a:gd name="T11" fmla="*/ 2 h 13"/>
              </a:gdLst>
              <a:ahLst/>
              <a:cxnLst>
                <a:cxn ang="0">
                  <a:pos x="T0" y="T1"/>
                </a:cxn>
                <a:cxn ang="0">
                  <a:pos x="T2" y="T3"/>
                </a:cxn>
                <a:cxn ang="0">
                  <a:pos x="T4" y="T5"/>
                </a:cxn>
                <a:cxn ang="0">
                  <a:pos x="T6" y="T7"/>
                </a:cxn>
                <a:cxn ang="0">
                  <a:pos x="T8" y="T9"/>
                </a:cxn>
                <a:cxn ang="0">
                  <a:pos x="T10" y="T11"/>
                </a:cxn>
              </a:cxnLst>
              <a:rect l="0" t="0" r="r" b="b"/>
              <a:pathLst>
                <a:path w="14" h="13">
                  <a:moveTo>
                    <a:pt x="14" y="2"/>
                  </a:moveTo>
                  <a:cubicBezTo>
                    <a:pt x="13" y="1"/>
                    <a:pt x="12" y="1"/>
                    <a:pt x="10" y="0"/>
                  </a:cubicBezTo>
                  <a:cubicBezTo>
                    <a:pt x="8" y="0"/>
                    <a:pt x="6" y="0"/>
                    <a:pt x="3" y="0"/>
                  </a:cubicBezTo>
                  <a:cubicBezTo>
                    <a:pt x="2" y="0"/>
                    <a:pt x="1" y="0"/>
                    <a:pt x="0" y="0"/>
                  </a:cubicBezTo>
                  <a:cubicBezTo>
                    <a:pt x="1" y="5"/>
                    <a:pt x="3" y="9"/>
                    <a:pt x="5" y="13"/>
                  </a:cubicBezTo>
                  <a:cubicBezTo>
                    <a:pt x="8" y="9"/>
                    <a:pt x="11" y="5"/>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7" name="Freeform 29"/>
            <p:cNvSpPr>
              <a:spLocks/>
            </p:cNvSpPr>
            <p:nvPr/>
          </p:nvSpPr>
          <p:spPr bwMode="auto">
            <a:xfrm>
              <a:off x="3333839" y="1721430"/>
              <a:ext cx="22837" cy="21314"/>
            </a:xfrm>
            <a:custGeom>
              <a:avLst/>
              <a:gdLst>
                <a:gd name="T0" fmla="*/ 27 w 29"/>
                <a:gd name="T1" fmla="*/ 24 h 27"/>
                <a:gd name="T2" fmla="*/ 29 w 29"/>
                <a:gd name="T3" fmla="*/ 17 h 27"/>
                <a:gd name="T4" fmla="*/ 28 w 29"/>
                <a:gd name="T5" fmla="*/ 8 h 27"/>
                <a:gd name="T6" fmla="*/ 20 w 29"/>
                <a:gd name="T7" fmla="*/ 0 h 27"/>
                <a:gd name="T8" fmla="*/ 15 w 29"/>
                <a:gd name="T9" fmla="*/ 0 h 27"/>
                <a:gd name="T10" fmla="*/ 10 w 29"/>
                <a:gd name="T11" fmla="*/ 0 h 27"/>
                <a:gd name="T12" fmla="*/ 2 w 29"/>
                <a:gd name="T13" fmla="*/ 8 h 27"/>
                <a:gd name="T14" fmla="*/ 0 w 29"/>
                <a:gd name="T15" fmla="*/ 17 h 27"/>
                <a:gd name="T16" fmla="*/ 2 w 29"/>
                <a:gd name="T17" fmla="*/ 24 h 27"/>
                <a:gd name="T18" fmla="*/ 8 w 29"/>
                <a:gd name="T19" fmla="*/ 27 h 27"/>
                <a:gd name="T20" fmla="*/ 21 w 29"/>
                <a:gd name="T21" fmla="*/ 27 h 27"/>
                <a:gd name="T22" fmla="*/ 27 w 29"/>
                <a:gd name="T23"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7" y="24"/>
                  </a:moveTo>
                  <a:cubicBezTo>
                    <a:pt x="29" y="22"/>
                    <a:pt x="29" y="19"/>
                    <a:pt x="29" y="17"/>
                  </a:cubicBezTo>
                  <a:cubicBezTo>
                    <a:pt x="28" y="8"/>
                    <a:pt x="28" y="8"/>
                    <a:pt x="28" y="8"/>
                  </a:cubicBezTo>
                  <a:cubicBezTo>
                    <a:pt x="27" y="4"/>
                    <a:pt x="24" y="1"/>
                    <a:pt x="20" y="0"/>
                  </a:cubicBezTo>
                  <a:cubicBezTo>
                    <a:pt x="18" y="0"/>
                    <a:pt x="16" y="0"/>
                    <a:pt x="15" y="0"/>
                  </a:cubicBezTo>
                  <a:cubicBezTo>
                    <a:pt x="13" y="0"/>
                    <a:pt x="11" y="0"/>
                    <a:pt x="10" y="0"/>
                  </a:cubicBezTo>
                  <a:cubicBezTo>
                    <a:pt x="6" y="0"/>
                    <a:pt x="2" y="4"/>
                    <a:pt x="2" y="8"/>
                  </a:cubicBezTo>
                  <a:cubicBezTo>
                    <a:pt x="0" y="17"/>
                    <a:pt x="0" y="17"/>
                    <a:pt x="0" y="17"/>
                  </a:cubicBezTo>
                  <a:cubicBezTo>
                    <a:pt x="0" y="19"/>
                    <a:pt x="1" y="22"/>
                    <a:pt x="2" y="24"/>
                  </a:cubicBezTo>
                  <a:cubicBezTo>
                    <a:pt x="4" y="26"/>
                    <a:pt x="6" y="27"/>
                    <a:pt x="8" y="27"/>
                  </a:cubicBezTo>
                  <a:cubicBezTo>
                    <a:pt x="13" y="27"/>
                    <a:pt x="17" y="27"/>
                    <a:pt x="21" y="27"/>
                  </a:cubicBezTo>
                  <a:cubicBezTo>
                    <a:pt x="24" y="27"/>
                    <a:pt x="26" y="26"/>
                    <a:pt x="2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88" name="Group 387"/>
          <p:cNvGrpSpPr/>
          <p:nvPr/>
        </p:nvGrpSpPr>
        <p:grpSpPr>
          <a:xfrm>
            <a:off x="6894627" y="3446783"/>
            <a:ext cx="130241" cy="305859"/>
            <a:chOff x="3281315" y="1703922"/>
            <a:chExt cx="117989" cy="277086"/>
          </a:xfrm>
          <a:solidFill>
            <a:schemeClr val="accent6"/>
          </a:solidFill>
        </p:grpSpPr>
        <p:sp>
          <p:nvSpPr>
            <p:cNvPr id="389" name="Freeform 9"/>
            <p:cNvSpPr>
              <a:spLocks/>
            </p:cNvSpPr>
            <p:nvPr/>
          </p:nvSpPr>
          <p:spPr bwMode="auto">
            <a:xfrm>
              <a:off x="3329272" y="1966545"/>
              <a:ext cx="31971" cy="14463"/>
            </a:xfrm>
            <a:custGeom>
              <a:avLst/>
              <a:gdLst>
                <a:gd name="T0" fmla="*/ 39 w 41"/>
                <a:gd name="T1" fmla="*/ 1 h 19"/>
                <a:gd name="T2" fmla="*/ 21 w 41"/>
                <a:gd name="T3" fmla="*/ 3 h 19"/>
                <a:gd name="T4" fmla="*/ 0 w 41"/>
                <a:gd name="T5" fmla="*/ 0 h 19"/>
                <a:gd name="T6" fmla="*/ 21 w 41"/>
                <a:gd name="T7" fmla="*/ 19 h 19"/>
                <a:gd name="T8" fmla="*/ 41 w 41"/>
                <a:gd name="T9" fmla="*/ 0 h 19"/>
                <a:gd name="T10" fmla="*/ 39 w 41"/>
                <a:gd name="T11" fmla="*/ 1 h 19"/>
              </a:gdLst>
              <a:ahLst/>
              <a:cxnLst>
                <a:cxn ang="0">
                  <a:pos x="T0" y="T1"/>
                </a:cxn>
                <a:cxn ang="0">
                  <a:pos x="T2" y="T3"/>
                </a:cxn>
                <a:cxn ang="0">
                  <a:pos x="T4" y="T5"/>
                </a:cxn>
                <a:cxn ang="0">
                  <a:pos x="T6" y="T7"/>
                </a:cxn>
                <a:cxn ang="0">
                  <a:pos x="T8" y="T9"/>
                </a:cxn>
                <a:cxn ang="0">
                  <a:pos x="T10" y="T11"/>
                </a:cxn>
              </a:cxnLst>
              <a:rect l="0" t="0" r="r" b="b"/>
              <a:pathLst>
                <a:path w="41" h="19">
                  <a:moveTo>
                    <a:pt x="39" y="1"/>
                  </a:moveTo>
                  <a:cubicBezTo>
                    <a:pt x="33" y="2"/>
                    <a:pt x="27" y="3"/>
                    <a:pt x="21" y="3"/>
                  </a:cubicBezTo>
                  <a:cubicBezTo>
                    <a:pt x="14" y="3"/>
                    <a:pt x="7" y="2"/>
                    <a:pt x="0" y="0"/>
                  </a:cubicBezTo>
                  <a:cubicBezTo>
                    <a:pt x="1" y="11"/>
                    <a:pt x="10" y="19"/>
                    <a:pt x="21" y="19"/>
                  </a:cubicBezTo>
                  <a:cubicBezTo>
                    <a:pt x="32" y="19"/>
                    <a:pt x="40" y="11"/>
                    <a:pt x="41" y="0"/>
                  </a:cubicBezTo>
                  <a:lnTo>
                    <a:pt x="3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0" name="Freeform 10"/>
            <p:cNvSpPr>
              <a:spLocks/>
            </p:cNvSpPr>
            <p:nvPr/>
          </p:nvSpPr>
          <p:spPr bwMode="auto">
            <a:xfrm>
              <a:off x="3336884" y="1703922"/>
              <a:ext cx="17508" cy="13702"/>
            </a:xfrm>
            <a:custGeom>
              <a:avLst/>
              <a:gdLst>
                <a:gd name="T0" fmla="*/ 2 w 22"/>
                <a:gd name="T1" fmla="*/ 18 h 18"/>
                <a:gd name="T2" fmla="*/ 5 w 22"/>
                <a:gd name="T3" fmla="*/ 18 h 18"/>
                <a:gd name="T4" fmla="*/ 16 w 22"/>
                <a:gd name="T5" fmla="*/ 18 h 18"/>
                <a:gd name="T6" fmla="*/ 20 w 22"/>
                <a:gd name="T7" fmla="*/ 18 h 18"/>
                <a:gd name="T8" fmla="*/ 20 w 22"/>
                <a:gd name="T9" fmla="*/ 18 h 18"/>
                <a:gd name="T10" fmla="*/ 22 w 22"/>
                <a:gd name="T11" fmla="*/ 13 h 18"/>
                <a:gd name="T12" fmla="*/ 21 w 22"/>
                <a:gd name="T13" fmla="*/ 6 h 18"/>
                <a:gd name="T14" fmla="*/ 15 w 22"/>
                <a:gd name="T15" fmla="*/ 0 h 18"/>
                <a:gd name="T16" fmla="*/ 11 w 22"/>
                <a:gd name="T17" fmla="*/ 0 h 18"/>
                <a:gd name="T18" fmla="*/ 7 w 22"/>
                <a:gd name="T19" fmla="*/ 0 h 18"/>
                <a:gd name="T20" fmla="*/ 1 w 22"/>
                <a:gd name="T21" fmla="*/ 6 h 18"/>
                <a:gd name="T22" fmla="*/ 0 w 22"/>
                <a:gd name="T23" fmla="*/ 13 h 18"/>
                <a:gd name="T24" fmla="*/ 1 w 22"/>
                <a:gd name="T25" fmla="*/ 18 h 18"/>
                <a:gd name="T26" fmla="*/ 2 w 22"/>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2" y="18"/>
                  </a:moveTo>
                  <a:cubicBezTo>
                    <a:pt x="3" y="18"/>
                    <a:pt x="4" y="18"/>
                    <a:pt x="5" y="18"/>
                  </a:cubicBezTo>
                  <a:cubicBezTo>
                    <a:pt x="9" y="17"/>
                    <a:pt x="13" y="17"/>
                    <a:pt x="16" y="18"/>
                  </a:cubicBezTo>
                  <a:cubicBezTo>
                    <a:pt x="18" y="18"/>
                    <a:pt x="19" y="18"/>
                    <a:pt x="20" y="18"/>
                  </a:cubicBezTo>
                  <a:cubicBezTo>
                    <a:pt x="20" y="18"/>
                    <a:pt x="20" y="18"/>
                    <a:pt x="20" y="18"/>
                  </a:cubicBezTo>
                  <a:cubicBezTo>
                    <a:pt x="21" y="17"/>
                    <a:pt x="22" y="15"/>
                    <a:pt x="22" y="13"/>
                  </a:cubicBezTo>
                  <a:cubicBezTo>
                    <a:pt x="21" y="6"/>
                    <a:pt x="21" y="6"/>
                    <a:pt x="21" y="6"/>
                  </a:cubicBezTo>
                  <a:cubicBezTo>
                    <a:pt x="20" y="3"/>
                    <a:pt x="18" y="1"/>
                    <a:pt x="15" y="0"/>
                  </a:cubicBezTo>
                  <a:cubicBezTo>
                    <a:pt x="13" y="0"/>
                    <a:pt x="12" y="0"/>
                    <a:pt x="11" y="0"/>
                  </a:cubicBezTo>
                  <a:cubicBezTo>
                    <a:pt x="9" y="0"/>
                    <a:pt x="8" y="0"/>
                    <a:pt x="7" y="0"/>
                  </a:cubicBezTo>
                  <a:cubicBezTo>
                    <a:pt x="4" y="0"/>
                    <a:pt x="1" y="3"/>
                    <a:pt x="1" y="6"/>
                  </a:cubicBezTo>
                  <a:cubicBezTo>
                    <a:pt x="0" y="13"/>
                    <a:pt x="0" y="13"/>
                    <a:pt x="0" y="13"/>
                  </a:cubicBezTo>
                  <a:cubicBezTo>
                    <a:pt x="0" y="15"/>
                    <a:pt x="0" y="17"/>
                    <a:pt x="1" y="18"/>
                  </a:cubicBezTo>
                  <a:cubicBezTo>
                    <a:pt x="1" y="18"/>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1" name="Freeform 11"/>
            <p:cNvSpPr>
              <a:spLocks/>
            </p:cNvSpPr>
            <p:nvPr/>
          </p:nvSpPr>
          <p:spPr bwMode="auto">
            <a:xfrm>
              <a:off x="3355915" y="1713818"/>
              <a:ext cx="15224" cy="15986"/>
            </a:xfrm>
            <a:custGeom>
              <a:avLst/>
              <a:gdLst>
                <a:gd name="T0" fmla="*/ 20 w 20"/>
                <a:gd name="T1" fmla="*/ 13 h 21"/>
                <a:gd name="T2" fmla="*/ 19 w 20"/>
                <a:gd name="T3" fmla="*/ 6 h 21"/>
                <a:gd name="T4" fmla="*/ 13 w 20"/>
                <a:gd name="T5" fmla="*/ 0 h 21"/>
                <a:gd name="T6" fmla="*/ 9 w 20"/>
                <a:gd name="T7" fmla="*/ 0 h 21"/>
                <a:gd name="T8" fmla="*/ 5 w 20"/>
                <a:gd name="T9" fmla="*/ 0 h 21"/>
                <a:gd name="T10" fmla="*/ 2 w 20"/>
                <a:gd name="T11" fmla="*/ 1 h 21"/>
                <a:gd name="T12" fmla="*/ 0 w 20"/>
                <a:gd name="T13" fmla="*/ 7 h 21"/>
                <a:gd name="T14" fmla="*/ 5 w 20"/>
                <a:gd name="T15" fmla="*/ 17 h 21"/>
                <a:gd name="T16" fmla="*/ 6 w 20"/>
                <a:gd name="T17" fmla="*/ 20 h 21"/>
                <a:gd name="T18" fmla="*/ 14 w 20"/>
                <a:gd name="T19" fmla="*/ 20 h 21"/>
                <a:gd name="T20" fmla="*/ 14 w 20"/>
                <a:gd name="T21" fmla="*/ 20 h 21"/>
                <a:gd name="T22" fmla="*/ 18 w 20"/>
                <a:gd name="T23" fmla="*/ 18 h 21"/>
                <a:gd name="T24" fmla="*/ 20 w 20"/>
                <a:gd name="T25"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1">
                  <a:moveTo>
                    <a:pt x="20" y="13"/>
                  </a:moveTo>
                  <a:cubicBezTo>
                    <a:pt x="19" y="6"/>
                    <a:pt x="19" y="6"/>
                    <a:pt x="19" y="6"/>
                  </a:cubicBezTo>
                  <a:cubicBezTo>
                    <a:pt x="18" y="3"/>
                    <a:pt x="16" y="0"/>
                    <a:pt x="13" y="0"/>
                  </a:cubicBezTo>
                  <a:cubicBezTo>
                    <a:pt x="12" y="0"/>
                    <a:pt x="10" y="0"/>
                    <a:pt x="9" y="0"/>
                  </a:cubicBezTo>
                  <a:cubicBezTo>
                    <a:pt x="8" y="0"/>
                    <a:pt x="6" y="0"/>
                    <a:pt x="5" y="0"/>
                  </a:cubicBezTo>
                  <a:cubicBezTo>
                    <a:pt x="4" y="0"/>
                    <a:pt x="3" y="1"/>
                    <a:pt x="2" y="1"/>
                  </a:cubicBezTo>
                  <a:cubicBezTo>
                    <a:pt x="2" y="4"/>
                    <a:pt x="1" y="6"/>
                    <a:pt x="0" y="7"/>
                  </a:cubicBezTo>
                  <a:cubicBezTo>
                    <a:pt x="3" y="10"/>
                    <a:pt x="5" y="13"/>
                    <a:pt x="5" y="17"/>
                  </a:cubicBezTo>
                  <a:cubicBezTo>
                    <a:pt x="6" y="20"/>
                    <a:pt x="6" y="20"/>
                    <a:pt x="6" y="20"/>
                  </a:cubicBezTo>
                  <a:cubicBezTo>
                    <a:pt x="8" y="21"/>
                    <a:pt x="11" y="21"/>
                    <a:pt x="14" y="20"/>
                  </a:cubicBezTo>
                  <a:cubicBezTo>
                    <a:pt x="14" y="20"/>
                    <a:pt x="14" y="20"/>
                    <a:pt x="14" y="20"/>
                  </a:cubicBezTo>
                  <a:cubicBezTo>
                    <a:pt x="16" y="20"/>
                    <a:pt x="17" y="19"/>
                    <a:pt x="18" y="18"/>
                  </a:cubicBezTo>
                  <a:cubicBezTo>
                    <a:pt x="20" y="16"/>
                    <a:pt x="20" y="14"/>
                    <a:pt x="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2" name="Freeform 12"/>
            <p:cNvSpPr>
              <a:spLocks/>
            </p:cNvSpPr>
            <p:nvPr/>
          </p:nvSpPr>
          <p:spPr bwMode="auto">
            <a:xfrm>
              <a:off x="3319376" y="1713818"/>
              <a:ext cx="15986" cy="15986"/>
            </a:xfrm>
            <a:custGeom>
              <a:avLst/>
              <a:gdLst>
                <a:gd name="T0" fmla="*/ 15 w 21"/>
                <a:gd name="T1" fmla="*/ 17 h 21"/>
                <a:gd name="T2" fmla="*/ 21 w 21"/>
                <a:gd name="T3" fmla="*/ 7 h 21"/>
                <a:gd name="T4" fmla="*/ 19 w 21"/>
                <a:gd name="T5" fmla="*/ 1 h 21"/>
                <a:gd name="T6" fmla="*/ 15 w 21"/>
                <a:gd name="T7" fmla="*/ 0 h 21"/>
                <a:gd name="T8" fmla="*/ 11 w 21"/>
                <a:gd name="T9" fmla="*/ 0 h 21"/>
                <a:gd name="T10" fmla="*/ 8 w 21"/>
                <a:gd name="T11" fmla="*/ 0 h 21"/>
                <a:gd name="T12" fmla="*/ 2 w 21"/>
                <a:gd name="T13" fmla="*/ 6 h 21"/>
                <a:gd name="T14" fmla="*/ 1 w 21"/>
                <a:gd name="T15" fmla="*/ 13 h 21"/>
                <a:gd name="T16" fmla="*/ 2 w 21"/>
                <a:gd name="T17" fmla="*/ 18 h 21"/>
                <a:gd name="T18" fmla="*/ 7 w 21"/>
                <a:gd name="T19" fmla="*/ 20 h 21"/>
                <a:gd name="T20" fmla="*/ 15 w 21"/>
                <a:gd name="T21" fmla="*/ 20 h 21"/>
                <a:gd name="T22" fmla="*/ 15 w 21"/>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5" y="17"/>
                  </a:moveTo>
                  <a:cubicBezTo>
                    <a:pt x="16" y="13"/>
                    <a:pt x="18" y="10"/>
                    <a:pt x="21" y="7"/>
                  </a:cubicBezTo>
                  <a:cubicBezTo>
                    <a:pt x="19" y="6"/>
                    <a:pt x="19" y="4"/>
                    <a:pt x="19" y="1"/>
                  </a:cubicBezTo>
                  <a:cubicBezTo>
                    <a:pt x="18" y="1"/>
                    <a:pt x="17" y="0"/>
                    <a:pt x="15" y="0"/>
                  </a:cubicBezTo>
                  <a:cubicBezTo>
                    <a:pt x="14" y="0"/>
                    <a:pt x="13" y="0"/>
                    <a:pt x="11" y="0"/>
                  </a:cubicBezTo>
                  <a:cubicBezTo>
                    <a:pt x="10" y="0"/>
                    <a:pt x="9" y="0"/>
                    <a:pt x="8" y="0"/>
                  </a:cubicBezTo>
                  <a:cubicBezTo>
                    <a:pt x="4" y="0"/>
                    <a:pt x="2" y="3"/>
                    <a:pt x="2" y="6"/>
                  </a:cubicBezTo>
                  <a:cubicBezTo>
                    <a:pt x="1" y="13"/>
                    <a:pt x="1" y="13"/>
                    <a:pt x="1" y="13"/>
                  </a:cubicBezTo>
                  <a:cubicBezTo>
                    <a:pt x="0" y="14"/>
                    <a:pt x="1" y="16"/>
                    <a:pt x="2" y="18"/>
                  </a:cubicBezTo>
                  <a:cubicBezTo>
                    <a:pt x="3" y="19"/>
                    <a:pt x="5" y="20"/>
                    <a:pt x="7" y="20"/>
                  </a:cubicBezTo>
                  <a:cubicBezTo>
                    <a:pt x="9" y="21"/>
                    <a:pt x="12" y="21"/>
                    <a:pt x="15" y="20"/>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3" name="Freeform 13"/>
            <p:cNvSpPr>
              <a:spLocks/>
            </p:cNvSpPr>
            <p:nvPr/>
          </p:nvSpPr>
          <p:spPr bwMode="auto">
            <a:xfrm>
              <a:off x="3332317" y="1749595"/>
              <a:ext cx="25882" cy="23598"/>
            </a:xfrm>
            <a:custGeom>
              <a:avLst/>
              <a:gdLst>
                <a:gd name="T0" fmla="*/ 2 w 33"/>
                <a:gd name="T1" fmla="*/ 9 h 31"/>
                <a:gd name="T2" fmla="*/ 0 w 33"/>
                <a:gd name="T3" fmla="*/ 19 h 31"/>
                <a:gd name="T4" fmla="*/ 2 w 33"/>
                <a:gd name="T5" fmla="*/ 27 h 31"/>
                <a:gd name="T6" fmla="*/ 9 w 33"/>
                <a:gd name="T7" fmla="*/ 31 h 31"/>
                <a:gd name="T8" fmla="*/ 24 w 33"/>
                <a:gd name="T9" fmla="*/ 31 h 31"/>
                <a:gd name="T10" fmla="*/ 24 w 33"/>
                <a:gd name="T11" fmla="*/ 31 h 31"/>
                <a:gd name="T12" fmla="*/ 31 w 33"/>
                <a:gd name="T13" fmla="*/ 27 h 31"/>
                <a:gd name="T14" fmla="*/ 33 w 33"/>
                <a:gd name="T15" fmla="*/ 19 h 31"/>
                <a:gd name="T16" fmla="*/ 32 w 33"/>
                <a:gd name="T17" fmla="*/ 9 h 31"/>
                <a:gd name="T18" fmla="*/ 23 w 33"/>
                <a:gd name="T19" fmla="*/ 0 h 31"/>
                <a:gd name="T20" fmla="*/ 16 w 33"/>
                <a:gd name="T21" fmla="*/ 0 h 31"/>
                <a:gd name="T22" fmla="*/ 11 w 33"/>
                <a:gd name="T23" fmla="*/ 0 h 31"/>
                <a:gd name="T24" fmla="*/ 2 w 33"/>
                <a:gd name="T2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1">
                  <a:moveTo>
                    <a:pt x="2" y="9"/>
                  </a:moveTo>
                  <a:cubicBezTo>
                    <a:pt x="0" y="19"/>
                    <a:pt x="0" y="19"/>
                    <a:pt x="0" y="19"/>
                  </a:cubicBezTo>
                  <a:cubicBezTo>
                    <a:pt x="0" y="22"/>
                    <a:pt x="1" y="25"/>
                    <a:pt x="2" y="27"/>
                  </a:cubicBezTo>
                  <a:cubicBezTo>
                    <a:pt x="4" y="29"/>
                    <a:pt x="7" y="31"/>
                    <a:pt x="9" y="31"/>
                  </a:cubicBezTo>
                  <a:cubicBezTo>
                    <a:pt x="14" y="31"/>
                    <a:pt x="19" y="31"/>
                    <a:pt x="24" y="31"/>
                  </a:cubicBezTo>
                  <a:cubicBezTo>
                    <a:pt x="24" y="31"/>
                    <a:pt x="24" y="31"/>
                    <a:pt x="24" y="31"/>
                  </a:cubicBezTo>
                  <a:cubicBezTo>
                    <a:pt x="27" y="31"/>
                    <a:pt x="29" y="29"/>
                    <a:pt x="31" y="27"/>
                  </a:cubicBezTo>
                  <a:cubicBezTo>
                    <a:pt x="33" y="25"/>
                    <a:pt x="33" y="22"/>
                    <a:pt x="33" y="19"/>
                  </a:cubicBezTo>
                  <a:cubicBezTo>
                    <a:pt x="32" y="9"/>
                    <a:pt x="32" y="9"/>
                    <a:pt x="32" y="9"/>
                  </a:cubicBezTo>
                  <a:cubicBezTo>
                    <a:pt x="31" y="4"/>
                    <a:pt x="27" y="1"/>
                    <a:pt x="23" y="0"/>
                  </a:cubicBezTo>
                  <a:cubicBezTo>
                    <a:pt x="21" y="0"/>
                    <a:pt x="19" y="0"/>
                    <a:pt x="16" y="0"/>
                  </a:cubicBezTo>
                  <a:cubicBezTo>
                    <a:pt x="15" y="0"/>
                    <a:pt x="13" y="0"/>
                    <a:pt x="11" y="0"/>
                  </a:cubicBezTo>
                  <a:cubicBezTo>
                    <a:pt x="6" y="1"/>
                    <a:pt x="3" y="4"/>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4" name="Freeform 14"/>
            <p:cNvSpPr>
              <a:spLocks/>
            </p:cNvSpPr>
            <p:nvPr/>
          </p:nvSpPr>
          <p:spPr bwMode="auto">
            <a:xfrm>
              <a:off x="3357437" y="1733610"/>
              <a:ext cx="22837" cy="21314"/>
            </a:xfrm>
            <a:custGeom>
              <a:avLst/>
              <a:gdLst>
                <a:gd name="T0" fmla="*/ 29 w 29"/>
                <a:gd name="T1" fmla="*/ 17 h 27"/>
                <a:gd name="T2" fmla="*/ 27 w 29"/>
                <a:gd name="T3" fmla="*/ 8 h 27"/>
                <a:gd name="T4" fmla="*/ 19 w 29"/>
                <a:gd name="T5" fmla="*/ 0 h 27"/>
                <a:gd name="T6" fmla="*/ 14 w 29"/>
                <a:gd name="T7" fmla="*/ 0 h 27"/>
                <a:gd name="T8" fmla="*/ 9 w 29"/>
                <a:gd name="T9" fmla="*/ 0 h 27"/>
                <a:gd name="T10" fmla="*/ 5 w 29"/>
                <a:gd name="T11" fmla="*/ 2 h 27"/>
                <a:gd name="T12" fmla="*/ 2 w 29"/>
                <a:gd name="T13" fmla="*/ 10 h 27"/>
                <a:gd name="T14" fmla="*/ 1 w 29"/>
                <a:gd name="T15" fmla="*/ 11 h 27"/>
                <a:gd name="T16" fmla="*/ 0 w 29"/>
                <a:gd name="T17" fmla="*/ 17 h 27"/>
                <a:gd name="T18" fmla="*/ 0 w 29"/>
                <a:gd name="T19" fmla="*/ 17 h 27"/>
                <a:gd name="T20" fmla="*/ 5 w 29"/>
                <a:gd name="T21" fmla="*/ 26 h 27"/>
                <a:gd name="T22" fmla="*/ 8 w 29"/>
                <a:gd name="T23" fmla="*/ 27 h 27"/>
                <a:gd name="T24" fmla="*/ 21 w 29"/>
                <a:gd name="T25" fmla="*/ 27 h 27"/>
                <a:gd name="T26" fmla="*/ 27 w 29"/>
                <a:gd name="T27" fmla="*/ 24 h 27"/>
                <a:gd name="T28" fmla="*/ 29 w 29"/>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7">
                  <a:moveTo>
                    <a:pt x="29" y="17"/>
                  </a:moveTo>
                  <a:cubicBezTo>
                    <a:pt x="27" y="8"/>
                    <a:pt x="27" y="8"/>
                    <a:pt x="27" y="8"/>
                  </a:cubicBezTo>
                  <a:cubicBezTo>
                    <a:pt x="27" y="4"/>
                    <a:pt x="23" y="1"/>
                    <a:pt x="19" y="0"/>
                  </a:cubicBezTo>
                  <a:cubicBezTo>
                    <a:pt x="18" y="0"/>
                    <a:pt x="16" y="0"/>
                    <a:pt x="14" y="0"/>
                  </a:cubicBezTo>
                  <a:cubicBezTo>
                    <a:pt x="12" y="0"/>
                    <a:pt x="11" y="0"/>
                    <a:pt x="9" y="0"/>
                  </a:cubicBezTo>
                  <a:cubicBezTo>
                    <a:pt x="8" y="0"/>
                    <a:pt x="6" y="1"/>
                    <a:pt x="5" y="2"/>
                  </a:cubicBezTo>
                  <a:cubicBezTo>
                    <a:pt x="5" y="5"/>
                    <a:pt x="3" y="8"/>
                    <a:pt x="2" y="10"/>
                  </a:cubicBezTo>
                  <a:cubicBezTo>
                    <a:pt x="1" y="11"/>
                    <a:pt x="1" y="11"/>
                    <a:pt x="1" y="11"/>
                  </a:cubicBezTo>
                  <a:cubicBezTo>
                    <a:pt x="0" y="17"/>
                    <a:pt x="0" y="17"/>
                    <a:pt x="0" y="17"/>
                  </a:cubicBezTo>
                  <a:cubicBezTo>
                    <a:pt x="0" y="17"/>
                    <a:pt x="0" y="17"/>
                    <a:pt x="0" y="17"/>
                  </a:cubicBezTo>
                  <a:cubicBezTo>
                    <a:pt x="3" y="20"/>
                    <a:pt x="5" y="23"/>
                    <a:pt x="5" y="26"/>
                  </a:cubicBezTo>
                  <a:cubicBezTo>
                    <a:pt x="6" y="27"/>
                    <a:pt x="7" y="27"/>
                    <a:pt x="8" y="27"/>
                  </a:cubicBezTo>
                  <a:cubicBezTo>
                    <a:pt x="12" y="27"/>
                    <a:pt x="16" y="27"/>
                    <a:pt x="21" y="27"/>
                  </a:cubicBezTo>
                  <a:cubicBezTo>
                    <a:pt x="23" y="27"/>
                    <a:pt x="25" y="26"/>
                    <a:pt x="27" y="24"/>
                  </a:cubicBezTo>
                  <a:cubicBezTo>
                    <a:pt x="28" y="22"/>
                    <a:pt x="29" y="19"/>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5" name="Freeform 15"/>
            <p:cNvSpPr>
              <a:spLocks/>
            </p:cNvSpPr>
            <p:nvPr/>
          </p:nvSpPr>
          <p:spPr bwMode="auto">
            <a:xfrm>
              <a:off x="3311002" y="1733610"/>
              <a:ext cx="22837" cy="21314"/>
            </a:xfrm>
            <a:custGeom>
              <a:avLst/>
              <a:gdLst>
                <a:gd name="T0" fmla="*/ 30 w 30"/>
                <a:gd name="T1" fmla="*/ 18 h 27"/>
                <a:gd name="T2" fmla="*/ 30 w 30"/>
                <a:gd name="T3" fmla="*/ 17 h 27"/>
                <a:gd name="T4" fmla="*/ 29 w 30"/>
                <a:gd name="T5" fmla="*/ 11 h 27"/>
                <a:gd name="T6" fmla="*/ 28 w 30"/>
                <a:gd name="T7" fmla="*/ 10 h 27"/>
                <a:gd name="T8" fmla="*/ 25 w 30"/>
                <a:gd name="T9" fmla="*/ 2 h 27"/>
                <a:gd name="T10" fmla="*/ 20 w 30"/>
                <a:gd name="T11" fmla="*/ 0 h 27"/>
                <a:gd name="T12" fmla="*/ 15 w 30"/>
                <a:gd name="T13" fmla="*/ 0 h 27"/>
                <a:gd name="T14" fmla="*/ 10 w 30"/>
                <a:gd name="T15" fmla="*/ 0 h 27"/>
                <a:gd name="T16" fmla="*/ 2 w 30"/>
                <a:gd name="T17" fmla="*/ 8 h 27"/>
                <a:gd name="T18" fmla="*/ 1 w 30"/>
                <a:gd name="T19" fmla="*/ 17 h 27"/>
                <a:gd name="T20" fmla="*/ 3 w 30"/>
                <a:gd name="T21" fmla="*/ 24 h 27"/>
                <a:gd name="T22" fmla="*/ 9 w 30"/>
                <a:gd name="T23" fmla="*/ 27 h 27"/>
                <a:gd name="T24" fmla="*/ 22 w 30"/>
                <a:gd name="T25" fmla="*/ 27 h 27"/>
                <a:gd name="T26" fmla="*/ 24 w 30"/>
                <a:gd name="T27" fmla="*/ 26 h 27"/>
                <a:gd name="T28" fmla="*/ 30 w 30"/>
                <a:gd name="T2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7">
                  <a:moveTo>
                    <a:pt x="30" y="18"/>
                  </a:moveTo>
                  <a:cubicBezTo>
                    <a:pt x="30" y="17"/>
                    <a:pt x="30" y="17"/>
                    <a:pt x="30" y="17"/>
                  </a:cubicBezTo>
                  <a:cubicBezTo>
                    <a:pt x="29" y="11"/>
                    <a:pt x="29" y="11"/>
                    <a:pt x="29" y="11"/>
                  </a:cubicBezTo>
                  <a:cubicBezTo>
                    <a:pt x="28" y="11"/>
                    <a:pt x="28" y="11"/>
                    <a:pt x="28" y="10"/>
                  </a:cubicBezTo>
                  <a:cubicBezTo>
                    <a:pt x="26" y="8"/>
                    <a:pt x="25" y="5"/>
                    <a:pt x="25" y="2"/>
                  </a:cubicBezTo>
                  <a:cubicBezTo>
                    <a:pt x="23" y="1"/>
                    <a:pt x="22" y="0"/>
                    <a:pt x="20" y="0"/>
                  </a:cubicBezTo>
                  <a:cubicBezTo>
                    <a:pt x="19" y="0"/>
                    <a:pt x="17" y="0"/>
                    <a:pt x="15" y="0"/>
                  </a:cubicBezTo>
                  <a:cubicBezTo>
                    <a:pt x="13" y="0"/>
                    <a:pt x="12" y="0"/>
                    <a:pt x="10" y="0"/>
                  </a:cubicBezTo>
                  <a:cubicBezTo>
                    <a:pt x="6" y="0"/>
                    <a:pt x="3" y="4"/>
                    <a:pt x="2" y="8"/>
                  </a:cubicBezTo>
                  <a:cubicBezTo>
                    <a:pt x="1" y="17"/>
                    <a:pt x="1" y="17"/>
                    <a:pt x="1" y="17"/>
                  </a:cubicBezTo>
                  <a:cubicBezTo>
                    <a:pt x="0" y="19"/>
                    <a:pt x="1" y="22"/>
                    <a:pt x="3" y="24"/>
                  </a:cubicBezTo>
                  <a:cubicBezTo>
                    <a:pt x="4" y="26"/>
                    <a:pt x="6" y="27"/>
                    <a:pt x="9" y="27"/>
                  </a:cubicBezTo>
                  <a:cubicBezTo>
                    <a:pt x="13" y="27"/>
                    <a:pt x="17" y="27"/>
                    <a:pt x="22" y="27"/>
                  </a:cubicBezTo>
                  <a:cubicBezTo>
                    <a:pt x="22" y="27"/>
                    <a:pt x="23" y="27"/>
                    <a:pt x="24" y="26"/>
                  </a:cubicBezTo>
                  <a:cubicBezTo>
                    <a:pt x="25" y="23"/>
                    <a:pt x="27" y="20"/>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6" name="Freeform 16"/>
            <p:cNvSpPr>
              <a:spLocks/>
            </p:cNvSpPr>
            <p:nvPr/>
          </p:nvSpPr>
          <p:spPr bwMode="auto">
            <a:xfrm>
              <a:off x="3306435" y="1759492"/>
              <a:ext cx="25882" cy="23598"/>
            </a:xfrm>
            <a:custGeom>
              <a:avLst/>
              <a:gdLst>
                <a:gd name="T0" fmla="*/ 31 w 34"/>
                <a:gd name="T1" fmla="*/ 18 h 31"/>
                <a:gd name="T2" fmla="*/ 28 w 34"/>
                <a:gd name="T3" fmla="*/ 5 h 31"/>
                <a:gd name="T4" fmla="*/ 28 w 34"/>
                <a:gd name="T5" fmla="*/ 3 h 31"/>
                <a:gd name="T6" fmla="*/ 23 w 34"/>
                <a:gd name="T7" fmla="*/ 0 h 31"/>
                <a:gd name="T8" fmla="*/ 17 w 34"/>
                <a:gd name="T9" fmla="*/ 0 h 31"/>
                <a:gd name="T10" fmla="*/ 11 w 34"/>
                <a:gd name="T11" fmla="*/ 0 h 31"/>
                <a:gd name="T12" fmla="*/ 2 w 34"/>
                <a:gd name="T13" fmla="*/ 9 h 31"/>
                <a:gd name="T14" fmla="*/ 1 w 34"/>
                <a:gd name="T15" fmla="*/ 19 h 31"/>
                <a:gd name="T16" fmla="*/ 3 w 34"/>
                <a:gd name="T17" fmla="*/ 27 h 31"/>
                <a:gd name="T18" fmla="*/ 10 w 34"/>
                <a:gd name="T19" fmla="*/ 31 h 31"/>
                <a:gd name="T20" fmla="*/ 24 w 34"/>
                <a:gd name="T21" fmla="*/ 31 h 31"/>
                <a:gd name="T22" fmla="*/ 31 w 34"/>
                <a:gd name="T23" fmla="*/ 27 h 31"/>
                <a:gd name="T24" fmla="*/ 33 w 34"/>
                <a:gd name="T25" fmla="*/ 20 h 31"/>
                <a:gd name="T26" fmla="*/ 31 w 34"/>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31" y="18"/>
                  </a:moveTo>
                  <a:cubicBezTo>
                    <a:pt x="29" y="14"/>
                    <a:pt x="27" y="10"/>
                    <a:pt x="28" y="5"/>
                  </a:cubicBezTo>
                  <a:cubicBezTo>
                    <a:pt x="28" y="3"/>
                    <a:pt x="28" y="3"/>
                    <a:pt x="28" y="3"/>
                  </a:cubicBezTo>
                  <a:cubicBezTo>
                    <a:pt x="27" y="1"/>
                    <a:pt x="25" y="0"/>
                    <a:pt x="23" y="0"/>
                  </a:cubicBezTo>
                  <a:cubicBezTo>
                    <a:pt x="21" y="0"/>
                    <a:pt x="19" y="0"/>
                    <a:pt x="17" y="0"/>
                  </a:cubicBezTo>
                  <a:cubicBezTo>
                    <a:pt x="15" y="0"/>
                    <a:pt x="13" y="0"/>
                    <a:pt x="11" y="0"/>
                  </a:cubicBezTo>
                  <a:cubicBezTo>
                    <a:pt x="7" y="1"/>
                    <a:pt x="3" y="4"/>
                    <a:pt x="2" y="9"/>
                  </a:cubicBezTo>
                  <a:cubicBezTo>
                    <a:pt x="1" y="19"/>
                    <a:pt x="1" y="19"/>
                    <a:pt x="1" y="19"/>
                  </a:cubicBezTo>
                  <a:cubicBezTo>
                    <a:pt x="0" y="22"/>
                    <a:pt x="1" y="25"/>
                    <a:pt x="3" y="27"/>
                  </a:cubicBezTo>
                  <a:cubicBezTo>
                    <a:pt x="5" y="29"/>
                    <a:pt x="7" y="31"/>
                    <a:pt x="10" y="31"/>
                  </a:cubicBezTo>
                  <a:cubicBezTo>
                    <a:pt x="15" y="31"/>
                    <a:pt x="20" y="31"/>
                    <a:pt x="24" y="31"/>
                  </a:cubicBezTo>
                  <a:cubicBezTo>
                    <a:pt x="27" y="31"/>
                    <a:pt x="30" y="29"/>
                    <a:pt x="31" y="27"/>
                  </a:cubicBezTo>
                  <a:cubicBezTo>
                    <a:pt x="33" y="25"/>
                    <a:pt x="34" y="23"/>
                    <a:pt x="33" y="20"/>
                  </a:cubicBezTo>
                  <a:cubicBezTo>
                    <a:pt x="33" y="19"/>
                    <a:pt x="32" y="19"/>
                    <a:pt x="3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7" name="Freeform 17"/>
            <p:cNvSpPr>
              <a:spLocks/>
            </p:cNvSpPr>
            <p:nvPr/>
          </p:nvSpPr>
          <p:spPr bwMode="auto">
            <a:xfrm>
              <a:off x="3358960" y="1759492"/>
              <a:ext cx="25882" cy="23598"/>
            </a:xfrm>
            <a:custGeom>
              <a:avLst/>
              <a:gdLst>
                <a:gd name="T0" fmla="*/ 33 w 33"/>
                <a:gd name="T1" fmla="*/ 19 h 31"/>
                <a:gd name="T2" fmla="*/ 31 w 33"/>
                <a:gd name="T3" fmla="*/ 9 h 31"/>
                <a:gd name="T4" fmla="*/ 22 w 33"/>
                <a:gd name="T5" fmla="*/ 0 h 31"/>
                <a:gd name="T6" fmla="*/ 16 w 33"/>
                <a:gd name="T7" fmla="*/ 0 h 31"/>
                <a:gd name="T8" fmla="*/ 11 w 33"/>
                <a:gd name="T9" fmla="*/ 0 h 31"/>
                <a:gd name="T10" fmla="*/ 5 w 33"/>
                <a:gd name="T11" fmla="*/ 3 h 31"/>
                <a:gd name="T12" fmla="*/ 5 w 33"/>
                <a:gd name="T13" fmla="*/ 5 h 31"/>
                <a:gd name="T14" fmla="*/ 2 w 33"/>
                <a:gd name="T15" fmla="*/ 18 h 31"/>
                <a:gd name="T16" fmla="*/ 0 w 33"/>
                <a:gd name="T17" fmla="*/ 20 h 31"/>
                <a:gd name="T18" fmla="*/ 2 w 33"/>
                <a:gd name="T19" fmla="*/ 27 h 31"/>
                <a:gd name="T20" fmla="*/ 9 w 33"/>
                <a:gd name="T21" fmla="*/ 31 h 31"/>
                <a:gd name="T22" fmla="*/ 24 w 33"/>
                <a:gd name="T23" fmla="*/ 31 h 31"/>
                <a:gd name="T24" fmla="*/ 31 w 33"/>
                <a:gd name="T25" fmla="*/ 27 h 31"/>
                <a:gd name="T26" fmla="*/ 33 w 33"/>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1">
                  <a:moveTo>
                    <a:pt x="33" y="19"/>
                  </a:moveTo>
                  <a:cubicBezTo>
                    <a:pt x="31" y="9"/>
                    <a:pt x="31" y="9"/>
                    <a:pt x="31" y="9"/>
                  </a:cubicBezTo>
                  <a:cubicBezTo>
                    <a:pt x="31" y="4"/>
                    <a:pt x="27" y="1"/>
                    <a:pt x="22" y="0"/>
                  </a:cubicBezTo>
                  <a:cubicBezTo>
                    <a:pt x="20" y="0"/>
                    <a:pt x="18" y="0"/>
                    <a:pt x="16" y="0"/>
                  </a:cubicBezTo>
                  <a:cubicBezTo>
                    <a:pt x="14" y="0"/>
                    <a:pt x="13" y="0"/>
                    <a:pt x="11" y="0"/>
                  </a:cubicBezTo>
                  <a:cubicBezTo>
                    <a:pt x="9" y="0"/>
                    <a:pt x="7" y="1"/>
                    <a:pt x="5" y="3"/>
                  </a:cubicBezTo>
                  <a:cubicBezTo>
                    <a:pt x="5" y="5"/>
                    <a:pt x="5" y="5"/>
                    <a:pt x="5" y="5"/>
                  </a:cubicBezTo>
                  <a:cubicBezTo>
                    <a:pt x="6" y="10"/>
                    <a:pt x="5" y="14"/>
                    <a:pt x="2" y="18"/>
                  </a:cubicBezTo>
                  <a:cubicBezTo>
                    <a:pt x="1" y="19"/>
                    <a:pt x="1" y="19"/>
                    <a:pt x="0" y="20"/>
                  </a:cubicBezTo>
                  <a:cubicBezTo>
                    <a:pt x="0" y="23"/>
                    <a:pt x="1" y="25"/>
                    <a:pt x="2" y="27"/>
                  </a:cubicBezTo>
                  <a:cubicBezTo>
                    <a:pt x="4" y="29"/>
                    <a:pt x="6" y="31"/>
                    <a:pt x="9" y="31"/>
                  </a:cubicBezTo>
                  <a:cubicBezTo>
                    <a:pt x="14" y="31"/>
                    <a:pt x="19" y="31"/>
                    <a:pt x="24" y="31"/>
                  </a:cubicBezTo>
                  <a:cubicBezTo>
                    <a:pt x="26" y="31"/>
                    <a:pt x="29" y="29"/>
                    <a:pt x="31" y="27"/>
                  </a:cubicBezTo>
                  <a:cubicBezTo>
                    <a:pt x="32" y="25"/>
                    <a:pt x="33" y="22"/>
                    <a:pt x="3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8" name="Freeform 18"/>
            <p:cNvSpPr>
              <a:spLocks/>
            </p:cNvSpPr>
            <p:nvPr/>
          </p:nvSpPr>
          <p:spPr bwMode="auto">
            <a:xfrm>
              <a:off x="3331556" y="1779283"/>
              <a:ext cx="28165" cy="25121"/>
            </a:xfrm>
            <a:custGeom>
              <a:avLst/>
              <a:gdLst>
                <a:gd name="T0" fmla="*/ 2 w 36"/>
                <a:gd name="T1" fmla="*/ 9 h 33"/>
                <a:gd name="T2" fmla="*/ 0 w 36"/>
                <a:gd name="T3" fmla="*/ 20 h 33"/>
                <a:gd name="T4" fmla="*/ 3 w 36"/>
                <a:gd name="T5" fmla="*/ 29 h 33"/>
                <a:gd name="T6" fmla="*/ 10 w 36"/>
                <a:gd name="T7" fmla="*/ 33 h 33"/>
                <a:gd name="T8" fmla="*/ 25 w 36"/>
                <a:gd name="T9" fmla="*/ 33 h 33"/>
                <a:gd name="T10" fmla="*/ 33 w 36"/>
                <a:gd name="T11" fmla="*/ 29 h 33"/>
                <a:gd name="T12" fmla="*/ 35 w 36"/>
                <a:gd name="T13" fmla="*/ 20 h 33"/>
                <a:gd name="T14" fmla="*/ 33 w 36"/>
                <a:gd name="T15" fmla="*/ 10 h 33"/>
                <a:gd name="T16" fmla="*/ 24 w 36"/>
                <a:gd name="T17" fmla="*/ 0 h 33"/>
                <a:gd name="T18" fmla="*/ 17 w 36"/>
                <a:gd name="T19" fmla="*/ 0 h 33"/>
                <a:gd name="T20" fmla="*/ 12 w 36"/>
                <a:gd name="T21" fmla="*/ 0 h 33"/>
                <a:gd name="T22" fmla="*/ 2 w 36"/>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3">
                  <a:moveTo>
                    <a:pt x="2" y="9"/>
                  </a:moveTo>
                  <a:cubicBezTo>
                    <a:pt x="0" y="20"/>
                    <a:pt x="0" y="20"/>
                    <a:pt x="0" y="20"/>
                  </a:cubicBezTo>
                  <a:cubicBezTo>
                    <a:pt x="0" y="23"/>
                    <a:pt x="1" y="26"/>
                    <a:pt x="3" y="29"/>
                  </a:cubicBezTo>
                  <a:cubicBezTo>
                    <a:pt x="4" y="31"/>
                    <a:pt x="7" y="33"/>
                    <a:pt x="10" y="33"/>
                  </a:cubicBezTo>
                  <a:cubicBezTo>
                    <a:pt x="15" y="33"/>
                    <a:pt x="20" y="33"/>
                    <a:pt x="25" y="33"/>
                  </a:cubicBezTo>
                  <a:cubicBezTo>
                    <a:pt x="28" y="33"/>
                    <a:pt x="31" y="31"/>
                    <a:pt x="33" y="29"/>
                  </a:cubicBezTo>
                  <a:cubicBezTo>
                    <a:pt x="35" y="26"/>
                    <a:pt x="36" y="23"/>
                    <a:pt x="35" y="20"/>
                  </a:cubicBezTo>
                  <a:cubicBezTo>
                    <a:pt x="33" y="10"/>
                    <a:pt x="33" y="10"/>
                    <a:pt x="33" y="10"/>
                  </a:cubicBezTo>
                  <a:cubicBezTo>
                    <a:pt x="33" y="5"/>
                    <a:pt x="29" y="1"/>
                    <a:pt x="24" y="0"/>
                  </a:cubicBezTo>
                  <a:cubicBezTo>
                    <a:pt x="22" y="0"/>
                    <a:pt x="20" y="0"/>
                    <a:pt x="17" y="0"/>
                  </a:cubicBezTo>
                  <a:cubicBezTo>
                    <a:pt x="16" y="0"/>
                    <a:pt x="14" y="0"/>
                    <a:pt x="12" y="0"/>
                  </a:cubicBezTo>
                  <a:cubicBezTo>
                    <a:pt x="7" y="1"/>
                    <a:pt x="3"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9" name="Freeform 19"/>
            <p:cNvSpPr>
              <a:spLocks/>
            </p:cNvSpPr>
            <p:nvPr/>
          </p:nvSpPr>
          <p:spPr bwMode="auto">
            <a:xfrm>
              <a:off x="3359721" y="1787657"/>
              <a:ext cx="27404" cy="25882"/>
            </a:xfrm>
            <a:custGeom>
              <a:avLst/>
              <a:gdLst>
                <a:gd name="T0" fmla="*/ 35 w 35"/>
                <a:gd name="T1" fmla="*/ 21 h 33"/>
                <a:gd name="T2" fmla="*/ 33 w 35"/>
                <a:gd name="T3" fmla="*/ 10 h 33"/>
                <a:gd name="T4" fmla="*/ 24 w 35"/>
                <a:gd name="T5" fmla="*/ 0 h 33"/>
                <a:gd name="T6" fmla="*/ 17 w 35"/>
                <a:gd name="T7" fmla="*/ 0 h 33"/>
                <a:gd name="T8" fmla="*/ 11 w 35"/>
                <a:gd name="T9" fmla="*/ 0 h 33"/>
                <a:gd name="T10" fmla="*/ 5 w 35"/>
                <a:gd name="T11" fmla="*/ 3 h 33"/>
                <a:gd name="T12" fmla="*/ 6 w 35"/>
                <a:gd name="T13" fmla="*/ 8 h 33"/>
                <a:gd name="T14" fmla="*/ 2 w 35"/>
                <a:gd name="T15" fmla="*/ 22 h 33"/>
                <a:gd name="T16" fmla="*/ 0 w 35"/>
                <a:gd name="T17" fmla="*/ 24 h 33"/>
                <a:gd name="T18" fmla="*/ 2 w 35"/>
                <a:gd name="T19" fmla="*/ 29 h 33"/>
                <a:gd name="T20" fmla="*/ 10 w 35"/>
                <a:gd name="T21" fmla="*/ 33 h 33"/>
                <a:gd name="T22" fmla="*/ 25 w 35"/>
                <a:gd name="T23" fmla="*/ 33 h 33"/>
                <a:gd name="T24" fmla="*/ 25 w 35"/>
                <a:gd name="T25" fmla="*/ 33 h 33"/>
                <a:gd name="T26" fmla="*/ 32 w 35"/>
                <a:gd name="T27" fmla="*/ 29 h 33"/>
                <a:gd name="T28" fmla="*/ 35 w 35"/>
                <a:gd name="T2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5" y="21"/>
                  </a:moveTo>
                  <a:cubicBezTo>
                    <a:pt x="33" y="10"/>
                    <a:pt x="33" y="10"/>
                    <a:pt x="33" y="10"/>
                  </a:cubicBezTo>
                  <a:cubicBezTo>
                    <a:pt x="32" y="5"/>
                    <a:pt x="28" y="1"/>
                    <a:pt x="24" y="0"/>
                  </a:cubicBezTo>
                  <a:cubicBezTo>
                    <a:pt x="21" y="0"/>
                    <a:pt x="19" y="0"/>
                    <a:pt x="17" y="0"/>
                  </a:cubicBezTo>
                  <a:cubicBezTo>
                    <a:pt x="15" y="0"/>
                    <a:pt x="13" y="0"/>
                    <a:pt x="11" y="0"/>
                  </a:cubicBezTo>
                  <a:cubicBezTo>
                    <a:pt x="9" y="1"/>
                    <a:pt x="7" y="2"/>
                    <a:pt x="5" y="3"/>
                  </a:cubicBezTo>
                  <a:cubicBezTo>
                    <a:pt x="6" y="8"/>
                    <a:pt x="6" y="8"/>
                    <a:pt x="6" y="8"/>
                  </a:cubicBezTo>
                  <a:cubicBezTo>
                    <a:pt x="6" y="13"/>
                    <a:pt x="5" y="18"/>
                    <a:pt x="2" y="22"/>
                  </a:cubicBezTo>
                  <a:cubicBezTo>
                    <a:pt x="1" y="23"/>
                    <a:pt x="1" y="23"/>
                    <a:pt x="0" y="24"/>
                  </a:cubicBezTo>
                  <a:cubicBezTo>
                    <a:pt x="0" y="26"/>
                    <a:pt x="1" y="27"/>
                    <a:pt x="2" y="29"/>
                  </a:cubicBezTo>
                  <a:cubicBezTo>
                    <a:pt x="4" y="31"/>
                    <a:pt x="7" y="33"/>
                    <a:pt x="10" y="33"/>
                  </a:cubicBezTo>
                  <a:cubicBezTo>
                    <a:pt x="15" y="33"/>
                    <a:pt x="20" y="33"/>
                    <a:pt x="25" y="33"/>
                  </a:cubicBezTo>
                  <a:cubicBezTo>
                    <a:pt x="25" y="33"/>
                    <a:pt x="25" y="33"/>
                    <a:pt x="25" y="33"/>
                  </a:cubicBezTo>
                  <a:cubicBezTo>
                    <a:pt x="28" y="33"/>
                    <a:pt x="31" y="31"/>
                    <a:pt x="32" y="29"/>
                  </a:cubicBezTo>
                  <a:cubicBezTo>
                    <a:pt x="34" y="27"/>
                    <a:pt x="35" y="23"/>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0" name="Freeform 20"/>
            <p:cNvSpPr>
              <a:spLocks/>
            </p:cNvSpPr>
            <p:nvPr/>
          </p:nvSpPr>
          <p:spPr bwMode="auto">
            <a:xfrm>
              <a:off x="3304152" y="1787657"/>
              <a:ext cx="26643" cy="25882"/>
            </a:xfrm>
            <a:custGeom>
              <a:avLst/>
              <a:gdLst>
                <a:gd name="T0" fmla="*/ 33 w 35"/>
                <a:gd name="T1" fmla="*/ 22 h 33"/>
                <a:gd name="T2" fmla="*/ 30 w 35"/>
                <a:gd name="T3" fmla="*/ 8 h 33"/>
                <a:gd name="T4" fmla="*/ 30 w 35"/>
                <a:gd name="T5" fmla="*/ 3 h 33"/>
                <a:gd name="T6" fmla="*/ 24 w 35"/>
                <a:gd name="T7" fmla="*/ 0 h 33"/>
                <a:gd name="T8" fmla="*/ 18 w 35"/>
                <a:gd name="T9" fmla="*/ 0 h 33"/>
                <a:gd name="T10" fmla="*/ 12 w 35"/>
                <a:gd name="T11" fmla="*/ 0 h 33"/>
                <a:gd name="T12" fmla="*/ 2 w 35"/>
                <a:gd name="T13" fmla="*/ 10 h 33"/>
                <a:gd name="T14" fmla="*/ 1 w 35"/>
                <a:gd name="T15" fmla="*/ 21 h 33"/>
                <a:gd name="T16" fmla="*/ 3 w 35"/>
                <a:gd name="T17" fmla="*/ 29 h 33"/>
                <a:gd name="T18" fmla="*/ 10 w 35"/>
                <a:gd name="T19" fmla="*/ 33 h 33"/>
                <a:gd name="T20" fmla="*/ 26 w 35"/>
                <a:gd name="T21" fmla="*/ 33 h 33"/>
                <a:gd name="T22" fmla="*/ 26 w 35"/>
                <a:gd name="T23" fmla="*/ 33 h 33"/>
                <a:gd name="T24" fmla="*/ 33 w 35"/>
                <a:gd name="T25" fmla="*/ 29 h 33"/>
                <a:gd name="T26" fmla="*/ 35 w 35"/>
                <a:gd name="T27" fmla="*/ 24 h 33"/>
                <a:gd name="T28" fmla="*/ 33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3" y="22"/>
                  </a:moveTo>
                  <a:cubicBezTo>
                    <a:pt x="30" y="18"/>
                    <a:pt x="29" y="13"/>
                    <a:pt x="30" y="8"/>
                  </a:cubicBezTo>
                  <a:cubicBezTo>
                    <a:pt x="30" y="3"/>
                    <a:pt x="30" y="3"/>
                    <a:pt x="30" y="3"/>
                  </a:cubicBezTo>
                  <a:cubicBezTo>
                    <a:pt x="29" y="2"/>
                    <a:pt x="27" y="1"/>
                    <a:pt x="24" y="0"/>
                  </a:cubicBezTo>
                  <a:cubicBezTo>
                    <a:pt x="22" y="0"/>
                    <a:pt x="20" y="0"/>
                    <a:pt x="18" y="0"/>
                  </a:cubicBezTo>
                  <a:cubicBezTo>
                    <a:pt x="16" y="0"/>
                    <a:pt x="14" y="0"/>
                    <a:pt x="12" y="0"/>
                  </a:cubicBezTo>
                  <a:cubicBezTo>
                    <a:pt x="7" y="1"/>
                    <a:pt x="3" y="5"/>
                    <a:pt x="2" y="10"/>
                  </a:cubicBezTo>
                  <a:cubicBezTo>
                    <a:pt x="1" y="21"/>
                    <a:pt x="1" y="21"/>
                    <a:pt x="1" y="21"/>
                  </a:cubicBezTo>
                  <a:cubicBezTo>
                    <a:pt x="0" y="24"/>
                    <a:pt x="1" y="27"/>
                    <a:pt x="3" y="29"/>
                  </a:cubicBezTo>
                  <a:cubicBezTo>
                    <a:pt x="5" y="31"/>
                    <a:pt x="7" y="33"/>
                    <a:pt x="10" y="33"/>
                  </a:cubicBezTo>
                  <a:cubicBezTo>
                    <a:pt x="15" y="33"/>
                    <a:pt x="21" y="33"/>
                    <a:pt x="26" y="33"/>
                  </a:cubicBezTo>
                  <a:cubicBezTo>
                    <a:pt x="26" y="33"/>
                    <a:pt x="26" y="33"/>
                    <a:pt x="26" y="33"/>
                  </a:cubicBezTo>
                  <a:cubicBezTo>
                    <a:pt x="29" y="33"/>
                    <a:pt x="31" y="31"/>
                    <a:pt x="33" y="29"/>
                  </a:cubicBezTo>
                  <a:cubicBezTo>
                    <a:pt x="34" y="27"/>
                    <a:pt x="35" y="26"/>
                    <a:pt x="35" y="24"/>
                  </a:cubicBezTo>
                  <a:cubicBezTo>
                    <a:pt x="35" y="23"/>
                    <a:pt x="34" y="23"/>
                    <a:pt x="3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1" name="Freeform 21"/>
            <p:cNvSpPr>
              <a:spLocks/>
            </p:cNvSpPr>
            <p:nvPr/>
          </p:nvSpPr>
          <p:spPr bwMode="auto">
            <a:xfrm>
              <a:off x="3330033" y="1812777"/>
              <a:ext cx="30449" cy="27404"/>
            </a:xfrm>
            <a:custGeom>
              <a:avLst/>
              <a:gdLst>
                <a:gd name="T0" fmla="*/ 3 w 39"/>
                <a:gd name="T1" fmla="*/ 10 h 36"/>
                <a:gd name="T2" fmla="*/ 1 w 39"/>
                <a:gd name="T3" fmla="*/ 22 h 36"/>
                <a:gd name="T4" fmla="*/ 3 w 39"/>
                <a:gd name="T5" fmla="*/ 31 h 36"/>
                <a:gd name="T6" fmla="*/ 11 w 39"/>
                <a:gd name="T7" fmla="*/ 35 h 36"/>
                <a:gd name="T8" fmla="*/ 28 w 39"/>
                <a:gd name="T9" fmla="*/ 35 h 36"/>
                <a:gd name="T10" fmla="*/ 36 w 39"/>
                <a:gd name="T11" fmla="*/ 31 h 36"/>
                <a:gd name="T12" fmla="*/ 39 w 39"/>
                <a:gd name="T13" fmla="*/ 22 h 36"/>
                <a:gd name="T14" fmla="*/ 37 w 39"/>
                <a:gd name="T15" fmla="*/ 10 h 36"/>
                <a:gd name="T16" fmla="*/ 27 w 39"/>
                <a:gd name="T17" fmla="*/ 0 h 36"/>
                <a:gd name="T18" fmla="*/ 19 w 39"/>
                <a:gd name="T19" fmla="*/ 0 h 36"/>
                <a:gd name="T20" fmla="*/ 13 w 39"/>
                <a:gd name="T21" fmla="*/ 0 h 36"/>
                <a:gd name="T22" fmla="*/ 3 w 39"/>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3" y="10"/>
                  </a:moveTo>
                  <a:cubicBezTo>
                    <a:pt x="1" y="22"/>
                    <a:pt x="1" y="22"/>
                    <a:pt x="1" y="22"/>
                  </a:cubicBezTo>
                  <a:cubicBezTo>
                    <a:pt x="0" y="25"/>
                    <a:pt x="1" y="29"/>
                    <a:pt x="3" y="31"/>
                  </a:cubicBezTo>
                  <a:cubicBezTo>
                    <a:pt x="5" y="34"/>
                    <a:pt x="8" y="35"/>
                    <a:pt x="11" y="35"/>
                  </a:cubicBezTo>
                  <a:cubicBezTo>
                    <a:pt x="17" y="36"/>
                    <a:pt x="23" y="36"/>
                    <a:pt x="28" y="35"/>
                  </a:cubicBezTo>
                  <a:cubicBezTo>
                    <a:pt x="31" y="35"/>
                    <a:pt x="34" y="34"/>
                    <a:pt x="36" y="31"/>
                  </a:cubicBezTo>
                  <a:cubicBezTo>
                    <a:pt x="38" y="29"/>
                    <a:pt x="39" y="25"/>
                    <a:pt x="39" y="22"/>
                  </a:cubicBezTo>
                  <a:cubicBezTo>
                    <a:pt x="37" y="10"/>
                    <a:pt x="37" y="10"/>
                    <a:pt x="37" y="10"/>
                  </a:cubicBezTo>
                  <a:cubicBezTo>
                    <a:pt x="36" y="5"/>
                    <a:pt x="32" y="1"/>
                    <a:pt x="27" y="0"/>
                  </a:cubicBezTo>
                  <a:cubicBezTo>
                    <a:pt x="24" y="0"/>
                    <a:pt x="22" y="0"/>
                    <a:pt x="19" y="0"/>
                  </a:cubicBezTo>
                  <a:cubicBezTo>
                    <a:pt x="17" y="0"/>
                    <a:pt x="15" y="0"/>
                    <a:pt x="13" y="0"/>
                  </a:cubicBezTo>
                  <a:cubicBezTo>
                    <a:pt x="8" y="1"/>
                    <a:pt x="3" y="5"/>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2" name="Freeform 22"/>
            <p:cNvSpPr>
              <a:spLocks/>
            </p:cNvSpPr>
            <p:nvPr/>
          </p:nvSpPr>
          <p:spPr bwMode="auto">
            <a:xfrm>
              <a:off x="3362004" y="1818867"/>
              <a:ext cx="28926" cy="27404"/>
            </a:xfrm>
            <a:custGeom>
              <a:avLst/>
              <a:gdLst>
                <a:gd name="T0" fmla="*/ 36 w 37"/>
                <a:gd name="T1" fmla="*/ 22 h 36"/>
                <a:gd name="T2" fmla="*/ 35 w 37"/>
                <a:gd name="T3" fmla="*/ 10 h 36"/>
                <a:gd name="T4" fmla="*/ 24 w 37"/>
                <a:gd name="T5" fmla="*/ 0 h 36"/>
                <a:gd name="T6" fmla="*/ 17 w 37"/>
                <a:gd name="T7" fmla="*/ 0 h 36"/>
                <a:gd name="T8" fmla="*/ 11 w 37"/>
                <a:gd name="T9" fmla="*/ 0 h 36"/>
                <a:gd name="T10" fmla="*/ 3 w 37"/>
                <a:gd name="T11" fmla="*/ 4 h 36"/>
                <a:gd name="T12" fmla="*/ 5 w 37"/>
                <a:gd name="T13" fmla="*/ 13 h 36"/>
                <a:gd name="T14" fmla="*/ 1 w 37"/>
                <a:gd name="T15" fmla="*/ 28 h 36"/>
                <a:gd name="T16" fmla="*/ 0 w 37"/>
                <a:gd name="T17" fmla="*/ 29 h 36"/>
                <a:gd name="T18" fmla="*/ 1 w 37"/>
                <a:gd name="T19" fmla="*/ 31 h 36"/>
                <a:gd name="T20" fmla="*/ 9 w 37"/>
                <a:gd name="T21" fmla="*/ 35 h 36"/>
                <a:gd name="T22" fmla="*/ 26 w 37"/>
                <a:gd name="T23" fmla="*/ 35 h 36"/>
                <a:gd name="T24" fmla="*/ 34 w 37"/>
                <a:gd name="T25" fmla="*/ 31 h 36"/>
                <a:gd name="T26" fmla="*/ 36 w 37"/>
                <a:gd name="T2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6">
                  <a:moveTo>
                    <a:pt x="36" y="22"/>
                  </a:moveTo>
                  <a:cubicBezTo>
                    <a:pt x="35" y="10"/>
                    <a:pt x="35" y="10"/>
                    <a:pt x="35" y="10"/>
                  </a:cubicBezTo>
                  <a:cubicBezTo>
                    <a:pt x="34" y="5"/>
                    <a:pt x="30" y="0"/>
                    <a:pt x="24" y="0"/>
                  </a:cubicBezTo>
                  <a:cubicBezTo>
                    <a:pt x="22" y="0"/>
                    <a:pt x="20" y="0"/>
                    <a:pt x="17" y="0"/>
                  </a:cubicBezTo>
                  <a:cubicBezTo>
                    <a:pt x="15" y="0"/>
                    <a:pt x="13" y="0"/>
                    <a:pt x="11" y="0"/>
                  </a:cubicBezTo>
                  <a:cubicBezTo>
                    <a:pt x="8" y="0"/>
                    <a:pt x="5" y="2"/>
                    <a:pt x="3" y="4"/>
                  </a:cubicBezTo>
                  <a:cubicBezTo>
                    <a:pt x="5" y="13"/>
                    <a:pt x="5" y="13"/>
                    <a:pt x="5" y="13"/>
                  </a:cubicBezTo>
                  <a:cubicBezTo>
                    <a:pt x="6" y="18"/>
                    <a:pt x="4" y="24"/>
                    <a:pt x="1" y="28"/>
                  </a:cubicBezTo>
                  <a:cubicBezTo>
                    <a:pt x="0" y="28"/>
                    <a:pt x="0" y="28"/>
                    <a:pt x="0" y="29"/>
                  </a:cubicBezTo>
                  <a:cubicBezTo>
                    <a:pt x="0" y="30"/>
                    <a:pt x="0" y="30"/>
                    <a:pt x="1" y="31"/>
                  </a:cubicBezTo>
                  <a:cubicBezTo>
                    <a:pt x="3" y="33"/>
                    <a:pt x="6" y="35"/>
                    <a:pt x="9" y="35"/>
                  </a:cubicBezTo>
                  <a:cubicBezTo>
                    <a:pt x="15" y="36"/>
                    <a:pt x="20" y="36"/>
                    <a:pt x="26" y="35"/>
                  </a:cubicBezTo>
                  <a:cubicBezTo>
                    <a:pt x="29" y="35"/>
                    <a:pt x="32" y="33"/>
                    <a:pt x="34" y="31"/>
                  </a:cubicBezTo>
                  <a:cubicBezTo>
                    <a:pt x="36" y="28"/>
                    <a:pt x="37" y="25"/>
                    <a:pt x="3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3" name="Freeform 23"/>
            <p:cNvSpPr>
              <a:spLocks/>
            </p:cNvSpPr>
            <p:nvPr/>
          </p:nvSpPr>
          <p:spPr bwMode="auto">
            <a:xfrm>
              <a:off x="3281315" y="1812777"/>
              <a:ext cx="74600" cy="149961"/>
            </a:xfrm>
            <a:custGeom>
              <a:avLst/>
              <a:gdLst>
                <a:gd name="T0" fmla="*/ 23 w 96"/>
                <a:gd name="T1" fmla="*/ 136 h 195"/>
                <a:gd name="T2" fmla="*/ 83 w 96"/>
                <a:gd name="T3" fmla="*/ 195 h 195"/>
                <a:gd name="T4" fmla="*/ 96 w 96"/>
                <a:gd name="T5" fmla="*/ 194 h 195"/>
                <a:gd name="T6" fmla="*/ 0 w 96"/>
                <a:gd name="T7" fmla="*/ 0 h 195"/>
                <a:gd name="T8" fmla="*/ 23 w 96"/>
                <a:gd name="T9" fmla="*/ 76 h 195"/>
                <a:gd name="T10" fmla="*/ 23 w 96"/>
                <a:gd name="T11" fmla="*/ 112 h 195"/>
                <a:gd name="T12" fmla="*/ 23 w 96"/>
                <a:gd name="T13" fmla="*/ 136 h 195"/>
              </a:gdLst>
              <a:ahLst/>
              <a:cxnLst>
                <a:cxn ang="0">
                  <a:pos x="T0" y="T1"/>
                </a:cxn>
                <a:cxn ang="0">
                  <a:pos x="T2" y="T3"/>
                </a:cxn>
                <a:cxn ang="0">
                  <a:pos x="T4" y="T5"/>
                </a:cxn>
                <a:cxn ang="0">
                  <a:pos x="T6" y="T7"/>
                </a:cxn>
                <a:cxn ang="0">
                  <a:pos x="T8" y="T9"/>
                </a:cxn>
                <a:cxn ang="0">
                  <a:pos x="T10" y="T11"/>
                </a:cxn>
                <a:cxn ang="0">
                  <a:pos x="T12" y="T13"/>
                </a:cxn>
              </a:cxnLst>
              <a:rect l="0" t="0" r="r" b="b"/>
              <a:pathLst>
                <a:path w="96" h="195">
                  <a:moveTo>
                    <a:pt x="23" y="136"/>
                  </a:moveTo>
                  <a:cubicBezTo>
                    <a:pt x="23" y="169"/>
                    <a:pt x="50" y="195"/>
                    <a:pt x="83" y="195"/>
                  </a:cubicBezTo>
                  <a:cubicBezTo>
                    <a:pt x="87" y="195"/>
                    <a:pt x="92" y="195"/>
                    <a:pt x="96" y="194"/>
                  </a:cubicBezTo>
                  <a:cubicBezTo>
                    <a:pt x="91" y="125"/>
                    <a:pt x="57" y="40"/>
                    <a:pt x="0" y="0"/>
                  </a:cubicBezTo>
                  <a:cubicBezTo>
                    <a:pt x="13" y="26"/>
                    <a:pt x="21" y="52"/>
                    <a:pt x="23" y="76"/>
                  </a:cubicBezTo>
                  <a:cubicBezTo>
                    <a:pt x="24" y="89"/>
                    <a:pt x="24" y="101"/>
                    <a:pt x="23" y="112"/>
                  </a:cubicBezTo>
                  <a:cubicBezTo>
                    <a:pt x="23" y="120"/>
                    <a:pt x="23" y="128"/>
                    <a:pt x="2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4" name="Freeform 24"/>
            <p:cNvSpPr>
              <a:spLocks/>
            </p:cNvSpPr>
            <p:nvPr/>
          </p:nvSpPr>
          <p:spPr bwMode="auto">
            <a:xfrm>
              <a:off x="3303390" y="1818867"/>
              <a:ext cx="25882" cy="26643"/>
            </a:xfrm>
            <a:custGeom>
              <a:avLst/>
              <a:gdLst>
                <a:gd name="T0" fmla="*/ 24 w 34"/>
                <a:gd name="T1" fmla="*/ 35 h 35"/>
                <a:gd name="T2" fmla="*/ 24 w 34"/>
                <a:gd name="T3" fmla="*/ 35 h 35"/>
                <a:gd name="T4" fmla="*/ 32 w 34"/>
                <a:gd name="T5" fmla="*/ 31 h 35"/>
                <a:gd name="T6" fmla="*/ 34 w 34"/>
                <a:gd name="T7" fmla="*/ 29 h 35"/>
                <a:gd name="T8" fmla="*/ 33 w 34"/>
                <a:gd name="T9" fmla="*/ 28 h 35"/>
                <a:gd name="T10" fmla="*/ 29 w 34"/>
                <a:gd name="T11" fmla="*/ 13 h 35"/>
                <a:gd name="T12" fmla="*/ 30 w 34"/>
                <a:gd name="T13" fmla="*/ 4 h 35"/>
                <a:gd name="T14" fmla="*/ 23 w 34"/>
                <a:gd name="T15" fmla="*/ 0 h 35"/>
                <a:gd name="T16" fmla="*/ 16 w 34"/>
                <a:gd name="T17" fmla="*/ 0 h 35"/>
                <a:gd name="T18" fmla="*/ 10 w 34"/>
                <a:gd name="T19" fmla="*/ 0 h 35"/>
                <a:gd name="T20" fmla="*/ 0 w 34"/>
                <a:gd name="T21" fmla="*/ 6 h 35"/>
                <a:gd name="T22" fmla="*/ 24 w 34"/>
                <a:gd name="T2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5">
                  <a:moveTo>
                    <a:pt x="24" y="35"/>
                  </a:moveTo>
                  <a:cubicBezTo>
                    <a:pt x="24" y="35"/>
                    <a:pt x="24" y="35"/>
                    <a:pt x="24" y="35"/>
                  </a:cubicBezTo>
                  <a:cubicBezTo>
                    <a:pt x="28" y="35"/>
                    <a:pt x="30" y="33"/>
                    <a:pt x="32" y="31"/>
                  </a:cubicBezTo>
                  <a:cubicBezTo>
                    <a:pt x="33" y="30"/>
                    <a:pt x="33" y="30"/>
                    <a:pt x="34" y="29"/>
                  </a:cubicBezTo>
                  <a:cubicBezTo>
                    <a:pt x="33" y="28"/>
                    <a:pt x="33" y="28"/>
                    <a:pt x="33" y="28"/>
                  </a:cubicBezTo>
                  <a:cubicBezTo>
                    <a:pt x="29" y="24"/>
                    <a:pt x="28" y="18"/>
                    <a:pt x="29" y="13"/>
                  </a:cubicBezTo>
                  <a:cubicBezTo>
                    <a:pt x="30" y="4"/>
                    <a:pt x="30" y="4"/>
                    <a:pt x="30" y="4"/>
                  </a:cubicBezTo>
                  <a:cubicBezTo>
                    <a:pt x="28" y="2"/>
                    <a:pt x="26" y="0"/>
                    <a:pt x="23" y="0"/>
                  </a:cubicBezTo>
                  <a:cubicBezTo>
                    <a:pt x="20" y="0"/>
                    <a:pt x="18" y="0"/>
                    <a:pt x="16" y="0"/>
                  </a:cubicBezTo>
                  <a:cubicBezTo>
                    <a:pt x="14" y="0"/>
                    <a:pt x="12" y="0"/>
                    <a:pt x="10" y="0"/>
                  </a:cubicBezTo>
                  <a:cubicBezTo>
                    <a:pt x="5" y="0"/>
                    <a:pt x="2" y="3"/>
                    <a:pt x="0" y="6"/>
                  </a:cubicBezTo>
                  <a:cubicBezTo>
                    <a:pt x="9" y="15"/>
                    <a:pt x="16" y="25"/>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5" name="Freeform 25"/>
            <p:cNvSpPr>
              <a:spLocks/>
            </p:cNvSpPr>
            <p:nvPr/>
          </p:nvSpPr>
          <p:spPr bwMode="auto">
            <a:xfrm>
              <a:off x="3330794" y="1847032"/>
              <a:ext cx="29688" cy="27404"/>
            </a:xfrm>
            <a:custGeom>
              <a:avLst/>
              <a:gdLst>
                <a:gd name="T0" fmla="*/ 2 w 38"/>
                <a:gd name="T1" fmla="*/ 11 h 36"/>
                <a:gd name="T2" fmla="*/ 0 w 38"/>
                <a:gd name="T3" fmla="*/ 19 h 36"/>
                <a:gd name="T4" fmla="*/ 9 w 38"/>
                <a:gd name="T5" fmla="*/ 36 h 36"/>
                <a:gd name="T6" fmla="*/ 10 w 38"/>
                <a:gd name="T7" fmla="*/ 36 h 36"/>
                <a:gd name="T8" fmla="*/ 27 w 38"/>
                <a:gd name="T9" fmla="*/ 36 h 36"/>
                <a:gd name="T10" fmla="*/ 35 w 38"/>
                <a:gd name="T11" fmla="*/ 32 h 36"/>
                <a:gd name="T12" fmla="*/ 38 w 38"/>
                <a:gd name="T13" fmla="*/ 22 h 36"/>
                <a:gd name="T14" fmla="*/ 36 w 38"/>
                <a:gd name="T15" fmla="*/ 11 h 36"/>
                <a:gd name="T16" fmla="*/ 26 w 38"/>
                <a:gd name="T17" fmla="*/ 1 h 36"/>
                <a:gd name="T18" fmla="*/ 18 w 38"/>
                <a:gd name="T19" fmla="*/ 0 h 36"/>
                <a:gd name="T20" fmla="*/ 12 w 38"/>
                <a:gd name="T21" fmla="*/ 1 h 36"/>
                <a:gd name="T22" fmla="*/ 2 w 38"/>
                <a:gd name="T2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2" y="11"/>
                  </a:moveTo>
                  <a:cubicBezTo>
                    <a:pt x="0" y="19"/>
                    <a:pt x="0" y="19"/>
                    <a:pt x="0" y="19"/>
                  </a:cubicBezTo>
                  <a:cubicBezTo>
                    <a:pt x="4" y="24"/>
                    <a:pt x="6" y="30"/>
                    <a:pt x="9" y="36"/>
                  </a:cubicBezTo>
                  <a:cubicBezTo>
                    <a:pt x="10" y="36"/>
                    <a:pt x="10" y="36"/>
                    <a:pt x="10" y="36"/>
                  </a:cubicBezTo>
                  <a:cubicBezTo>
                    <a:pt x="16" y="36"/>
                    <a:pt x="22" y="36"/>
                    <a:pt x="27" y="36"/>
                  </a:cubicBezTo>
                  <a:cubicBezTo>
                    <a:pt x="30" y="36"/>
                    <a:pt x="33" y="34"/>
                    <a:pt x="35" y="32"/>
                  </a:cubicBezTo>
                  <a:cubicBezTo>
                    <a:pt x="37" y="29"/>
                    <a:pt x="38" y="26"/>
                    <a:pt x="38" y="22"/>
                  </a:cubicBezTo>
                  <a:cubicBezTo>
                    <a:pt x="36" y="11"/>
                    <a:pt x="36" y="11"/>
                    <a:pt x="36" y="11"/>
                  </a:cubicBezTo>
                  <a:cubicBezTo>
                    <a:pt x="35" y="5"/>
                    <a:pt x="31" y="1"/>
                    <a:pt x="26" y="1"/>
                  </a:cubicBezTo>
                  <a:cubicBezTo>
                    <a:pt x="23" y="0"/>
                    <a:pt x="21" y="0"/>
                    <a:pt x="18" y="0"/>
                  </a:cubicBezTo>
                  <a:cubicBezTo>
                    <a:pt x="16" y="0"/>
                    <a:pt x="14" y="0"/>
                    <a:pt x="12" y="1"/>
                  </a:cubicBezTo>
                  <a:cubicBezTo>
                    <a:pt x="7" y="1"/>
                    <a:pt x="2" y="5"/>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6" name="Freeform 26"/>
            <p:cNvSpPr>
              <a:spLocks/>
            </p:cNvSpPr>
            <p:nvPr/>
          </p:nvSpPr>
          <p:spPr bwMode="auto">
            <a:xfrm>
              <a:off x="3349063" y="1859212"/>
              <a:ext cx="50241" cy="101243"/>
            </a:xfrm>
            <a:custGeom>
              <a:avLst/>
              <a:gdLst>
                <a:gd name="T0" fmla="*/ 55 w 65"/>
                <a:gd name="T1" fmla="*/ 75 h 131"/>
                <a:gd name="T2" fmla="*/ 65 w 65"/>
                <a:gd name="T3" fmla="*/ 0 h 131"/>
                <a:gd name="T4" fmla="*/ 0 w 65"/>
                <a:gd name="T5" fmla="*/ 53 h 131"/>
                <a:gd name="T6" fmla="*/ 17 w 65"/>
                <a:gd name="T7" fmla="*/ 131 h 131"/>
                <a:gd name="T8" fmla="*/ 55 w 65"/>
                <a:gd name="T9" fmla="*/ 75 h 131"/>
              </a:gdLst>
              <a:ahLst/>
              <a:cxnLst>
                <a:cxn ang="0">
                  <a:pos x="T0" y="T1"/>
                </a:cxn>
                <a:cxn ang="0">
                  <a:pos x="T2" y="T3"/>
                </a:cxn>
                <a:cxn ang="0">
                  <a:pos x="T4" y="T5"/>
                </a:cxn>
                <a:cxn ang="0">
                  <a:pos x="T6" y="T7"/>
                </a:cxn>
                <a:cxn ang="0">
                  <a:pos x="T8" y="T9"/>
                </a:cxn>
              </a:cxnLst>
              <a:rect l="0" t="0" r="r" b="b"/>
              <a:pathLst>
                <a:path w="65" h="131">
                  <a:moveTo>
                    <a:pt x="55" y="75"/>
                  </a:moveTo>
                  <a:cubicBezTo>
                    <a:pt x="55" y="49"/>
                    <a:pt x="59" y="19"/>
                    <a:pt x="65" y="0"/>
                  </a:cubicBezTo>
                  <a:cubicBezTo>
                    <a:pt x="33" y="19"/>
                    <a:pt x="12" y="34"/>
                    <a:pt x="0" y="53"/>
                  </a:cubicBezTo>
                  <a:cubicBezTo>
                    <a:pt x="9" y="79"/>
                    <a:pt x="15" y="106"/>
                    <a:pt x="17" y="131"/>
                  </a:cubicBezTo>
                  <a:cubicBezTo>
                    <a:pt x="39" y="122"/>
                    <a:pt x="55" y="100"/>
                    <a:pt x="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7" name="Freeform 27"/>
            <p:cNvSpPr>
              <a:spLocks/>
            </p:cNvSpPr>
            <p:nvPr/>
          </p:nvSpPr>
          <p:spPr bwMode="auto">
            <a:xfrm>
              <a:off x="3360482" y="1851599"/>
              <a:ext cx="28165" cy="24359"/>
            </a:xfrm>
            <a:custGeom>
              <a:avLst/>
              <a:gdLst>
                <a:gd name="T0" fmla="*/ 3 w 36"/>
                <a:gd name="T1" fmla="*/ 32 h 32"/>
                <a:gd name="T2" fmla="*/ 36 w 36"/>
                <a:gd name="T3" fmla="*/ 9 h 32"/>
                <a:gd name="T4" fmla="*/ 26 w 36"/>
                <a:gd name="T5" fmla="*/ 0 h 32"/>
                <a:gd name="T6" fmla="*/ 19 w 36"/>
                <a:gd name="T7" fmla="*/ 0 h 32"/>
                <a:gd name="T8" fmla="*/ 13 w 36"/>
                <a:gd name="T9" fmla="*/ 0 h 32"/>
                <a:gd name="T10" fmla="*/ 2 w 36"/>
                <a:gd name="T11" fmla="*/ 10 h 32"/>
                <a:gd name="T12" fmla="*/ 1 w 36"/>
                <a:gd name="T13" fmla="*/ 22 h 32"/>
                <a:gd name="T14" fmla="*/ 3 w 36"/>
                <a:gd name="T15" fmla="*/ 31 h 32"/>
                <a:gd name="T16" fmla="*/ 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 y="32"/>
                  </a:moveTo>
                  <a:cubicBezTo>
                    <a:pt x="13" y="24"/>
                    <a:pt x="23" y="17"/>
                    <a:pt x="36" y="9"/>
                  </a:cubicBezTo>
                  <a:cubicBezTo>
                    <a:pt x="35" y="4"/>
                    <a:pt x="31" y="1"/>
                    <a:pt x="26" y="0"/>
                  </a:cubicBezTo>
                  <a:cubicBezTo>
                    <a:pt x="24" y="0"/>
                    <a:pt x="22" y="0"/>
                    <a:pt x="19" y="0"/>
                  </a:cubicBezTo>
                  <a:cubicBezTo>
                    <a:pt x="17" y="0"/>
                    <a:pt x="15" y="0"/>
                    <a:pt x="13" y="0"/>
                  </a:cubicBezTo>
                  <a:cubicBezTo>
                    <a:pt x="7" y="1"/>
                    <a:pt x="3" y="5"/>
                    <a:pt x="2" y="10"/>
                  </a:cubicBezTo>
                  <a:cubicBezTo>
                    <a:pt x="1" y="22"/>
                    <a:pt x="1" y="22"/>
                    <a:pt x="1" y="22"/>
                  </a:cubicBezTo>
                  <a:cubicBezTo>
                    <a:pt x="0" y="25"/>
                    <a:pt x="1" y="29"/>
                    <a:pt x="3" y="31"/>
                  </a:cubicBezTo>
                  <a:cubicBezTo>
                    <a:pt x="3" y="31"/>
                    <a:pt x="3" y="31"/>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8" name="Freeform 28"/>
            <p:cNvSpPr>
              <a:spLocks/>
            </p:cNvSpPr>
            <p:nvPr/>
          </p:nvSpPr>
          <p:spPr bwMode="auto">
            <a:xfrm>
              <a:off x="3342974" y="1883571"/>
              <a:ext cx="10657" cy="9896"/>
            </a:xfrm>
            <a:custGeom>
              <a:avLst/>
              <a:gdLst>
                <a:gd name="T0" fmla="*/ 14 w 14"/>
                <a:gd name="T1" fmla="*/ 2 h 13"/>
                <a:gd name="T2" fmla="*/ 10 w 14"/>
                <a:gd name="T3" fmla="*/ 0 h 13"/>
                <a:gd name="T4" fmla="*/ 3 w 14"/>
                <a:gd name="T5" fmla="*/ 0 h 13"/>
                <a:gd name="T6" fmla="*/ 0 w 14"/>
                <a:gd name="T7" fmla="*/ 0 h 13"/>
                <a:gd name="T8" fmla="*/ 5 w 14"/>
                <a:gd name="T9" fmla="*/ 13 h 13"/>
                <a:gd name="T10" fmla="*/ 14 w 14"/>
                <a:gd name="T11" fmla="*/ 2 h 13"/>
              </a:gdLst>
              <a:ahLst/>
              <a:cxnLst>
                <a:cxn ang="0">
                  <a:pos x="T0" y="T1"/>
                </a:cxn>
                <a:cxn ang="0">
                  <a:pos x="T2" y="T3"/>
                </a:cxn>
                <a:cxn ang="0">
                  <a:pos x="T4" y="T5"/>
                </a:cxn>
                <a:cxn ang="0">
                  <a:pos x="T6" y="T7"/>
                </a:cxn>
                <a:cxn ang="0">
                  <a:pos x="T8" y="T9"/>
                </a:cxn>
                <a:cxn ang="0">
                  <a:pos x="T10" y="T11"/>
                </a:cxn>
              </a:cxnLst>
              <a:rect l="0" t="0" r="r" b="b"/>
              <a:pathLst>
                <a:path w="14" h="13">
                  <a:moveTo>
                    <a:pt x="14" y="2"/>
                  </a:moveTo>
                  <a:cubicBezTo>
                    <a:pt x="13" y="1"/>
                    <a:pt x="12" y="1"/>
                    <a:pt x="10" y="0"/>
                  </a:cubicBezTo>
                  <a:cubicBezTo>
                    <a:pt x="8" y="0"/>
                    <a:pt x="6" y="0"/>
                    <a:pt x="3" y="0"/>
                  </a:cubicBezTo>
                  <a:cubicBezTo>
                    <a:pt x="2" y="0"/>
                    <a:pt x="1" y="0"/>
                    <a:pt x="0" y="0"/>
                  </a:cubicBezTo>
                  <a:cubicBezTo>
                    <a:pt x="1" y="5"/>
                    <a:pt x="3" y="9"/>
                    <a:pt x="5" y="13"/>
                  </a:cubicBezTo>
                  <a:cubicBezTo>
                    <a:pt x="8" y="9"/>
                    <a:pt x="11" y="5"/>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9" name="Freeform 29"/>
            <p:cNvSpPr>
              <a:spLocks/>
            </p:cNvSpPr>
            <p:nvPr/>
          </p:nvSpPr>
          <p:spPr bwMode="auto">
            <a:xfrm>
              <a:off x="3333839" y="1721430"/>
              <a:ext cx="22837" cy="21314"/>
            </a:xfrm>
            <a:custGeom>
              <a:avLst/>
              <a:gdLst>
                <a:gd name="T0" fmla="*/ 27 w 29"/>
                <a:gd name="T1" fmla="*/ 24 h 27"/>
                <a:gd name="T2" fmla="*/ 29 w 29"/>
                <a:gd name="T3" fmla="*/ 17 h 27"/>
                <a:gd name="T4" fmla="*/ 28 w 29"/>
                <a:gd name="T5" fmla="*/ 8 h 27"/>
                <a:gd name="T6" fmla="*/ 20 w 29"/>
                <a:gd name="T7" fmla="*/ 0 h 27"/>
                <a:gd name="T8" fmla="*/ 15 w 29"/>
                <a:gd name="T9" fmla="*/ 0 h 27"/>
                <a:gd name="T10" fmla="*/ 10 w 29"/>
                <a:gd name="T11" fmla="*/ 0 h 27"/>
                <a:gd name="T12" fmla="*/ 2 w 29"/>
                <a:gd name="T13" fmla="*/ 8 h 27"/>
                <a:gd name="T14" fmla="*/ 0 w 29"/>
                <a:gd name="T15" fmla="*/ 17 h 27"/>
                <a:gd name="T16" fmla="*/ 2 w 29"/>
                <a:gd name="T17" fmla="*/ 24 h 27"/>
                <a:gd name="T18" fmla="*/ 8 w 29"/>
                <a:gd name="T19" fmla="*/ 27 h 27"/>
                <a:gd name="T20" fmla="*/ 21 w 29"/>
                <a:gd name="T21" fmla="*/ 27 h 27"/>
                <a:gd name="T22" fmla="*/ 27 w 29"/>
                <a:gd name="T23"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7" y="24"/>
                  </a:moveTo>
                  <a:cubicBezTo>
                    <a:pt x="29" y="22"/>
                    <a:pt x="29" y="19"/>
                    <a:pt x="29" y="17"/>
                  </a:cubicBezTo>
                  <a:cubicBezTo>
                    <a:pt x="28" y="8"/>
                    <a:pt x="28" y="8"/>
                    <a:pt x="28" y="8"/>
                  </a:cubicBezTo>
                  <a:cubicBezTo>
                    <a:pt x="27" y="4"/>
                    <a:pt x="24" y="1"/>
                    <a:pt x="20" y="0"/>
                  </a:cubicBezTo>
                  <a:cubicBezTo>
                    <a:pt x="18" y="0"/>
                    <a:pt x="16" y="0"/>
                    <a:pt x="15" y="0"/>
                  </a:cubicBezTo>
                  <a:cubicBezTo>
                    <a:pt x="13" y="0"/>
                    <a:pt x="11" y="0"/>
                    <a:pt x="10" y="0"/>
                  </a:cubicBezTo>
                  <a:cubicBezTo>
                    <a:pt x="6" y="0"/>
                    <a:pt x="2" y="4"/>
                    <a:pt x="2" y="8"/>
                  </a:cubicBezTo>
                  <a:cubicBezTo>
                    <a:pt x="0" y="17"/>
                    <a:pt x="0" y="17"/>
                    <a:pt x="0" y="17"/>
                  </a:cubicBezTo>
                  <a:cubicBezTo>
                    <a:pt x="0" y="19"/>
                    <a:pt x="1" y="22"/>
                    <a:pt x="2" y="24"/>
                  </a:cubicBezTo>
                  <a:cubicBezTo>
                    <a:pt x="4" y="26"/>
                    <a:pt x="6" y="27"/>
                    <a:pt x="8" y="27"/>
                  </a:cubicBezTo>
                  <a:cubicBezTo>
                    <a:pt x="13" y="27"/>
                    <a:pt x="17" y="27"/>
                    <a:pt x="21" y="27"/>
                  </a:cubicBezTo>
                  <a:cubicBezTo>
                    <a:pt x="24" y="27"/>
                    <a:pt x="26" y="26"/>
                    <a:pt x="2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10" name="Freeform 14"/>
          <p:cNvSpPr>
            <a:spLocks noEditPoints="1"/>
          </p:cNvSpPr>
          <p:nvPr/>
        </p:nvSpPr>
        <p:spPr bwMode="auto">
          <a:xfrm flipH="1">
            <a:off x="6666525" y="3535062"/>
            <a:ext cx="236437" cy="237270"/>
          </a:xfrm>
          <a:custGeom>
            <a:avLst/>
            <a:gdLst>
              <a:gd name="T0" fmla="*/ 98 w 117"/>
              <a:gd name="T1" fmla="*/ 19 h 117"/>
              <a:gd name="T2" fmla="*/ 94 w 117"/>
              <a:gd name="T3" fmla="*/ 6 h 117"/>
              <a:gd name="T4" fmla="*/ 75 w 117"/>
              <a:gd name="T5" fmla="*/ 6 h 117"/>
              <a:gd name="T6" fmla="*/ 74 w 117"/>
              <a:gd name="T7" fmla="*/ 26 h 117"/>
              <a:gd name="T8" fmla="*/ 66 w 117"/>
              <a:gd name="T9" fmla="*/ 34 h 117"/>
              <a:gd name="T10" fmla="*/ 40 w 117"/>
              <a:gd name="T11" fmla="*/ 48 h 117"/>
              <a:gd name="T12" fmla="*/ 12 w 117"/>
              <a:gd name="T13" fmla="*/ 60 h 117"/>
              <a:gd name="T14" fmla="*/ 12 w 117"/>
              <a:gd name="T15" fmla="*/ 60 h 117"/>
              <a:gd name="T16" fmla="*/ 12 w 117"/>
              <a:gd name="T17" fmla="*/ 105 h 117"/>
              <a:gd name="T18" fmla="*/ 57 w 117"/>
              <a:gd name="T19" fmla="*/ 105 h 117"/>
              <a:gd name="T20" fmla="*/ 68 w 117"/>
              <a:gd name="T21" fmla="*/ 76 h 117"/>
              <a:gd name="T22" fmla="*/ 83 w 117"/>
              <a:gd name="T23" fmla="*/ 51 h 117"/>
              <a:gd name="T24" fmla="*/ 89 w 117"/>
              <a:gd name="T25" fmla="*/ 45 h 117"/>
              <a:gd name="T26" fmla="*/ 89 w 117"/>
              <a:gd name="T27" fmla="*/ 45 h 117"/>
              <a:gd name="T28" fmla="*/ 91 w 117"/>
              <a:gd name="T29" fmla="*/ 42 h 117"/>
              <a:gd name="T30" fmla="*/ 91 w 117"/>
              <a:gd name="T31" fmla="*/ 43 h 117"/>
              <a:gd name="T32" fmla="*/ 111 w 117"/>
              <a:gd name="T33" fmla="*/ 43 h 117"/>
              <a:gd name="T34" fmla="*/ 111 w 117"/>
              <a:gd name="T35" fmla="*/ 23 h 117"/>
              <a:gd name="T36" fmla="*/ 98 w 117"/>
              <a:gd name="T37" fmla="*/ 19 h 117"/>
              <a:gd name="T38" fmla="*/ 69 w 117"/>
              <a:gd name="T39" fmla="*/ 48 h 117"/>
              <a:gd name="T40" fmla="*/ 66 w 117"/>
              <a:gd name="T41" fmla="*/ 40 h 117"/>
              <a:gd name="T42" fmla="*/ 71 w 117"/>
              <a:gd name="T43" fmla="*/ 34 h 117"/>
              <a:gd name="T44" fmla="*/ 74 w 117"/>
              <a:gd name="T45" fmla="*/ 31 h 117"/>
              <a:gd name="T46" fmla="*/ 74 w 117"/>
              <a:gd name="T47" fmla="*/ 31 h 117"/>
              <a:gd name="T48" fmla="*/ 78 w 117"/>
              <a:gd name="T49" fmla="*/ 28 h 117"/>
              <a:gd name="T50" fmla="*/ 81 w 117"/>
              <a:gd name="T51" fmla="*/ 25 h 117"/>
              <a:gd name="T52" fmla="*/ 77 w 117"/>
              <a:gd name="T53" fmla="*/ 23 h 117"/>
              <a:gd name="T54" fmla="*/ 77 w 117"/>
              <a:gd name="T55" fmla="*/ 23 h 117"/>
              <a:gd name="T56" fmla="*/ 77 w 117"/>
              <a:gd name="T57" fmla="*/ 9 h 117"/>
              <a:gd name="T58" fmla="*/ 91 w 117"/>
              <a:gd name="T59" fmla="*/ 9 h 117"/>
              <a:gd name="T60" fmla="*/ 93 w 117"/>
              <a:gd name="T61" fmla="*/ 21 h 117"/>
              <a:gd name="T62" fmla="*/ 93 w 117"/>
              <a:gd name="T63" fmla="*/ 22 h 117"/>
              <a:gd name="T64" fmla="*/ 96 w 117"/>
              <a:gd name="T65" fmla="*/ 24 h 117"/>
              <a:gd name="T66" fmla="*/ 96 w 117"/>
              <a:gd name="T67" fmla="*/ 24 h 117"/>
              <a:gd name="T68" fmla="*/ 108 w 117"/>
              <a:gd name="T69" fmla="*/ 26 h 117"/>
              <a:gd name="T70" fmla="*/ 108 w 117"/>
              <a:gd name="T71" fmla="*/ 40 h 117"/>
              <a:gd name="T72" fmla="*/ 94 w 117"/>
              <a:gd name="T73" fmla="*/ 40 h 117"/>
              <a:gd name="T74" fmla="*/ 94 w 117"/>
              <a:gd name="T75" fmla="*/ 40 h 117"/>
              <a:gd name="T76" fmla="*/ 92 w 117"/>
              <a:gd name="T77" fmla="*/ 36 h 117"/>
              <a:gd name="T78" fmla="*/ 89 w 117"/>
              <a:gd name="T79" fmla="*/ 39 h 117"/>
              <a:gd name="T80" fmla="*/ 86 w 117"/>
              <a:gd name="T81" fmla="*/ 42 h 117"/>
              <a:gd name="T82" fmla="*/ 77 w 117"/>
              <a:gd name="T83" fmla="*/ 51 h 117"/>
              <a:gd name="T84" fmla="*/ 69 w 117"/>
              <a:gd name="T85" fmla="*/ 4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17">
                <a:moveTo>
                  <a:pt x="98" y="19"/>
                </a:moveTo>
                <a:cubicBezTo>
                  <a:pt x="99" y="15"/>
                  <a:pt x="98" y="9"/>
                  <a:pt x="94" y="6"/>
                </a:cubicBezTo>
                <a:cubicBezTo>
                  <a:pt x="89" y="0"/>
                  <a:pt x="80" y="0"/>
                  <a:pt x="75" y="6"/>
                </a:cubicBezTo>
                <a:cubicBezTo>
                  <a:pt x="69" y="11"/>
                  <a:pt x="69" y="20"/>
                  <a:pt x="74" y="26"/>
                </a:cubicBezTo>
                <a:cubicBezTo>
                  <a:pt x="66" y="34"/>
                  <a:pt x="66" y="34"/>
                  <a:pt x="66" y="34"/>
                </a:cubicBezTo>
                <a:cubicBezTo>
                  <a:pt x="60" y="40"/>
                  <a:pt x="52" y="48"/>
                  <a:pt x="40" y="48"/>
                </a:cubicBezTo>
                <a:cubicBezTo>
                  <a:pt x="23" y="48"/>
                  <a:pt x="13" y="59"/>
                  <a:pt x="12" y="60"/>
                </a:cubicBezTo>
                <a:cubicBezTo>
                  <a:pt x="12" y="60"/>
                  <a:pt x="12" y="60"/>
                  <a:pt x="12" y="60"/>
                </a:cubicBezTo>
                <a:cubicBezTo>
                  <a:pt x="0" y="72"/>
                  <a:pt x="0" y="92"/>
                  <a:pt x="12" y="105"/>
                </a:cubicBezTo>
                <a:cubicBezTo>
                  <a:pt x="25" y="117"/>
                  <a:pt x="45" y="117"/>
                  <a:pt x="57" y="105"/>
                </a:cubicBezTo>
                <a:cubicBezTo>
                  <a:pt x="63" y="99"/>
                  <a:pt x="68" y="93"/>
                  <a:pt x="68" y="76"/>
                </a:cubicBezTo>
                <a:cubicBezTo>
                  <a:pt x="68" y="65"/>
                  <a:pt x="83" y="51"/>
                  <a:pt x="83" y="51"/>
                </a:cubicBezTo>
                <a:cubicBezTo>
                  <a:pt x="89" y="45"/>
                  <a:pt x="89" y="45"/>
                  <a:pt x="89" y="45"/>
                </a:cubicBezTo>
                <a:cubicBezTo>
                  <a:pt x="89" y="45"/>
                  <a:pt x="89" y="45"/>
                  <a:pt x="89" y="45"/>
                </a:cubicBezTo>
                <a:cubicBezTo>
                  <a:pt x="91" y="42"/>
                  <a:pt x="91" y="42"/>
                  <a:pt x="91" y="42"/>
                </a:cubicBezTo>
                <a:cubicBezTo>
                  <a:pt x="91" y="43"/>
                  <a:pt x="91" y="43"/>
                  <a:pt x="91" y="43"/>
                </a:cubicBezTo>
                <a:cubicBezTo>
                  <a:pt x="97" y="48"/>
                  <a:pt x="106" y="48"/>
                  <a:pt x="111" y="43"/>
                </a:cubicBezTo>
                <a:cubicBezTo>
                  <a:pt x="117" y="37"/>
                  <a:pt x="117" y="28"/>
                  <a:pt x="111" y="23"/>
                </a:cubicBezTo>
                <a:cubicBezTo>
                  <a:pt x="108" y="19"/>
                  <a:pt x="103" y="18"/>
                  <a:pt x="98" y="19"/>
                </a:cubicBezTo>
                <a:close/>
                <a:moveTo>
                  <a:pt x="69" y="48"/>
                </a:moveTo>
                <a:cubicBezTo>
                  <a:pt x="66" y="40"/>
                  <a:pt x="66" y="40"/>
                  <a:pt x="66" y="40"/>
                </a:cubicBezTo>
                <a:cubicBezTo>
                  <a:pt x="71" y="34"/>
                  <a:pt x="71" y="34"/>
                  <a:pt x="71" y="34"/>
                </a:cubicBezTo>
                <a:cubicBezTo>
                  <a:pt x="74" y="31"/>
                  <a:pt x="74" y="31"/>
                  <a:pt x="74" y="31"/>
                </a:cubicBezTo>
                <a:cubicBezTo>
                  <a:pt x="74" y="31"/>
                  <a:pt x="74" y="31"/>
                  <a:pt x="74" y="31"/>
                </a:cubicBezTo>
                <a:cubicBezTo>
                  <a:pt x="78" y="28"/>
                  <a:pt x="78" y="28"/>
                  <a:pt x="78" y="28"/>
                </a:cubicBezTo>
                <a:cubicBezTo>
                  <a:pt x="81" y="25"/>
                  <a:pt x="81" y="25"/>
                  <a:pt x="81" y="25"/>
                </a:cubicBezTo>
                <a:cubicBezTo>
                  <a:pt x="79" y="24"/>
                  <a:pt x="78" y="24"/>
                  <a:pt x="77" y="23"/>
                </a:cubicBezTo>
                <a:cubicBezTo>
                  <a:pt x="77" y="23"/>
                  <a:pt x="77" y="23"/>
                  <a:pt x="77" y="23"/>
                </a:cubicBezTo>
                <a:cubicBezTo>
                  <a:pt x="73" y="19"/>
                  <a:pt x="73" y="13"/>
                  <a:pt x="77" y="9"/>
                </a:cubicBezTo>
                <a:cubicBezTo>
                  <a:pt x="81" y="5"/>
                  <a:pt x="88" y="5"/>
                  <a:pt x="91" y="9"/>
                </a:cubicBezTo>
                <a:cubicBezTo>
                  <a:pt x="95" y="12"/>
                  <a:pt x="95" y="17"/>
                  <a:pt x="93" y="21"/>
                </a:cubicBezTo>
                <a:cubicBezTo>
                  <a:pt x="93" y="22"/>
                  <a:pt x="93" y="22"/>
                  <a:pt x="93" y="22"/>
                </a:cubicBezTo>
                <a:cubicBezTo>
                  <a:pt x="96" y="24"/>
                  <a:pt x="96" y="24"/>
                  <a:pt x="96" y="24"/>
                </a:cubicBezTo>
                <a:cubicBezTo>
                  <a:pt x="96" y="24"/>
                  <a:pt x="96" y="24"/>
                  <a:pt x="96" y="24"/>
                </a:cubicBezTo>
                <a:cubicBezTo>
                  <a:pt x="100" y="22"/>
                  <a:pt x="105" y="22"/>
                  <a:pt x="108" y="26"/>
                </a:cubicBezTo>
                <a:cubicBezTo>
                  <a:pt x="112" y="30"/>
                  <a:pt x="112" y="36"/>
                  <a:pt x="108" y="40"/>
                </a:cubicBezTo>
                <a:cubicBezTo>
                  <a:pt x="105" y="44"/>
                  <a:pt x="98" y="44"/>
                  <a:pt x="94" y="40"/>
                </a:cubicBezTo>
                <a:cubicBezTo>
                  <a:pt x="94" y="40"/>
                  <a:pt x="94" y="40"/>
                  <a:pt x="94" y="40"/>
                </a:cubicBezTo>
                <a:cubicBezTo>
                  <a:pt x="93" y="39"/>
                  <a:pt x="92" y="37"/>
                  <a:pt x="92" y="36"/>
                </a:cubicBezTo>
                <a:cubicBezTo>
                  <a:pt x="89" y="39"/>
                  <a:pt x="89" y="39"/>
                  <a:pt x="89" y="39"/>
                </a:cubicBezTo>
                <a:cubicBezTo>
                  <a:pt x="86" y="42"/>
                  <a:pt x="86" y="42"/>
                  <a:pt x="86" y="42"/>
                </a:cubicBezTo>
                <a:cubicBezTo>
                  <a:pt x="77" y="51"/>
                  <a:pt x="77" y="51"/>
                  <a:pt x="77" y="51"/>
                </a:cubicBezTo>
                <a:lnTo>
                  <a:pt x="69" y="48"/>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411" name="Group 410"/>
          <p:cNvGrpSpPr/>
          <p:nvPr/>
        </p:nvGrpSpPr>
        <p:grpSpPr>
          <a:xfrm>
            <a:off x="7044801" y="3573664"/>
            <a:ext cx="198909" cy="198910"/>
            <a:chOff x="2212976" y="1957387"/>
            <a:chExt cx="493713" cy="493714"/>
          </a:xfrm>
          <a:solidFill>
            <a:schemeClr val="accent6"/>
          </a:solidFill>
        </p:grpSpPr>
        <p:sp>
          <p:nvSpPr>
            <p:cNvPr id="412" name="Freeform 9"/>
            <p:cNvSpPr>
              <a:spLocks/>
            </p:cNvSpPr>
            <p:nvPr/>
          </p:nvSpPr>
          <p:spPr bwMode="auto">
            <a:xfrm>
              <a:off x="2271713" y="1957387"/>
              <a:ext cx="222250" cy="147638"/>
            </a:xfrm>
            <a:custGeom>
              <a:avLst/>
              <a:gdLst>
                <a:gd name="T0" fmla="*/ 0 w 166"/>
                <a:gd name="T1" fmla="*/ 95 h 110"/>
                <a:gd name="T2" fmla="*/ 112 w 166"/>
                <a:gd name="T3" fmla="*/ 90 h 110"/>
                <a:gd name="T4" fmla="*/ 166 w 166"/>
                <a:gd name="T5" fmla="*/ 32 h 110"/>
                <a:gd name="T6" fmla="*/ 93 w 166"/>
                <a:gd name="T7" fmla="*/ 8 h 110"/>
                <a:gd name="T8" fmla="*/ 0 w 166"/>
                <a:gd name="T9" fmla="*/ 95 h 110"/>
              </a:gdLst>
              <a:ahLst/>
              <a:cxnLst>
                <a:cxn ang="0">
                  <a:pos x="T0" y="T1"/>
                </a:cxn>
                <a:cxn ang="0">
                  <a:pos x="T2" y="T3"/>
                </a:cxn>
                <a:cxn ang="0">
                  <a:pos x="T4" y="T5"/>
                </a:cxn>
                <a:cxn ang="0">
                  <a:pos x="T6" y="T7"/>
                </a:cxn>
                <a:cxn ang="0">
                  <a:pos x="T8" y="T9"/>
                </a:cxn>
              </a:cxnLst>
              <a:rect l="0" t="0" r="r" b="b"/>
              <a:pathLst>
                <a:path w="166" h="110">
                  <a:moveTo>
                    <a:pt x="0" y="95"/>
                  </a:moveTo>
                  <a:cubicBezTo>
                    <a:pt x="36" y="101"/>
                    <a:pt x="64" y="110"/>
                    <a:pt x="112" y="90"/>
                  </a:cubicBezTo>
                  <a:cubicBezTo>
                    <a:pt x="138" y="80"/>
                    <a:pt x="158" y="59"/>
                    <a:pt x="166" y="32"/>
                  </a:cubicBezTo>
                  <a:cubicBezTo>
                    <a:pt x="159" y="28"/>
                    <a:pt x="124" y="0"/>
                    <a:pt x="93" y="8"/>
                  </a:cubicBezTo>
                  <a:cubicBezTo>
                    <a:pt x="57" y="16"/>
                    <a:pt x="33" y="42"/>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3" name="Freeform 10"/>
            <p:cNvSpPr>
              <a:spLocks/>
            </p:cNvSpPr>
            <p:nvPr/>
          </p:nvSpPr>
          <p:spPr bwMode="auto">
            <a:xfrm>
              <a:off x="2212976" y="1958975"/>
              <a:ext cx="493713" cy="492126"/>
            </a:xfrm>
            <a:custGeom>
              <a:avLst/>
              <a:gdLst>
                <a:gd name="T0" fmla="*/ 272 w 371"/>
                <a:gd name="T1" fmla="*/ 168 h 368"/>
                <a:gd name="T2" fmla="*/ 269 w 371"/>
                <a:gd name="T3" fmla="*/ 170 h 368"/>
                <a:gd name="T4" fmla="*/ 243 w 371"/>
                <a:gd name="T5" fmla="*/ 128 h 368"/>
                <a:gd name="T6" fmla="*/ 219 w 371"/>
                <a:gd name="T7" fmla="*/ 84 h 368"/>
                <a:gd name="T8" fmla="*/ 240 w 371"/>
                <a:gd name="T9" fmla="*/ 8 h 368"/>
                <a:gd name="T10" fmla="*/ 232 w 371"/>
                <a:gd name="T11" fmla="*/ 0 h 368"/>
                <a:gd name="T12" fmla="*/ 224 w 371"/>
                <a:gd name="T13" fmla="*/ 8 h 368"/>
                <a:gd name="T14" fmla="*/ 205 w 371"/>
                <a:gd name="T15" fmla="*/ 77 h 368"/>
                <a:gd name="T16" fmla="*/ 204 w 371"/>
                <a:gd name="T17" fmla="*/ 79 h 368"/>
                <a:gd name="T18" fmla="*/ 146 w 371"/>
                <a:gd name="T19" fmla="*/ 139 h 368"/>
                <a:gd name="T20" fmla="*/ 87 w 371"/>
                <a:gd name="T21" fmla="*/ 214 h 368"/>
                <a:gd name="T22" fmla="*/ 83 w 371"/>
                <a:gd name="T23" fmla="*/ 212 h 368"/>
                <a:gd name="T24" fmla="*/ 3 w 371"/>
                <a:gd name="T25" fmla="*/ 254 h 368"/>
                <a:gd name="T26" fmla="*/ 63 w 371"/>
                <a:gd name="T27" fmla="*/ 356 h 368"/>
                <a:gd name="T28" fmla="*/ 93 w 371"/>
                <a:gd name="T29" fmla="*/ 359 h 368"/>
                <a:gd name="T30" fmla="*/ 174 w 371"/>
                <a:gd name="T31" fmla="*/ 273 h 368"/>
                <a:gd name="T32" fmla="*/ 105 w 371"/>
                <a:gd name="T33" fmla="*/ 214 h 368"/>
                <a:gd name="T34" fmla="*/ 104 w 371"/>
                <a:gd name="T35" fmla="*/ 214 h 368"/>
                <a:gd name="T36" fmla="*/ 157 w 371"/>
                <a:gd name="T37" fmla="*/ 151 h 368"/>
                <a:gd name="T38" fmla="*/ 207 w 371"/>
                <a:gd name="T39" fmla="*/ 102 h 368"/>
                <a:gd name="T40" fmla="*/ 232 w 371"/>
                <a:gd name="T41" fmla="*/ 140 h 368"/>
                <a:gd name="T42" fmla="*/ 254 w 371"/>
                <a:gd name="T43" fmla="*/ 174 h 368"/>
                <a:gd name="T44" fmla="*/ 250 w 371"/>
                <a:gd name="T45" fmla="*/ 174 h 368"/>
                <a:gd name="T46" fmla="*/ 191 w 371"/>
                <a:gd name="T47" fmla="*/ 245 h 368"/>
                <a:gd name="T48" fmla="*/ 288 w 371"/>
                <a:gd name="T49" fmla="*/ 315 h 368"/>
                <a:gd name="T50" fmla="*/ 317 w 371"/>
                <a:gd name="T51" fmla="*/ 306 h 368"/>
                <a:gd name="T52" fmla="*/ 360 w 371"/>
                <a:gd name="T53" fmla="*/ 195 h 368"/>
                <a:gd name="T54" fmla="*/ 272 w 371"/>
                <a:gd name="T55" fmla="*/ 1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1" h="368">
                  <a:moveTo>
                    <a:pt x="272" y="168"/>
                  </a:moveTo>
                  <a:cubicBezTo>
                    <a:pt x="271" y="169"/>
                    <a:pt x="270" y="169"/>
                    <a:pt x="269" y="170"/>
                  </a:cubicBezTo>
                  <a:cubicBezTo>
                    <a:pt x="264" y="149"/>
                    <a:pt x="253" y="138"/>
                    <a:pt x="243" y="128"/>
                  </a:cubicBezTo>
                  <a:cubicBezTo>
                    <a:pt x="232" y="117"/>
                    <a:pt x="222" y="108"/>
                    <a:pt x="219" y="84"/>
                  </a:cubicBezTo>
                  <a:cubicBezTo>
                    <a:pt x="233" y="61"/>
                    <a:pt x="240" y="35"/>
                    <a:pt x="240" y="8"/>
                  </a:cubicBezTo>
                  <a:cubicBezTo>
                    <a:pt x="240" y="4"/>
                    <a:pt x="237" y="0"/>
                    <a:pt x="232" y="0"/>
                  </a:cubicBezTo>
                  <a:cubicBezTo>
                    <a:pt x="228" y="0"/>
                    <a:pt x="224" y="4"/>
                    <a:pt x="224" y="8"/>
                  </a:cubicBezTo>
                  <a:cubicBezTo>
                    <a:pt x="224" y="32"/>
                    <a:pt x="218" y="56"/>
                    <a:pt x="205" y="77"/>
                  </a:cubicBezTo>
                  <a:cubicBezTo>
                    <a:pt x="205" y="78"/>
                    <a:pt x="204" y="78"/>
                    <a:pt x="204" y="79"/>
                  </a:cubicBezTo>
                  <a:cubicBezTo>
                    <a:pt x="189" y="103"/>
                    <a:pt x="168" y="121"/>
                    <a:pt x="146" y="139"/>
                  </a:cubicBezTo>
                  <a:cubicBezTo>
                    <a:pt x="120" y="162"/>
                    <a:pt x="94" y="183"/>
                    <a:pt x="87" y="214"/>
                  </a:cubicBezTo>
                  <a:cubicBezTo>
                    <a:pt x="86" y="213"/>
                    <a:pt x="84" y="213"/>
                    <a:pt x="83" y="212"/>
                  </a:cubicBezTo>
                  <a:cubicBezTo>
                    <a:pt x="47" y="195"/>
                    <a:pt x="6" y="215"/>
                    <a:pt x="3" y="254"/>
                  </a:cubicBezTo>
                  <a:cubicBezTo>
                    <a:pt x="0" y="298"/>
                    <a:pt x="28" y="357"/>
                    <a:pt x="63" y="356"/>
                  </a:cubicBezTo>
                  <a:cubicBezTo>
                    <a:pt x="73" y="355"/>
                    <a:pt x="83" y="356"/>
                    <a:pt x="93" y="359"/>
                  </a:cubicBezTo>
                  <a:cubicBezTo>
                    <a:pt x="127" y="368"/>
                    <a:pt x="167" y="316"/>
                    <a:pt x="174" y="273"/>
                  </a:cubicBezTo>
                  <a:cubicBezTo>
                    <a:pt x="180" y="234"/>
                    <a:pt x="143" y="205"/>
                    <a:pt x="105" y="214"/>
                  </a:cubicBezTo>
                  <a:cubicBezTo>
                    <a:pt x="104" y="214"/>
                    <a:pt x="104" y="214"/>
                    <a:pt x="104" y="214"/>
                  </a:cubicBezTo>
                  <a:cubicBezTo>
                    <a:pt x="111" y="191"/>
                    <a:pt x="132" y="172"/>
                    <a:pt x="157" y="151"/>
                  </a:cubicBezTo>
                  <a:cubicBezTo>
                    <a:pt x="174" y="137"/>
                    <a:pt x="192" y="121"/>
                    <a:pt x="207" y="102"/>
                  </a:cubicBezTo>
                  <a:cubicBezTo>
                    <a:pt x="212" y="121"/>
                    <a:pt x="223" y="131"/>
                    <a:pt x="232" y="140"/>
                  </a:cubicBezTo>
                  <a:cubicBezTo>
                    <a:pt x="242" y="149"/>
                    <a:pt x="250" y="157"/>
                    <a:pt x="254" y="174"/>
                  </a:cubicBezTo>
                  <a:cubicBezTo>
                    <a:pt x="253" y="174"/>
                    <a:pt x="251" y="174"/>
                    <a:pt x="250" y="174"/>
                  </a:cubicBezTo>
                  <a:cubicBezTo>
                    <a:pt x="209" y="173"/>
                    <a:pt x="178" y="208"/>
                    <a:pt x="191" y="245"/>
                  </a:cubicBezTo>
                  <a:cubicBezTo>
                    <a:pt x="206" y="287"/>
                    <a:pt x="255" y="330"/>
                    <a:pt x="288" y="315"/>
                  </a:cubicBezTo>
                  <a:cubicBezTo>
                    <a:pt x="297" y="311"/>
                    <a:pt x="307" y="308"/>
                    <a:pt x="317" y="306"/>
                  </a:cubicBezTo>
                  <a:cubicBezTo>
                    <a:pt x="353" y="301"/>
                    <a:pt x="371" y="238"/>
                    <a:pt x="360" y="195"/>
                  </a:cubicBezTo>
                  <a:cubicBezTo>
                    <a:pt x="351" y="157"/>
                    <a:pt x="305" y="145"/>
                    <a:pt x="27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14" name="Group 413"/>
          <p:cNvGrpSpPr/>
          <p:nvPr/>
        </p:nvGrpSpPr>
        <p:grpSpPr>
          <a:xfrm>
            <a:off x="5755144" y="3446783"/>
            <a:ext cx="130241" cy="305859"/>
            <a:chOff x="3281315" y="1703922"/>
            <a:chExt cx="117989" cy="277086"/>
          </a:xfrm>
          <a:solidFill>
            <a:schemeClr val="accent6"/>
          </a:solidFill>
        </p:grpSpPr>
        <p:sp>
          <p:nvSpPr>
            <p:cNvPr id="415" name="Freeform 9"/>
            <p:cNvSpPr>
              <a:spLocks/>
            </p:cNvSpPr>
            <p:nvPr/>
          </p:nvSpPr>
          <p:spPr bwMode="auto">
            <a:xfrm>
              <a:off x="3329272" y="1966545"/>
              <a:ext cx="31971" cy="14463"/>
            </a:xfrm>
            <a:custGeom>
              <a:avLst/>
              <a:gdLst>
                <a:gd name="T0" fmla="*/ 39 w 41"/>
                <a:gd name="T1" fmla="*/ 1 h 19"/>
                <a:gd name="T2" fmla="*/ 21 w 41"/>
                <a:gd name="T3" fmla="*/ 3 h 19"/>
                <a:gd name="T4" fmla="*/ 0 w 41"/>
                <a:gd name="T5" fmla="*/ 0 h 19"/>
                <a:gd name="T6" fmla="*/ 21 w 41"/>
                <a:gd name="T7" fmla="*/ 19 h 19"/>
                <a:gd name="T8" fmla="*/ 41 w 41"/>
                <a:gd name="T9" fmla="*/ 0 h 19"/>
                <a:gd name="T10" fmla="*/ 39 w 41"/>
                <a:gd name="T11" fmla="*/ 1 h 19"/>
              </a:gdLst>
              <a:ahLst/>
              <a:cxnLst>
                <a:cxn ang="0">
                  <a:pos x="T0" y="T1"/>
                </a:cxn>
                <a:cxn ang="0">
                  <a:pos x="T2" y="T3"/>
                </a:cxn>
                <a:cxn ang="0">
                  <a:pos x="T4" y="T5"/>
                </a:cxn>
                <a:cxn ang="0">
                  <a:pos x="T6" y="T7"/>
                </a:cxn>
                <a:cxn ang="0">
                  <a:pos x="T8" y="T9"/>
                </a:cxn>
                <a:cxn ang="0">
                  <a:pos x="T10" y="T11"/>
                </a:cxn>
              </a:cxnLst>
              <a:rect l="0" t="0" r="r" b="b"/>
              <a:pathLst>
                <a:path w="41" h="19">
                  <a:moveTo>
                    <a:pt x="39" y="1"/>
                  </a:moveTo>
                  <a:cubicBezTo>
                    <a:pt x="33" y="2"/>
                    <a:pt x="27" y="3"/>
                    <a:pt x="21" y="3"/>
                  </a:cubicBezTo>
                  <a:cubicBezTo>
                    <a:pt x="14" y="3"/>
                    <a:pt x="7" y="2"/>
                    <a:pt x="0" y="0"/>
                  </a:cubicBezTo>
                  <a:cubicBezTo>
                    <a:pt x="1" y="11"/>
                    <a:pt x="10" y="19"/>
                    <a:pt x="21" y="19"/>
                  </a:cubicBezTo>
                  <a:cubicBezTo>
                    <a:pt x="32" y="19"/>
                    <a:pt x="40" y="11"/>
                    <a:pt x="41" y="0"/>
                  </a:cubicBezTo>
                  <a:lnTo>
                    <a:pt x="3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6" name="Freeform 10"/>
            <p:cNvSpPr>
              <a:spLocks/>
            </p:cNvSpPr>
            <p:nvPr/>
          </p:nvSpPr>
          <p:spPr bwMode="auto">
            <a:xfrm>
              <a:off x="3336884" y="1703922"/>
              <a:ext cx="17508" cy="13702"/>
            </a:xfrm>
            <a:custGeom>
              <a:avLst/>
              <a:gdLst>
                <a:gd name="T0" fmla="*/ 2 w 22"/>
                <a:gd name="T1" fmla="*/ 18 h 18"/>
                <a:gd name="T2" fmla="*/ 5 w 22"/>
                <a:gd name="T3" fmla="*/ 18 h 18"/>
                <a:gd name="T4" fmla="*/ 16 w 22"/>
                <a:gd name="T5" fmla="*/ 18 h 18"/>
                <a:gd name="T6" fmla="*/ 20 w 22"/>
                <a:gd name="T7" fmla="*/ 18 h 18"/>
                <a:gd name="T8" fmla="*/ 20 w 22"/>
                <a:gd name="T9" fmla="*/ 18 h 18"/>
                <a:gd name="T10" fmla="*/ 22 w 22"/>
                <a:gd name="T11" fmla="*/ 13 h 18"/>
                <a:gd name="T12" fmla="*/ 21 w 22"/>
                <a:gd name="T13" fmla="*/ 6 h 18"/>
                <a:gd name="T14" fmla="*/ 15 w 22"/>
                <a:gd name="T15" fmla="*/ 0 h 18"/>
                <a:gd name="T16" fmla="*/ 11 w 22"/>
                <a:gd name="T17" fmla="*/ 0 h 18"/>
                <a:gd name="T18" fmla="*/ 7 w 22"/>
                <a:gd name="T19" fmla="*/ 0 h 18"/>
                <a:gd name="T20" fmla="*/ 1 w 22"/>
                <a:gd name="T21" fmla="*/ 6 h 18"/>
                <a:gd name="T22" fmla="*/ 0 w 22"/>
                <a:gd name="T23" fmla="*/ 13 h 18"/>
                <a:gd name="T24" fmla="*/ 1 w 22"/>
                <a:gd name="T25" fmla="*/ 18 h 18"/>
                <a:gd name="T26" fmla="*/ 2 w 22"/>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2" y="18"/>
                  </a:moveTo>
                  <a:cubicBezTo>
                    <a:pt x="3" y="18"/>
                    <a:pt x="4" y="18"/>
                    <a:pt x="5" y="18"/>
                  </a:cubicBezTo>
                  <a:cubicBezTo>
                    <a:pt x="9" y="17"/>
                    <a:pt x="13" y="17"/>
                    <a:pt x="16" y="18"/>
                  </a:cubicBezTo>
                  <a:cubicBezTo>
                    <a:pt x="18" y="18"/>
                    <a:pt x="19" y="18"/>
                    <a:pt x="20" y="18"/>
                  </a:cubicBezTo>
                  <a:cubicBezTo>
                    <a:pt x="20" y="18"/>
                    <a:pt x="20" y="18"/>
                    <a:pt x="20" y="18"/>
                  </a:cubicBezTo>
                  <a:cubicBezTo>
                    <a:pt x="21" y="17"/>
                    <a:pt x="22" y="15"/>
                    <a:pt x="22" y="13"/>
                  </a:cubicBezTo>
                  <a:cubicBezTo>
                    <a:pt x="21" y="6"/>
                    <a:pt x="21" y="6"/>
                    <a:pt x="21" y="6"/>
                  </a:cubicBezTo>
                  <a:cubicBezTo>
                    <a:pt x="20" y="3"/>
                    <a:pt x="18" y="1"/>
                    <a:pt x="15" y="0"/>
                  </a:cubicBezTo>
                  <a:cubicBezTo>
                    <a:pt x="13" y="0"/>
                    <a:pt x="12" y="0"/>
                    <a:pt x="11" y="0"/>
                  </a:cubicBezTo>
                  <a:cubicBezTo>
                    <a:pt x="9" y="0"/>
                    <a:pt x="8" y="0"/>
                    <a:pt x="7" y="0"/>
                  </a:cubicBezTo>
                  <a:cubicBezTo>
                    <a:pt x="4" y="0"/>
                    <a:pt x="1" y="3"/>
                    <a:pt x="1" y="6"/>
                  </a:cubicBezTo>
                  <a:cubicBezTo>
                    <a:pt x="0" y="13"/>
                    <a:pt x="0" y="13"/>
                    <a:pt x="0" y="13"/>
                  </a:cubicBezTo>
                  <a:cubicBezTo>
                    <a:pt x="0" y="15"/>
                    <a:pt x="0" y="17"/>
                    <a:pt x="1" y="18"/>
                  </a:cubicBezTo>
                  <a:cubicBezTo>
                    <a:pt x="1" y="18"/>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7" name="Freeform 11"/>
            <p:cNvSpPr>
              <a:spLocks/>
            </p:cNvSpPr>
            <p:nvPr/>
          </p:nvSpPr>
          <p:spPr bwMode="auto">
            <a:xfrm>
              <a:off x="3355915" y="1713818"/>
              <a:ext cx="15224" cy="15986"/>
            </a:xfrm>
            <a:custGeom>
              <a:avLst/>
              <a:gdLst>
                <a:gd name="T0" fmla="*/ 20 w 20"/>
                <a:gd name="T1" fmla="*/ 13 h 21"/>
                <a:gd name="T2" fmla="*/ 19 w 20"/>
                <a:gd name="T3" fmla="*/ 6 h 21"/>
                <a:gd name="T4" fmla="*/ 13 w 20"/>
                <a:gd name="T5" fmla="*/ 0 h 21"/>
                <a:gd name="T6" fmla="*/ 9 w 20"/>
                <a:gd name="T7" fmla="*/ 0 h 21"/>
                <a:gd name="T8" fmla="*/ 5 w 20"/>
                <a:gd name="T9" fmla="*/ 0 h 21"/>
                <a:gd name="T10" fmla="*/ 2 w 20"/>
                <a:gd name="T11" fmla="*/ 1 h 21"/>
                <a:gd name="T12" fmla="*/ 0 w 20"/>
                <a:gd name="T13" fmla="*/ 7 h 21"/>
                <a:gd name="T14" fmla="*/ 5 w 20"/>
                <a:gd name="T15" fmla="*/ 17 h 21"/>
                <a:gd name="T16" fmla="*/ 6 w 20"/>
                <a:gd name="T17" fmla="*/ 20 h 21"/>
                <a:gd name="T18" fmla="*/ 14 w 20"/>
                <a:gd name="T19" fmla="*/ 20 h 21"/>
                <a:gd name="T20" fmla="*/ 14 w 20"/>
                <a:gd name="T21" fmla="*/ 20 h 21"/>
                <a:gd name="T22" fmla="*/ 18 w 20"/>
                <a:gd name="T23" fmla="*/ 18 h 21"/>
                <a:gd name="T24" fmla="*/ 20 w 20"/>
                <a:gd name="T25"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1">
                  <a:moveTo>
                    <a:pt x="20" y="13"/>
                  </a:moveTo>
                  <a:cubicBezTo>
                    <a:pt x="19" y="6"/>
                    <a:pt x="19" y="6"/>
                    <a:pt x="19" y="6"/>
                  </a:cubicBezTo>
                  <a:cubicBezTo>
                    <a:pt x="18" y="3"/>
                    <a:pt x="16" y="0"/>
                    <a:pt x="13" y="0"/>
                  </a:cubicBezTo>
                  <a:cubicBezTo>
                    <a:pt x="12" y="0"/>
                    <a:pt x="10" y="0"/>
                    <a:pt x="9" y="0"/>
                  </a:cubicBezTo>
                  <a:cubicBezTo>
                    <a:pt x="8" y="0"/>
                    <a:pt x="6" y="0"/>
                    <a:pt x="5" y="0"/>
                  </a:cubicBezTo>
                  <a:cubicBezTo>
                    <a:pt x="4" y="0"/>
                    <a:pt x="3" y="1"/>
                    <a:pt x="2" y="1"/>
                  </a:cubicBezTo>
                  <a:cubicBezTo>
                    <a:pt x="2" y="4"/>
                    <a:pt x="1" y="6"/>
                    <a:pt x="0" y="7"/>
                  </a:cubicBezTo>
                  <a:cubicBezTo>
                    <a:pt x="3" y="10"/>
                    <a:pt x="5" y="13"/>
                    <a:pt x="5" y="17"/>
                  </a:cubicBezTo>
                  <a:cubicBezTo>
                    <a:pt x="6" y="20"/>
                    <a:pt x="6" y="20"/>
                    <a:pt x="6" y="20"/>
                  </a:cubicBezTo>
                  <a:cubicBezTo>
                    <a:pt x="8" y="21"/>
                    <a:pt x="11" y="21"/>
                    <a:pt x="14" y="20"/>
                  </a:cubicBezTo>
                  <a:cubicBezTo>
                    <a:pt x="14" y="20"/>
                    <a:pt x="14" y="20"/>
                    <a:pt x="14" y="20"/>
                  </a:cubicBezTo>
                  <a:cubicBezTo>
                    <a:pt x="16" y="20"/>
                    <a:pt x="17" y="19"/>
                    <a:pt x="18" y="18"/>
                  </a:cubicBezTo>
                  <a:cubicBezTo>
                    <a:pt x="20" y="16"/>
                    <a:pt x="20" y="14"/>
                    <a:pt x="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8" name="Freeform 12"/>
            <p:cNvSpPr>
              <a:spLocks/>
            </p:cNvSpPr>
            <p:nvPr/>
          </p:nvSpPr>
          <p:spPr bwMode="auto">
            <a:xfrm>
              <a:off x="3319376" y="1713818"/>
              <a:ext cx="15986" cy="15986"/>
            </a:xfrm>
            <a:custGeom>
              <a:avLst/>
              <a:gdLst>
                <a:gd name="T0" fmla="*/ 15 w 21"/>
                <a:gd name="T1" fmla="*/ 17 h 21"/>
                <a:gd name="T2" fmla="*/ 21 w 21"/>
                <a:gd name="T3" fmla="*/ 7 h 21"/>
                <a:gd name="T4" fmla="*/ 19 w 21"/>
                <a:gd name="T5" fmla="*/ 1 h 21"/>
                <a:gd name="T6" fmla="*/ 15 w 21"/>
                <a:gd name="T7" fmla="*/ 0 h 21"/>
                <a:gd name="T8" fmla="*/ 11 w 21"/>
                <a:gd name="T9" fmla="*/ 0 h 21"/>
                <a:gd name="T10" fmla="*/ 8 w 21"/>
                <a:gd name="T11" fmla="*/ 0 h 21"/>
                <a:gd name="T12" fmla="*/ 2 w 21"/>
                <a:gd name="T13" fmla="*/ 6 h 21"/>
                <a:gd name="T14" fmla="*/ 1 w 21"/>
                <a:gd name="T15" fmla="*/ 13 h 21"/>
                <a:gd name="T16" fmla="*/ 2 w 21"/>
                <a:gd name="T17" fmla="*/ 18 h 21"/>
                <a:gd name="T18" fmla="*/ 7 w 21"/>
                <a:gd name="T19" fmla="*/ 20 h 21"/>
                <a:gd name="T20" fmla="*/ 15 w 21"/>
                <a:gd name="T21" fmla="*/ 20 h 21"/>
                <a:gd name="T22" fmla="*/ 15 w 21"/>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5" y="17"/>
                  </a:moveTo>
                  <a:cubicBezTo>
                    <a:pt x="16" y="13"/>
                    <a:pt x="18" y="10"/>
                    <a:pt x="21" y="7"/>
                  </a:cubicBezTo>
                  <a:cubicBezTo>
                    <a:pt x="19" y="6"/>
                    <a:pt x="19" y="4"/>
                    <a:pt x="19" y="1"/>
                  </a:cubicBezTo>
                  <a:cubicBezTo>
                    <a:pt x="18" y="1"/>
                    <a:pt x="17" y="0"/>
                    <a:pt x="15" y="0"/>
                  </a:cubicBezTo>
                  <a:cubicBezTo>
                    <a:pt x="14" y="0"/>
                    <a:pt x="13" y="0"/>
                    <a:pt x="11" y="0"/>
                  </a:cubicBezTo>
                  <a:cubicBezTo>
                    <a:pt x="10" y="0"/>
                    <a:pt x="9" y="0"/>
                    <a:pt x="8" y="0"/>
                  </a:cubicBezTo>
                  <a:cubicBezTo>
                    <a:pt x="4" y="0"/>
                    <a:pt x="2" y="3"/>
                    <a:pt x="2" y="6"/>
                  </a:cubicBezTo>
                  <a:cubicBezTo>
                    <a:pt x="1" y="13"/>
                    <a:pt x="1" y="13"/>
                    <a:pt x="1" y="13"/>
                  </a:cubicBezTo>
                  <a:cubicBezTo>
                    <a:pt x="0" y="14"/>
                    <a:pt x="1" y="16"/>
                    <a:pt x="2" y="18"/>
                  </a:cubicBezTo>
                  <a:cubicBezTo>
                    <a:pt x="3" y="19"/>
                    <a:pt x="5" y="20"/>
                    <a:pt x="7" y="20"/>
                  </a:cubicBezTo>
                  <a:cubicBezTo>
                    <a:pt x="9" y="21"/>
                    <a:pt x="12" y="21"/>
                    <a:pt x="15" y="20"/>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9" name="Freeform 13"/>
            <p:cNvSpPr>
              <a:spLocks/>
            </p:cNvSpPr>
            <p:nvPr/>
          </p:nvSpPr>
          <p:spPr bwMode="auto">
            <a:xfrm>
              <a:off x="3332317" y="1749595"/>
              <a:ext cx="25882" cy="23598"/>
            </a:xfrm>
            <a:custGeom>
              <a:avLst/>
              <a:gdLst>
                <a:gd name="T0" fmla="*/ 2 w 33"/>
                <a:gd name="T1" fmla="*/ 9 h 31"/>
                <a:gd name="T2" fmla="*/ 0 w 33"/>
                <a:gd name="T3" fmla="*/ 19 h 31"/>
                <a:gd name="T4" fmla="*/ 2 w 33"/>
                <a:gd name="T5" fmla="*/ 27 h 31"/>
                <a:gd name="T6" fmla="*/ 9 w 33"/>
                <a:gd name="T7" fmla="*/ 31 h 31"/>
                <a:gd name="T8" fmla="*/ 24 w 33"/>
                <a:gd name="T9" fmla="*/ 31 h 31"/>
                <a:gd name="T10" fmla="*/ 24 w 33"/>
                <a:gd name="T11" fmla="*/ 31 h 31"/>
                <a:gd name="T12" fmla="*/ 31 w 33"/>
                <a:gd name="T13" fmla="*/ 27 h 31"/>
                <a:gd name="T14" fmla="*/ 33 w 33"/>
                <a:gd name="T15" fmla="*/ 19 h 31"/>
                <a:gd name="T16" fmla="*/ 32 w 33"/>
                <a:gd name="T17" fmla="*/ 9 h 31"/>
                <a:gd name="T18" fmla="*/ 23 w 33"/>
                <a:gd name="T19" fmla="*/ 0 h 31"/>
                <a:gd name="T20" fmla="*/ 16 w 33"/>
                <a:gd name="T21" fmla="*/ 0 h 31"/>
                <a:gd name="T22" fmla="*/ 11 w 33"/>
                <a:gd name="T23" fmla="*/ 0 h 31"/>
                <a:gd name="T24" fmla="*/ 2 w 33"/>
                <a:gd name="T2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1">
                  <a:moveTo>
                    <a:pt x="2" y="9"/>
                  </a:moveTo>
                  <a:cubicBezTo>
                    <a:pt x="0" y="19"/>
                    <a:pt x="0" y="19"/>
                    <a:pt x="0" y="19"/>
                  </a:cubicBezTo>
                  <a:cubicBezTo>
                    <a:pt x="0" y="22"/>
                    <a:pt x="1" y="25"/>
                    <a:pt x="2" y="27"/>
                  </a:cubicBezTo>
                  <a:cubicBezTo>
                    <a:pt x="4" y="29"/>
                    <a:pt x="7" y="31"/>
                    <a:pt x="9" y="31"/>
                  </a:cubicBezTo>
                  <a:cubicBezTo>
                    <a:pt x="14" y="31"/>
                    <a:pt x="19" y="31"/>
                    <a:pt x="24" y="31"/>
                  </a:cubicBezTo>
                  <a:cubicBezTo>
                    <a:pt x="24" y="31"/>
                    <a:pt x="24" y="31"/>
                    <a:pt x="24" y="31"/>
                  </a:cubicBezTo>
                  <a:cubicBezTo>
                    <a:pt x="27" y="31"/>
                    <a:pt x="29" y="29"/>
                    <a:pt x="31" y="27"/>
                  </a:cubicBezTo>
                  <a:cubicBezTo>
                    <a:pt x="33" y="25"/>
                    <a:pt x="33" y="22"/>
                    <a:pt x="33" y="19"/>
                  </a:cubicBezTo>
                  <a:cubicBezTo>
                    <a:pt x="32" y="9"/>
                    <a:pt x="32" y="9"/>
                    <a:pt x="32" y="9"/>
                  </a:cubicBezTo>
                  <a:cubicBezTo>
                    <a:pt x="31" y="4"/>
                    <a:pt x="27" y="1"/>
                    <a:pt x="23" y="0"/>
                  </a:cubicBezTo>
                  <a:cubicBezTo>
                    <a:pt x="21" y="0"/>
                    <a:pt x="19" y="0"/>
                    <a:pt x="16" y="0"/>
                  </a:cubicBezTo>
                  <a:cubicBezTo>
                    <a:pt x="15" y="0"/>
                    <a:pt x="13" y="0"/>
                    <a:pt x="11" y="0"/>
                  </a:cubicBezTo>
                  <a:cubicBezTo>
                    <a:pt x="6" y="1"/>
                    <a:pt x="3" y="4"/>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0" name="Freeform 14"/>
            <p:cNvSpPr>
              <a:spLocks/>
            </p:cNvSpPr>
            <p:nvPr/>
          </p:nvSpPr>
          <p:spPr bwMode="auto">
            <a:xfrm>
              <a:off x="3357437" y="1733610"/>
              <a:ext cx="22837" cy="21314"/>
            </a:xfrm>
            <a:custGeom>
              <a:avLst/>
              <a:gdLst>
                <a:gd name="T0" fmla="*/ 29 w 29"/>
                <a:gd name="T1" fmla="*/ 17 h 27"/>
                <a:gd name="T2" fmla="*/ 27 w 29"/>
                <a:gd name="T3" fmla="*/ 8 h 27"/>
                <a:gd name="T4" fmla="*/ 19 w 29"/>
                <a:gd name="T5" fmla="*/ 0 h 27"/>
                <a:gd name="T6" fmla="*/ 14 w 29"/>
                <a:gd name="T7" fmla="*/ 0 h 27"/>
                <a:gd name="T8" fmla="*/ 9 w 29"/>
                <a:gd name="T9" fmla="*/ 0 h 27"/>
                <a:gd name="T10" fmla="*/ 5 w 29"/>
                <a:gd name="T11" fmla="*/ 2 h 27"/>
                <a:gd name="T12" fmla="*/ 2 w 29"/>
                <a:gd name="T13" fmla="*/ 10 h 27"/>
                <a:gd name="T14" fmla="*/ 1 w 29"/>
                <a:gd name="T15" fmla="*/ 11 h 27"/>
                <a:gd name="T16" fmla="*/ 0 w 29"/>
                <a:gd name="T17" fmla="*/ 17 h 27"/>
                <a:gd name="T18" fmla="*/ 0 w 29"/>
                <a:gd name="T19" fmla="*/ 17 h 27"/>
                <a:gd name="T20" fmla="*/ 5 w 29"/>
                <a:gd name="T21" fmla="*/ 26 h 27"/>
                <a:gd name="T22" fmla="*/ 8 w 29"/>
                <a:gd name="T23" fmla="*/ 27 h 27"/>
                <a:gd name="T24" fmla="*/ 21 w 29"/>
                <a:gd name="T25" fmla="*/ 27 h 27"/>
                <a:gd name="T26" fmla="*/ 27 w 29"/>
                <a:gd name="T27" fmla="*/ 24 h 27"/>
                <a:gd name="T28" fmla="*/ 29 w 29"/>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7">
                  <a:moveTo>
                    <a:pt x="29" y="17"/>
                  </a:moveTo>
                  <a:cubicBezTo>
                    <a:pt x="27" y="8"/>
                    <a:pt x="27" y="8"/>
                    <a:pt x="27" y="8"/>
                  </a:cubicBezTo>
                  <a:cubicBezTo>
                    <a:pt x="27" y="4"/>
                    <a:pt x="23" y="1"/>
                    <a:pt x="19" y="0"/>
                  </a:cubicBezTo>
                  <a:cubicBezTo>
                    <a:pt x="18" y="0"/>
                    <a:pt x="16" y="0"/>
                    <a:pt x="14" y="0"/>
                  </a:cubicBezTo>
                  <a:cubicBezTo>
                    <a:pt x="12" y="0"/>
                    <a:pt x="11" y="0"/>
                    <a:pt x="9" y="0"/>
                  </a:cubicBezTo>
                  <a:cubicBezTo>
                    <a:pt x="8" y="0"/>
                    <a:pt x="6" y="1"/>
                    <a:pt x="5" y="2"/>
                  </a:cubicBezTo>
                  <a:cubicBezTo>
                    <a:pt x="5" y="5"/>
                    <a:pt x="3" y="8"/>
                    <a:pt x="2" y="10"/>
                  </a:cubicBezTo>
                  <a:cubicBezTo>
                    <a:pt x="1" y="11"/>
                    <a:pt x="1" y="11"/>
                    <a:pt x="1" y="11"/>
                  </a:cubicBezTo>
                  <a:cubicBezTo>
                    <a:pt x="0" y="17"/>
                    <a:pt x="0" y="17"/>
                    <a:pt x="0" y="17"/>
                  </a:cubicBezTo>
                  <a:cubicBezTo>
                    <a:pt x="0" y="17"/>
                    <a:pt x="0" y="17"/>
                    <a:pt x="0" y="17"/>
                  </a:cubicBezTo>
                  <a:cubicBezTo>
                    <a:pt x="3" y="20"/>
                    <a:pt x="5" y="23"/>
                    <a:pt x="5" y="26"/>
                  </a:cubicBezTo>
                  <a:cubicBezTo>
                    <a:pt x="6" y="27"/>
                    <a:pt x="7" y="27"/>
                    <a:pt x="8" y="27"/>
                  </a:cubicBezTo>
                  <a:cubicBezTo>
                    <a:pt x="12" y="27"/>
                    <a:pt x="16" y="27"/>
                    <a:pt x="21" y="27"/>
                  </a:cubicBezTo>
                  <a:cubicBezTo>
                    <a:pt x="23" y="27"/>
                    <a:pt x="25" y="26"/>
                    <a:pt x="27" y="24"/>
                  </a:cubicBezTo>
                  <a:cubicBezTo>
                    <a:pt x="28" y="22"/>
                    <a:pt x="29" y="19"/>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1" name="Freeform 15"/>
            <p:cNvSpPr>
              <a:spLocks/>
            </p:cNvSpPr>
            <p:nvPr/>
          </p:nvSpPr>
          <p:spPr bwMode="auto">
            <a:xfrm>
              <a:off x="3311002" y="1733610"/>
              <a:ext cx="22837" cy="21314"/>
            </a:xfrm>
            <a:custGeom>
              <a:avLst/>
              <a:gdLst>
                <a:gd name="T0" fmla="*/ 30 w 30"/>
                <a:gd name="T1" fmla="*/ 18 h 27"/>
                <a:gd name="T2" fmla="*/ 30 w 30"/>
                <a:gd name="T3" fmla="*/ 17 h 27"/>
                <a:gd name="T4" fmla="*/ 29 w 30"/>
                <a:gd name="T5" fmla="*/ 11 h 27"/>
                <a:gd name="T6" fmla="*/ 28 w 30"/>
                <a:gd name="T7" fmla="*/ 10 h 27"/>
                <a:gd name="T8" fmla="*/ 25 w 30"/>
                <a:gd name="T9" fmla="*/ 2 h 27"/>
                <a:gd name="T10" fmla="*/ 20 w 30"/>
                <a:gd name="T11" fmla="*/ 0 h 27"/>
                <a:gd name="T12" fmla="*/ 15 w 30"/>
                <a:gd name="T13" fmla="*/ 0 h 27"/>
                <a:gd name="T14" fmla="*/ 10 w 30"/>
                <a:gd name="T15" fmla="*/ 0 h 27"/>
                <a:gd name="T16" fmla="*/ 2 w 30"/>
                <a:gd name="T17" fmla="*/ 8 h 27"/>
                <a:gd name="T18" fmla="*/ 1 w 30"/>
                <a:gd name="T19" fmla="*/ 17 h 27"/>
                <a:gd name="T20" fmla="*/ 3 w 30"/>
                <a:gd name="T21" fmla="*/ 24 h 27"/>
                <a:gd name="T22" fmla="*/ 9 w 30"/>
                <a:gd name="T23" fmla="*/ 27 h 27"/>
                <a:gd name="T24" fmla="*/ 22 w 30"/>
                <a:gd name="T25" fmla="*/ 27 h 27"/>
                <a:gd name="T26" fmla="*/ 24 w 30"/>
                <a:gd name="T27" fmla="*/ 26 h 27"/>
                <a:gd name="T28" fmla="*/ 30 w 30"/>
                <a:gd name="T2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7">
                  <a:moveTo>
                    <a:pt x="30" y="18"/>
                  </a:moveTo>
                  <a:cubicBezTo>
                    <a:pt x="30" y="17"/>
                    <a:pt x="30" y="17"/>
                    <a:pt x="30" y="17"/>
                  </a:cubicBezTo>
                  <a:cubicBezTo>
                    <a:pt x="29" y="11"/>
                    <a:pt x="29" y="11"/>
                    <a:pt x="29" y="11"/>
                  </a:cubicBezTo>
                  <a:cubicBezTo>
                    <a:pt x="28" y="11"/>
                    <a:pt x="28" y="11"/>
                    <a:pt x="28" y="10"/>
                  </a:cubicBezTo>
                  <a:cubicBezTo>
                    <a:pt x="26" y="8"/>
                    <a:pt x="25" y="5"/>
                    <a:pt x="25" y="2"/>
                  </a:cubicBezTo>
                  <a:cubicBezTo>
                    <a:pt x="23" y="1"/>
                    <a:pt x="22" y="0"/>
                    <a:pt x="20" y="0"/>
                  </a:cubicBezTo>
                  <a:cubicBezTo>
                    <a:pt x="19" y="0"/>
                    <a:pt x="17" y="0"/>
                    <a:pt x="15" y="0"/>
                  </a:cubicBezTo>
                  <a:cubicBezTo>
                    <a:pt x="13" y="0"/>
                    <a:pt x="12" y="0"/>
                    <a:pt x="10" y="0"/>
                  </a:cubicBezTo>
                  <a:cubicBezTo>
                    <a:pt x="6" y="0"/>
                    <a:pt x="3" y="4"/>
                    <a:pt x="2" y="8"/>
                  </a:cubicBezTo>
                  <a:cubicBezTo>
                    <a:pt x="1" y="17"/>
                    <a:pt x="1" y="17"/>
                    <a:pt x="1" y="17"/>
                  </a:cubicBezTo>
                  <a:cubicBezTo>
                    <a:pt x="0" y="19"/>
                    <a:pt x="1" y="22"/>
                    <a:pt x="3" y="24"/>
                  </a:cubicBezTo>
                  <a:cubicBezTo>
                    <a:pt x="4" y="26"/>
                    <a:pt x="6" y="27"/>
                    <a:pt x="9" y="27"/>
                  </a:cubicBezTo>
                  <a:cubicBezTo>
                    <a:pt x="13" y="27"/>
                    <a:pt x="17" y="27"/>
                    <a:pt x="22" y="27"/>
                  </a:cubicBezTo>
                  <a:cubicBezTo>
                    <a:pt x="22" y="27"/>
                    <a:pt x="23" y="27"/>
                    <a:pt x="24" y="26"/>
                  </a:cubicBezTo>
                  <a:cubicBezTo>
                    <a:pt x="25" y="23"/>
                    <a:pt x="27" y="20"/>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2" name="Freeform 16"/>
            <p:cNvSpPr>
              <a:spLocks/>
            </p:cNvSpPr>
            <p:nvPr/>
          </p:nvSpPr>
          <p:spPr bwMode="auto">
            <a:xfrm>
              <a:off x="3306435" y="1759492"/>
              <a:ext cx="25882" cy="23598"/>
            </a:xfrm>
            <a:custGeom>
              <a:avLst/>
              <a:gdLst>
                <a:gd name="T0" fmla="*/ 31 w 34"/>
                <a:gd name="T1" fmla="*/ 18 h 31"/>
                <a:gd name="T2" fmla="*/ 28 w 34"/>
                <a:gd name="T3" fmla="*/ 5 h 31"/>
                <a:gd name="T4" fmla="*/ 28 w 34"/>
                <a:gd name="T5" fmla="*/ 3 h 31"/>
                <a:gd name="T6" fmla="*/ 23 w 34"/>
                <a:gd name="T7" fmla="*/ 0 h 31"/>
                <a:gd name="T8" fmla="*/ 17 w 34"/>
                <a:gd name="T9" fmla="*/ 0 h 31"/>
                <a:gd name="T10" fmla="*/ 11 w 34"/>
                <a:gd name="T11" fmla="*/ 0 h 31"/>
                <a:gd name="T12" fmla="*/ 2 w 34"/>
                <a:gd name="T13" fmla="*/ 9 h 31"/>
                <a:gd name="T14" fmla="*/ 1 w 34"/>
                <a:gd name="T15" fmla="*/ 19 h 31"/>
                <a:gd name="T16" fmla="*/ 3 w 34"/>
                <a:gd name="T17" fmla="*/ 27 h 31"/>
                <a:gd name="T18" fmla="*/ 10 w 34"/>
                <a:gd name="T19" fmla="*/ 31 h 31"/>
                <a:gd name="T20" fmla="*/ 24 w 34"/>
                <a:gd name="T21" fmla="*/ 31 h 31"/>
                <a:gd name="T22" fmla="*/ 31 w 34"/>
                <a:gd name="T23" fmla="*/ 27 h 31"/>
                <a:gd name="T24" fmla="*/ 33 w 34"/>
                <a:gd name="T25" fmla="*/ 20 h 31"/>
                <a:gd name="T26" fmla="*/ 31 w 34"/>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31" y="18"/>
                  </a:moveTo>
                  <a:cubicBezTo>
                    <a:pt x="29" y="14"/>
                    <a:pt x="27" y="10"/>
                    <a:pt x="28" y="5"/>
                  </a:cubicBezTo>
                  <a:cubicBezTo>
                    <a:pt x="28" y="3"/>
                    <a:pt x="28" y="3"/>
                    <a:pt x="28" y="3"/>
                  </a:cubicBezTo>
                  <a:cubicBezTo>
                    <a:pt x="27" y="1"/>
                    <a:pt x="25" y="0"/>
                    <a:pt x="23" y="0"/>
                  </a:cubicBezTo>
                  <a:cubicBezTo>
                    <a:pt x="21" y="0"/>
                    <a:pt x="19" y="0"/>
                    <a:pt x="17" y="0"/>
                  </a:cubicBezTo>
                  <a:cubicBezTo>
                    <a:pt x="15" y="0"/>
                    <a:pt x="13" y="0"/>
                    <a:pt x="11" y="0"/>
                  </a:cubicBezTo>
                  <a:cubicBezTo>
                    <a:pt x="7" y="1"/>
                    <a:pt x="3" y="4"/>
                    <a:pt x="2" y="9"/>
                  </a:cubicBezTo>
                  <a:cubicBezTo>
                    <a:pt x="1" y="19"/>
                    <a:pt x="1" y="19"/>
                    <a:pt x="1" y="19"/>
                  </a:cubicBezTo>
                  <a:cubicBezTo>
                    <a:pt x="0" y="22"/>
                    <a:pt x="1" y="25"/>
                    <a:pt x="3" y="27"/>
                  </a:cubicBezTo>
                  <a:cubicBezTo>
                    <a:pt x="5" y="29"/>
                    <a:pt x="7" y="31"/>
                    <a:pt x="10" y="31"/>
                  </a:cubicBezTo>
                  <a:cubicBezTo>
                    <a:pt x="15" y="31"/>
                    <a:pt x="20" y="31"/>
                    <a:pt x="24" y="31"/>
                  </a:cubicBezTo>
                  <a:cubicBezTo>
                    <a:pt x="27" y="31"/>
                    <a:pt x="30" y="29"/>
                    <a:pt x="31" y="27"/>
                  </a:cubicBezTo>
                  <a:cubicBezTo>
                    <a:pt x="33" y="25"/>
                    <a:pt x="34" y="23"/>
                    <a:pt x="33" y="20"/>
                  </a:cubicBezTo>
                  <a:cubicBezTo>
                    <a:pt x="33" y="19"/>
                    <a:pt x="32" y="19"/>
                    <a:pt x="3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3" name="Freeform 17"/>
            <p:cNvSpPr>
              <a:spLocks/>
            </p:cNvSpPr>
            <p:nvPr/>
          </p:nvSpPr>
          <p:spPr bwMode="auto">
            <a:xfrm>
              <a:off x="3358960" y="1759492"/>
              <a:ext cx="25882" cy="23598"/>
            </a:xfrm>
            <a:custGeom>
              <a:avLst/>
              <a:gdLst>
                <a:gd name="T0" fmla="*/ 33 w 33"/>
                <a:gd name="T1" fmla="*/ 19 h 31"/>
                <a:gd name="T2" fmla="*/ 31 w 33"/>
                <a:gd name="T3" fmla="*/ 9 h 31"/>
                <a:gd name="T4" fmla="*/ 22 w 33"/>
                <a:gd name="T5" fmla="*/ 0 h 31"/>
                <a:gd name="T6" fmla="*/ 16 w 33"/>
                <a:gd name="T7" fmla="*/ 0 h 31"/>
                <a:gd name="T8" fmla="*/ 11 w 33"/>
                <a:gd name="T9" fmla="*/ 0 h 31"/>
                <a:gd name="T10" fmla="*/ 5 w 33"/>
                <a:gd name="T11" fmla="*/ 3 h 31"/>
                <a:gd name="T12" fmla="*/ 5 w 33"/>
                <a:gd name="T13" fmla="*/ 5 h 31"/>
                <a:gd name="T14" fmla="*/ 2 w 33"/>
                <a:gd name="T15" fmla="*/ 18 h 31"/>
                <a:gd name="T16" fmla="*/ 0 w 33"/>
                <a:gd name="T17" fmla="*/ 20 h 31"/>
                <a:gd name="T18" fmla="*/ 2 w 33"/>
                <a:gd name="T19" fmla="*/ 27 h 31"/>
                <a:gd name="T20" fmla="*/ 9 w 33"/>
                <a:gd name="T21" fmla="*/ 31 h 31"/>
                <a:gd name="T22" fmla="*/ 24 w 33"/>
                <a:gd name="T23" fmla="*/ 31 h 31"/>
                <a:gd name="T24" fmla="*/ 31 w 33"/>
                <a:gd name="T25" fmla="*/ 27 h 31"/>
                <a:gd name="T26" fmla="*/ 33 w 33"/>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1">
                  <a:moveTo>
                    <a:pt x="33" y="19"/>
                  </a:moveTo>
                  <a:cubicBezTo>
                    <a:pt x="31" y="9"/>
                    <a:pt x="31" y="9"/>
                    <a:pt x="31" y="9"/>
                  </a:cubicBezTo>
                  <a:cubicBezTo>
                    <a:pt x="31" y="4"/>
                    <a:pt x="27" y="1"/>
                    <a:pt x="22" y="0"/>
                  </a:cubicBezTo>
                  <a:cubicBezTo>
                    <a:pt x="20" y="0"/>
                    <a:pt x="18" y="0"/>
                    <a:pt x="16" y="0"/>
                  </a:cubicBezTo>
                  <a:cubicBezTo>
                    <a:pt x="14" y="0"/>
                    <a:pt x="13" y="0"/>
                    <a:pt x="11" y="0"/>
                  </a:cubicBezTo>
                  <a:cubicBezTo>
                    <a:pt x="9" y="0"/>
                    <a:pt x="7" y="1"/>
                    <a:pt x="5" y="3"/>
                  </a:cubicBezTo>
                  <a:cubicBezTo>
                    <a:pt x="5" y="5"/>
                    <a:pt x="5" y="5"/>
                    <a:pt x="5" y="5"/>
                  </a:cubicBezTo>
                  <a:cubicBezTo>
                    <a:pt x="6" y="10"/>
                    <a:pt x="5" y="14"/>
                    <a:pt x="2" y="18"/>
                  </a:cubicBezTo>
                  <a:cubicBezTo>
                    <a:pt x="1" y="19"/>
                    <a:pt x="1" y="19"/>
                    <a:pt x="0" y="20"/>
                  </a:cubicBezTo>
                  <a:cubicBezTo>
                    <a:pt x="0" y="23"/>
                    <a:pt x="1" y="25"/>
                    <a:pt x="2" y="27"/>
                  </a:cubicBezTo>
                  <a:cubicBezTo>
                    <a:pt x="4" y="29"/>
                    <a:pt x="6" y="31"/>
                    <a:pt x="9" y="31"/>
                  </a:cubicBezTo>
                  <a:cubicBezTo>
                    <a:pt x="14" y="31"/>
                    <a:pt x="19" y="31"/>
                    <a:pt x="24" y="31"/>
                  </a:cubicBezTo>
                  <a:cubicBezTo>
                    <a:pt x="26" y="31"/>
                    <a:pt x="29" y="29"/>
                    <a:pt x="31" y="27"/>
                  </a:cubicBezTo>
                  <a:cubicBezTo>
                    <a:pt x="32" y="25"/>
                    <a:pt x="33" y="22"/>
                    <a:pt x="3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4" name="Freeform 18"/>
            <p:cNvSpPr>
              <a:spLocks/>
            </p:cNvSpPr>
            <p:nvPr/>
          </p:nvSpPr>
          <p:spPr bwMode="auto">
            <a:xfrm>
              <a:off x="3331556" y="1779283"/>
              <a:ext cx="28165" cy="25121"/>
            </a:xfrm>
            <a:custGeom>
              <a:avLst/>
              <a:gdLst>
                <a:gd name="T0" fmla="*/ 2 w 36"/>
                <a:gd name="T1" fmla="*/ 9 h 33"/>
                <a:gd name="T2" fmla="*/ 0 w 36"/>
                <a:gd name="T3" fmla="*/ 20 h 33"/>
                <a:gd name="T4" fmla="*/ 3 w 36"/>
                <a:gd name="T5" fmla="*/ 29 h 33"/>
                <a:gd name="T6" fmla="*/ 10 w 36"/>
                <a:gd name="T7" fmla="*/ 33 h 33"/>
                <a:gd name="T8" fmla="*/ 25 w 36"/>
                <a:gd name="T9" fmla="*/ 33 h 33"/>
                <a:gd name="T10" fmla="*/ 33 w 36"/>
                <a:gd name="T11" fmla="*/ 29 h 33"/>
                <a:gd name="T12" fmla="*/ 35 w 36"/>
                <a:gd name="T13" fmla="*/ 20 h 33"/>
                <a:gd name="T14" fmla="*/ 33 w 36"/>
                <a:gd name="T15" fmla="*/ 10 h 33"/>
                <a:gd name="T16" fmla="*/ 24 w 36"/>
                <a:gd name="T17" fmla="*/ 0 h 33"/>
                <a:gd name="T18" fmla="*/ 17 w 36"/>
                <a:gd name="T19" fmla="*/ 0 h 33"/>
                <a:gd name="T20" fmla="*/ 12 w 36"/>
                <a:gd name="T21" fmla="*/ 0 h 33"/>
                <a:gd name="T22" fmla="*/ 2 w 36"/>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3">
                  <a:moveTo>
                    <a:pt x="2" y="9"/>
                  </a:moveTo>
                  <a:cubicBezTo>
                    <a:pt x="0" y="20"/>
                    <a:pt x="0" y="20"/>
                    <a:pt x="0" y="20"/>
                  </a:cubicBezTo>
                  <a:cubicBezTo>
                    <a:pt x="0" y="23"/>
                    <a:pt x="1" y="26"/>
                    <a:pt x="3" y="29"/>
                  </a:cubicBezTo>
                  <a:cubicBezTo>
                    <a:pt x="4" y="31"/>
                    <a:pt x="7" y="33"/>
                    <a:pt x="10" y="33"/>
                  </a:cubicBezTo>
                  <a:cubicBezTo>
                    <a:pt x="15" y="33"/>
                    <a:pt x="20" y="33"/>
                    <a:pt x="25" y="33"/>
                  </a:cubicBezTo>
                  <a:cubicBezTo>
                    <a:pt x="28" y="33"/>
                    <a:pt x="31" y="31"/>
                    <a:pt x="33" y="29"/>
                  </a:cubicBezTo>
                  <a:cubicBezTo>
                    <a:pt x="35" y="26"/>
                    <a:pt x="36" y="23"/>
                    <a:pt x="35" y="20"/>
                  </a:cubicBezTo>
                  <a:cubicBezTo>
                    <a:pt x="33" y="10"/>
                    <a:pt x="33" y="10"/>
                    <a:pt x="33" y="10"/>
                  </a:cubicBezTo>
                  <a:cubicBezTo>
                    <a:pt x="33" y="5"/>
                    <a:pt x="29" y="1"/>
                    <a:pt x="24" y="0"/>
                  </a:cubicBezTo>
                  <a:cubicBezTo>
                    <a:pt x="22" y="0"/>
                    <a:pt x="20" y="0"/>
                    <a:pt x="17" y="0"/>
                  </a:cubicBezTo>
                  <a:cubicBezTo>
                    <a:pt x="16" y="0"/>
                    <a:pt x="14" y="0"/>
                    <a:pt x="12" y="0"/>
                  </a:cubicBezTo>
                  <a:cubicBezTo>
                    <a:pt x="7" y="1"/>
                    <a:pt x="3"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5" name="Freeform 19"/>
            <p:cNvSpPr>
              <a:spLocks/>
            </p:cNvSpPr>
            <p:nvPr/>
          </p:nvSpPr>
          <p:spPr bwMode="auto">
            <a:xfrm>
              <a:off x="3359721" y="1787657"/>
              <a:ext cx="27404" cy="25882"/>
            </a:xfrm>
            <a:custGeom>
              <a:avLst/>
              <a:gdLst>
                <a:gd name="T0" fmla="*/ 35 w 35"/>
                <a:gd name="T1" fmla="*/ 21 h 33"/>
                <a:gd name="T2" fmla="*/ 33 w 35"/>
                <a:gd name="T3" fmla="*/ 10 h 33"/>
                <a:gd name="T4" fmla="*/ 24 w 35"/>
                <a:gd name="T5" fmla="*/ 0 h 33"/>
                <a:gd name="T6" fmla="*/ 17 w 35"/>
                <a:gd name="T7" fmla="*/ 0 h 33"/>
                <a:gd name="T8" fmla="*/ 11 w 35"/>
                <a:gd name="T9" fmla="*/ 0 h 33"/>
                <a:gd name="T10" fmla="*/ 5 w 35"/>
                <a:gd name="T11" fmla="*/ 3 h 33"/>
                <a:gd name="T12" fmla="*/ 6 w 35"/>
                <a:gd name="T13" fmla="*/ 8 h 33"/>
                <a:gd name="T14" fmla="*/ 2 w 35"/>
                <a:gd name="T15" fmla="*/ 22 h 33"/>
                <a:gd name="T16" fmla="*/ 0 w 35"/>
                <a:gd name="T17" fmla="*/ 24 h 33"/>
                <a:gd name="T18" fmla="*/ 2 w 35"/>
                <a:gd name="T19" fmla="*/ 29 h 33"/>
                <a:gd name="T20" fmla="*/ 10 w 35"/>
                <a:gd name="T21" fmla="*/ 33 h 33"/>
                <a:gd name="T22" fmla="*/ 25 w 35"/>
                <a:gd name="T23" fmla="*/ 33 h 33"/>
                <a:gd name="T24" fmla="*/ 25 w 35"/>
                <a:gd name="T25" fmla="*/ 33 h 33"/>
                <a:gd name="T26" fmla="*/ 32 w 35"/>
                <a:gd name="T27" fmla="*/ 29 h 33"/>
                <a:gd name="T28" fmla="*/ 35 w 35"/>
                <a:gd name="T2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5" y="21"/>
                  </a:moveTo>
                  <a:cubicBezTo>
                    <a:pt x="33" y="10"/>
                    <a:pt x="33" y="10"/>
                    <a:pt x="33" y="10"/>
                  </a:cubicBezTo>
                  <a:cubicBezTo>
                    <a:pt x="32" y="5"/>
                    <a:pt x="28" y="1"/>
                    <a:pt x="24" y="0"/>
                  </a:cubicBezTo>
                  <a:cubicBezTo>
                    <a:pt x="21" y="0"/>
                    <a:pt x="19" y="0"/>
                    <a:pt x="17" y="0"/>
                  </a:cubicBezTo>
                  <a:cubicBezTo>
                    <a:pt x="15" y="0"/>
                    <a:pt x="13" y="0"/>
                    <a:pt x="11" y="0"/>
                  </a:cubicBezTo>
                  <a:cubicBezTo>
                    <a:pt x="9" y="1"/>
                    <a:pt x="7" y="2"/>
                    <a:pt x="5" y="3"/>
                  </a:cubicBezTo>
                  <a:cubicBezTo>
                    <a:pt x="6" y="8"/>
                    <a:pt x="6" y="8"/>
                    <a:pt x="6" y="8"/>
                  </a:cubicBezTo>
                  <a:cubicBezTo>
                    <a:pt x="6" y="13"/>
                    <a:pt x="5" y="18"/>
                    <a:pt x="2" y="22"/>
                  </a:cubicBezTo>
                  <a:cubicBezTo>
                    <a:pt x="1" y="23"/>
                    <a:pt x="1" y="23"/>
                    <a:pt x="0" y="24"/>
                  </a:cubicBezTo>
                  <a:cubicBezTo>
                    <a:pt x="0" y="26"/>
                    <a:pt x="1" y="27"/>
                    <a:pt x="2" y="29"/>
                  </a:cubicBezTo>
                  <a:cubicBezTo>
                    <a:pt x="4" y="31"/>
                    <a:pt x="7" y="33"/>
                    <a:pt x="10" y="33"/>
                  </a:cubicBezTo>
                  <a:cubicBezTo>
                    <a:pt x="15" y="33"/>
                    <a:pt x="20" y="33"/>
                    <a:pt x="25" y="33"/>
                  </a:cubicBezTo>
                  <a:cubicBezTo>
                    <a:pt x="25" y="33"/>
                    <a:pt x="25" y="33"/>
                    <a:pt x="25" y="33"/>
                  </a:cubicBezTo>
                  <a:cubicBezTo>
                    <a:pt x="28" y="33"/>
                    <a:pt x="31" y="31"/>
                    <a:pt x="32" y="29"/>
                  </a:cubicBezTo>
                  <a:cubicBezTo>
                    <a:pt x="34" y="27"/>
                    <a:pt x="35" y="23"/>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6" name="Freeform 20"/>
            <p:cNvSpPr>
              <a:spLocks/>
            </p:cNvSpPr>
            <p:nvPr/>
          </p:nvSpPr>
          <p:spPr bwMode="auto">
            <a:xfrm>
              <a:off x="3304152" y="1787657"/>
              <a:ext cx="26643" cy="25882"/>
            </a:xfrm>
            <a:custGeom>
              <a:avLst/>
              <a:gdLst>
                <a:gd name="T0" fmla="*/ 33 w 35"/>
                <a:gd name="T1" fmla="*/ 22 h 33"/>
                <a:gd name="T2" fmla="*/ 30 w 35"/>
                <a:gd name="T3" fmla="*/ 8 h 33"/>
                <a:gd name="T4" fmla="*/ 30 w 35"/>
                <a:gd name="T5" fmla="*/ 3 h 33"/>
                <a:gd name="T6" fmla="*/ 24 w 35"/>
                <a:gd name="T7" fmla="*/ 0 h 33"/>
                <a:gd name="T8" fmla="*/ 18 w 35"/>
                <a:gd name="T9" fmla="*/ 0 h 33"/>
                <a:gd name="T10" fmla="*/ 12 w 35"/>
                <a:gd name="T11" fmla="*/ 0 h 33"/>
                <a:gd name="T12" fmla="*/ 2 w 35"/>
                <a:gd name="T13" fmla="*/ 10 h 33"/>
                <a:gd name="T14" fmla="*/ 1 w 35"/>
                <a:gd name="T15" fmla="*/ 21 h 33"/>
                <a:gd name="T16" fmla="*/ 3 w 35"/>
                <a:gd name="T17" fmla="*/ 29 h 33"/>
                <a:gd name="T18" fmla="*/ 10 w 35"/>
                <a:gd name="T19" fmla="*/ 33 h 33"/>
                <a:gd name="T20" fmla="*/ 26 w 35"/>
                <a:gd name="T21" fmla="*/ 33 h 33"/>
                <a:gd name="T22" fmla="*/ 26 w 35"/>
                <a:gd name="T23" fmla="*/ 33 h 33"/>
                <a:gd name="T24" fmla="*/ 33 w 35"/>
                <a:gd name="T25" fmla="*/ 29 h 33"/>
                <a:gd name="T26" fmla="*/ 35 w 35"/>
                <a:gd name="T27" fmla="*/ 24 h 33"/>
                <a:gd name="T28" fmla="*/ 33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3" y="22"/>
                  </a:moveTo>
                  <a:cubicBezTo>
                    <a:pt x="30" y="18"/>
                    <a:pt x="29" y="13"/>
                    <a:pt x="30" y="8"/>
                  </a:cubicBezTo>
                  <a:cubicBezTo>
                    <a:pt x="30" y="3"/>
                    <a:pt x="30" y="3"/>
                    <a:pt x="30" y="3"/>
                  </a:cubicBezTo>
                  <a:cubicBezTo>
                    <a:pt x="29" y="2"/>
                    <a:pt x="27" y="1"/>
                    <a:pt x="24" y="0"/>
                  </a:cubicBezTo>
                  <a:cubicBezTo>
                    <a:pt x="22" y="0"/>
                    <a:pt x="20" y="0"/>
                    <a:pt x="18" y="0"/>
                  </a:cubicBezTo>
                  <a:cubicBezTo>
                    <a:pt x="16" y="0"/>
                    <a:pt x="14" y="0"/>
                    <a:pt x="12" y="0"/>
                  </a:cubicBezTo>
                  <a:cubicBezTo>
                    <a:pt x="7" y="1"/>
                    <a:pt x="3" y="5"/>
                    <a:pt x="2" y="10"/>
                  </a:cubicBezTo>
                  <a:cubicBezTo>
                    <a:pt x="1" y="21"/>
                    <a:pt x="1" y="21"/>
                    <a:pt x="1" y="21"/>
                  </a:cubicBezTo>
                  <a:cubicBezTo>
                    <a:pt x="0" y="24"/>
                    <a:pt x="1" y="27"/>
                    <a:pt x="3" y="29"/>
                  </a:cubicBezTo>
                  <a:cubicBezTo>
                    <a:pt x="5" y="31"/>
                    <a:pt x="7" y="33"/>
                    <a:pt x="10" y="33"/>
                  </a:cubicBezTo>
                  <a:cubicBezTo>
                    <a:pt x="15" y="33"/>
                    <a:pt x="21" y="33"/>
                    <a:pt x="26" y="33"/>
                  </a:cubicBezTo>
                  <a:cubicBezTo>
                    <a:pt x="26" y="33"/>
                    <a:pt x="26" y="33"/>
                    <a:pt x="26" y="33"/>
                  </a:cubicBezTo>
                  <a:cubicBezTo>
                    <a:pt x="29" y="33"/>
                    <a:pt x="31" y="31"/>
                    <a:pt x="33" y="29"/>
                  </a:cubicBezTo>
                  <a:cubicBezTo>
                    <a:pt x="34" y="27"/>
                    <a:pt x="35" y="26"/>
                    <a:pt x="35" y="24"/>
                  </a:cubicBezTo>
                  <a:cubicBezTo>
                    <a:pt x="35" y="23"/>
                    <a:pt x="34" y="23"/>
                    <a:pt x="3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7" name="Freeform 21"/>
            <p:cNvSpPr>
              <a:spLocks/>
            </p:cNvSpPr>
            <p:nvPr/>
          </p:nvSpPr>
          <p:spPr bwMode="auto">
            <a:xfrm>
              <a:off x="3330033" y="1812777"/>
              <a:ext cx="30449" cy="27404"/>
            </a:xfrm>
            <a:custGeom>
              <a:avLst/>
              <a:gdLst>
                <a:gd name="T0" fmla="*/ 3 w 39"/>
                <a:gd name="T1" fmla="*/ 10 h 36"/>
                <a:gd name="T2" fmla="*/ 1 w 39"/>
                <a:gd name="T3" fmla="*/ 22 h 36"/>
                <a:gd name="T4" fmla="*/ 3 w 39"/>
                <a:gd name="T5" fmla="*/ 31 h 36"/>
                <a:gd name="T6" fmla="*/ 11 w 39"/>
                <a:gd name="T7" fmla="*/ 35 h 36"/>
                <a:gd name="T8" fmla="*/ 28 w 39"/>
                <a:gd name="T9" fmla="*/ 35 h 36"/>
                <a:gd name="T10" fmla="*/ 36 w 39"/>
                <a:gd name="T11" fmla="*/ 31 h 36"/>
                <a:gd name="T12" fmla="*/ 39 w 39"/>
                <a:gd name="T13" fmla="*/ 22 h 36"/>
                <a:gd name="T14" fmla="*/ 37 w 39"/>
                <a:gd name="T15" fmla="*/ 10 h 36"/>
                <a:gd name="T16" fmla="*/ 27 w 39"/>
                <a:gd name="T17" fmla="*/ 0 h 36"/>
                <a:gd name="T18" fmla="*/ 19 w 39"/>
                <a:gd name="T19" fmla="*/ 0 h 36"/>
                <a:gd name="T20" fmla="*/ 13 w 39"/>
                <a:gd name="T21" fmla="*/ 0 h 36"/>
                <a:gd name="T22" fmla="*/ 3 w 39"/>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3" y="10"/>
                  </a:moveTo>
                  <a:cubicBezTo>
                    <a:pt x="1" y="22"/>
                    <a:pt x="1" y="22"/>
                    <a:pt x="1" y="22"/>
                  </a:cubicBezTo>
                  <a:cubicBezTo>
                    <a:pt x="0" y="25"/>
                    <a:pt x="1" y="29"/>
                    <a:pt x="3" y="31"/>
                  </a:cubicBezTo>
                  <a:cubicBezTo>
                    <a:pt x="5" y="34"/>
                    <a:pt x="8" y="35"/>
                    <a:pt x="11" y="35"/>
                  </a:cubicBezTo>
                  <a:cubicBezTo>
                    <a:pt x="17" y="36"/>
                    <a:pt x="23" y="36"/>
                    <a:pt x="28" y="35"/>
                  </a:cubicBezTo>
                  <a:cubicBezTo>
                    <a:pt x="31" y="35"/>
                    <a:pt x="34" y="34"/>
                    <a:pt x="36" y="31"/>
                  </a:cubicBezTo>
                  <a:cubicBezTo>
                    <a:pt x="38" y="29"/>
                    <a:pt x="39" y="25"/>
                    <a:pt x="39" y="22"/>
                  </a:cubicBezTo>
                  <a:cubicBezTo>
                    <a:pt x="37" y="10"/>
                    <a:pt x="37" y="10"/>
                    <a:pt x="37" y="10"/>
                  </a:cubicBezTo>
                  <a:cubicBezTo>
                    <a:pt x="36" y="5"/>
                    <a:pt x="32" y="1"/>
                    <a:pt x="27" y="0"/>
                  </a:cubicBezTo>
                  <a:cubicBezTo>
                    <a:pt x="24" y="0"/>
                    <a:pt x="22" y="0"/>
                    <a:pt x="19" y="0"/>
                  </a:cubicBezTo>
                  <a:cubicBezTo>
                    <a:pt x="17" y="0"/>
                    <a:pt x="15" y="0"/>
                    <a:pt x="13" y="0"/>
                  </a:cubicBezTo>
                  <a:cubicBezTo>
                    <a:pt x="8" y="1"/>
                    <a:pt x="3" y="5"/>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8" name="Freeform 22"/>
            <p:cNvSpPr>
              <a:spLocks/>
            </p:cNvSpPr>
            <p:nvPr/>
          </p:nvSpPr>
          <p:spPr bwMode="auto">
            <a:xfrm>
              <a:off x="3362004" y="1818867"/>
              <a:ext cx="28926" cy="27404"/>
            </a:xfrm>
            <a:custGeom>
              <a:avLst/>
              <a:gdLst>
                <a:gd name="T0" fmla="*/ 36 w 37"/>
                <a:gd name="T1" fmla="*/ 22 h 36"/>
                <a:gd name="T2" fmla="*/ 35 w 37"/>
                <a:gd name="T3" fmla="*/ 10 h 36"/>
                <a:gd name="T4" fmla="*/ 24 w 37"/>
                <a:gd name="T5" fmla="*/ 0 h 36"/>
                <a:gd name="T6" fmla="*/ 17 w 37"/>
                <a:gd name="T7" fmla="*/ 0 h 36"/>
                <a:gd name="T8" fmla="*/ 11 w 37"/>
                <a:gd name="T9" fmla="*/ 0 h 36"/>
                <a:gd name="T10" fmla="*/ 3 w 37"/>
                <a:gd name="T11" fmla="*/ 4 h 36"/>
                <a:gd name="T12" fmla="*/ 5 w 37"/>
                <a:gd name="T13" fmla="*/ 13 h 36"/>
                <a:gd name="T14" fmla="*/ 1 w 37"/>
                <a:gd name="T15" fmla="*/ 28 h 36"/>
                <a:gd name="T16" fmla="*/ 0 w 37"/>
                <a:gd name="T17" fmla="*/ 29 h 36"/>
                <a:gd name="T18" fmla="*/ 1 w 37"/>
                <a:gd name="T19" fmla="*/ 31 h 36"/>
                <a:gd name="T20" fmla="*/ 9 w 37"/>
                <a:gd name="T21" fmla="*/ 35 h 36"/>
                <a:gd name="T22" fmla="*/ 26 w 37"/>
                <a:gd name="T23" fmla="*/ 35 h 36"/>
                <a:gd name="T24" fmla="*/ 34 w 37"/>
                <a:gd name="T25" fmla="*/ 31 h 36"/>
                <a:gd name="T26" fmla="*/ 36 w 37"/>
                <a:gd name="T2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6">
                  <a:moveTo>
                    <a:pt x="36" y="22"/>
                  </a:moveTo>
                  <a:cubicBezTo>
                    <a:pt x="35" y="10"/>
                    <a:pt x="35" y="10"/>
                    <a:pt x="35" y="10"/>
                  </a:cubicBezTo>
                  <a:cubicBezTo>
                    <a:pt x="34" y="5"/>
                    <a:pt x="30" y="0"/>
                    <a:pt x="24" y="0"/>
                  </a:cubicBezTo>
                  <a:cubicBezTo>
                    <a:pt x="22" y="0"/>
                    <a:pt x="20" y="0"/>
                    <a:pt x="17" y="0"/>
                  </a:cubicBezTo>
                  <a:cubicBezTo>
                    <a:pt x="15" y="0"/>
                    <a:pt x="13" y="0"/>
                    <a:pt x="11" y="0"/>
                  </a:cubicBezTo>
                  <a:cubicBezTo>
                    <a:pt x="8" y="0"/>
                    <a:pt x="5" y="2"/>
                    <a:pt x="3" y="4"/>
                  </a:cubicBezTo>
                  <a:cubicBezTo>
                    <a:pt x="5" y="13"/>
                    <a:pt x="5" y="13"/>
                    <a:pt x="5" y="13"/>
                  </a:cubicBezTo>
                  <a:cubicBezTo>
                    <a:pt x="6" y="18"/>
                    <a:pt x="4" y="24"/>
                    <a:pt x="1" y="28"/>
                  </a:cubicBezTo>
                  <a:cubicBezTo>
                    <a:pt x="0" y="28"/>
                    <a:pt x="0" y="28"/>
                    <a:pt x="0" y="29"/>
                  </a:cubicBezTo>
                  <a:cubicBezTo>
                    <a:pt x="0" y="30"/>
                    <a:pt x="0" y="30"/>
                    <a:pt x="1" y="31"/>
                  </a:cubicBezTo>
                  <a:cubicBezTo>
                    <a:pt x="3" y="33"/>
                    <a:pt x="6" y="35"/>
                    <a:pt x="9" y="35"/>
                  </a:cubicBezTo>
                  <a:cubicBezTo>
                    <a:pt x="15" y="36"/>
                    <a:pt x="20" y="36"/>
                    <a:pt x="26" y="35"/>
                  </a:cubicBezTo>
                  <a:cubicBezTo>
                    <a:pt x="29" y="35"/>
                    <a:pt x="32" y="33"/>
                    <a:pt x="34" y="31"/>
                  </a:cubicBezTo>
                  <a:cubicBezTo>
                    <a:pt x="36" y="28"/>
                    <a:pt x="37" y="25"/>
                    <a:pt x="3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9" name="Freeform 23"/>
            <p:cNvSpPr>
              <a:spLocks/>
            </p:cNvSpPr>
            <p:nvPr/>
          </p:nvSpPr>
          <p:spPr bwMode="auto">
            <a:xfrm>
              <a:off x="3281315" y="1812777"/>
              <a:ext cx="74600" cy="149961"/>
            </a:xfrm>
            <a:custGeom>
              <a:avLst/>
              <a:gdLst>
                <a:gd name="T0" fmla="*/ 23 w 96"/>
                <a:gd name="T1" fmla="*/ 136 h 195"/>
                <a:gd name="T2" fmla="*/ 83 w 96"/>
                <a:gd name="T3" fmla="*/ 195 h 195"/>
                <a:gd name="T4" fmla="*/ 96 w 96"/>
                <a:gd name="T5" fmla="*/ 194 h 195"/>
                <a:gd name="T6" fmla="*/ 0 w 96"/>
                <a:gd name="T7" fmla="*/ 0 h 195"/>
                <a:gd name="T8" fmla="*/ 23 w 96"/>
                <a:gd name="T9" fmla="*/ 76 h 195"/>
                <a:gd name="T10" fmla="*/ 23 w 96"/>
                <a:gd name="T11" fmla="*/ 112 h 195"/>
                <a:gd name="T12" fmla="*/ 23 w 96"/>
                <a:gd name="T13" fmla="*/ 136 h 195"/>
              </a:gdLst>
              <a:ahLst/>
              <a:cxnLst>
                <a:cxn ang="0">
                  <a:pos x="T0" y="T1"/>
                </a:cxn>
                <a:cxn ang="0">
                  <a:pos x="T2" y="T3"/>
                </a:cxn>
                <a:cxn ang="0">
                  <a:pos x="T4" y="T5"/>
                </a:cxn>
                <a:cxn ang="0">
                  <a:pos x="T6" y="T7"/>
                </a:cxn>
                <a:cxn ang="0">
                  <a:pos x="T8" y="T9"/>
                </a:cxn>
                <a:cxn ang="0">
                  <a:pos x="T10" y="T11"/>
                </a:cxn>
                <a:cxn ang="0">
                  <a:pos x="T12" y="T13"/>
                </a:cxn>
              </a:cxnLst>
              <a:rect l="0" t="0" r="r" b="b"/>
              <a:pathLst>
                <a:path w="96" h="195">
                  <a:moveTo>
                    <a:pt x="23" y="136"/>
                  </a:moveTo>
                  <a:cubicBezTo>
                    <a:pt x="23" y="169"/>
                    <a:pt x="50" y="195"/>
                    <a:pt x="83" y="195"/>
                  </a:cubicBezTo>
                  <a:cubicBezTo>
                    <a:pt x="87" y="195"/>
                    <a:pt x="92" y="195"/>
                    <a:pt x="96" y="194"/>
                  </a:cubicBezTo>
                  <a:cubicBezTo>
                    <a:pt x="91" y="125"/>
                    <a:pt x="57" y="40"/>
                    <a:pt x="0" y="0"/>
                  </a:cubicBezTo>
                  <a:cubicBezTo>
                    <a:pt x="13" y="26"/>
                    <a:pt x="21" y="52"/>
                    <a:pt x="23" y="76"/>
                  </a:cubicBezTo>
                  <a:cubicBezTo>
                    <a:pt x="24" y="89"/>
                    <a:pt x="24" y="101"/>
                    <a:pt x="23" y="112"/>
                  </a:cubicBezTo>
                  <a:cubicBezTo>
                    <a:pt x="23" y="120"/>
                    <a:pt x="23" y="128"/>
                    <a:pt x="2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0" name="Freeform 24"/>
            <p:cNvSpPr>
              <a:spLocks/>
            </p:cNvSpPr>
            <p:nvPr/>
          </p:nvSpPr>
          <p:spPr bwMode="auto">
            <a:xfrm>
              <a:off x="3303390" y="1818867"/>
              <a:ext cx="25882" cy="26643"/>
            </a:xfrm>
            <a:custGeom>
              <a:avLst/>
              <a:gdLst>
                <a:gd name="T0" fmla="*/ 24 w 34"/>
                <a:gd name="T1" fmla="*/ 35 h 35"/>
                <a:gd name="T2" fmla="*/ 24 w 34"/>
                <a:gd name="T3" fmla="*/ 35 h 35"/>
                <a:gd name="T4" fmla="*/ 32 w 34"/>
                <a:gd name="T5" fmla="*/ 31 h 35"/>
                <a:gd name="T6" fmla="*/ 34 w 34"/>
                <a:gd name="T7" fmla="*/ 29 h 35"/>
                <a:gd name="T8" fmla="*/ 33 w 34"/>
                <a:gd name="T9" fmla="*/ 28 h 35"/>
                <a:gd name="T10" fmla="*/ 29 w 34"/>
                <a:gd name="T11" fmla="*/ 13 h 35"/>
                <a:gd name="T12" fmla="*/ 30 w 34"/>
                <a:gd name="T13" fmla="*/ 4 h 35"/>
                <a:gd name="T14" fmla="*/ 23 w 34"/>
                <a:gd name="T15" fmla="*/ 0 h 35"/>
                <a:gd name="T16" fmla="*/ 16 w 34"/>
                <a:gd name="T17" fmla="*/ 0 h 35"/>
                <a:gd name="T18" fmla="*/ 10 w 34"/>
                <a:gd name="T19" fmla="*/ 0 h 35"/>
                <a:gd name="T20" fmla="*/ 0 w 34"/>
                <a:gd name="T21" fmla="*/ 6 h 35"/>
                <a:gd name="T22" fmla="*/ 24 w 34"/>
                <a:gd name="T2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5">
                  <a:moveTo>
                    <a:pt x="24" y="35"/>
                  </a:moveTo>
                  <a:cubicBezTo>
                    <a:pt x="24" y="35"/>
                    <a:pt x="24" y="35"/>
                    <a:pt x="24" y="35"/>
                  </a:cubicBezTo>
                  <a:cubicBezTo>
                    <a:pt x="28" y="35"/>
                    <a:pt x="30" y="33"/>
                    <a:pt x="32" y="31"/>
                  </a:cubicBezTo>
                  <a:cubicBezTo>
                    <a:pt x="33" y="30"/>
                    <a:pt x="33" y="30"/>
                    <a:pt x="34" y="29"/>
                  </a:cubicBezTo>
                  <a:cubicBezTo>
                    <a:pt x="33" y="28"/>
                    <a:pt x="33" y="28"/>
                    <a:pt x="33" y="28"/>
                  </a:cubicBezTo>
                  <a:cubicBezTo>
                    <a:pt x="29" y="24"/>
                    <a:pt x="28" y="18"/>
                    <a:pt x="29" y="13"/>
                  </a:cubicBezTo>
                  <a:cubicBezTo>
                    <a:pt x="30" y="4"/>
                    <a:pt x="30" y="4"/>
                    <a:pt x="30" y="4"/>
                  </a:cubicBezTo>
                  <a:cubicBezTo>
                    <a:pt x="28" y="2"/>
                    <a:pt x="26" y="0"/>
                    <a:pt x="23" y="0"/>
                  </a:cubicBezTo>
                  <a:cubicBezTo>
                    <a:pt x="20" y="0"/>
                    <a:pt x="18" y="0"/>
                    <a:pt x="16" y="0"/>
                  </a:cubicBezTo>
                  <a:cubicBezTo>
                    <a:pt x="14" y="0"/>
                    <a:pt x="12" y="0"/>
                    <a:pt x="10" y="0"/>
                  </a:cubicBezTo>
                  <a:cubicBezTo>
                    <a:pt x="5" y="0"/>
                    <a:pt x="2" y="3"/>
                    <a:pt x="0" y="6"/>
                  </a:cubicBezTo>
                  <a:cubicBezTo>
                    <a:pt x="9" y="15"/>
                    <a:pt x="16" y="25"/>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1" name="Freeform 25"/>
            <p:cNvSpPr>
              <a:spLocks/>
            </p:cNvSpPr>
            <p:nvPr/>
          </p:nvSpPr>
          <p:spPr bwMode="auto">
            <a:xfrm>
              <a:off x="3330794" y="1847032"/>
              <a:ext cx="29688" cy="27404"/>
            </a:xfrm>
            <a:custGeom>
              <a:avLst/>
              <a:gdLst>
                <a:gd name="T0" fmla="*/ 2 w 38"/>
                <a:gd name="T1" fmla="*/ 11 h 36"/>
                <a:gd name="T2" fmla="*/ 0 w 38"/>
                <a:gd name="T3" fmla="*/ 19 h 36"/>
                <a:gd name="T4" fmla="*/ 9 w 38"/>
                <a:gd name="T5" fmla="*/ 36 h 36"/>
                <a:gd name="T6" fmla="*/ 10 w 38"/>
                <a:gd name="T7" fmla="*/ 36 h 36"/>
                <a:gd name="T8" fmla="*/ 27 w 38"/>
                <a:gd name="T9" fmla="*/ 36 h 36"/>
                <a:gd name="T10" fmla="*/ 35 w 38"/>
                <a:gd name="T11" fmla="*/ 32 h 36"/>
                <a:gd name="T12" fmla="*/ 38 w 38"/>
                <a:gd name="T13" fmla="*/ 22 h 36"/>
                <a:gd name="T14" fmla="*/ 36 w 38"/>
                <a:gd name="T15" fmla="*/ 11 h 36"/>
                <a:gd name="T16" fmla="*/ 26 w 38"/>
                <a:gd name="T17" fmla="*/ 1 h 36"/>
                <a:gd name="T18" fmla="*/ 18 w 38"/>
                <a:gd name="T19" fmla="*/ 0 h 36"/>
                <a:gd name="T20" fmla="*/ 12 w 38"/>
                <a:gd name="T21" fmla="*/ 1 h 36"/>
                <a:gd name="T22" fmla="*/ 2 w 38"/>
                <a:gd name="T2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2" y="11"/>
                  </a:moveTo>
                  <a:cubicBezTo>
                    <a:pt x="0" y="19"/>
                    <a:pt x="0" y="19"/>
                    <a:pt x="0" y="19"/>
                  </a:cubicBezTo>
                  <a:cubicBezTo>
                    <a:pt x="4" y="24"/>
                    <a:pt x="6" y="30"/>
                    <a:pt x="9" y="36"/>
                  </a:cubicBezTo>
                  <a:cubicBezTo>
                    <a:pt x="10" y="36"/>
                    <a:pt x="10" y="36"/>
                    <a:pt x="10" y="36"/>
                  </a:cubicBezTo>
                  <a:cubicBezTo>
                    <a:pt x="16" y="36"/>
                    <a:pt x="22" y="36"/>
                    <a:pt x="27" y="36"/>
                  </a:cubicBezTo>
                  <a:cubicBezTo>
                    <a:pt x="30" y="36"/>
                    <a:pt x="33" y="34"/>
                    <a:pt x="35" y="32"/>
                  </a:cubicBezTo>
                  <a:cubicBezTo>
                    <a:pt x="37" y="29"/>
                    <a:pt x="38" y="26"/>
                    <a:pt x="38" y="22"/>
                  </a:cubicBezTo>
                  <a:cubicBezTo>
                    <a:pt x="36" y="11"/>
                    <a:pt x="36" y="11"/>
                    <a:pt x="36" y="11"/>
                  </a:cubicBezTo>
                  <a:cubicBezTo>
                    <a:pt x="35" y="5"/>
                    <a:pt x="31" y="1"/>
                    <a:pt x="26" y="1"/>
                  </a:cubicBezTo>
                  <a:cubicBezTo>
                    <a:pt x="23" y="0"/>
                    <a:pt x="21" y="0"/>
                    <a:pt x="18" y="0"/>
                  </a:cubicBezTo>
                  <a:cubicBezTo>
                    <a:pt x="16" y="0"/>
                    <a:pt x="14" y="0"/>
                    <a:pt x="12" y="1"/>
                  </a:cubicBezTo>
                  <a:cubicBezTo>
                    <a:pt x="7" y="1"/>
                    <a:pt x="2" y="5"/>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2" name="Freeform 26"/>
            <p:cNvSpPr>
              <a:spLocks/>
            </p:cNvSpPr>
            <p:nvPr/>
          </p:nvSpPr>
          <p:spPr bwMode="auto">
            <a:xfrm>
              <a:off x="3349063" y="1859212"/>
              <a:ext cx="50241" cy="101243"/>
            </a:xfrm>
            <a:custGeom>
              <a:avLst/>
              <a:gdLst>
                <a:gd name="T0" fmla="*/ 55 w 65"/>
                <a:gd name="T1" fmla="*/ 75 h 131"/>
                <a:gd name="T2" fmla="*/ 65 w 65"/>
                <a:gd name="T3" fmla="*/ 0 h 131"/>
                <a:gd name="T4" fmla="*/ 0 w 65"/>
                <a:gd name="T5" fmla="*/ 53 h 131"/>
                <a:gd name="T6" fmla="*/ 17 w 65"/>
                <a:gd name="T7" fmla="*/ 131 h 131"/>
                <a:gd name="T8" fmla="*/ 55 w 65"/>
                <a:gd name="T9" fmla="*/ 75 h 131"/>
              </a:gdLst>
              <a:ahLst/>
              <a:cxnLst>
                <a:cxn ang="0">
                  <a:pos x="T0" y="T1"/>
                </a:cxn>
                <a:cxn ang="0">
                  <a:pos x="T2" y="T3"/>
                </a:cxn>
                <a:cxn ang="0">
                  <a:pos x="T4" y="T5"/>
                </a:cxn>
                <a:cxn ang="0">
                  <a:pos x="T6" y="T7"/>
                </a:cxn>
                <a:cxn ang="0">
                  <a:pos x="T8" y="T9"/>
                </a:cxn>
              </a:cxnLst>
              <a:rect l="0" t="0" r="r" b="b"/>
              <a:pathLst>
                <a:path w="65" h="131">
                  <a:moveTo>
                    <a:pt x="55" y="75"/>
                  </a:moveTo>
                  <a:cubicBezTo>
                    <a:pt x="55" y="49"/>
                    <a:pt x="59" y="19"/>
                    <a:pt x="65" y="0"/>
                  </a:cubicBezTo>
                  <a:cubicBezTo>
                    <a:pt x="33" y="19"/>
                    <a:pt x="12" y="34"/>
                    <a:pt x="0" y="53"/>
                  </a:cubicBezTo>
                  <a:cubicBezTo>
                    <a:pt x="9" y="79"/>
                    <a:pt x="15" y="106"/>
                    <a:pt x="17" y="131"/>
                  </a:cubicBezTo>
                  <a:cubicBezTo>
                    <a:pt x="39" y="122"/>
                    <a:pt x="55" y="100"/>
                    <a:pt x="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3" name="Freeform 27"/>
            <p:cNvSpPr>
              <a:spLocks/>
            </p:cNvSpPr>
            <p:nvPr/>
          </p:nvSpPr>
          <p:spPr bwMode="auto">
            <a:xfrm>
              <a:off x="3360482" y="1851599"/>
              <a:ext cx="28165" cy="24359"/>
            </a:xfrm>
            <a:custGeom>
              <a:avLst/>
              <a:gdLst>
                <a:gd name="T0" fmla="*/ 3 w 36"/>
                <a:gd name="T1" fmla="*/ 32 h 32"/>
                <a:gd name="T2" fmla="*/ 36 w 36"/>
                <a:gd name="T3" fmla="*/ 9 h 32"/>
                <a:gd name="T4" fmla="*/ 26 w 36"/>
                <a:gd name="T5" fmla="*/ 0 h 32"/>
                <a:gd name="T6" fmla="*/ 19 w 36"/>
                <a:gd name="T7" fmla="*/ 0 h 32"/>
                <a:gd name="T8" fmla="*/ 13 w 36"/>
                <a:gd name="T9" fmla="*/ 0 h 32"/>
                <a:gd name="T10" fmla="*/ 2 w 36"/>
                <a:gd name="T11" fmla="*/ 10 h 32"/>
                <a:gd name="T12" fmla="*/ 1 w 36"/>
                <a:gd name="T13" fmla="*/ 22 h 32"/>
                <a:gd name="T14" fmla="*/ 3 w 36"/>
                <a:gd name="T15" fmla="*/ 31 h 32"/>
                <a:gd name="T16" fmla="*/ 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 y="32"/>
                  </a:moveTo>
                  <a:cubicBezTo>
                    <a:pt x="13" y="24"/>
                    <a:pt x="23" y="17"/>
                    <a:pt x="36" y="9"/>
                  </a:cubicBezTo>
                  <a:cubicBezTo>
                    <a:pt x="35" y="4"/>
                    <a:pt x="31" y="1"/>
                    <a:pt x="26" y="0"/>
                  </a:cubicBezTo>
                  <a:cubicBezTo>
                    <a:pt x="24" y="0"/>
                    <a:pt x="22" y="0"/>
                    <a:pt x="19" y="0"/>
                  </a:cubicBezTo>
                  <a:cubicBezTo>
                    <a:pt x="17" y="0"/>
                    <a:pt x="15" y="0"/>
                    <a:pt x="13" y="0"/>
                  </a:cubicBezTo>
                  <a:cubicBezTo>
                    <a:pt x="7" y="1"/>
                    <a:pt x="3" y="5"/>
                    <a:pt x="2" y="10"/>
                  </a:cubicBezTo>
                  <a:cubicBezTo>
                    <a:pt x="1" y="22"/>
                    <a:pt x="1" y="22"/>
                    <a:pt x="1" y="22"/>
                  </a:cubicBezTo>
                  <a:cubicBezTo>
                    <a:pt x="0" y="25"/>
                    <a:pt x="1" y="29"/>
                    <a:pt x="3" y="31"/>
                  </a:cubicBezTo>
                  <a:cubicBezTo>
                    <a:pt x="3" y="31"/>
                    <a:pt x="3" y="31"/>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4" name="Freeform 28"/>
            <p:cNvSpPr>
              <a:spLocks/>
            </p:cNvSpPr>
            <p:nvPr/>
          </p:nvSpPr>
          <p:spPr bwMode="auto">
            <a:xfrm>
              <a:off x="3342974" y="1883571"/>
              <a:ext cx="10657" cy="9896"/>
            </a:xfrm>
            <a:custGeom>
              <a:avLst/>
              <a:gdLst>
                <a:gd name="T0" fmla="*/ 14 w 14"/>
                <a:gd name="T1" fmla="*/ 2 h 13"/>
                <a:gd name="T2" fmla="*/ 10 w 14"/>
                <a:gd name="T3" fmla="*/ 0 h 13"/>
                <a:gd name="T4" fmla="*/ 3 w 14"/>
                <a:gd name="T5" fmla="*/ 0 h 13"/>
                <a:gd name="T6" fmla="*/ 0 w 14"/>
                <a:gd name="T7" fmla="*/ 0 h 13"/>
                <a:gd name="T8" fmla="*/ 5 w 14"/>
                <a:gd name="T9" fmla="*/ 13 h 13"/>
                <a:gd name="T10" fmla="*/ 14 w 14"/>
                <a:gd name="T11" fmla="*/ 2 h 13"/>
              </a:gdLst>
              <a:ahLst/>
              <a:cxnLst>
                <a:cxn ang="0">
                  <a:pos x="T0" y="T1"/>
                </a:cxn>
                <a:cxn ang="0">
                  <a:pos x="T2" y="T3"/>
                </a:cxn>
                <a:cxn ang="0">
                  <a:pos x="T4" y="T5"/>
                </a:cxn>
                <a:cxn ang="0">
                  <a:pos x="T6" y="T7"/>
                </a:cxn>
                <a:cxn ang="0">
                  <a:pos x="T8" y="T9"/>
                </a:cxn>
                <a:cxn ang="0">
                  <a:pos x="T10" y="T11"/>
                </a:cxn>
              </a:cxnLst>
              <a:rect l="0" t="0" r="r" b="b"/>
              <a:pathLst>
                <a:path w="14" h="13">
                  <a:moveTo>
                    <a:pt x="14" y="2"/>
                  </a:moveTo>
                  <a:cubicBezTo>
                    <a:pt x="13" y="1"/>
                    <a:pt x="12" y="1"/>
                    <a:pt x="10" y="0"/>
                  </a:cubicBezTo>
                  <a:cubicBezTo>
                    <a:pt x="8" y="0"/>
                    <a:pt x="6" y="0"/>
                    <a:pt x="3" y="0"/>
                  </a:cubicBezTo>
                  <a:cubicBezTo>
                    <a:pt x="2" y="0"/>
                    <a:pt x="1" y="0"/>
                    <a:pt x="0" y="0"/>
                  </a:cubicBezTo>
                  <a:cubicBezTo>
                    <a:pt x="1" y="5"/>
                    <a:pt x="3" y="9"/>
                    <a:pt x="5" y="13"/>
                  </a:cubicBezTo>
                  <a:cubicBezTo>
                    <a:pt x="8" y="9"/>
                    <a:pt x="11" y="5"/>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5" name="Freeform 29"/>
            <p:cNvSpPr>
              <a:spLocks/>
            </p:cNvSpPr>
            <p:nvPr/>
          </p:nvSpPr>
          <p:spPr bwMode="auto">
            <a:xfrm>
              <a:off x="3333839" y="1721430"/>
              <a:ext cx="22837" cy="21314"/>
            </a:xfrm>
            <a:custGeom>
              <a:avLst/>
              <a:gdLst>
                <a:gd name="T0" fmla="*/ 27 w 29"/>
                <a:gd name="T1" fmla="*/ 24 h 27"/>
                <a:gd name="T2" fmla="*/ 29 w 29"/>
                <a:gd name="T3" fmla="*/ 17 h 27"/>
                <a:gd name="T4" fmla="*/ 28 w 29"/>
                <a:gd name="T5" fmla="*/ 8 h 27"/>
                <a:gd name="T6" fmla="*/ 20 w 29"/>
                <a:gd name="T7" fmla="*/ 0 h 27"/>
                <a:gd name="T8" fmla="*/ 15 w 29"/>
                <a:gd name="T9" fmla="*/ 0 h 27"/>
                <a:gd name="T10" fmla="*/ 10 w 29"/>
                <a:gd name="T11" fmla="*/ 0 h 27"/>
                <a:gd name="T12" fmla="*/ 2 w 29"/>
                <a:gd name="T13" fmla="*/ 8 h 27"/>
                <a:gd name="T14" fmla="*/ 0 w 29"/>
                <a:gd name="T15" fmla="*/ 17 h 27"/>
                <a:gd name="T16" fmla="*/ 2 w 29"/>
                <a:gd name="T17" fmla="*/ 24 h 27"/>
                <a:gd name="T18" fmla="*/ 8 w 29"/>
                <a:gd name="T19" fmla="*/ 27 h 27"/>
                <a:gd name="T20" fmla="*/ 21 w 29"/>
                <a:gd name="T21" fmla="*/ 27 h 27"/>
                <a:gd name="T22" fmla="*/ 27 w 29"/>
                <a:gd name="T23"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7" y="24"/>
                  </a:moveTo>
                  <a:cubicBezTo>
                    <a:pt x="29" y="22"/>
                    <a:pt x="29" y="19"/>
                    <a:pt x="29" y="17"/>
                  </a:cubicBezTo>
                  <a:cubicBezTo>
                    <a:pt x="28" y="8"/>
                    <a:pt x="28" y="8"/>
                    <a:pt x="28" y="8"/>
                  </a:cubicBezTo>
                  <a:cubicBezTo>
                    <a:pt x="27" y="4"/>
                    <a:pt x="24" y="1"/>
                    <a:pt x="20" y="0"/>
                  </a:cubicBezTo>
                  <a:cubicBezTo>
                    <a:pt x="18" y="0"/>
                    <a:pt x="16" y="0"/>
                    <a:pt x="15" y="0"/>
                  </a:cubicBezTo>
                  <a:cubicBezTo>
                    <a:pt x="13" y="0"/>
                    <a:pt x="11" y="0"/>
                    <a:pt x="10" y="0"/>
                  </a:cubicBezTo>
                  <a:cubicBezTo>
                    <a:pt x="6" y="0"/>
                    <a:pt x="2" y="4"/>
                    <a:pt x="2" y="8"/>
                  </a:cubicBezTo>
                  <a:cubicBezTo>
                    <a:pt x="0" y="17"/>
                    <a:pt x="0" y="17"/>
                    <a:pt x="0" y="17"/>
                  </a:cubicBezTo>
                  <a:cubicBezTo>
                    <a:pt x="0" y="19"/>
                    <a:pt x="1" y="22"/>
                    <a:pt x="2" y="24"/>
                  </a:cubicBezTo>
                  <a:cubicBezTo>
                    <a:pt x="4" y="26"/>
                    <a:pt x="6" y="27"/>
                    <a:pt x="8" y="27"/>
                  </a:cubicBezTo>
                  <a:cubicBezTo>
                    <a:pt x="13" y="27"/>
                    <a:pt x="17" y="27"/>
                    <a:pt x="21" y="27"/>
                  </a:cubicBezTo>
                  <a:cubicBezTo>
                    <a:pt x="24" y="27"/>
                    <a:pt x="26" y="26"/>
                    <a:pt x="2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6" name="Group 435"/>
          <p:cNvGrpSpPr/>
          <p:nvPr/>
        </p:nvGrpSpPr>
        <p:grpSpPr>
          <a:xfrm>
            <a:off x="5911842" y="3573664"/>
            <a:ext cx="198909" cy="198910"/>
            <a:chOff x="2212976" y="1957387"/>
            <a:chExt cx="493713" cy="493714"/>
          </a:xfrm>
          <a:solidFill>
            <a:schemeClr val="accent6"/>
          </a:solidFill>
        </p:grpSpPr>
        <p:sp>
          <p:nvSpPr>
            <p:cNvPr id="437" name="Freeform 9"/>
            <p:cNvSpPr>
              <a:spLocks/>
            </p:cNvSpPr>
            <p:nvPr/>
          </p:nvSpPr>
          <p:spPr bwMode="auto">
            <a:xfrm>
              <a:off x="2271713" y="1957387"/>
              <a:ext cx="222250" cy="147638"/>
            </a:xfrm>
            <a:custGeom>
              <a:avLst/>
              <a:gdLst>
                <a:gd name="T0" fmla="*/ 0 w 166"/>
                <a:gd name="T1" fmla="*/ 95 h 110"/>
                <a:gd name="T2" fmla="*/ 112 w 166"/>
                <a:gd name="T3" fmla="*/ 90 h 110"/>
                <a:gd name="T4" fmla="*/ 166 w 166"/>
                <a:gd name="T5" fmla="*/ 32 h 110"/>
                <a:gd name="T6" fmla="*/ 93 w 166"/>
                <a:gd name="T7" fmla="*/ 8 h 110"/>
                <a:gd name="T8" fmla="*/ 0 w 166"/>
                <a:gd name="T9" fmla="*/ 95 h 110"/>
              </a:gdLst>
              <a:ahLst/>
              <a:cxnLst>
                <a:cxn ang="0">
                  <a:pos x="T0" y="T1"/>
                </a:cxn>
                <a:cxn ang="0">
                  <a:pos x="T2" y="T3"/>
                </a:cxn>
                <a:cxn ang="0">
                  <a:pos x="T4" y="T5"/>
                </a:cxn>
                <a:cxn ang="0">
                  <a:pos x="T6" y="T7"/>
                </a:cxn>
                <a:cxn ang="0">
                  <a:pos x="T8" y="T9"/>
                </a:cxn>
              </a:cxnLst>
              <a:rect l="0" t="0" r="r" b="b"/>
              <a:pathLst>
                <a:path w="166" h="110">
                  <a:moveTo>
                    <a:pt x="0" y="95"/>
                  </a:moveTo>
                  <a:cubicBezTo>
                    <a:pt x="36" y="101"/>
                    <a:pt x="64" y="110"/>
                    <a:pt x="112" y="90"/>
                  </a:cubicBezTo>
                  <a:cubicBezTo>
                    <a:pt x="138" y="80"/>
                    <a:pt x="158" y="59"/>
                    <a:pt x="166" y="32"/>
                  </a:cubicBezTo>
                  <a:cubicBezTo>
                    <a:pt x="159" y="28"/>
                    <a:pt x="124" y="0"/>
                    <a:pt x="93" y="8"/>
                  </a:cubicBezTo>
                  <a:cubicBezTo>
                    <a:pt x="57" y="16"/>
                    <a:pt x="33" y="42"/>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8" name="Freeform 10"/>
            <p:cNvSpPr>
              <a:spLocks/>
            </p:cNvSpPr>
            <p:nvPr/>
          </p:nvSpPr>
          <p:spPr bwMode="auto">
            <a:xfrm>
              <a:off x="2212976" y="1958975"/>
              <a:ext cx="493713" cy="492126"/>
            </a:xfrm>
            <a:custGeom>
              <a:avLst/>
              <a:gdLst>
                <a:gd name="T0" fmla="*/ 272 w 371"/>
                <a:gd name="T1" fmla="*/ 168 h 368"/>
                <a:gd name="T2" fmla="*/ 269 w 371"/>
                <a:gd name="T3" fmla="*/ 170 h 368"/>
                <a:gd name="T4" fmla="*/ 243 w 371"/>
                <a:gd name="T5" fmla="*/ 128 h 368"/>
                <a:gd name="T6" fmla="*/ 219 w 371"/>
                <a:gd name="T7" fmla="*/ 84 h 368"/>
                <a:gd name="T8" fmla="*/ 240 w 371"/>
                <a:gd name="T9" fmla="*/ 8 h 368"/>
                <a:gd name="T10" fmla="*/ 232 w 371"/>
                <a:gd name="T11" fmla="*/ 0 h 368"/>
                <a:gd name="T12" fmla="*/ 224 w 371"/>
                <a:gd name="T13" fmla="*/ 8 h 368"/>
                <a:gd name="T14" fmla="*/ 205 w 371"/>
                <a:gd name="T15" fmla="*/ 77 h 368"/>
                <a:gd name="T16" fmla="*/ 204 w 371"/>
                <a:gd name="T17" fmla="*/ 79 h 368"/>
                <a:gd name="T18" fmla="*/ 146 w 371"/>
                <a:gd name="T19" fmla="*/ 139 h 368"/>
                <a:gd name="T20" fmla="*/ 87 w 371"/>
                <a:gd name="T21" fmla="*/ 214 h 368"/>
                <a:gd name="T22" fmla="*/ 83 w 371"/>
                <a:gd name="T23" fmla="*/ 212 h 368"/>
                <a:gd name="T24" fmla="*/ 3 w 371"/>
                <a:gd name="T25" fmla="*/ 254 h 368"/>
                <a:gd name="T26" fmla="*/ 63 w 371"/>
                <a:gd name="T27" fmla="*/ 356 h 368"/>
                <a:gd name="T28" fmla="*/ 93 w 371"/>
                <a:gd name="T29" fmla="*/ 359 h 368"/>
                <a:gd name="T30" fmla="*/ 174 w 371"/>
                <a:gd name="T31" fmla="*/ 273 h 368"/>
                <a:gd name="T32" fmla="*/ 105 w 371"/>
                <a:gd name="T33" fmla="*/ 214 h 368"/>
                <a:gd name="T34" fmla="*/ 104 w 371"/>
                <a:gd name="T35" fmla="*/ 214 h 368"/>
                <a:gd name="T36" fmla="*/ 157 w 371"/>
                <a:gd name="T37" fmla="*/ 151 h 368"/>
                <a:gd name="T38" fmla="*/ 207 w 371"/>
                <a:gd name="T39" fmla="*/ 102 h 368"/>
                <a:gd name="T40" fmla="*/ 232 w 371"/>
                <a:gd name="T41" fmla="*/ 140 h 368"/>
                <a:gd name="T42" fmla="*/ 254 w 371"/>
                <a:gd name="T43" fmla="*/ 174 h 368"/>
                <a:gd name="T44" fmla="*/ 250 w 371"/>
                <a:gd name="T45" fmla="*/ 174 h 368"/>
                <a:gd name="T46" fmla="*/ 191 w 371"/>
                <a:gd name="T47" fmla="*/ 245 h 368"/>
                <a:gd name="T48" fmla="*/ 288 w 371"/>
                <a:gd name="T49" fmla="*/ 315 h 368"/>
                <a:gd name="T50" fmla="*/ 317 w 371"/>
                <a:gd name="T51" fmla="*/ 306 h 368"/>
                <a:gd name="T52" fmla="*/ 360 w 371"/>
                <a:gd name="T53" fmla="*/ 195 h 368"/>
                <a:gd name="T54" fmla="*/ 272 w 371"/>
                <a:gd name="T55" fmla="*/ 1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1" h="368">
                  <a:moveTo>
                    <a:pt x="272" y="168"/>
                  </a:moveTo>
                  <a:cubicBezTo>
                    <a:pt x="271" y="169"/>
                    <a:pt x="270" y="169"/>
                    <a:pt x="269" y="170"/>
                  </a:cubicBezTo>
                  <a:cubicBezTo>
                    <a:pt x="264" y="149"/>
                    <a:pt x="253" y="138"/>
                    <a:pt x="243" y="128"/>
                  </a:cubicBezTo>
                  <a:cubicBezTo>
                    <a:pt x="232" y="117"/>
                    <a:pt x="222" y="108"/>
                    <a:pt x="219" y="84"/>
                  </a:cubicBezTo>
                  <a:cubicBezTo>
                    <a:pt x="233" y="61"/>
                    <a:pt x="240" y="35"/>
                    <a:pt x="240" y="8"/>
                  </a:cubicBezTo>
                  <a:cubicBezTo>
                    <a:pt x="240" y="4"/>
                    <a:pt x="237" y="0"/>
                    <a:pt x="232" y="0"/>
                  </a:cubicBezTo>
                  <a:cubicBezTo>
                    <a:pt x="228" y="0"/>
                    <a:pt x="224" y="4"/>
                    <a:pt x="224" y="8"/>
                  </a:cubicBezTo>
                  <a:cubicBezTo>
                    <a:pt x="224" y="32"/>
                    <a:pt x="218" y="56"/>
                    <a:pt x="205" y="77"/>
                  </a:cubicBezTo>
                  <a:cubicBezTo>
                    <a:pt x="205" y="78"/>
                    <a:pt x="204" y="78"/>
                    <a:pt x="204" y="79"/>
                  </a:cubicBezTo>
                  <a:cubicBezTo>
                    <a:pt x="189" y="103"/>
                    <a:pt x="168" y="121"/>
                    <a:pt x="146" y="139"/>
                  </a:cubicBezTo>
                  <a:cubicBezTo>
                    <a:pt x="120" y="162"/>
                    <a:pt x="94" y="183"/>
                    <a:pt x="87" y="214"/>
                  </a:cubicBezTo>
                  <a:cubicBezTo>
                    <a:pt x="86" y="213"/>
                    <a:pt x="84" y="213"/>
                    <a:pt x="83" y="212"/>
                  </a:cubicBezTo>
                  <a:cubicBezTo>
                    <a:pt x="47" y="195"/>
                    <a:pt x="6" y="215"/>
                    <a:pt x="3" y="254"/>
                  </a:cubicBezTo>
                  <a:cubicBezTo>
                    <a:pt x="0" y="298"/>
                    <a:pt x="28" y="357"/>
                    <a:pt x="63" y="356"/>
                  </a:cubicBezTo>
                  <a:cubicBezTo>
                    <a:pt x="73" y="355"/>
                    <a:pt x="83" y="356"/>
                    <a:pt x="93" y="359"/>
                  </a:cubicBezTo>
                  <a:cubicBezTo>
                    <a:pt x="127" y="368"/>
                    <a:pt x="167" y="316"/>
                    <a:pt x="174" y="273"/>
                  </a:cubicBezTo>
                  <a:cubicBezTo>
                    <a:pt x="180" y="234"/>
                    <a:pt x="143" y="205"/>
                    <a:pt x="105" y="214"/>
                  </a:cubicBezTo>
                  <a:cubicBezTo>
                    <a:pt x="104" y="214"/>
                    <a:pt x="104" y="214"/>
                    <a:pt x="104" y="214"/>
                  </a:cubicBezTo>
                  <a:cubicBezTo>
                    <a:pt x="111" y="191"/>
                    <a:pt x="132" y="172"/>
                    <a:pt x="157" y="151"/>
                  </a:cubicBezTo>
                  <a:cubicBezTo>
                    <a:pt x="174" y="137"/>
                    <a:pt x="192" y="121"/>
                    <a:pt x="207" y="102"/>
                  </a:cubicBezTo>
                  <a:cubicBezTo>
                    <a:pt x="212" y="121"/>
                    <a:pt x="223" y="131"/>
                    <a:pt x="232" y="140"/>
                  </a:cubicBezTo>
                  <a:cubicBezTo>
                    <a:pt x="242" y="149"/>
                    <a:pt x="250" y="157"/>
                    <a:pt x="254" y="174"/>
                  </a:cubicBezTo>
                  <a:cubicBezTo>
                    <a:pt x="253" y="174"/>
                    <a:pt x="251" y="174"/>
                    <a:pt x="250" y="174"/>
                  </a:cubicBezTo>
                  <a:cubicBezTo>
                    <a:pt x="209" y="173"/>
                    <a:pt x="178" y="208"/>
                    <a:pt x="191" y="245"/>
                  </a:cubicBezTo>
                  <a:cubicBezTo>
                    <a:pt x="206" y="287"/>
                    <a:pt x="255" y="330"/>
                    <a:pt x="288" y="315"/>
                  </a:cubicBezTo>
                  <a:cubicBezTo>
                    <a:pt x="297" y="311"/>
                    <a:pt x="307" y="308"/>
                    <a:pt x="317" y="306"/>
                  </a:cubicBezTo>
                  <a:cubicBezTo>
                    <a:pt x="353" y="301"/>
                    <a:pt x="371" y="238"/>
                    <a:pt x="360" y="195"/>
                  </a:cubicBezTo>
                  <a:cubicBezTo>
                    <a:pt x="351" y="157"/>
                    <a:pt x="305" y="145"/>
                    <a:pt x="27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9" name="Group 438"/>
          <p:cNvGrpSpPr/>
          <p:nvPr/>
        </p:nvGrpSpPr>
        <p:grpSpPr>
          <a:xfrm>
            <a:off x="4679277" y="3446783"/>
            <a:ext cx="130241" cy="305859"/>
            <a:chOff x="3281315" y="1703922"/>
            <a:chExt cx="117989" cy="277086"/>
          </a:xfrm>
          <a:solidFill>
            <a:schemeClr val="accent6"/>
          </a:solidFill>
        </p:grpSpPr>
        <p:sp>
          <p:nvSpPr>
            <p:cNvPr id="440" name="Freeform 9"/>
            <p:cNvSpPr>
              <a:spLocks/>
            </p:cNvSpPr>
            <p:nvPr/>
          </p:nvSpPr>
          <p:spPr bwMode="auto">
            <a:xfrm>
              <a:off x="3329272" y="1966545"/>
              <a:ext cx="31971" cy="14463"/>
            </a:xfrm>
            <a:custGeom>
              <a:avLst/>
              <a:gdLst>
                <a:gd name="T0" fmla="*/ 39 w 41"/>
                <a:gd name="T1" fmla="*/ 1 h 19"/>
                <a:gd name="T2" fmla="*/ 21 w 41"/>
                <a:gd name="T3" fmla="*/ 3 h 19"/>
                <a:gd name="T4" fmla="*/ 0 w 41"/>
                <a:gd name="T5" fmla="*/ 0 h 19"/>
                <a:gd name="T6" fmla="*/ 21 w 41"/>
                <a:gd name="T7" fmla="*/ 19 h 19"/>
                <a:gd name="T8" fmla="*/ 41 w 41"/>
                <a:gd name="T9" fmla="*/ 0 h 19"/>
                <a:gd name="T10" fmla="*/ 39 w 41"/>
                <a:gd name="T11" fmla="*/ 1 h 19"/>
              </a:gdLst>
              <a:ahLst/>
              <a:cxnLst>
                <a:cxn ang="0">
                  <a:pos x="T0" y="T1"/>
                </a:cxn>
                <a:cxn ang="0">
                  <a:pos x="T2" y="T3"/>
                </a:cxn>
                <a:cxn ang="0">
                  <a:pos x="T4" y="T5"/>
                </a:cxn>
                <a:cxn ang="0">
                  <a:pos x="T6" y="T7"/>
                </a:cxn>
                <a:cxn ang="0">
                  <a:pos x="T8" y="T9"/>
                </a:cxn>
                <a:cxn ang="0">
                  <a:pos x="T10" y="T11"/>
                </a:cxn>
              </a:cxnLst>
              <a:rect l="0" t="0" r="r" b="b"/>
              <a:pathLst>
                <a:path w="41" h="19">
                  <a:moveTo>
                    <a:pt x="39" y="1"/>
                  </a:moveTo>
                  <a:cubicBezTo>
                    <a:pt x="33" y="2"/>
                    <a:pt x="27" y="3"/>
                    <a:pt x="21" y="3"/>
                  </a:cubicBezTo>
                  <a:cubicBezTo>
                    <a:pt x="14" y="3"/>
                    <a:pt x="7" y="2"/>
                    <a:pt x="0" y="0"/>
                  </a:cubicBezTo>
                  <a:cubicBezTo>
                    <a:pt x="1" y="11"/>
                    <a:pt x="10" y="19"/>
                    <a:pt x="21" y="19"/>
                  </a:cubicBezTo>
                  <a:cubicBezTo>
                    <a:pt x="32" y="19"/>
                    <a:pt x="40" y="11"/>
                    <a:pt x="41" y="0"/>
                  </a:cubicBezTo>
                  <a:lnTo>
                    <a:pt x="39"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1" name="Freeform 10"/>
            <p:cNvSpPr>
              <a:spLocks/>
            </p:cNvSpPr>
            <p:nvPr/>
          </p:nvSpPr>
          <p:spPr bwMode="auto">
            <a:xfrm>
              <a:off x="3336884" y="1703922"/>
              <a:ext cx="17508" cy="13702"/>
            </a:xfrm>
            <a:custGeom>
              <a:avLst/>
              <a:gdLst>
                <a:gd name="T0" fmla="*/ 2 w 22"/>
                <a:gd name="T1" fmla="*/ 18 h 18"/>
                <a:gd name="T2" fmla="*/ 5 w 22"/>
                <a:gd name="T3" fmla="*/ 18 h 18"/>
                <a:gd name="T4" fmla="*/ 16 w 22"/>
                <a:gd name="T5" fmla="*/ 18 h 18"/>
                <a:gd name="T6" fmla="*/ 20 w 22"/>
                <a:gd name="T7" fmla="*/ 18 h 18"/>
                <a:gd name="T8" fmla="*/ 20 w 22"/>
                <a:gd name="T9" fmla="*/ 18 h 18"/>
                <a:gd name="T10" fmla="*/ 22 w 22"/>
                <a:gd name="T11" fmla="*/ 13 h 18"/>
                <a:gd name="T12" fmla="*/ 21 w 22"/>
                <a:gd name="T13" fmla="*/ 6 h 18"/>
                <a:gd name="T14" fmla="*/ 15 w 22"/>
                <a:gd name="T15" fmla="*/ 0 h 18"/>
                <a:gd name="T16" fmla="*/ 11 w 22"/>
                <a:gd name="T17" fmla="*/ 0 h 18"/>
                <a:gd name="T18" fmla="*/ 7 w 22"/>
                <a:gd name="T19" fmla="*/ 0 h 18"/>
                <a:gd name="T20" fmla="*/ 1 w 22"/>
                <a:gd name="T21" fmla="*/ 6 h 18"/>
                <a:gd name="T22" fmla="*/ 0 w 22"/>
                <a:gd name="T23" fmla="*/ 13 h 18"/>
                <a:gd name="T24" fmla="*/ 1 w 22"/>
                <a:gd name="T25" fmla="*/ 18 h 18"/>
                <a:gd name="T26" fmla="*/ 2 w 22"/>
                <a:gd name="T2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18">
                  <a:moveTo>
                    <a:pt x="2" y="18"/>
                  </a:moveTo>
                  <a:cubicBezTo>
                    <a:pt x="3" y="18"/>
                    <a:pt x="4" y="18"/>
                    <a:pt x="5" y="18"/>
                  </a:cubicBezTo>
                  <a:cubicBezTo>
                    <a:pt x="9" y="17"/>
                    <a:pt x="13" y="17"/>
                    <a:pt x="16" y="18"/>
                  </a:cubicBezTo>
                  <a:cubicBezTo>
                    <a:pt x="18" y="18"/>
                    <a:pt x="19" y="18"/>
                    <a:pt x="20" y="18"/>
                  </a:cubicBezTo>
                  <a:cubicBezTo>
                    <a:pt x="20" y="18"/>
                    <a:pt x="20" y="18"/>
                    <a:pt x="20" y="18"/>
                  </a:cubicBezTo>
                  <a:cubicBezTo>
                    <a:pt x="21" y="17"/>
                    <a:pt x="22" y="15"/>
                    <a:pt x="22" y="13"/>
                  </a:cubicBezTo>
                  <a:cubicBezTo>
                    <a:pt x="21" y="6"/>
                    <a:pt x="21" y="6"/>
                    <a:pt x="21" y="6"/>
                  </a:cubicBezTo>
                  <a:cubicBezTo>
                    <a:pt x="20" y="3"/>
                    <a:pt x="18" y="1"/>
                    <a:pt x="15" y="0"/>
                  </a:cubicBezTo>
                  <a:cubicBezTo>
                    <a:pt x="13" y="0"/>
                    <a:pt x="12" y="0"/>
                    <a:pt x="11" y="0"/>
                  </a:cubicBezTo>
                  <a:cubicBezTo>
                    <a:pt x="9" y="0"/>
                    <a:pt x="8" y="0"/>
                    <a:pt x="7" y="0"/>
                  </a:cubicBezTo>
                  <a:cubicBezTo>
                    <a:pt x="4" y="0"/>
                    <a:pt x="1" y="3"/>
                    <a:pt x="1" y="6"/>
                  </a:cubicBezTo>
                  <a:cubicBezTo>
                    <a:pt x="0" y="13"/>
                    <a:pt x="0" y="13"/>
                    <a:pt x="0" y="13"/>
                  </a:cubicBezTo>
                  <a:cubicBezTo>
                    <a:pt x="0" y="15"/>
                    <a:pt x="0" y="17"/>
                    <a:pt x="1" y="18"/>
                  </a:cubicBezTo>
                  <a:cubicBezTo>
                    <a:pt x="1" y="18"/>
                    <a:pt x="1" y="18"/>
                    <a:pt x="2"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2" name="Freeform 11"/>
            <p:cNvSpPr>
              <a:spLocks/>
            </p:cNvSpPr>
            <p:nvPr/>
          </p:nvSpPr>
          <p:spPr bwMode="auto">
            <a:xfrm>
              <a:off x="3355915" y="1713818"/>
              <a:ext cx="15224" cy="15986"/>
            </a:xfrm>
            <a:custGeom>
              <a:avLst/>
              <a:gdLst>
                <a:gd name="T0" fmla="*/ 20 w 20"/>
                <a:gd name="T1" fmla="*/ 13 h 21"/>
                <a:gd name="T2" fmla="*/ 19 w 20"/>
                <a:gd name="T3" fmla="*/ 6 h 21"/>
                <a:gd name="T4" fmla="*/ 13 w 20"/>
                <a:gd name="T5" fmla="*/ 0 h 21"/>
                <a:gd name="T6" fmla="*/ 9 w 20"/>
                <a:gd name="T7" fmla="*/ 0 h 21"/>
                <a:gd name="T8" fmla="*/ 5 w 20"/>
                <a:gd name="T9" fmla="*/ 0 h 21"/>
                <a:gd name="T10" fmla="*/ 2 w 20"/>
                <a:gd name="T11" fmla="*/ 1 h 21"/>
                <a:gd name="T12" fmla="*/ 0 w 20"/>
                <a:gd name="T13" fmla="*/ 7 h 21"/>
                <a:gd name="T14" fmla="*/ 5 w 20"/>
                <a:gd name="T15" fmla="*/ 17 h 21"/>
                <a:gd name="T16" fmla="*/ 6 w 20"/>
                <a:gd name="T17" fmla="*/ 20 h 21"/>
                <a:gd name="T18" fmla="*/ 14 w 20"/>
                <a:gd name="T19" fmla="*/ 20 h 21"/>
                <a:gd name="T20" fmla="*/ 14 w 20"/>
                <a:gd name="T21" fmla="*/ 20 h 21"/>
                <a:gd name="T22" fmla="*/ 18 w 20"/>
                <a:gd name="T23" fmla="*/ 18 h 21"/>
                <a:gd name="T24" fmla="*/ 20 w 20"/>
                <a:gd name="T25"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1">
                  <a:moveTo>
                    <a:pt x="20" y="13"/>
                  </a:moveTo>
                  <a:cubicBezTo>
                    <a:pt x="19" y="6"/>
                    <a:pt x="19" y="6"/>
                    <a:pt x="19" y="6"/>
                  </a:cubicBezTo>
                  <a:cubicBezTo>
                    <a:pt x="18" y="3"/>
                    <a:pt x="16" y="0"/>
                    <a:pt x="13" y="0"/>
                  </a:cubicBezTo>
                  <a:cubicBezTo>
                    <a:pt x="12" y="0"/>
                    <a:pt x="10" y="0"/>
                    <a:pt x="9" y="0"/>
                  </a:cubicBezTo>
                  <a:cubicBezTo>
                    <a:pt x="8" y="0"/>
                    <a:pt x="6" y="0"/>
                    <a:pt x="5" y="0"/>
                  </a:cubicBezTo>
                  <a:cubicBezTo>
                    <a:pt x="4" y="0"/>
                    <a:pt x="3" y="1"/>
                    <a:pt x="2" y="1"/>
                  </a:cubicBezTo>
                  <a:cubicBezTo>
                    <a:pt x="2" y="4"/>
                    <a:pt x="1" y="6"/>
                    <a:pt x="0" y="7"/>
                  </a:cubicBezTo>
                  <a:cubicBezTo>
                    <a:pt x="3" y="10"/>
                    <a:pt x="5" y="13"/>
                    <a:pt x="5" y="17"/>
                  </a:cubicBezTo>
                  <a:cubicBezTo>
                    <a:pt x="6" y="20"/>
                    <a:pt x="6" y="20"/>
                    <a:pt x="6" y="20"/>
                  </a:cubicBezTo>
                  <a:cubicBezTo>
                    <a:pt x="8" y="21"/>
                    <a:pt x="11" y="21"/>
                    <a:pt x="14" y="20"/>
                  </a:cubicBezTo>
                  <a:cubicBezTo>
                    <a:pt x="14" y="20"/>
                    <a:pt x="14" y="20"/>
                    <a:pt x="14" y="20"/>
                  </a:cubicBezTo>
                  <a:cubicBezTo>
                    <a:pt x="16" y="20"/>
                    <a:pt x="17" y="19"/>
                    <a:pt x="18" y="18"/>
                  </a:cubicBezTo>
                  <a:cubicBezTo>
                    <a:pt x="20" y="16"/>
                    <a:pt x="20" y="14"/>
                    <a:pt x="20"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3" name="Freeform 12"/>
            <p:cNvSpPr>
              <a:spLocks/>
            </p:cNvSpPr>
            <p:nvPr/>
          </p:nvSpPr>
          <p:spPr bwMode="auto">
            <a:xfrm>
              <a:off x="3319376" y="1713818"/>
              <a:ext cx="15986" cy="15986"/>
            </a:xfrm>
            <a:custGeom>
              <a:avLst/>
              <a:gdLst>
                <a:gd name="T0" fmla="*/ 15 w 21"/>
                <a:gd name="T1" fmla="*/ 17 h 21"/>
                <a:gd name="T2" fmla="*/ 21 w 21"/>
                <a:gd name="T3" fmla="*/ 7 h 21"/>
                <a:gd name="T4" fmla="*/ 19 w 21"/>
                <a:gd name="T5" fmla="*/ 1 h 21"/>
                <a:gd name="T6" fmla="*/ 15 w 21"/>
                <a:gd name="T7" fmla="*/ 0 h 21"/>
                <a:gd name="T8" fmla="*/ 11 w 21"/>
                <a:gd name="T9" fmla="*/ 0 h 21"/>
                <a:gd name="T10" fmla="*/ 8 w 21"/>
                <a:gd name="T11" fmla="*/ 0 h 21"/>
                <a:gd name="T12" fmla="*/ 2 w 21"/>
                <a:gd name="T13" fmla="*/ 6 h 21"/>
                <a:gd name="T14" fmla="*/ 1 w 21"/>
                <a:gd name="T15" fmla="*/ 13 h 21"/>
                <a:gd name="T16" fmla="*/ 2 w 21"/>
                <a:gd name="T17" fmla="*/ 18 h 21"/>
                <a:gd name="T18" fmla="*/ 7 w 21"/>
                <a:gd name="T19" fmla="*/ 20 h 21"/>
                <a:gd name="T20" fmla="*/ 15 w 21"/>
                <a:gd name="T21" fmla="*/ 20 h 21"/>
                <a:gd name="T22" fmla="*/ 15 w 21"/>
                <a:gd name="T23"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5" y="17"/>
                  </a:moveTo>
                  <a:cubicBezTo>
                    <a:pt x="16" y="13"/>
                    <a:pt x="18" y="10"/>
                    <a:pt x="21" y="7"/>
                  </a:cubicBezTo>
                  <a:cubicBezTo>
                    <a:pt x="19" y="6"/>
                    <a:pt x="19" y="4"/>
                    <a:pt x="19" y="1"/>
                  </a:cubicBezTo>
                  <a:cubicBezTo>
                    <a:pt x="18" y="1"/>
                    <a:pt x="17" y="0"/>
                    <a:pt x="15" y="0"/>
                  </a:cubicBezTo>
                  <a:cubicBezTo>
                    <a:pt x="14" y="0"/>
                    <a:pt x="13" y="0"/>
                    <a:pt x="11" y="0"/>
                  </a:cubicBezTo>
                  <a:cubicBezTo>
                    <a:pt x="10" y="0"/>
                    <a:pt x="9" y="0"/>
                    <a:pt x="8" y="0"/>
                  </a:cubicBezTo>
                  <a:cubicBezTo>
                    <a:pt x="4" y="0"/>
                    <a:pt x="2" y="3"/>
                    <a:pt x="2" y="6"/>
                  </a:cubicBezTo>
                  <a:cubicBezTo>
                    <a:pt x="1" y="13"/>
                    <a:pt x="1" y="13"/>
                    <a:pt x="1" y="13"/>
                  </a:cubicBezTo>
                  <a:cubicBezTo>
                    <a:pt x="0" y="14"/>
                    <a:pt x="1" y="16"/>
                    <a:pt x="2" y="18"/>
                  </a:cubicBezTo>
                  <a:cubicBezTo>
                    <a:pt x="3" y="19"/>
                    <a:pt x="5" y="20"/>
                    <a:pt x="7" y="20"/>
                  </a:cubicBezTo>
                  <a:cubicBezTo>
                    <a:pt x="9" y="21"/>
                    <a:pt x="12" y="21"/>
                    <a:pt x="15" y="20"/>
                  </a:cubicBezTo>
                  <a:lnTo>
                    <a:pt x="15"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4" name="Freeform 13"/>
            <p:cNvSpPr>
              <a:spLocks/>
            </p:cNvSpPr>
            <p:nvPr/>
          </p:nvSpPr>
          <p:spPr bwMode="auto">
            <a:xfrm>
              <a:off x="3332317" y="1749595"/>
              <a:ext cx="25882" cy="23598"/>
            </a:xfrm>
            <a:custGeom>
              <a:avLst/>
              <a:gdLst>
                <a:gd name="T0" fmla="*/ 2 w 33"/>
                <a:gd name="T1" fmla="*/ 9 h 31"/>
                <a:gd name="T2" fmla="*/ 0 w 33"/>
                <a:gd name="T3" fmla="*/ 19 h 31"/>
                <a:gd name="T4" fmla="*/ 2 w 33"/>
                <a:gd name="T5" fmla="*/ 27 h 31"/>
                <a:gd name="T6" fmla="*/ 9 w 33"/>
                <a:gd name="T7" fmla="*/ 31 h 31"/>
                <a:gd name="T8" fmla="*/ 24 w 33"/>
                <a:gd name="T9" fmla="*/ 31 h 31"/>
                <a:gd name="T10" fmla="*/ 24 w 33"/>
                <a:gd name="T11" fmla="*/ 31 h 31"/>
                <a:gd name="T12" fmla="*/ 31 w 33"/>
                <a:gd name="T13" fmla="*/ 27 h 31"/>
                <a:gd name="T14" fmla="*/ 33 w 33"/>
                <a:gd name="T15" fmla="*/ 19 h 31"/>
                <a:gd name="T16" fmla="*/ 32 w 33"/>
                <a:gd name="T17" fmla="*/ 9 h 31"/>
                <a:gd name="T18" fmla="*/ 23 w 33"/>
                <a:gd name="T19" fmla="*/ 0 h 31"/>
                <a:gd name="T20" fmla="*/ 16 w 33"/>
                <a:gd name="T21" fmla="*/ 0 h 31"/>
                <a:gd name="T22" fmla="*/ 11 w 33"/>
                <a:gd name="T23" fmla="*/ 0 h 31"/>
                <a:gd name="T24" fmla="*/ 2 w 33"/>
                <a:gd name="T25"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1">
                  <a:moveTo>
                    <a:pt x="2" y="9"/>
                  </a:moveTo>
                  <a:cubicBezTo>
                    <a:pt x="0" y="19"/>
                    <a:pt x="0" y="19"/>
                    <a:pt x="0" y="19"/>
                  </a:cubicBezTo>
                  <a:cubicBezTo>
                    <a:pt x="0" y="22"/>
                    <a:pt x="1" y="25"/>
                    <a:pt x="2" y="27"/>
                  </a:cubicBezTo>
                  <a:cubicBezTo>
                    <a:pt x="4" y="29"/>
                    <a:pt x="7" y="31"/>
                    <a:pt x="9" y="31"/>
                  </a:cubicBezTo>
                  <a:cubicBezTo>
                    <a:pt x="14" y="31"/>
                    <a:pt x="19" y="31"/>
                    <a:pt x="24" y="31"/>
                  </a:cubicBezTo>
                  <a:cubicBezTo>
                    <a:pt x="24" y="31"/>
                    <a:pt x="24" y="31"/>
                    <a:pt x="24" y="31"/>
                  </a:cubicBezTo>
                  <a:cubicBezTo>
                    <a:pt x="27" y="31"/>
                    <a:pt x="29" y="29"/>
                    <a:pt x="31" y="27"/>
                  </a:cubicBezTo>
                  <a:cubicBezTo>
                    <a:pt x="33" y="25"/>
                    <a:pt x="33" y="22"/>
                    <a:pt x="33" y="19"/>
                  </a:cubicBezTo>
                  <a:cubicBezTo>
                    <a:pt x="32" y="9"/>
                    <a:pt x="32" y="9"/>
                    <a:pt x="32" y="9"/>
                  </a:cubicBezTo>
                  <a:cubicBezTo>
                    <a:pt x="31" y="4"/>
                    <a:pt x="27" y="1"/>
                    <a:pt x="23" y="0"/>
                  </a:cubicBezTo>
                  <a:cubicBezTo>
                    <a:pt x="21" y="0"/>
                    <a:pt x="19" y="0"/>
                    <a:pt x="16" y="0"/>
                  </a:cubicBezTo>
                  <a:cubicBezTo>
                    <a:pt x="15" y="0"/>
                    <a:pt x="13" y="0"/>
                    <a:pt x="11" y="0"/>
                  </a:cubicBezTo>
                  <a:cubicBezTo>
                    <a:pt x="6" y="1"/>
                    <a:pt x="3" y="4"/>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5" name="Freeform 14"/>
            <p:cNvSpPr>
              <a:spLocks/>
            </p:cNvSpPr>
            <p:nvPr/>
          </p:nvSpPr>
          <p:spPr bwMode="auto">
            <a:xfrm>
              <a:off x="3357437" y="1733610"/>
              <a:ext cx="22837" cy="21314"/>
            </a:xfrm>
            <a:custGeom>
              <a:avLst/>
              <a:gdLst>
                <a:gd name="T0" fmla="*/ 29 w 29"/>
                <a:gd name="T1" fmla="*/ 17 h 27"/>
                <a:gd name="T2" fmla="*/ 27 w 29"/>
                <a:gd name="T3" fmla="*/ 8 h 27"/>
                <a:gd name="T4" fmla="*/ 19 w 29"/>
                <a:gd name="T5" fmla="*/ 0 h 27"/>
                <a:gd name="T6" fmla="*/ 14 w 29"/>
                <a:gd name="T7" fmla="*/ 0 h 27"/>
                <a:gd name="T8" fmla="*/ 9 w 29"/>
                <a:gd name="T9" fmla="*/ 0 h 27"/>
                <a:gd name="T10" fmla="*/ 5 w 29"/>
                <a:gd name="T11" fmla="*/ 2 h 27"/>
                <a:gd name="T12" fmla="*/ 2 w 29"/>
                <a:gd name="T13" fmla="*/ 10 h 27"/>
                <a:gd name="T14" fmla="*/ 1 w 29"/>
                <a:gd name="T15" fmla="*/ 11 h 27"/>
                <a:gd name="T16" fmla="*/ 0 w 29"/>
                <a:gd name="T17" fmla="*/ 17 h 27"/>
                <a:gd name="T18" fmla="*/ 0 w 29"/>
                <a:gd name="T19" fmla="*/ 17 h 27"/>
                <a:gd name="T20" fmla="*/ 5 w 29"/>
                <a:gd name="T21" fmla="*/ 26 h 27"/>
                <a:gd name="T22" fmla="*/ 8 w 29"/>
                <a:gd name="T23" fmla="*/ 27 h 27"/>
                <a:gd name="T24" fmla="*/ 21 w 29"/>
                <a:gd name="T25" fmla="*/ 27 h 27"/>
                <a:gd name="T26" fmla="*/ 27 w 29"/>
                <a:gd name="T27" fmla="*/ 24 h 27"/>
                <a:gd name="T28" fmla="*/ 29 w 29"/>
                <a:gd name="T29"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 h="27">
                  <a:moveTo>
                    <a:pt x="29" y="17"/>
                  </a:moveTo>
                  <a:cubicBezTo>
                    <a:pt x="27" y="8"/>
                    <a:pt x="27" y="8"/>
                    <a:pt x="27" y="8"/>
                  </a:cubicBezTo>
                  <a:cubicBezTo>
                    <a:pt x="27" y="4"/>
                    <a:pt x="23" y="1"/>
                    <a:pt x="19" y="0"/>
                  </a:cubicBezTo>
                  <a:cubicBezTo>
                    <a:pt x="18" y="0"/>
                    <a:pt x="16" y="0"/>
                    <a:pt x="14" y="0"/>
                  </a:cubicBezTo>
                  <a:cubicBezTo>
                    <a:pt x="12" y="0"/>
                    <a:pt x="11" y="0"/>
                    <a:pt x="9" y="0"/>
                  </a:cubicBezTo>
                  <a:cubicBezTo>
                    <a:pt x="8" y="0"/>
                    <a:pt x="6" y="1"/>
                    <a:pt x="5" y="2"/>
                  </a:cubicBezTo>
                  <a:cubicBezTo>
                    <a:pt x="5" y="5"/>
                    <a:pt x="3" y="8"/>
                    <a:pt x="2" y="10"/>
                  </a:cubicBezTo>
                  <a:cubicBezTo>
                    <a:pt x="1" y="11"/>
                    <a:pt x="1" y="11"/>
                    <a:pt x="1" y="11"/>
                  </a:cubicBezTo>
                  <a:cubicBezTo>
                    <a:pt x="0" y="17"/>
                    <a:pt x="0" y="17"/>
                    <a:pt x="0" y="17"/>
                  </a:cubicBezTo>
                  <a:cubicBezTo>
                    <a:pt x="0" y="17"/>
                    <a:pt x="0" y="17"/>
                    <a:pt x="0" y="17"/>
                  </a:cubicBezTo>
                  <a:cubicBezTo>
                    <a:pt x="3" y="20"/>
                    <a:pt x="5" y="23"/>
                    <a:pt x="5" y="26"/>
                  </a:cubicBezTo>
                  <a:cubicBezTo>
                    <a:pt x="6" y="27"/>
                    <a:pt x="7" y="27"/>
                    <a:pt x="8" y="27"/>
                  </a:cubicBezTo>
                  <a:cubicBezTo>
                    <a:pt x="12" y="27"/>
                    <a:pt x="16" y="27"/>
                    <a:pt x="21" y="27"/>
                  </a:cubicBezTo>
                  <a:cubicBezTo>
                    <a:pt x="23" y="27"/>
                    <a:pt x="25" y="26"/>
                    <a:pt x="27" y="24"/>
                  </a:cubicBezTo>
                  <a:cubicBezTo>
                    <a:pt x="28" y="22"/>
                    <a:pt x="29" y="19"/>
                    <a:pt x="29"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6" name="Freeform 15"/>
            <p:cNvSpPr>
              <a:spLocks/>
            </p:cNvSpPr>
            <p:nvPr/>
          </p:nvSpPr>
          <p:spPr bwMode="auto">
            <a:xfrm>
              <a:off x="3311002" y="1733610"/>
              <a:ext cx="22837" cy="21314"/>
            </a:xfrm>
            <a:custGeom>
              <a:avLst/>
              <a:gdLst>
                <a:gd name="T0" fmla="*/ 30 w 30"/>
                <a:gd name="T1" fmla="*/ 18 h 27"/>
                <a:gd name="T2" fmla="*/ 30 w 30"/>
                <a:gd name="T3" fmla="*/ 17 h 27"/>
                <a:gd name="T4" fmla="*/ 29 w 30"/>
                <a:gd name="T5" fmla="*/ 11 h 27"/>
                <a:gd name="T6" fmla="*/ 28 w 30"/>
                <a:gd name="T7" fmla="*/ 10 h 27"/>
                <a:gd name="T8" fmla="*/ 25 w 30"/>
                <a:gd name="T9" fmla="*/ 2 h 27"/>
                <a:gd name="T10" fmla="*/ 20 w 30"/>
                <a:gd name="T11" fmla="*/ 0 h 27"/>
                <a:gd name="T12" fmla="*/ 15 w 30"/>
                <a:gd name="T13" fmla="*/ 0 h 27"/>
                <a:gd name="T14" fmla="*/ 10 w 30"/>
                <a:gd name="T15" fmla="*/ 0 h 27"/>
                <a:gd name="T16" fmla="*/ 2 w 30"/>
                <a:gd name="T17" fmla="*/ 8 h 27"/>
                <a:gd name="T18" fmla="*/ 1 w 30"/>
                <a:gd name="T19" fmla="*/ 17 h 27"/>
                <a:gd name="T20" fmla="*/ 3 w 30"/>
                <a:gd name="T21" fmla="*/ 24 h 27"/>
                <a:gd name="T22" fmla="*/ 9 w 30"/>
                <a:gd name="T23" fmla="*/ 27 h 27"/>
                <a:gd name="T24" fmla="*/ 22 w 30"/>
                <a:gd name="T25" fmla="*/ 27 h 27"/>
                <a:gd name="T26" fmla="*/ 24 w 30"/>
                <a:gd name="T27" fmla="*/ 26 h 27"/>
                <a:gd name="T28" fmla="*/ 30 w 30"/>
                <a:gd name="T2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7">
                  <a:moveTo>
                    <a:pt x="30" y="18"/>
                  </a:moveTo>
                  <a:cubicBezTo>
                    <a:pt x="30" y="17"/>
                    <a:pt x="30" y="17"/>
                    <a:pt x="30" y="17"/>
                  </a:cubicBezTo>
                  <a:cubicBezTo>
                    <a:pt x="29" y="11"/>
                    <a:pt x="29" y="11"/>
                    <a:pt x="29" y="11"/>
                  </a:cubicBezTo>
                  <a:cubicBezTo>
                    <a:pt x="28" y="11"/>
                    <a:pt x="28" y="11"/>
                    <a:pt x="28" y="10"/>
                  </a:cubicBezTo>
                  <a:cubicBezTo>
                    <a:pt x="26" y="8"/>
                    <a:pt x="25" y="5"/>
                    <a:pt x="25" y="2"/>
                  </a:cubicBezTo>
                  <a:cubicBezTo>
                    <a:pt x="23" y="1"/>
                    <a:pt x="22" y="0"/>
                    <a:pt x="20" y="0"/>
                  </a:cubicBezTo>
                  <a:cubicBezTo>
                    <a:pt x="19" y="0"/>
                    <a:pt x="17" y="0"/>
                    <a:pt x="15" y="0"/>
                  </a:cubicBezTo>
                  <a:cubicBezTo>
                    <a:pt x="13" y="0"/>
                    <a:pt x="12" y="0"/>
                    <a:pt x="10" y="0"/>
                  </a:cubicBezTo>
                  <a:cubicBezTo>
                    <a:pt x="6" y="0"/>
                    <a:pt x="3" y="4"/>
                    <a:pt x="2" y="8"/>
                  </a:cubicBezTo>
                  <a:cubicBezTo>
                    <a:pt x="1" y="17"/>
                    <a:pt x="1" y="17"/>
                    <a:pt x="1" y="17"/>
                  </a:cubicBezTo>
                  <a:cubicBezTo>
                    <a:pt x="0" y="19"/>
                    <a:pt x="1" y="22"/>
                    <a:pt x="3" y="24"/>
                  </a:cubicBezTo>
                  <a:cubicBezTo>
                    <a:pt x="4" y="26"/>
                    <a:pt x="6" y="27"/>
                    <a:pt x="9" y="27"/>
                  </a:cubicBezTo>
                  <a:cubicBezTo>
                    <a:pt x="13" y="27"/>
                    <a:pt x="17" y="27"/>
                    <a:pt x="22" y="27"/>
                  </a:cubicBezTo>
                  <a:cubicBezTo>
                    <a:pt x="22" y="27"/>
                    <a:pt x="23" y="27"/>
                    <a:pt x="24" y="26"/>
                  </a:cubicBezTo>
                  <a:cubicBezTo>
                    <a:pt x="25" y="23"/>
                    <a:pt x="27" y="20"/>
                    <a:pt x="3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7" name="Freeform 16"/>
            <p:cNvSpPr>
              <a:spLocks/>
            </p:cNvSpPr>
            <p:nvPr/>
          </p:nvSpPr>
          <p:spPr bwMode="auto">
            <a:xfrm>
              <a:off x="3306435" y="1759492"/>
              <a:ext cx="25882" cy="23598"/>
            </a:xfrm>
            <a:custGeom>
              <a:avLst/>
              <a:gdLst>
                <a:gd name="T0" fmla="*/ 31 w 34"/>
                <a:gd name="T1" fmla="*/ 18 h 31"/>
                <a:gd name="T2" fmla="*/ 28 w 34"/>
                <a:gd name="T3" fmla="*/ 5 h 31"/>
                <a:gd name="T4" fmla="*/ 28 w 34"/>
                <a:gd name="T5" fmla="*/ 3 h 31"/>
                <a:gd name="T6" fmla="*/ 23 w 34"/>
                <a:gd name="T7" fmla="*/ 0 h 31"/>
                <a:gd name="T8" fmla="*/ 17 w 34"/>
                <a:gd name="T9" fmla="*/ 0 h 31"/>
                <a:gd name="T10" fmla="*/ 11 w 34"/>
                <a:gd name="T11" fmla="*/ 0 h 31"/>
                <a:gd name="T12" fmla="*/ 2 w 34"/>
                <a:gd name="T13" fmla="*/ 9 h 31"/>
                <a:gd name="T14" fmla="*/ 1 w 34"/>
                <a:gd name="T15" fmla="*/ 19 h 31"/>
                <a:gd name="T16" fmla="*/ 3 w 34"/>
                <a:gd name="T17" fmla="*/ 27 h 31"/>
                <a:gd name="T18" fmla="*/ 10 w 34"/>
                <a:gd name="T19" fmla="*/ 31 h 31"/>
                <a:gd name="T20" fmla="*/ 24 w 34"/>
                <a:gd name="T21" fmla="*/ 31 h 31"/>
                <a:gd name="T22" fmla="*/ 31 w 34"/>
                <a:gd name="T23" fmla="*/ 27 h 31"/>
                <a:gd name="T24" fmla="*/ 33 w 34"/>
                <a:gd name="T25" fmla="*/ 20 h 31"/>
                <a:gd name="T26" fmla="*/ 31 w 34"/>
                <a:gd name="T2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1">
                  <a:moveTo>
                    <a:pt x="31" y="18"/>
                  </a:moveTo>
                  <a:cubicBezTo>
                    <a:pt x="29" y="14"/>
                    <a:pt x="27" y="10"/>
                    <a:pt x="28" y="5"/>
                  </a:cubicBezTo>
                  <a:cubicBezTo>
                    <a:pt x="28" y="3"/>
                    <a:pt x="28" y="3"/>
                    <a:pt x="28" y="3"/>
                  </a:cubicBezTo>
                  <a:cubicBezTo>
                    <a:pt x="27" y="1"/>
                    <a:pt x="25" y="0"/>
                    <a:pt x="23" y="0"/>
                  </a:cubicBezTo>
                  <a:cubicBezTo>
                    <a:pt x="21" y="0"/>
                    <a:pt x="19" y="0"/>
                    <a:pt x="17" y="0"/>
                  </a:cubicBezTo>
                  <a:cubicBezTo>
                    <a:pt x="15" y="0"/>
                    <a:pt x="13" y="0"/>
                    <a:pt x="11" y="0"/>
                  </a:cubicBezTo>
                  <a:cubicBezTo>
                    <a:pt x="7" y="1"/>
                    <a:pt x="3" y="4"/>
                    <a:pt x="2" y="9"/>
                  </a:cubicBezTo>
                  <a:cubicBezTo>
                    <a:pt x="1" y="19"/>
                    <a:pt x="1" y="19"/>
                    <a:pt x="1" y="19"/>
                  </a:cubicBezTo>
                  <a:cubicBezTo>
                    <a:pt x="0" y="22"/>
                    <a:pt x="1" y="25"/>
                    <a:pt x="3" y="27"/>
                  </a:cubicBezTo>
                  <a:cubicBezTo>
                    <a:pt x="5" y="29"/>
                    <a:pt x="7" y="31"/>
                    <a:pt x="10" y="31"/>
                  </a:cubicBezTo>
                  <a:cubicBezTo>
                    <a:pt x="15" y="31"/>
                    <a:pt x="20" y="31"/>
                    <a:pt x="24" y="31"/>
                  </a:cubicBezTo>
                  <a:cubicBezTo>
                    <a:pt x="27" y="31"/>
                    <a:pt x="30" y="29"/>
                    <a:pt x="31" y="27"/>
                  </a:cubicBezTo>
                  <a:cubicBezTo>
                    <a:pt x="33" y="25"/>
                    <a:pt x="34" y="23"/>
                    <a:pt x="33" y="20"/>
                  </a:cubicBezTo>
                  <a:cubicBezTo>
                    <a:pt x="33" y="19"/>
                    <a:pt x="32" y="19"/>
                    <a:pt x="31"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8" name="Freeform 17"/>
            <p:cNvSpPr>
              <a:spLocks/>
            </p:cNvSpPr>
            <p:nvPr/>
          </p:nvSpPr>
          <p:spPr bwMode="auto">
            <a:xfrm>
              <a:off x="3358960" y="1759492"/>
              <a:ext cx="25882" cy="23598"/>
            </a:xfrm>
            <a:custGeom>
              <a:avLst/>
              <a:gdLst>
                <a:gd name="T0" fmla="*/ 33 w 33"/>
                <a:gd name="T1" fmla="*/ 19 h 31"/>
                <a:gd name="T2" fmla="*/ 31 w 33"/>
                <a:gd name="T3" fmla="*/ 9 h 31"/>
                <a:gd name="T4" fmla="*/ 22 w 33"/>
                <a:gd name="T5" fmla="*/ 0 h 31"/>
                <a:gd name="T6" fmla="*/ 16 w 33"/>
                <a:gd name="T7" fmla="*/ 0 h 31"/>
                <a:gd name="T8" fmla="*/ 11 w 33"/>
                <a:gd name="T9" fmla="*/ 0 h 31"/>
                <a:gd name="T10" fmla="*/ 5 w 33"/>
                <a:gd name="T11" fmla="*/ 3 h 31"/>
                <a:gd name="T12" fmla="*/ 5 w 33"/>
                <a:gd name="T13" fmla="*/ 5 h 31"/>
                <a:gd name="T14" fmla="*/ 2 w 33"/>
                <a:gd name="T15" fmla="*/ 18 h 31"/>
                <a:gd name="T16" fmla="*/ 0 w 33"/>
                <a:gd name="T17" fmla="*/ 20 h 31"/>
                <a:gd name="T18" fmla="*/ 2 w 33"/>
                <a:gd name="T19" fmla="*/ 27 h 31"/>
                <a:gd name="T20" fmla="*/ 9 w 33"/>
                <a:gd name="T21" fmla="*/ 31 h 31"/>
                <a:gd name="T22" fmla="*/ 24 w 33"/>
                <a:gd name="T23" fmla="*/ 31 h 31"/>
                <a:gd name="T24" fmla="*/ 31 w 33"/>
                <a:gd name="T25" fmla="*/ 27 h 31"/>
                <a:gd name="T26" fmla="*/ 33 w 33"/>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1">
                  <a:moveTo>
                    <a:pt x="33" y="19"/>
                  </a:moveTo>
                  <a:cubicBezTo>
                    <a:pt x="31" y="9"/>
                    <a:pt x="31" y="9"/>
                    <a:pt x="31" y="9"/>
                  </a:cubicBezTo>
                  <a:cubicBezTo>
                    <a:pt x="31" y="4"/>
                    <a:pt x="27" y="1"/>
                    <a:pt x="22" y="0"/>
                  </a:cubicBezTo>
                  <a:cubicBezTo>
                    <a:pt x="20" y="0"/>
                    <a:pt x="18" y="0"/>
                    <a:pt x="16" y="0"/>
                  </a:cubicBezTo>
                  <a:cubicBezTo>
                    <a:pt x="14" y="0"/>
                    <a:pt x="13" y="0"/>
                    <a:pt x="11" y="0"/>
                  </a:cubicBezTo>
                  <a:cubicBezTo>
                    <a:pt x="9" y="0"/>
                    <a:pt x="7" y="1"/>
                    <a:pt x="5" y="3"/>
                  </a:cubicBezTo>
                  <a:cubicBezTo>
                    <a:pt x="5" y="5"/>
                    <a:pt x="5" y="5"/>
                    <a:pt x="5" y="5"/>
                  </a:cubicBezTo>
                  <a:cubicBezTo>
                    <a:pt x="6" y="10"/>
                    <a:pt x="5" y="14"/>
                    <a:pt x="2" y="18"/>
                  </a:cubicBezTo>
                  <a:cubicBezTo>
                    <a:pt x="1" y="19"/>
                    <a:pt x="1" y="19"/>
                    <a:pt x="0" y="20"/>
                  </a:cubicBezTo>
                  <a:cubicBezTo>
                    <a:pt x="0" y="23"/>
                    <a:pt x="1" y="25"/>
                    <a:pt x="2" y="27"/>
                  </a:cubicBezTo>
                  <a:cubicBezTo>
                    <a:pt x="4" y="29"/>
                    <a:pt x="6" y="31"/>
                    <a:pt x="9" y="31"/>
                  </a:cubicBezTo>
                  <a:cubicBezTo>
                    <a:pt x="14" y="31"/>
                    <a:pt x="19" y="31"/>
                    <a:pt x="24" y="31"/>
                  </a:cubicBezTo>
                  <a:cubicBezTo>
                    <a:pt x="26" y="31"/>
                    <a:pt x="29" y="29"/>
                    <a:pt x="31" y="27"/>
                  </a:cubicBezTo>
                  <a:cubicBezTo>
                    <a:pt x="32" y="25"/>
                    <a:pt x="33" y="22"/>
                    <a:pt x="33"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9" name="Freeform 18"/>
            <p:cNvSpPr>
              <a:spLocks/>
            </p:cNvSpPr>
            <p:nvPr/>
          </p:nvSpPr>
          <p:spPr bwMode="auto">
            <a:xfrm>
              <a:off x="3331556" y="1779283"/>
              <a:ext cx="28165" cy="25121"/>
            </a:xfrm>
            <a:custGeom>
              <a:avLst/>
              <a:gdLst>
                <a:gd name="T0" fmla="*/ 2 w 36"/>
                <a:gd name="T1" fmla="*/ 9 h 33"/>
                <a:gd name="T2" fmla="*/ 0 w 36"/>
                <a:gd name="T3" fmla="*/ 20 h 33"/>
                <a:gd name="T4" fmla="*/ 3 w 36"/>
                <a:gd name="T5" fmla="*/ 29 h 33"/>
                <a:gd name="T6" fmla="*/ 10 w 36"/>
                <a:gd name="T7" fmla="*/ 33 h 33"/>
                <a:gd name="T8" fmla="*/ 25 w 36"/>
                <a:gd name="T9" fmla="*/ 33 h 33"/>
                <a:gd name="T10" fmla="*/ 33 w 36"/>
                <a:gd name="T11" fmla="*/ 29 h 33"/>
                <a:gd name="T12" fmla="*/ 35 w 36"/>
                <a:gd name="T13" fmla="*/ 20 h 33"/>
                <a:gd name="T14" fmla="*/ 33 w 36"/>
                <a:gd name="T15" fmla="*/ 10 h 33"/>
                <a:gd name="T16" fmla="*/ 24 w 36"/>
                <a:gd name="T17" fmla="*/ 0 h 33"/>
                <a:gd name="T18" fmla="*/ 17 w 36"/>
                <a:gd name="T19" fmla="*/ 0 h 33"/>
                <a:gd name="T20" fmla="*/ 12 w 36"/>
                <a:gd name="T21" fmla="*/ 0 h 33"/>
                <a:gd name="T22" fmla="*/ 2 w 36"/>
                <a:gd name="T23"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33">
                  <a:moveTo>
                    <a:pt x="2" y="9"/>
                  </a:moveTo>
                  <a:cubicBezTo>
                    <a:pt x="0" y="20"/>
                    <a:pt x="0" y="20"/>
                    <a:pt x="0" y="20"/>
                  </a:cubicBezTo>
                  <a:cubicBezTo>
                    <a:pt x="0" y="23"/>
                    <a:pt x="1" y="26"/>
                    <a:pt x="3" y="29"/>
                  </a:cubicBezTo>
                  <a:cubicBezTo>
                    <a:pt x="4" y="31"/>
                    <a:pt x="7" y="33"/>
                    <a:pt x="10" y="33"/>
                  </a:cubicBezTo>
                  <a:cubicBezTo>
                    <a:pt x="15" y="33"/>
                    <a:pt x="20" y="33"/>
                    <a:pt x="25" y="33"/>
                  </a:cubicBezTo>
                  <a:cubicBezTo>
                    <a:pt x="28" y="33"/>
                    <a:pt x="31" y="31"/>
                    <a:pt x="33" y="29"/>
                  </a:cubicBezTo>
                  <a:cubicBezTo>
                    <a:pt x="35" y="26"/>
                    <a:pt x="36" y="23"/>
                    <a:pt x="35" y="20"/>
                  </a:cubicBezTo>
                  <a:cubicBezTo>
                    <a:pt x="33" y="10"/>
                    <a:pt x="33" y="10"/>
                    <a:pt x="33" y="10"/>
                  </a:cubicBezTo>
                  <a:cubicBezTo>
                    <a:pt x="33" y="5"/>
                    <a:pt x="29" y="1"/>
                    <a:pt x="24" y="0"/>
                  </a:cubicBezTo>
                  <a:cubicBezTo>
                    <a:pt x="22" y="0"/>
                    <a:pt x="20" y="0"/>
                    <a:pt x="17" y="0"/>
                  </a:cubicBezTo>
                  <a:cubicBezTo>
                    <a:pt x="16" y="0"/>
                    <a:pt x="14" y="0"/>
                    <a:pt x="12" y="0"/>
                  </a:cubicBezTo>
                  <a:cubicBezTo>
                    <a:pt x="7" y="1"/>
                    <a:pt x="3" y="5"/>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0" name="Freeform 19"/>
            <p:cNvSpPr>
              <a:spLocks/>
            </p:cNvSpPr>
            <p:nvPr/>
          </p:nvSpPr>
          <p:spPr bwMode="auto">
            <a:xfrm>
              <a:off x="3359721" y="1787657"/>
              <a:ext cx="27404" cy="25882"/>
            </a:xfrm>
            <a:custGeom>
              <a:avLst/>
              <a:gdLst>
                <a:gd name="T0" fmla="*/ 35 w 35"/>
                <a:gd name="T1" fmla="*/ 21 h 33"/>
                <a:gd name="T2" fmla="*/ 33 w 35"/>
                <a:gd name="T3" fmla="*/ 10 h 33"/>
                <a:gd name="T4" fmla="*/ 24 w 35"/>
                <a:gd name="T5" fmla="*/ 0 h 33"/>
                <a:gd name="T6" fmla="*/ 17 w 35"/>
                <a:gd name="T7" fmla="*/ 0 h 33"/>
                <a:gd name="T8" fmla="*/ 11 w 35"/>
                <a:gd name="T9" fmla="*/ 0 h 33"/>
                <a:gd name="T10" fmla="*/ 5 w 35"/>
                <a:gd name="T11" fmla="*/ 3 h 33"/>
                <a:gd name="T12" fmla="*/ 6 w 35"/>
                <a:gd name="T13" fmla="*/ 8 h 33"/>
                <a:gd name="T14" fmla="*/ 2 w 35"/>
                <a:gd name="T15" fmla="*/ 22 h 33"/>
                <a:gd name="T16" fmla="*/ 0 w 35"/>
                <a:gd name="T17" fmla="*/ 24 h 33"/>
                <a:gd name="T18" fmla="*/ 2 w 35"/>
                <a:gd name="T19" fmla="*/ 29 h 33"/>
                <a:gd name="T20" fmla="*/ 10 w 35"/>
                <a:gd name="T21" fmla="*/ 33 h 33"/>
                <a:gd name="T22" fmla="*/ 25 w 35"/>
                <a:gd name="T23" fmla="*/ 33 h 33"/>
                <a:gd name="T24" fmla="*/ 25 w 35"/>
                <a:gd name="T25" fmla="*/ 33 h 33"/>
                <a:gd name="T26" fmla="*/ 32 w 35"/>
                <a:gd name="T27" fmla="*/ 29 h 33"/>
                <a:gd name="T28" fmla="*/ 35 w 35"/>
                <a:gd name="T2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5" y="21"/>
                  </a:moveTo>
                  <a:cubicBezTo>
                    <a:pt x="33" y="10"/>
                    <a:pt x="33" y="10"/>
                    <a:pt x="33" y="10"/>
                  </a:cubicBezTo>
                  <a:cubicBezTo>
                    <a:pt x="32" y="5"/>
                    <a:pt x="28" y="1"/>
                    <a:pt x="24" y="0"/>
                  </a:cubicBezTo>
                  <a:cubicBezTo>
                    <a:pt x="21" y="0"/>
                    <a:pt x="19" y="0"/>
                    <a:pt x="17" y="0"/>
                  </a:cubicBezTo>
                  <a:cubicBezTo>
                    <a:pt x="15" y="0"/>
                    <a:pt x="13" y="0"/>
                    <a:pt x="11" y="0"/>
                  </a:cubicBezTo>
                  <a:cubicBezTo>
                    <a:pt x="9" y="1"/>
                    <a:pt x="7" y="2"/>
                    <a:pt x="5" y="3"/>
                  </a:cubicBezTo>
                  <a:cubicBezTo>
                    <a:pt x="6" y="8"/>
                    <a:pt x="6" y="8"/>
                    <a:pt x="6" y="8"/>
                  </a:cubicBezTo>
                  <a:cubicBezTo>
                    <a:pt x="6" y="13"/>
                    <a:pt x="5" y="18"/>
                    <a:pt x="2" y="22"/>
                  </a:cubicBezTo>
                  <a:cubicBezTo>
                    <a:pt x="1" y="23"/>
                    <a:pt x="1" y="23"/>
                    <a:pt x="0" y="24"/>
                  </a:cubicBezTo>
                  <a:cubicBezTo>
                    <a:pt x="0" y="26"/>
                    <a:pt x="1" y="27"/>
                    <a:pt x="2" y="29"/>
                  </a:cubicBezTo>
                  <a:cubicBezTo>
                    <a:pt x="4" y="31"/>
                    <a:pt x="7" y="33"/>
                    <a:pt x="10" y="33"/>
                  </a:cubicBezTo>
                  <a:cubicBezTo>
                    <a:pt x="15" y="33"/>
                    <a:pt x="20" y="33"/>
                    <a:pt x="25" y="33"/>
                  </a:cubicBezTo>
                  <a:cubicBezTo>
                    <a:pt x="25" y="33"/>
                    <a:pt x="25" y="33"/>
                    <a:pt x="25" y="33"/>
                  </a:cubicBezTo>
                  <a:cubicBezTo>
                    <a:pt x="28" y="33"/>
                    <a:pt x="31" y="31"/>
                    <a:pt x="32" y="29"/>
                  </a:cubicBezTo>
                  <a:cubicBezTo>
                    <a:pt x="34" y="27"/>
                    <a:pt x="35" y="23"/>
                    <a:pt x="35"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1" name="Freeform 20"/>
            <p:cNvSpPr>
              <a:spLocks/>
            </p:cNvSpPr>
            <p:nvPr/>
          </p:nvSpPr>
          <p:spPr bwMode="auto">
            <a:xfrm>
              <a:off x="3304152" y="1787657"/>
              <a:ext cx="26643" cy="25882"/>
            </a:xfrm>
            <a:custGeom>
              <a:avLst/>
              <a:gdLst>
                <a:gd name="T0" fmla="*/ 33 w 35"/>
                <a:gd name="T1" fmla="*/ 22 h 33"/>
                <a:gd name="T2" fmla="*/ 30 w 35"/>
                <a:gd name="T3" fmla="*/ 8 h 33"/>
                <a:gd name="T4" fmla="*/ 30 w 35"/>
                <a:gd name="T5" fmla="*/ 3 h 33"/>
                <a:gd name="T6" fmla="*/ 24 w 35"/>
                <a:gd name="T7" fmla="*/ 0 h 33"/>
                <a:gd name="T8" fmla="*/ 18 w 35"/>
                <a:gd name="T9" fmla="*/ 0 h 33"/>
                <a:gd name="T10" fmla="*/ 12 w 35"/>
                <a:gd name="T11" fmla="*/ 0 h 33"/>
                <a:gd name="T12" fmla="*/ 2 w 35"/>
                <a:gd name="T13" fmla="*/ 10 h 33"/>
                <a:gd name="T14" fmla="*/ 1 w 35"/>
                <a:gd name="T15" fmla="*/ 21 h 33"/>
                <a:gd name="T16" fmla="*/ 3 w 35"/>
                <a:gd name="T17" fmla="*/ 29 h 33"/>
                <a:gd name="T18" fmla="*/ 10 w 35"/>
                <a:gd name="T19" fmla="*/ 33 h 33"/>
                <a:gd name="T20" fmla="*/ 26 w 35"/>
                <a:gd name="T21" fmla="*/ 33 h 33"/>
                <a:gd name="T22" fmla="*/ 26 w 35"/>
                <a:gd name="T23" fmla="*/ 33 h 33"/>
                <a:gd name="T24" fmla="*/ 33 w 35"/>
                <a:gd name="T25" fmla="*/ 29 h 33"/>
                <a:gd name="T26" fmla="*/ 35 w 35"/>
                <a:gd name="T27" fmla="*/ 24 h 33"/>
                <a:gd name="T28" fmla="*/ 33 w 35"/>
                <a:gd name="T2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3">
                  <a:moveTo>
                    <a:pt x="33" y="22"/>
                  </a:moveTo>
                  <a:cubicBezTo>
                    <a:pt x="30" y="18"/>
                    <a:pt x="29" y="13"/>
                    <a:pt x="30" y="8"/>
                  </a:cubicBezTo>
                  <a:cubicBezTo>
                    <a:pt x="30" y="3"/>
                    <a:pt x="30" y="3"/>
                    <a:pt x="30" y="3"/>
                  </a:cubicBezTo>
                  <a:cubicBezTo>
                    <a:pt x="29" y="2"/>
                    <a:pt x="27" y="1"/>
                    <a:pt x="24" y="0"/>
                  </a:cubicBezTo>
                  <a:cubicBezTo>
                    <a:pt x="22" y="0"/>
                    <a:pt x="20" y="0"/>
                    <a:pt x="18" y="0"/>
                  </a:cubicBezTo>
                  <a:cubicBezTo>
                    <a:pt x="16" y="0"/>
                    <a:pt x="14" y="0"/>
                    <a:pt x="12" y="0"/>
                  </a:cubicBezTo>
                  <a:cubicBezTo>
                    <a:pt x="7" y="1"/>
                    <a:pt x="3" y="5"/>
                    <a:pt x="2" y="10"/>
                  </a:cubicBezTo>
                  <a:cubicBezTo>
                    <a:pt x="1" y="21"/>
                    <a:pt x="1" y="21"/>
                    <a:pt x="1" y="21"/>
                  </a:cubicBezTo>
                  <a:cubicBezTo>
                    <a:pt x="0" y="24"/>
                    <a:pt x="1" y="27"/>
                    <a:pt x="3" y="29"/>
                  </a:cubicBezTo>
                  <a:cubicBezTo>
                    <a:pt x="5" y="31"/>
                    <a:pt x="7" y="33"/>
                    <a:pt x="10" y="33"/>
                  </a:cubicBezTo>
                  <a:cubicBezTo>
                    <a:pt x="15" y="33"/>
                    <a:pt x="21" y="33"/>
                    <a:pt x="26" y="33"/>
                  </a:cubicBezTo>
                  <a:cubicBezTo>
                    <a:pt x="26" y="33"/>
                    <a:pt x="26" y="33"/>
                    <a:pt x="26" y="33"/>
                  </a:cubicBezTo>
                  <a:cubicBezTo>
                    <a:pt x="29" y="33"/>
                    <a:pt x="31" y="31"/>
                    <a:pt x="33" y="29"/>
                  </a:cubicBezTo>
                  <a:cubicBezTo>
                    <a:pt x="34" y="27"/>
                    <a:pt x="35" y="26"/>
                    <a:pt x="35" y="24"/>
                  </a:cubicBezTo>
                  <a:cubicBezTo>
                    <a:pt x="35" y="23"/>
                    <a:pt x="34" y="23"/>
                    <a:pt x="33"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2" name="Freeform 21"/>
            <p:cNvSpPr>
              <a:spLocks/>
            </p:cNvSpPr>
            <p:nvPr/>
          </p:nvSpPr>
          <p:spPr bwMode="auto">
            <a:xfrm>
              <a:off x="3330033" y="1812777"/>
              <a:ext cx="30449" cy="27404"/>
            </a:xfrm>
            <a:custGeom>
              <a:avLst/>
              <a:gdLst>
                <a:gd name="T0" fmla="*/ 3 w 39"/>
                <a:gd name="T1" fmla="*/ 10 h 36"/>
                <a:gd name="T2" fmla="*/ 1 w 39"/>
                <a:gd name="T3" fmla="*/ 22 h 36"/>
                <a:gd name="T4" fmla="*/ 3 w 39"/>
                <a:gd name="T5" fmla="*/ 31 h 36"/>
                <a:gd name="T6" fmla="*/ 11 w 39"/>
                <a:gd name="T7" fmla="*/ 35 h 36"/>
                <a:gd name="T8" fmla="*/ 28 w 39"/>
                <a:gd name="T9" fmla="*/ 35 h 36"/>
                <a:gd name="T10" fmla="*/ 36 w 39"/>
                <a:gd name="T11" fmla="*/ 31 h 36"/>
                <a:gd name="T12" fmla="*/ 39 w 39"/>
                <a:gd name="T13" fmla="*/ 22 h 36"/>
                <a:gd name="T14" fmla="*/ 37 w 39"/>
                <a:gd name="T15" fmla="*/ 10 h 36"/>
                <a:gd name="T16" fmla="*/ 27 w 39"/>
                <a:gd name="T17" fmla="*/ 0 h 36"/>
                <a:gd name="T18" fmla="*/ 19 w 39"/>
                <a:gd name="T19" fmla="*/ 0 h 36"/>
                <a:gd name="T20" fmla="*/ 13 w 39"/>
                <a:gd name="T21" fmla="*/ 0 h 36"/>
                <a:gd name="T22" fmla="*/ 3 w 39"/>
                <a:gd name="T23"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36">
                  <a:moveTo>
                    <a:pt x="3" y="10"/>
                  </a:moveTo>
                  <a:cubicBezTo>
                    <a:pt x="1" y="22"/>
                    <a:pt x="1" y="22"/>
                    <a:pt x="1" y="22"/>
                  </a:cubicBezTo>
                  <a:cubicBezTo>
                    <a:pt x="0" y="25"/>
                    <a:pt x="1" y="29"/>
                    <a:pt x="3" y="31"/>
                  </a:cubicBezTo>
                  <a:cubicBezTo>
                    <a:pt x="5" y="34"/>
                    <a:pt x="8" y="35"/>
                    <a:pt x="11" y="35"/>
                  </a:cubicBezTo>
                  <a:cubicBezTo>
                    <a:pt x="17" y="36"/>
                    <a:pt x="23" y="36"/>
                    <a:pt x="28" y="35"/>
                  </a:cubicBezTo>
                  <a:cubicBezTo>
                    <a:pt x="31" y="35"/>
                    <a:pt x="34" y="34"/>
                    <a:pt x="36" y="31"/>
                  </a:cubicBezTo>
                  <a:cubicBezTo>
                    <a:pt x="38" y="29"/>
                    <a:pt x="39" y="25"/>
                    <a:pt x="39" y="22"/>
                  </a:cubicBezTo>
                  <a:cubicBezTo>
                    <a:pt x="37" y="10"/>
                    <a:pt x="37" y="10"/>
                    <a:pt x="37" y="10"/>
                  </a:cubicBezTo>
                  <a:cubicBezTo>
                    <a:pt x="36" y="5"/>
                    <a:pt x="32" y="1"/>
                    <a:pt x="27" y="0"/>
                  </a:cubicBezTo>
                  <a:cubicBezTo>
                    <a:pt x="24" y="0"/>
                    <a:pt x="22" y="0"/>
                    <a:pt x="19" y="0"/>
                  </a:cubicBezTo>
                  <a:cubicBezTo>
                    <a:pt x="17" y="0"/>
                    <a:pt x="15" y="0"/>
                    <a:pt x="13" y="0"/>
                  </a:cubicBezTo>
                  <a:cubicBezTo>
                    <a:pt x="8" y="1"/>
                    <a:pt x="3" y="5"/>
                    <a:pt x="3"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3" name="Freeform 22"/>
            <p:cNvSpPr>
              <a:spLocks/>
            </p:cNvSpPr>
            <p:nvPr/>
          </p:nvSpPr>
          <p:spPr bwMode="auto">
            <a:xfrm>
              <a:off x="3362004" y="1818867"/>
              <a:ext cx="28926" cy="27404"/>
            </a:xfrm>
            <a:custGeom>
              <a:avLst/>
              <a:gdLst>
                <a:gd name="T0" fmla="*/ 36 w 37"/>
                <a:gd name="T1" fmla="*/ 22 h 36"/>
                <a:gd name="T2" fmla="*/ 35 w 37"/>
                <a:gd name="T3" fmla="*/ 10 h 36"/>
                <a:gd name="T4" fmla="*/ 24 w 37"/>
                <a:gd name="T5" fmla="*/ 0 h 36"/>
                <a:gd name="T6" fmla="*/ 17 w 37"/>
                <a:gd name="T7" fmla="*/ 0 h 36"/>
                <a:gd name="T8" fmla="*/ 11 w 37"/>
                <a:gd name="T9" fmla="*/ 0 h 36"/>
                <a:gd name="T10" fmla="*/ 3 w 37"/>
                <a:gd name="T11" fmla="*/ 4 h 36"/>
                <a:gd name="T12" fmla="*/ 5 w 37"/>
                <a:gd name="T13" fmla="*/ 13 h 36"/>
                <a:gd name="T14" fmla="*/ 1 w 37"/>
                <a:gd name="T15" fmla="*/ 28 h 36"/>
                <a:gd name="T16" fmla="*/ 0 w 37"/>
                <a:gd name="T17" fmla="*/ 29 h 36"/>
                <a:gd name="T18" fmla="*/ 1 w 37"/>
                <a:gd name="T19" fmla="*/ 31 h 36"/>
                <a:gd name="T20" fmla="*/ 9 w 37"/>
                <a:gd name="T21" fmla="*/ 35 h 36"/>
                <a:gd name="T22" fmla="*/ 26 w 37"/>
                <a:gd name="T23" fmla="*/ 35 h 36"/>
                <a:gd name="T24" fmla="*/ 34 w 37"/>
                <a:gd name="T25" fmla="*/ 31 h 36"/>
                <a:gd name="T26" fmla="*/ 36 w 37"/>
                <a:gd name="T2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6">
                  <a:moveTo>
                    <a:pt x="36" y="22"/>
                  </a:moveTo>
                  <a:cubicBezTo>
                    <a:pt x="35" y="10"/>
                    <a:pt x="35" y="10"/>
                    <a:pt x="35" y="10"/>
                  </a:cubicBezTo>
                  <a:cubicBezTo>
                    <a:pt x="34" y="5"/>
                    <a:pt x="30" y="0"/>
                    <a:pt x="24" y="0"/>
                  </a:cubicBezTo>
                  <a:cubicBezTo>
                    <a:pt x="22" y="0"/>
                    <a:pt x="20" y="0"/>
                    <a:pt x="17" y="0"/>
                  </a:cubicBezTo>
                  <a:cubicBezTo>
                    <a:pt x="15" y="0"/>
                    <a:pt x="13" y="0"/>
                    <a:pt x="11" y="0"/>
                  </a:cubicBezTo>
                  <a:cubicBezTo>
                    <a:pt x="8" y="0"/>
                    <a:pt x="5" y="2"/>
                    <a:pt x="3" y="4"/>
                  </a:cubicBezTo>
                  <a:cubicBezTo>
                    <a:pt x="5" y="13"/>
                    <a:pt x="5" y="13"/>
                    <a:pt x="5" y="13"/>
                  </a:cubicBezTo>
                  <a:cubicBezTo>
                    <a:pt x="6" y="18"/>
                    <a:pt x="4" y="24"/>
                    <a:pt x="1" y="28"/>
                  </a:cubicBezTo>
                  <a:cubicBezTo>
                    <a:pt x="0" y="28"/>
                    <a:pt x="0" y="28"/>
                    <a:pt x="0" y="29"/>
                  </a:cubicBezTo>
                  <a:cubicBezTo>
                    <a:pt x="0" y="30"/>
                    <a:pt x="0" y="30"/>
                    <a:pt x="1" y="31"/>
                  </a:cubicBezTo>
                  <a:cubicBezTo>
                    <a:pt x="3" y="33"/>
                    <a:pt x="6" y="35"/>
                    <a:pt x="9" y="35"/>
                  </a:cubicBezTo>
                  <a:cubicBezTo>
                    <a:pt x="15" y="36"/>
                    <a:pt x="20" y="36"/>
                    <a:pt x="26" y="35"/>
                  </a:cubicBezTo>
                  <a:cubicBezTo>
                    <a:pt x="29" y="35"/>
                    <a:pt x="32" y="33"/>
                    <a:pt x="34" y="31"/>
                  </a:cubicBezTo>
                  <a:cubicBezTo>
                    <a:pt x="36" y="28"/>
                    <a:pt x="37" y="25"/>
                    <a:pt x="36"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4" name="Freeform 23"/>
            <p:cNvSpPr>
              <a:spLocks/>
            </p:cNvSpPr>
            <p:nvPr/>
          </p:nvSpPr>
          <p:spPr bwMode="auto">
            <a:xfrm>
              <a:off x="3281315" y="1812777"/>
              <a:ext cx="74600" cy="149961"/>
            </a:xfrm>
            <a:custGeom>
              <a:avLst/>
              <a:gdLst>
                <a:gd name="T0" fmla="*/ 23 w 96"/>
                <a:gd name="T1" fmla="*/ 136 h 195"/>
                <a:gd name="T2" fmla="*/ 83 w 96"/>
                <a:gd name="T3" fmla="*/ 195 h 195"/>
                <a:gd name="T4" fmla="*/ 96 w 96"/>
                <a:gd name="T5" fmla="*/ 194 h 195"/>
                <a:gd name="T6" fmla="*/ 0 w 96"/>
                <a:gd name="T7" fmla="*/ 0 h 195"/>
                <a:gd name="T8" fmla="*/ 23 w 96"/>
                <a:gd name="T9" fmla="*/ 76 h 195"/>
                <a:gd name="T10" fmla="*/ 23 w 96"/>
                <a:gd name="T11" fmla="*/ 112 h 195"/>
                <a:gd name="T12" fmla="*/ 23 w 96"/>
                <a:gd name="T13" fmla="*/ 136 h 195"/>
              </a:gdLst>
              <a:ahLst/>
              <a:cxnLst>
                <a:cxn ang="0">
                  <a:pos x="T0" y="T1"/>
                </a:cxn>
                <a:cxn ang="0">
                  <a:pos x="T2" y="T3"/>
                </a:cxn>
                <a:cxn ang="0">
                  <a:pos x="T4" y="T5"/>
                </a:cxn>
                <a:cxn ang="0">
                  <a:pos x="T6" y="T7"/>
                </a:cxn>
                <a:cxn ang="0">
                  <a:pos x="T8" y="T9"/>
                </a:cxn>
                <a:cxn ang="0">
                  <a:pos x="T10" y="T11"/>
                </a:cxn>
                <a:cxn ang="0">
                  <a:pos x="T12" y="T13"/>
                </a:cxn>
              </a:cxnLst>
              <a:rect l="0" t="0" r="r" b="b"/>
              <a:pathLst>
                <a:path w="96" h="195">
                  <a:moveTo>
                    <a:pt x="23" y="136"/>
                  </a:moveTo>
                  <a:cubicBezTo>
                    <a:pt x="23" y="169"/>
                    <a:pt x="50" y="195"/>
                    <a:pt x="83" y="195"/>
                  </a:cubicBezTo>
                  <a:cubicBezTo>
                    <a:pt x="87" y="195"/>
                    <a:pt x="92" y="195"/>
                    <a:pt x="96" y="194"/>
                  </a:cubicBezTo>
                  <a:cubicBezTo>
                    <a:pt x="91" y="125"/>
                    <a:pt x="57" y="40"/>
                    <a:pt x="0" y="0"/>
                  </a:cubicBezTo>
                  <a:cubicBezTo>
                    <a:pt x="13" y="26"/>
                    <a:pt x="21" y="52"/>
                    <a:pt x="23" y="76"/>
                  </a:cubicBezTo>
                  <a:cubicBezTo>
                    <a:pt x="24" y="89"/>
                    <a:pt x="24" y="101"/>
                    <a:pt x="23" y="112"/>
                  </a:cubicBezTo>
                  <a:cubicBezTo>
                    <a:pt x="23" y="120"/>
                    <a:pt x="23" y="128"/>
                    <a:pt x="23" y="1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5" name="Freeform 24"/>
            <p:cNvSpPr>
              <a:spLocks/>
            </p:cNvSpPr>
            <p:nvPr/>
          </p:nvSpPr>
          <p:spPr bwMode="auto">
            <a:xfrm>
              <a:off x="3303390" y="1818867"/>
              <a:ext cx="25882" cy="26643"/>
            </a:xfrm>
            <a:custGeom>
              <a:avLst/>
              <a:gdLst>
                <a:gd name="T0" fmla="*/ 24 w 34"/>
                <a:gd name="T1" fmla="*/ 35 h 35"/>
                <a:gd name="T2" fmla="*/ 24 w 34"/>
                <a:gd name="T3" fmla="*/ 35 h 35"/>
                <a:gd name="T4" fmla="*/ 32 w 34"/>
                <a:gd name="T5" fmla="*/ 31 h 35"/>
                <a:gd name="T6" fmla="*/ 34 w 34"/>
                <a:gd name="T7" fmla="*/ 29 h 35"/>
                <a:gd name="T8" fmla="*/ 33 w 34"/>
                <a:gd name="T9" fmla="*/ 28 h 35"/>
                <a:gd name="T10" fmla="*/ 29 w 34"/>
                <a:gd name="T11" fmla="*/ 13 h 35"/>
                <a:gd name="T12" fmla="*/ 30 w 34"/>
                <a:gd name="T13" fmla="*/ 4 h 35"/>
                <a:gd name="T14" fmla="*/ 23 w 34"/>
                <a:gd name="T15" fmla="*/ 0 h 35"/>
                <a:gd name="T16" fmla="*/ 16 w 34"/>
                <a:gd name="T17" fmla="*/ 0 h 35"/>
                <a:gd name="T18" fmla="*/ 10 w 34"/>
                <a:gd name="T19" fmla="*/ 0 h 35"/>
                <a:gd name="T20" fmla="*/ 0 w 34"/>
                <a:gd name="T21" fmla="*/ 6 h 35"/>
                <a:gd name="T22" fmla="*/ 24 w 34"/>
                <a:gd name="T23"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5">
                  <a:moveTo>
                    <a:pt x="24" y="35"/>
                  </a:moveTo>
                  <a:cubicBezTo>
                    <a:pt x="24" y="35"/>
                    <a:pt x="24" y="35"/>
                    <a:pt x="24" y="35"/>
                  </a:cubicBezTo>
                  <a:cubicBezTo>
                    <a:pt x="28" y="35"/>
                    <a:pt x="30" y="33"/>
                    <a:pt x="32" y="31"/>
                  </a:cubicBezTo>
                  <a:cubicBezTo>
                    <a:pt x="33" y="30"/>
                    <a:pt x="33" y="30"/>
                    <a:pt x="34" y="29"/>
                  </a:cubicBezTo>
                  <a:cubicBezTo>
                    <a:pt x="33" y="28"/>
                    <a:pt x="33" y="28"/>
                    <a:pt x="33" y="28"/>
                  </a:cubicBezTo>
                  <a:cubicBezTo>
                    <a:pt x="29" y="24"/>
                    <a:pt x="28" y="18"/>
                    <a:pt x="29" y="13"/>
                  </a:cubicBezTo>
                  <a:cubicBezTo>
                    <a:pt x="30" y="4"/>
                    <a:pt x="30" y="4"/>
                    <a:pt x="30" y="4"/>
                  </a:cubicBezTo>
                  <a:cubicBezTo>
                    <a:pt x="28" y="2"/>
                    <a:pt x="26" y="0"/>
                    <a:pt x="23" y="0"/>
                  </a:cubicBezTo>
                  <a:cubicBezTo>
                    <a:pt x="20" y="0"/>
                    <a:pt x="18" y="0"/>
                    <a:pt x="16" y="0"/>
                  </a:cubicBezTo>
                  <a:cubicBezTo>
                    <a:pt x="14" y="0"/>
                    <a:pt x="12" y="0"/>
                    <a:pt x="10" y="0"/>
                  </a:cubicBezTo>
                  <a:cubicBezTo>
                    <a:pt x="5" y="0"/>
                    <a:pt x="2" y="3"/>
                    <a:pt x="0" y="6"/>
                  </a:cubicBezTo>
                  <a:cubicBezTo>
                    <a:pt x="9" y="15"/>
                    <a:pt x="16" y="25"/>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6" name="Freeform 25"/>
            <p:cNvSpPr>
              <a:spLocks/>
            </p:cNvSpPr>
            <p:nvPr/>
          </p:nvSpPr>
          <p:spPr bwMode="auto">
            <a:xfrm>
              <a:off x="3330794" y="1847032"/>
              <a:ext cx="29688" cy="27404"/>
            </a:xfrm>
            <a:custGeom>
              <a:avLst/>
              <a:gdLst>
                <a:gd name="T0" fmla="*/ 2 w 38"/>
                <a:gd name="T1" fmla="*/ 11 h 36"/>
                <a:gd name="T2" fmla="*/ 0 w 38"/>
                <a:gd name="T3" fmla="*/ 19 h 36"/>
                <a:gd name="T4" fmla="*/ 9 w 38"/>
                <a:gd name="T5" fmla="*/ 36 h 36"/>
                <a:gd name="T6" fmla="*/ 10 w 38"/>
                <a:gd name="T7" fmla="*/ 36 h 36"/>
                <a:gd name="T8" fmla="*/ 27 w 38"/>
                <a:gd name="T9" fmla="*/ 36 h 36"/>
                <a:gd name="T10" fmla="*/ 35 w 38"/>
                <a:gd name="T11" fmla="*/ 32 h 36"/>
                <a:gd name="T12" fmla="*/ 38 w 38"/>
                <a:gd name="T13" fmla="*/ 22 h 36"/>
                <a:gd name="T14" fmla="*/ 36 w 38"/>
                <a:gd name="T15" fmla="*/ 11 h 36"/>
                <a:gd name="T16" fmla="*/ 26 w 38"/>
                <a:gd name="T17" fmla="*/ 1 h 36"/>
                <a:gd name="T18" fmla="*/ 18 w 38"/>
                <a:gd name="T19" fmla="*/ 0 h 36"/>
                <a:gd name="T20" fmla="*/ 12 w 38"/>
                <a:gd name="T21" fmla="*/ 1 h 36"/>
                <a:gd name="T22" fmla="*/ 2 w 38"/>
                <a:gd name="T23"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6">
                  <a:moveTo>
                    <a:pt x="2" y="11"/>
                  </a:moveTo>
                  <a:cubicBezTo>
                    <a:pt x="0" y="19"/>
                    <a:pt x="0" y="19"/>
                    <a:pt x="0" y="19"/>
                  </a:cubicBezTo>
                  <a:cubicBezTo>
                    <a:pt x="4" y="24"/>
                    <a:pt x="6" y="30"/>
                    <a:pt x="9" y="36"/>
                  </a:cubicBezTo>
                  <a:cubicBezTo>
                    <a:pt x="10" y="36"/>
                    <a:pt x="10" y="36"/>
                    <a:pt x="10" y="36"/>
                  </a:cubicBezTo>
                  <a:cubicBezTo>
                    <a:pt x="16" y="36"/>
                    <a:pt x="22" y="36"/>
                    <a:pt x="27" y="36"/>
                  </a:cubicBezTo>
                  <a:cubicBezTo>
                    <a:pt x="30" y="36"/>
                    <a:pt x="33" y="34"/>
                    <a:pt x="35" y="32"/>
                  </a:cubicBezTo>
                  <a:cubicBezTo>
                    <a:pt x="37" y="29"/>
                    <a:pt x="38" y="26"/>
                    <a:pt x="38" y="22"/>
                  </a:cubicBezTo>
                  <a:cubicBezTo>
                    <a:pt x="36" y="11"/>
                    <a:pt x="36" y="11"/>
                    <a:pt x="36" y="11"/>
                  </a:cubicBezTo>
                  <a:cubicBezTo>
                    <a:pt x="35" y="5"/>
                    <a:pt x="31" y="1"/>
                    <a:pt x="26" y="1"/>
                  </a:cubicBezTo>
                  <a:cubicBezTo>
                    <a:pt x="23" y="0"/>
                    <a:pt x="21" y="0"/>
                    <a:pt x="18" y="0"/>
                  </a:cubicBezTo>
                  <a:cubicBezTo>
                    <a:pt x="16" y="0"/>
                    <a:pt x="14" y="0"/>
                    <a:pt x="12" y="1"/>
                  </a:cubicBezTo>
                  <a:cubicBezTo>
                    <a:pt x="7" y="1"/>
                    <a:pt x="2" y="5"/>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7" name="Freeform 26"/>
            <p:cNvSpPr>
              <a:spLocks/>
            </p:cNvSpPr>
            <p:nvPr/>
          </p:nvSpPr>
          <p:spPr bwMode="auto">
            <a:xfrm>
              <a:off x="3349063" y="1859212"/>
              <a:ext cx="50241" cy="101243"/>
            </a:xfrm>
            <a:custGeom>
              <a:avLst/>
              <a:gdLst>
                <a:gd name="T0" fmla="*/ 55 w 65"/>
                <a:gd name="T1" fmla="*/ 75 h 131"/>
                <a:gd name="T2" fmla="*/ 65 w 65"/>
                <a:gd name="T3" fmla="*/ 0 h 131"/>
                <a:gd name="T4" fmla="*/ 0 w 65"/>
                <a:gd name="T5" fmla="*/ 53 h 131"/>
                <a:gd name="T6" fmla="*/ 17 w 65"/>
                <a:gd name="T7" fmla="*/ 131 h 131"/>
                <a:gd name="T8" fmla="*/ 55 w 65"/>
                <a:gd name="T9" fmla="*/ 75 h 131"/>
              </a:gdLst>
              <a:ahLst/>
              <a:cxnLst>
                <a:cxn ang="0">
                  <a:pos x="T0" y="T1"/>
                </a:cxn>
                <a:cxn ang="0">
                  <a:pos x="T2" y="T3"/>
                </a:cxn>
                <a:cxn ang="0">
                  <a:pos x="T4" y="T5"/>
                </a:cxn>
                <a:cxn ang="0">
                  <a:pos x="T6" y="T7"/>
                </a:cxn>
                <a:cxn ang="0">
                  <a:pos x="T8" y="T9"/>
                </a:cxn>
              </a:cxnLst>
              <a:rect l="0" t="0" r="r" b="b"/>
              <a:pathLst>
                <a:path w="65" h="131">
                  <a:moveTo>
                    <a:pt x="55" y="75"/>
                  </a:moveTo>
                  <a:cubicBezTo>
                    <a:pt x="55" y="49"/>
                    <a:pt x="59" y="19"/>
                    <a:pt x="65" y="0"/>
                  </a:cubicBezTo>
                  <a:cubicBezTo>
                    <a:pt x="33" y="19"/>
                    <a:pt x="12" y="34"/>
                    <a:pt x="0" y="53"/>
                  </a:cubicBezTo>
                  <a:cubicBezTo>
                    <a:pt x="9" y="79"/>
                    <a:pt x="15" y="106"/>
                    <a:pt x="17" y="131"/>
                  </a:cubicBezTo>
                  <a:cubicBezTo>
                    <a:pt x="39" y="122"/>
                    <a:pt x="55" y="100"/>
                    <a:pt x="55" y="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8" name="Freeform 27"/>
            <p:cNvSpPr>
              <a:spLocks/>
            </p:cNvSpPr>
            <p:nvPr/>
          </p:nvSpPr>
          <p:spPr bwMode="auto">
            <a:xfrm>
              <a:off x="3360482" y="1851599"/>
              <a:ext cx="28165" cy="24359"/>
            </a:xfrm>
            <a:custGeom>
              <a:avLst/>
              <a:gdLst>
                <a:gd name="T0" fmla="*/ 3 w 36"/>
                <a:gd name="T1" fmla="*/ 32 h 32"/>
                <a:gd name="T2" fmla="*/ 36 w 36"/>
                <a:gd name="T3" fmla="*/ 9 h 32"/>
                <a:gd name="T4" fmla="*/ 26 w 36"/>
                <a:gd name="T5" fmla="*/ 0 h 32"/>
                <a:gd name="T6" fmla="*/ 19 w 36"/>
                <a:gd name="T7" fmla="*/ 0 h 32"/>
                <a:gd name="T8" fmla="*/ 13 w 36"/>
                <a:gd name="T9" fmla="*/ 0 h 32"/>
                <a:gd name="T10" fmla="*/ 2 w 36"/>
                <a:gd name="T11" fmla="*/ 10 h 32"/>
                <a:gd name="T12" fmla="*/ 1 w 36"/>
                <a:gd name="T13" fmla="*/ 22 h 32"/>
                <a:gd name="T14" fmla="*/ 3 w 36"/>
                <a:gd name="T15" fmla="*/ 31 h 32"/>
                <a:gd name="T16" fmla="*/ 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3" y="32"/>
                  </a:moveTo>
                  <a:cubicBezTo>
                    <a:pt x="13" y="24"/>
                    <a:pt x="23" y="17"/>
                    <a:pt x="36" y="9"/>
                  </a:cubicBezTo>
                  <a:cubicBezTo>
                    <a:pt x="35" y="4"/>
                    <a:pt x="31" y="1"/>
                    <a:pt x="26" y="0"/>
                  </a:cubicBezTo>
                  <a:cubicBezTo>
                    <a:pt x="24" y="0"/>
                    <a:pt x="22" y="0"/>
                    <a:pt x="19" y="0"/>
                  </a:cubicBezTo>
                  <a:cubicBezTo>
                    <a:pt x="17" y="0"/>
                    <a:pt x="15" y="0"/>
                    <a:pt x="13" y="0"/>
                  </a:cubicBezTo>
                  <a:cubicBezTo>
                    <a:pt x="7" y="1"/>
                    <a:pt x="3" y="5"/>
                    <a:pt x="2" y="10"/>
                  </a:cubicBezTo>
                  <a:cubicBezTo>
                    <a:pt x="1" y="22"/>
                    <a:pt x="1" y="22"/>
                    <a:pt x="1" y="22"/>
                  </a:cubicBezTo>
                  <a:cubicBezTo>
                    <a:pt x="0" y="25"/>
                    <a:pt x="1" y="29"/>
                    <a:pt x="3" y="31"/>
                  </a:cubicBezTo>
                  <a:cubicBezTo>
                    <a:pt x="3" y="31"/>
                    <a:pt x="3" y="31"/>
                    <a:pt x="3"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9" name="Freeform 28"/>
            <p:cNvSpPr>
              <a:spLocks/>
            </p:cNvSpPr>
            <p:nvPr/>
          </p:nvSpPr>
          <p:spPr bwMode="auto">
            <a:xfrm>
              <a:off x="3342974" y="1883571"/>
              <a:ext cx="10657" cy="9896"/>
            </a:xfrm>
            <a:custGeom>
              <a:avLst/>
              <a:gdLst>
                <a:gd name="T0" fmla="*/ 14 w 14"/>
                <a:gd name="T1" fmla="*/ 2 h 13"/>
                <a:gd name="T2" fmla="*/ 10 w 14"/>
                <a:gd name="T3" fmla="*/ 0 h 13"/>
                <a:gd name="T4" fmla="*/ 3 w 14"/>
                <a:gd name="T5" fmla="*/ 0 h 13"/>
                <a:gd name="T6" fmla="*/ 0 w 14"/>
                <a:gd name="T7" fmla="*/ 0 h 13"/>
                <a:gd name="T8" fmla="*/ 5 w 14"/>
                <a:gd name="T9" fmla="*/ 13 h 13"/>
                <a:gd name="T10" fmla="*/ 14 w 14"/>
                <a:gd name="T11" fmla="*/ 2 h 13"/>
              </a:gdLst>
              <a:ahLst/>
              <a:cxnLst>
                <a:cxn ang="0">
                  <a:pos x="T0" y="T1"/>
                </a:cxn>
                <a:cxn ang="0">
                  <a:pos x="T2" y="T3"/>
                </a:cxn>
                <a:cxn ang="0">
                  <a:pos x="T4" y="T5"/>
                </a:cxn>
                <a:cxn ang="0">
                  <a:pos x="T6" y="T7"/>
                </a:cxn>
                <a:cxn ang="0">
                  <a:pos x="T8" y="T9"/>
                </a:cxn>
                <a:cxn ang="0">
                  <a:pos x="T10" y="T11"/>
                </a:cxn>
              </a:cxnLst>
              <a:rect l="0" t="0" r="r" b="b"/>
              <a:pathLst>
                <a:path w="14" h="13">
                  <a:moveTo>
                    <a:pt x="14" y="2"/>
                  </a:moveTo>
                  <a:cubicBezTo>
                    <a:pt x="13" y="1"/>
                    <a:pt x="12" y="1"/>
                    <a:pt x="10" y="0"/>
                  </a:cubicBezTo>
                  <a:cubicBezTo>
                    <a:pt x="8" y="0"/>
                    <a:pt x="6" y="0"/>
                    <a:pt x="3" y="0"/>
                  </a:cubicBezTo>
                  <a:cubicBezTo>
                    <a:pt x="2" y="0"/>
                    <a:pt x="1" y="0"/>
                    <a:pt x="0" y="0"/>
                  </a:cubicBezTo>
                  <a:cubicBezTo>
                    <a:pt x="1" y="5"/>
                    <a:pt x="3" y="9"/>
                    <a:pt x="5" y="13"/>
                  </a:cubicBezTo>
                  <a:cubicBezTo>
                    <a:pt x="8" y="9"/>
                    <a:pt x="11" y="5"/>
                    <a:pt x="14"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0" name="Freeform 29"/>
            <p:cNvSpPr>
              <a:spLocks/>
            </p:cNvSpPr>
            <p:nvPr/>
          </p:nvSpPr>
          <p:spPr bwMode="auto">
            <a:xfrm>
              <a:off x="3333839" y="1721430"/>
              <a:ext cx="22837" cy="21314"/>
            </a:xfrm>
            <a:custGeom>
              <a:avLst/>
              <a:gdLst>
                <a:gd name="T0" fmla="*/ 27 w 29"/>
                <a:gd name="T1" fmla="*/ 24 h 27"/>
                <a:gd name="T2" fmla="*/ 29 w 29"/>
                <a:gd name="T3" fmla="*/ 17 h 27"/>
                <a:gd name="T4" fmla="*/ 28 w 29"/>
                <a:gd name="T5" fmla="*/ 8 h 27"/>
                <a:gd name="T6" fmla="*/ 20 w 29"/>
                <a:gd name="T7" fmla="*/ 0 h 27"/>
                <a:gd name="T8" fmla="*/ 15 w 29"/>
                <a:gd name="T9" fmla="*/ 0 h 27"/>
                <a:gd name="T10" fmla="*/ 10 w 29"/>
                <a:gd name="T11" fmla="*/ 0 h 27"/>
                <a:gd name="T12" fmla="*/ 2 w 29"/>
                <a:gd name="T13" fmla="*/ 8 h 27"/>
                <a:gd name="T14" fmla="*/ 0 w 29"/>
                <a:gd name="T15" fmla="*/ 17 h 27"/>
                <a:gd name="T16" fmla="*/ 2 w 29"/>
                <a:gd name="T17" fmla="*/ 24 h 27"/>
                <a:gd name="T18" fmla="*/ 8 w 29"/>
                <a:gd name="T19" fmla="*/ 27 h 27"/>
                <a:gd name="T20" fmla="*/ 21 w 29"/>
                <a:gd name="T21" fmla="*/ 27 h 27"/>
                <a:gd name="T22" fmla="*/ 27 w 29"/>
                <a:gd name="T23"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27">
                  <a:moveTo>
                    <a:pt x="27" y="24"/>
                  </a:moveTo>
                  <a:cubicBezTo>
                    <a:pt x="29" y="22"/>
                    <a:pt x="29" y="19"/>
                    <a:pt x="29" y="17"/>
                  </a:cubicBezTo>
                  <a:cubicBezTo>
                    <a:pt x="28" y="8"/>
                    <a:pt x="28" y="8"/>
                    <a:pt x="28" y="8"/>
                  </a:cubicBezTo>
                  <a:cubicBezTo>
                    <a:pt x="27" y="4"/>
                    <a:pt x="24" y="1"/>
                    <a:pt x="20" y="0"/>
                  </a:cubicBezTo>
                  <a:cubicBezTo>
                    <a:pt x="18" y="0"/>
                    <a:pt x="16" y="0"/>
                    <a:pt x="15" y="0"/>
                  </a:cubicBezTo>
                  <a:cubicBezTo>
                    <a:pt x="13" y="0"/>
                    <a:pt x="11" y="0"/>
                    <a:pt x="10" y="0"/>
                  </a:cubicBezTo>
                  <a:cubicBezTo>
                    <a:pt x="6" y="0"/>
                    <a:pt x="2" y="4"/>
                    <a:pt x="2" y="8"/>
                  </a:cubicBezTo>
                  <a:cubicBezTo>
                    <a:pt x="0" y="17"/>
                    <a:pt x="0" y="17"/>
                    <a:pt x="0" y="17"/>
                  </a:cubicBezTo>
                  <a:cubicBezTo>
                    <a:pt x="0" y="19"/>
                    <a:pt x="1" y="22"/>
                    <a:pt x="2" y="24"/>
                  </a:cubicBezTo>
                  <a:cubicBezTo>
                    <a:pt x="4" y="26"/>
                    <a:pt x="6" y="27"/>
                    <a:pt x="8" y="27"/>
                  </a:cubicBezTo>
                  <a:cubicBezTo>
                    <a:pt x="13" y="27"/>
                    <a:pt x="17" y="27"/>
                    <a:pt x="21" y="27"/>
                  </a:cubicBezTo>
                  <a:cubicBezTo>
                    <a:pt x="24" y="27"/>
                    <a:pt x="26" y="26"/>
                    <a:pt x="27"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1" name="Group 460"/>
          <p:cNvGrpSpPr/>
          <p:nvPr/>
        </p:nvGrpSpPr>
        <p:grpSpPr>
          <a:xfrm>
            <a:off x="4849570" y="3573664"/>
            <a:ext cx="198909" cy="198910"/>
            <a:chOff x="2212976" y="1957387"/>
            <a:chExt cx="493713" cy="493714"/>
          </a:xfrm>
          <a:solidFill>
            <a:schemeClr val="accent6"/>
          </a:solidFill>
        </p:grpSpPr>
        <p:sp>
          <p:nvSpPr>
            <p:cNvPr id="462" name="Freeform 9"/>
            <p:cNvSpPr>
              <a:spLocks/>
            </p:cNvSpPr>
            <p:nvPr/>
          </p:nvSpPr>
          <p:spPr bwMode="auto">
            <a:xfrm>
              <a:off x="2271713" y="1957387"/>
              <a:ext cx="222250" cy="147638"/>
            </a:xfrm>
            <a:custGeom>
              <a:avLst/>
              <a:gdLst>
                <a:gd name="T0" fmla="*/ 0 w 166"/>
                <a:gd name="T1" fmla="*/ 95 h 110"/>
                <a:gd name="T2" fmla="*/ 112 w 166"/>
                <a:gd name="T3" fmla="*/ 90 h 110"/>
                <a:gd name="T4" fmla="*/ 166 w 166"/>
                <a:gd name="T5" fmla="*/ 32 h 110"/>
                <a:gd name="T6" fmla="*/ 93 w 166"/>
                <a:gd name="T7" fmla="*/ 8 h 110"/>
                <a:gd name="T8" fmla="*/ 0 w 166"/>
                <a:gd name="T9" fmla="*/ 95 h 110"/>
              </a:gdLst>
              <a:ahLst/>
              <a:cxnLst>
                <a:cxn ang="0">
                  <a:pos x="T0" y="T1"/>
                </a:cxn>
                <a:cxn ang="0">
                  <a:pos x="T2" y="T3"/>
                </a:cxn>
                <a:cxn ang="0">
                  <a:pos x="T4" y="T5"/>
                </a:cxn>
                <a:cxn ang="0">
                  <a:pos x="T6" y="T7"/>
                </a:cxn>
                <a:cxn ang="0">
                  <a:pos x="T8" y="T9"/>
                </a:cxn>
              </a:cxnLst>
              <a:rect l="0" t="0" r="r" b="b"/>
              <a:pathLst>
                <a:path w="166" h="110">
                  <a:moveTo>
                    <a:pt x="0" y="95"/>
                  </a:moveTo>
                  <a:cubicBezTo>
                    <a:pt x="36" y="101"/>
                    <a:pt x="64" y="110"/>
                    <a:pt x="112" y="90"/>
                  </a:cubicBezTo>
                  <a:cubicBezTo>
                    <a:pt x="138" y="80"/>
                    <a:pt x="158" y="59"/>
                    <a:pt x="166" y="32"/>
                  </a:cubicBezTo>
                  <a:cubicBezTo>
                    <a:pt x="159" y="28"/>
                    <a:pt x="124" y="0"/>
                    <a:pt x="93" y="8"/>
                  </a:cubicBezTo>
                  <a:cubicBezTo>
                    <a:pt x="57" y="16"/>
                    <a:pt x="33" y="42"/>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3" name="Freeform 10"/>
            <p:cNvSpPr>
              <a:spLocks/>
            </p:cNvSpPr>
            <p:nvPr/>
          </p:nvSpPr>
          <p:spPr bwMode="auto">
            <a:xfrm>
              <a:off x="2212976" y="1958975"/>
              <a:ext cx="493713" cy="492126"/>
            </a:xfrm>
            <a:custGeom>
              <a:avLst/>
              <a:gdLst>
                <a:gd name="T0" fmla="*/ 272 w 371"/>
                <a:gd name="T1" fmla="*/ 168 h 368"/>
                <a:gd name="T2" fmla="*/ 269 w 371"/>
                <a:gd name="T3" fmla="*/ 170 h 368"/>
                <a:gd name="T4" fmla="*/ 243 w 371"/>
                <a:gd name="T5" fmla="*/ 128 h 368"/>
                <a:gd name="T6" fmla="*/ 219 w 371"/>
                <a:gd name="T7" fmla="*/ 84 h 368"/>
                <a:gd name="T8" fmla="*/ 240 w 371"/>
                <a:gd name="T9" fmla="*/ 8 h 368"/>
                <a:gd name="T10" fmla="*/ 232 w 371"/>
                <a:gd name="T11" fmla="*/ 0 h 368"/>
                <a:gd name="T12" fmla="*/ 224 w 371"/>
                <a:gd name="T13" fmla="*/ 8 h 368"/>
                <a:gd name="T14" fmla="*/ 205 w 371"/>
                <a:gd name="T15" fmla="*/ 77 h 368"/>
                <a:gd name="T16" fmla="*/ 204 w 371"/>
                <a:gd name="T17" fmla="*/ 79 h 368"/>
                <a:gd name="T18" fmla="*/ 146 w 371"/>
                <a:gd name="T19" fmla="*/ 139 h 368"/>
                <a:gd name="T20" fmla="*/ 87 w 371"/>
                <a:gd name="T21" fmla="*/ 214 h 368"/>
                <a:gd name="T22" fmla="*/ 83 w 371"/>
                <a:gd name="T23" fmla="*/ 212 h 368"/>
                <a:gd name="T24" fmla="*/ 3 w 371"/>
                <a:gd name="T25" fmla="*/ 254 h 368"/>
                <a:gd name="T26" fmla="*/ 63 w 371"/>
                <a:gd name="T27" fmla="*/ 356 h 368"/>
                <a:gd name="T28" fmla="*/ 93 w 371"/>
                <a:gd name="T29" fmla="*/ 359 h 368"/>
                <a:gd name="T30" fmla="*/ 174 w 371"/>
                <a:gd name="T31" fmla="*/ 273 h 368"/>
                <a:gd name="T32" fmla="*/ 105 w 371"/>
                <a:gd name="T33" fmla="*/ 214 h 368"/>
                <a:gd name="T34" fmla="*/ 104 w 371"/>
                <a:gd name="T35" fmla="*/ 214 h 368"/>
                <a:gd name="T36" fmla="*/ 157 w 371"/>
                <a:gd name="T37" fmla="*/ 151 h 368"/>
                <a:gd name="T38" fmla="*/ 207 w 371"/>
                <a:gd name="T39" fmla="*/ 102 h 368"/>
                <a:gd name="T40" fmla="*/ 232 w 371"/>
                <a:gd name="T41" fmla="*/ 140 h 368"/>
                <a:gd name="T42" fmla="*/ 254 w 371"/>
                <a:gd name="T43" fmla="*/ 174 h 368"/>
                <a:gd name="T44" fmla="*/ 250 w 371"/>
                <a:gd name="T45" fmla="*/ 174 h 368"/>
                <a:gd name="T46" fmla="*/ 191 w 371"/>
                <a:gd name="T47" fmla="*/ 245 h 368"/>
                <a:gd name="T48" fmla="*/ 288 w 371"/>
                <a:gd name="T49" fmla="*/ 315 h 368"/>
                <a:gd name="T50" fmla="*/ 317 w 371"/>
                <a:gd name="T51" fmla="*/ 306 h 368"/>
                <a:gd name="T52" fmla="*/ 360 w 371"/>
                <a:gd name="T53" fmla="*/ 195 h 368"/>
                <a:gd name="T54" fmla="*/ 272 w 371"/>
                <a:gd name="T55" fmla="*/ 1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1" h="368">
                  <a:moveTo>
                    <a:pt x="272" y="168"/>
                  </a:moveTo>
                  <a:cubicBezTo>
                    <a:pt x="271" y="169"/>
                    <a:pt x="270" y="169"/>
                    <a:pt x="269" y="170"/>
                  </a:cubicBezTo>
                  <a:cubicBezTo>
                    <a:pt x="264" y="149"/>
                    <a:pt x="253" y="138"/>
                    <a:pt x="243" y="128"/>
                  </a:cubicBezTo>
                  <a:cubicBezTo>
                    <a:pt x="232" y="117"/>
                    <a:pt x="222" y="108"/>
                    <a:pt x="219" y="84"/>
                  </a:cubicBezTo>
                  <a:cubicBezTo>
                    <a:pt x="233" y="61"/>
                    <a:pt x="240" y="35"/>
                    <a:pt x="240" y="8"/>
                  </a:cubicBezTo>
                  <a:cubicBezTo>
                    <a:pt x="240" y="4"/>
                    <a:pt x="237" y="0"/>
                    <a:pt x="232" y="0"/>
                  </a:cubicBezTo>
                  <a:cubicBezTo>
                    <a:pt x="228" y="0"/>
                    <a:pt x="224" y="4"/>
                    <a:pt x="224" y="8"/>
                  </a:cubicBezTo>
                  <a:cubicBezTo>
                    <a:pt x="224" y="32"/>
                    <a:pt x="218" y="56"/>
                    <a:pt x="205" y="77"/>
                  </a:cubicBezTo>
                  <a:cubicBezTo>
                    <a:pt x="205" y="78"/>
                    <a:pt x="204" y="78"/>
                    <a:pt x="204" y="79"/>
                  </a:cubicBezTo>
                  <a:cubicBezTo>
                    <a:pt x="189" y="103"/>
                    <a:pt x="168" y="121"/>
                    <a:pt x="146" y="139"/>
                  </a:cubicBezTo>
                  <a:cubicBezTo>
                    <a:pt x="120" y="162"/>
                    <a:pt x="94" y="183"/>
                    <a:pt x="87" y="214"/>
                  </a:cubicBezTo>
                  <a:cubicBezTo>
                    <a:pt x="86" y="213"/>
                    <a:pt x="84" y="213"/>
                    <a:pt x="83" y="212"/>
                  </a:cubicBezTo>
                  <a:cubicBezTo>
                    <a:pt x="47" y="195"/>
                    <a:pt x="6" y="215"/>
                    <a:pt x="3" y="254"/>
                  </a:cubicBezTo>
                  <a:cubicBezTo>
                    <a:pt x="0" y="298"/>
                    <a:pt x="28" y="357"/>
                    <a:pt x="63" y="356"/>
                  </a:cubicBezTo>
                  <a:cubicBezTo>
                    <a:pt x="73" y="355"/>
                    <a:pt x="83" y="356"/>
                    <a:pt x="93" y="359"/>
                  </a:cubicBezTo>
                  <a:cubicBezTo>
                    <a:pt x="127" y="368"/>
                    <a:pt x="167" y="316"/>
                    <a:pt x="174" y="273"/>
                  </a:cubicBezTo>
                  <a:cubicBezTo>
                    <a:pt x="180" y="234"/>
                    <a:pt x="143" y="205"/>
                    <a:pt x="105" y="214"/>
                  </a:cubicBezTo>
                  <a:cubicBezTo>
                    <a:pt x="104" y="214"/>
                    <a:pt x="104" y="214"/>
                    <a:pt x="104" y="214"/>
                  </a:cubicBezTo>
                  <a:cubicBezTo>
                    <a:pt x="111" y="191"/>
                    <a:pt x="132" y="172"/>
                    <a:pt x="157" y="151"/>
                  </a:cubicBezTo>
                  <a:cubicBezTo>
                    <a:pt x="174" y="137"/>
                    <a:pt x="192" y="121"/>
                    <a:pt x="207" y="102"/>
                  </a:cubicBezTo>
                  <a:cubicBezTo>
                    <a:pt x="212" y="121"/>
                    <a:pt x="223" y="131"/>
                    <a:pt x="232" y="140"/>
                  </a:cubicBezTo>
                  <a:cubicBezTo>
                    <a:pt x="242" y="149"/>
                    <a:pt x="250" y="157"/>
                    <a:pt x="254" y="174"/>
                  </a:cubicBezTo>
                  <a:cubicBezTo>
                    <a:pt x="253" y="174"/>
                    <a:pt x="251" y="174"/>
                    <a:pt x="250" y="174"/>
                  </a:cubicBezTo>
                  <a:cubicBezTo>
                    <a:pt x="209" y="173"/>
                    <a:pt x="178" y="208"/>
                    <a:pt x="191" y="245"/>
                  </a:cubicBezTo>
                  <a:cubicBezTo>
                    <a:pt x="206" y="287"/>
                    <a:pt x="255" y="330"/>
                    <a:pt x="288" y="315"/>
                  </a:cubicBezTo>
                  <a:cubicBezTo>
                    <a:pt x="297" y="311"/>
                    <a:pt x="307" y="308"/>
                    <a:pt x="317" y="306"/>
                  </a:cubicBezTo>
                  <a:cubicBezTo>
                    <a:pt x="353" y="301"/>
                    <a:pt x="371" y="238"/>
                    <a:pt x="360" y="195"/>
                  </a:cubicBezTo>
                  <a:cubicBezTo>
                    <a:pt x="351" y="157"/>
                    <a:pt x="305" y="145"/>
                    <a:pt x="27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64" name="TextBox 463">
            <a:extLst>
              <a:ext uri="{FF2B5EF4-FFF2-40B4-BE49-F238E27FC236}">
                <a16:creationId xmlns:a16="http://schemas.microsoft.com/office/drawing/2014/main" id="{F82DAF5E-126C-F249-9A57-0C7579E4A75A}"/>
              </a:ext>
            </a:extLst>
          </p:cNvPr>
          <p:cNvSpPr txBox="1"/>
          <p:nvPr/>
        </p:nvSpPr>
        <p:spPr>
          <a:xfrm>
            <a:off x="7350793" y="2470622"/>
            <a:ext cx="150682" cy="215444"/>
          </a:xfrm>
          <a:prstGeom prst="rect">
            <a:avLst/>
          </a:prstGeom>
          <a:noFill/>
          <a:ln w="12700">
            <a:noFill/>
          </a:ln>
        </p:spPr>
        <p:txBody>
          <a:bodyPr wrap="none" lIns="0" tIns="0" rIns="0" bIns="0" rtlCol="0" anchor="t" anchorCtr="0">
            <a:spAutoFit/>
          </a:bodyPr>
          <a:lstStyle/>
          <a:p>
            <a:pPr algn="ctr"/>
            <a:r>
              <a:rPr lang="en-GB" sz="1400">
                <a:solidFill>
                  <a:srgbClr val="5E6A71"/>
                </a:solidFill>
                <a:sym typeface="Symbol" panose="05050102010706020507" pitchFamily="18" charset="2"/>
              </a:rPr>
              <a:t> </a:t>
            </a:r>
            <a:endParaRPr lang="en-GB" sz="1400">
              <a:solidFill>
                <a:srgbClr val="5E6A71"/>
              </a:solidFill>
            </a:endParaRPr>
          </a:p>
        </p:txBody>
      </p:sp>
      <p:sp>
        <p:nvSpPr>
          <p:cNvPr id="465" name="TextBox 464">
            <a:extLst>
              <a:ext uri="{FF2B5EF4-FFF2-40B4-BE49-F238E27FC236}">
                <a16:creationId xmlns:a16="http://schemas.microsoft.com/office/drawing/2014/main" id="{F82DAF5E-126C-F249-9A57-0C7579E4A75A}"/>
              </a:ext>
            </a:extLst>
          </p:cNvPr>
          <p:cNvSpPr txBox="1"/>
          <p:nvPr/>
        </p:nvSpPr>
        <p:spPr>
          <a:xfrm>
            <a:off x="6281648" y="2470622"/>
            <a:ext cx="150682" cy="215444"/>
          </a:xfrm>
          <a:prstGeom prst="rect">
            <a:avLst/>
          </a:prstGeom>
          <a:noFill/>
          <a:ln w="12700">
            <a:noFill/>
          </a:ln>
        </p:spPr>
        <p:txBody>
          <a:bodyPr wrap="none" lIns="0" tIns="0" rIns="0" bIns="0" rtlCol="0" anchor="t" anchorCtr="0">
            <a:spAutoFit/>
          </a:bodyPr>
          <a:lstStyle/>
          <a:p>
            <a:pPr algn="ctr"/>
            <a:r>
              <a:rPr lang="en-GB" sz="1400">
                <a:solidFill>
                  <a:srgbClr val="5E6A71"/>
                </a:solidFill>
                <a:sym typeface="Symbol" panose="05050102010706020507" pitchFamily="18" charset="2"/>
              </a:rPr>
              <a:t> </a:t>
            </a:r>
            <a:endParaRPr lang="en-GB" sz="1400">
              <a:solidFill>
                <a:srgbClr val="5E6A71"/>
              </a:solidFill>
            </a:endParaRPr>
          </a:p>
        </p:txBody>
      </p:sp>
      <p:sp>
        <p:nvSpPr>
          <p:cNvPr id="466" name="TextBox 465">
            <a:extLst>
              <a:ext uri="{FF2B5EF4-FFF2-40B4-BE49-F238E27FC236}">
                <a16:creationId xmlns:a16="http://schemas.microsoft.com/office/drawing/2014/main" id="{F82DAF5E-126C-F249-9A57-0C7579E4A75A}"/>
              </a:ext>
            </a:extLst>
          </p:cNvPr>
          <p:cNvSpPr txBox="1"/>
          <p:nvPr/>
        </p:nvSpPr>
        <p:spPr>
          <a:xfrm>
            <a:off x="5352116" y="2470622"/>
            <a:ext cx="110608" cy="215444"/>
          </a:xfrm>
          <a:prstGeom prst="rect">
            <a:avLst/>
          </a:prstGeom>
          <a:noFill/>
          <a:ln w="12700">
            <a:noFill/>
          </a:ln>
        </p:spPr>
        <p:txBody>
          <a:bodyPr wrap="none" lIns="0" tIns="0" rIns="0" bIns="0" rtlCol="0" anchor="t" anchorCtr="0">
            <a:spAutoFit/>
          </a:bodyPr>
          <a:lstStyle/>
          <a:p>
            <a:pPr algn="ctr"/>
            <a:r>
              <a:rPr lang="en-GB" sz="1400">
                <a:solidFill>
                  <a:srgbClr val="5E6A71"/>
                </a:solidFill>
                <a:sym typeface="Symbol" panose="05050102010706020507" pitchFamily="18" charset="2"/>
              </a:rPr>
              <a:t></a:t>
            </a:r>
            <a:endParaRPr lang="en-GB" sz="1400">
              <a:solidFill>
                <a:srgbClr val="5E6A71"/>
              </a:solidFill>
            </a:endParaRPr>
          </a:p>
        </p:txBody>
      </p:sp>
      <p:sp>
        <p:nvSpPr>
          <p:cNvPr id="467" name="TextBox 466">
            <a:extLst>
              <a:ext uri="{FF2B5EF4-FFF2-40B4-BE49-F238E27FC236}">
                <a16:creationId xmlns:a16="http://schemas.microsoft.com/office/drawing/2014/main" id="{F82DAF5E-126C-F249-9A57-0C7579E4A75A}"/>
              </a:ext>
            </a:extLst>
          </p:cNvPr>
          <p:cNvSpPr txBox="1"/>
          <p:nvPr/>
        </p:nvSpPr>
        <p:spPr>
          <a:xfrm>
            <a:off x="4304073" y="2470622"/>
            <a:ext cx="110608" cy="215444"/>
          </a:xfrm>
          <a:prstGeom prst="rect">
            <a:avLst/>
          </a:prstGeom>
          <a:noFill/>
          <a:ln w="12700">
            <a:noFill/>
          </a:ln>
        </p:spPr>
        <p:txBody>
          <a:bodyPr wrap="none" lIns="0" tIns="0" rIns="0" bIns="0" rtlCol="0" anchor="t" anchorCtr="0">
            <a:spAutoFit/>
          </a:bodyPr>
          <a:lstStyle/>
          <a:p>
            <a:pPr algn="ctr"/>
            <a:r>
              <a:rPr lang="en-GB" sz="1400">
                <a:solidFill>
                  <a:srgbClr val="5E6A71"/>
                </a:solidFill>
                <a:sym typeface="Symbol" panose="05050102010706020507" pitchFamily="18" charset="2"/>
              </a:rPr>
              <a:t></a:t>
            </a:r>
            <a:endParaRPr lang="en-GB" sz="1400">
              <a:solidFill>
                <a:srgbClr val="5E6A71"/>
              </a:solidFill>
            </a:endParaRPr>
          </a:p>
        </p:txBody>
      </p:sp>
      <p:sp>
        <p:nvSpPr>
          <p:cNvPr id="468" name="TextBox 467">
            <a:extLst>
              <a:ext uri="{FF2B5EF4-FFF2-40B4-BE49-F238E27FC236}">
                <a16:creationId xmlns:a16="http://schemas.microsoft.com/office/drawing/2014/main" id="{F82DAF5E-126C-F249-9A57-0C7579E4A75A}"/>
              </a:ext>
            </a:extLst>
          </p:cNvPr>
          <p:cNvSpPr txBox="1"/>
          <p:nvPr/>
        </p:nvSpPr>
        <p:spPr>
          <a:xfrm>
            <a:off x="3361537" y="2470622"/>
            <a:ext cx="110608" cy="215444"/>
          </a:xfrm>
          <a:prstGeom prst="rect">
            <a:avLst/>
          </a:prstGeom>
          <a:noFill/>
          <a:ln w="12700">
            <a:noFill/>
          </a:ln>
        </p:spPr>
        <p:txBody>
          <a:bodyPr wrap="none" lIns="0" tIns="0" rIns="0" bIns="0" rtlCol="0" anchor="t" anchorCtr="0">
            <a:spAutoFit/>
          </a:bodyPr>
          <a:lstStyle/>
          <a:p>
            <a:pPr algn="ctr"/>
            <a:r>
              <a:rPr lang="en-GB" sz="1400">
                <a:solidFill>
                  <a:srgbClr val="5E6A71"/>
                </a:solidFill>
                <a:sym typeface="Symbol" panose="05050102010706020507" pitchFamily="18" charset="2"/>
              </a:rPr>
              <a:t></a:t>
            </a:r>
            <a:endParaRPr lang="en-GB" sz="1400">
              <a:solidFill>
                <a:srgbClr val="5E6A71"/>
              </a:solidFill>
            </a:endParaRPr>
          </a:p>
        </p:txBody>
      </p:sp>
      <p:sp>
        <p:nvSpPr>
          <p:cNvPr id="469" name="TextBox 468">
            <a:extLst>
              <a:ext uri="{FF2B5EF4-FFF2-40B4-BE49-F238E27FC236}">
                <a16:creationId xmlns:a16="http://schemas.microsoft.com/office/drawing/2014/main" id="{F82DAF5E-126C-F249-9A57-0C7579E4A75A}"/>
              </a:ext>
            </a:extLst>
          </p:cNvPr>
          <p:cNvSpPr txBox="1"/>
          <p:nvPr/>
        </p:nvSpPr>
        <p:spPr>
          <a:xfrm>
            <a:off x="2432305" y="2470622"/>
            <a:ext cx="110608" cy="215444"/>
          </a:xfrm>
          <a:prstGeom prst="rect">
            <a:avLst/>
          </a:prstGeom>
          <a:noFill/>
          <a:ln w="12700">
            <a:noFill/>
          </a:ln>
        </p:spPr>
        <p:txBody>
          <a:bodyPr wrap="none" lIns="0" tIns="0" rIns="0" bIns="0" rtlCol="0" anchor="t" anchorCtr="0">
            <a:spAutoFit/>
          </a:bodyPr>
          <a:lstStyle/>
          <a:p>
            <a:pPr algn="ctr"/>
            <a:r>
              <a:rPr lang="en-GB" sz="1400">
                <a:solidFill>
                  <a:srgbClr val="5E6A71"/>
                </a:solidFill>
                <a:sym typeface="Symbol" panose="05050102010706020507" pitchFamily="18" charset="2"/>
              </a:rPr>
              <a:t></a:t>
            </a:r>
            <a:endParaRPr lang="en-GB" sz="1400">
              <a:solidFill>
                <a:srgbClr val="5E6A71"/>
              </a:solidFill>
            </a:endParaRPr>
          </a:p>
        </p:txBody>
      </p:sp>
      <p:sp>
        <p:nvSpPr>
          <p:cNvPr id="470" name="TextBox 469">
            <a:extLst>
              <a:ext uri="{FF2B5EF4-FFF2-40B4-BE49-F238E27FC236}">
                <a16:creationId xmlns:a16="http://schemas.microsoft.com/office/drawing/2014/main" id="{F82DAF5E-126C-F249-9A57-0C7579E4A75A}"/>
              </a:ext>
            </a:extLst>
          </p:cNvPr>
          <p:cNvSpPr txBox="1"/>
          <p:nvPr/>
        </p:nvSpPr>
        <p:spPr>
          <a:xfrm>
            <a:off x="1540585" y="2470622"/>
            <a:ext cx="110608" cy="215444"/>
          </a:xfrm>
          <a:prstGeom prst="rect">
            <a:avLst/>
          </a:prstGeom>
          <a:noFill/>
          <a:ln w="12700">
            <a:noFill/>
          </a:ln>
        </p:spPr>
        <p:txBody>
          <a:bodyPr wrap="none" lIns="0" tIns="0" rIns="0" bIns="0" rtlCol="0" anchor="t" anchorCtr="0">
            <a:spAutoFit/>
          </a:bodyPr>
          <a:lstStyle/>
          <a:p>
            <a:pPr algn="ctr"/>
            <a:r>
              <a:rPr lang="en-GB" sz="1400">
                <a:solidFill>
                  <a:srgbClr val="5E6A71"/>
                </a:solidFill>
                <a:sym typeface="Symbol" panose="05050102010706020507" pitchFamily="18" charset="2"/>
              </a:rPr>
              <a:t></a:t>
            </a:r>
            <a:endParaRPr lang="en-GB" sz="1400">
              <a:solidFill>
                <a:srgbClr val="5E6A71"/>
              </a:solidFill>
            </a:endParaRPr>
          </a:p>
        </p:txBody>
      </p:sp>
      <p:cxnSp>
        <p:nvCxnSpPr>
          <p:cNvPr id="18" name="Straight Arrow Connector 17"/>
          <p:cNvCxnSpPr/>
          <p:nvPr/>
        </p:nvCxnSpPr>
        <p:spPr>
          <a:xfrm>
            <a:off x="1379889" y="2756592"/>
            <a:ext cx="432000" cy="0"/>
          </a:xfrm>
          <a:prstGeom prst="straightConnector1">
            <a:avLst/>
          </a:prstGeom>
          <a:ln w="12700" cap="rnd">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1" name="Straight Arrow Connector 470"/>
          <p:cNvCxnSpPr/>
          <p:nvPr/>
        </p:nvCxnSpPr>
        <p:spPr>
          <a:xfrm>
            <a:off x="2271609" y="2756592"/>
            <a:ext cx="432000" cy="0"/>
          </a:xfrm>
          <a:prstGeom prst="straightConnector1">
            <a:avLst/>
          </a:prstGeom>
          <a:ln w="12700" cap="rnd">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2" name="Straight Arrow Connector 471"/>
          <p:cNvCxnSpPr/>
          <p:nvPr/>
        </p:nvCxnSpPr>
        <p:spPr>
          <a:xfrm>
            <a:off x="3200841" y="2756592"/>
            <a:ext cx="432000" cy="0"/>
          </a:xfrm>
          <a:prstGeom prst="straightConnector1">
            <a:avLst/>
          </a:prstGeom>
          <a:ln w="12700" cap="rnd">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3" name="Straight Arrow Connector 472"/>
          <p:cNvCxnSpPr/>
          <p:nvPr/>
        </p:nvCxnSpPr>
        <p:spPr>
          <a:xfrm>
            <a:off x="4143377" y="2756592"/>
            <a:ext cx="432000" cy="0"/>
          </a:xfrm>
          <a:prstGeom prst="straightConnector1">
            <a:avLst/>
          </a:prstGeom>
          <a:ln w="12700" cap="rnd">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4" name="Straight Arrow Connector 473"/>
          <p:cNvCxnSpPr/>
          <p:nvPr/>
        </p:nvCxnSpPr>
        <p:spPr>
          <a:xfrm>
            <a:off x="7210134" y="2756592"/>
            <a:ext cx="432000" cy="0"/>
          </a:xfrm>
          <a:prstGeom prst="straightConnector1">
            <a:avLst/>
          </a:prstGeom>
          <a:ln w="12700" cap="rnd">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5" name="Straight Arrow Connector 474"/>
          <p:cNvCxnSpPr/>
          <p:nvPr/>
        </p:nvCxnSpPr>
        <p:spPr>
          <a:xfrm>
            <a:off x="6140989" y="2756592"/>
            <a:ext cx="432000" cy="0"/>
          </a:xfrm>
          <a:prstGeom prst="straightConnector1">
            <a:avLst/>
          </a:prstGeom>
          <a:ln w="12700" cap="rnd">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6" name="Straight Arrow Connector 475"/>
          <p:cNvCxnSpPr/>
          <p:nvPr/>
        </p:nvCxnSpPr>
        <p:spPr>
          <a:xfrm>
            <a:off x="5191420" y="2756592"/>
            <a:ext cx="432000" cy="0"/>
          </a:xfrm>
          <a:prstGeom prst="straightConnector1">
            <a:avLst/>
          </a:prstGeom>
          <a:ln w="12700" cap="rnd">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9" name="Slide Number Placeholder 18"/>
          <p:cNvSpPr>
            <a:spLocks noGrp="1"/>
          </p:cNvSpPr>
          <p:nvPr>
            <p:ph type="sldNum" sz="quarter" idx="11"/>
          </p:nvPr>
        </p:nvSpPr>
        <p:spPr/>
        <p:txBody>
          <a:bodyPr/>
          <a:lstStyle/>
          <a:p>
            <a:fld id="{7CC030A7-D003-45E0-94AF-9D435D41739D}" type="slidenum">
              <a:rPr lang="nl-NL" smtClean="0"/>
              <a:pPr/>
              <a:t>6</a:t>
            </a:fld>
            <a:endParaRPr lang="nl-NL"/>
          </a:p>
        </p:txBody>
      </p:sp>
      <p:grpSp>
        <p:nvGrpSpPr>
          <p:cNvPr id="292" name="Group 291"/>
          <p:cNvGrpSpPr/>
          <p:nvPr/>
        </p:nvGrpSpPr>
        <p:grpSpPr>
          <a:xfrm>
            <a:off x="3862658" y="3573664"/>
            <a:ext cx="198909" cy="198910"/>
            <a:chOff x="2212976" y="1957387"/>
            <a:chExt cx="493713" cy="493714"/>
          </a:xfrm>
          <a:solidFill>
            <a:schemeClr val="accent6"/>
          </a:solidFill>
        </p:grpSpPr>
        <p:sp>
          <p:nvSpPr>
            <p:cNvPr id="294" name="Freeform 9"/>
            <p:cNvSpPr>
              <a:spLocks/>
            </p:cNvSpPr>
            <p:nvPr/>
          </p:nvSpPr>
          <p:spPr bwMode="auto">
            <a:xfrm>
              <a:off x="2271713" y="1957387"/>
              <a:ext cx="222250" cy="147638"/>
            </a:xfrm>
            <a:custGeom>
              <a:avLst/>
              <a:gdLst>
                <a:gd name="T0" fmla="*/ 0 w 166"/>
                <a:gd name="T1" fmla="*/ 95 h 110"/>
                <a:gd name="T2" fmla="*/ 112 w 166"/>
                <a:gd name="T3" fmla="*/ 90 h 110"/>
                <a:gd name="T4" fmla="*/ 166 w 166"/>
                <a:gd name="T5" fmla="*/ 32 h 110"/>
                <a:gd name="T6" fmla="*/ 93 w 166"/>
                <a:gd name="T7" fmla="*/ 8 h 110"/>
                <a:gd name="T8" fmla="*/ 0 w 166"/>
                <a:gd name="T9" fmla="*/ 95 h 110"/>
              </a:gdLst>
              <a:ahLst/>
              <a:cxnLst>
                <a:cxn ang="0">
                  <a:pos x="T0" y="T1"/>
                </a:cxn>
                <a:cxn ang="0">
                  <a:pos x="T2" y="T3"/>
                </a:cxn>
                <a:cxn ang="0">
                  <a:pos x="T4" y="T5"/>
                </a:cxn>
                <a:cxn ang="0">
                  <a:pos x="T6" y="T7"/>
                </a:cxn>
                <a:cxn ang="0">
                  <a:pos x="T8" y="T9"/>
                </a:cxn>
              </a:cxnLst>
              <a:rect l="0" t="0" r="r" b="b"/>
              <a:pathLst>
                <a:path w="166" h="110">
                  <a:moveTo>
                    <a:pt x="0" y="95"/>
                  </a:moveTo>
                  <a:cubicBezTo>
                    <a:pt x="36" y="101"/>
                    <a:pt x="64" y="110"/>
                    <a:pt x="112" y="90"/>
                  </a:cubicBezTo>
                  <a:cubicBezTo>
                    <a:pt x="138" y="80"/>
                    <a:pt x="158" y="59"/>
                    <a:pt x="166" y="32"/>
                  </a:cubicBezTo>
                  <a:cubicBezTo>
                    <a:pt x="159" y="28"/>
                    <a:pt x="124" y="0"/>
                    <a:pt x="93" y="8"/>
                  </a:cubicBezTo>
                  <a:cubicBezTo>
                    <a:pt x="57" y="16"/>
                    <a:pt x="33" y="42"/>
                    <a:pt x="0"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6" name="Freeform 10"/>
            <p:cNvSpPr>
              <a:spLocks/>
            </p:cNvSpPr>
            <p:nvPr/>
          </p:nvSpPr>
          <p:spPr bwMode="auto">
            <a:xfrm>
              <a:off x="2212976" y="1958975"/>
              <a:ext cx="493713" cy="492126"/>
            </a:xfrm>
            <a:custGeom>
              <a:avLst/>
              <a:gdLst>
                <a:gd name="T0" fmla="*/ 272 w 371"/>
                <a:gd name="T1" fmla="*/ 168 h 368"/>
                <a:gd name="T2" fmla="*/ 269 w 371"/>
                <a:gd name="T3" fmla="*/ 170 h 368"/>
                <a:gd name="T4" fmla="*/ 243 w 371"/>
                <a:gd name="T5" fmla="*/ 128 h 368"/>
                <a:gd name="T6" fmla="*/ 219 w 371"/>
                <a:gd name="T7" fmla="*/ 84 h 368"/>
                <a:gd name="T8" fmla="*/ 240 w 371"/>
                <a:gd name="T9" fmla="*/ 8 h 368"/>
                <a:gd name="T10" fmla="*/ 232 w 371"/>
                <a:gd name="T11" fmla="*/ 0 h 368"/>
                <a:gd name="T12" fmla="*/ 224 w 371"/>
                <a:gd name="T13" fmla="*/ 8 h 368"/>
                <a:gd name="T14" fmla="*/ 205 w 371"/>
                <a:gd name="T15" fmla="*/ 77 h 368"/>
                <a:gd name="T16" fmla="*/ 204 w 371"/>
                <a:gd name="T17" fmla="*/ 79 h 368"/>
                <a:gd name="T18" fmla="*/ 146 w 371"/>
                <a:gd name="T19" fmla="*/ 139 h 368"/>
                <a:gd name="T20" fmla="*/ 87 w 371"/>
                <a:gd name="T21" fmla="*/ 214 h 368"/>
                <a:gd name="T22" fmla="*/ 83 w 371"/>
                <a:gd name="T23" fmla="*/ 212 h 368"/>
                <a:gd name="T24" fmla="*/ 3 w 371"/>
                <a:gd name="T25" fmla="*/ 254 h 368"/>
                <a:gd name="T26" fmla="*/ 63 w 371"/>
                <a:gd name="T27" fmla="*/ 356 h 368"/>
                <a:gd name="T28" fmla="*/ 93 w 371"/>
                <a:gd name="T29" fmla="*/ 359 h 368"/>
                <a:gd name="T30" fmla="*/ 174 w 371"/>
                <a:gd name="T31" fmla="*/ 273 h 368"/>
                <a:gd name="T32" fmla="*/ 105 w 371"/>
                <a:gd name="T33" fmla="*/ 214 h 368"/>
                <a:gd name="T34" fmla="*/ 104 w 371"/>
                <a:gd name="T35" fmla="*/ 214 h 368"/>
                <a:gd name="T36" fmla="*/ 157 w 371"/>
                <a:gd name="T37" fmla="*/ 151 h 368"/>
                <a:gd name="T38" fmla="*/ 207 w 371"/>
                <a:gd name="T39" fmla="*/ 102 h 368"/>
                <a:gd name="T40" fmla="*/ 232 w 371"/>
                <a:gd name="T41" fmla="*/ 140 h 368"/>
                <a:gd name="T42" fmla="*/ 254 w 371"/>
                <a:gd name="T43" fmla="*/ 174 h 368"/>
                <a:gd name="T44" fmla="*/ 250 w 371"/>
                <a:gd name="T45" fmla="*/ 174 h 368"/>
                <a:gd name="T46" fmla="*/ 191 w 371"/>
                <a:gd name="T47" fmla="*/ 245 h 368"/>
                <a:gd name="T48" fmla="*/ 288 w 371"/>
                <a:gd name="T49" fmla="*/ 315 h 368"/>
                <a:gd name="T50" fmla="*/ 317 w 371"/>
                <a:gd name="T51" fmla="*/ 306 h 368"/>
                <a:gd name="T52" fmla="*/ 360 w 371"/>
                <a:gd name="T53" fmla="*/ 195 h 368"/>
                <a:gd name="T54" fmla="*/ 272 w 371"/>
                <a:gd name="T55" fmla="*/ 1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1" h="368">
                  <a:moveTo>
                    <a:pt x="272" y="168"/>
                  </a:moveTo>
                  <a:cubicBezTo>
                    <a:pt x="271" y="169"/>
                    <a:pt x="270" y="169"/>
                    <a:pt x="269" y="170"/>
                  </a:cubicBezTo>
                  <a:cubicBezTo>
                    <a:pt x="264" y="149"/>
                    <a:pt x="253" y="138"/>
                    <a:pt x="243" y="128"/>
                  </a:cubicBezTo>
                  <a:cubicBezTo>
                    <a:pt x="232" y="117"/>
                    <a:pt x="222" y="108"/>
                    <a:pt x="219" y="84"/>
                  </a:cubicBezTo>
                  <a:cubicBezTo>
                    <a:pt x="233" y="61"/>
                    <a:pt x="240" y="35"/>
                    <a:pt x="240" y="8"/>
                  </a:cubicBezTo>
                  <a:cubicBezTo>
                    <a:pt x="240" y="4"/>
                    <a:pt x="237" y="0"/>
                    <a:pt x="232" y="0"/>
                  </a:cubicBezTo>
                  <a:cubicBezTo>
                    <a:pt x="228" y="0"/>
                    <a:pt x="224" y="4"/>
                    <a:pt x="224" y="8"/>
                  </a:cubicBezTo>
                  <a:cubicBezTo>
                    <a:pt x="224" y="32"/>
                    <a:pt x="218" y="56"/>
                    <a:pt x="205" y="77"/>
                  </a:cubicBezTo>
                  <a:cubicBezTo>
                    <a:pt x="205" y="78"/>
                    <a:pt x="204" y="78"/>
                    <a:pt x="204" y="79"/>
                  </a:cubicBezTo>
                  <a:cubicBezTo>
                    <a:pt x="189" y="103"/>
                    <a:pt x="168" y="121"/>
                    <a:pt x="146" y="139"/>
                  </a:cubicBezTo>
                  <a:cubicBezTo>
                    <a:pt x="120" y="162"/>
                    <a:pt x="94" y="183"/>
                    <a:pt x="87" y="214"/>
                  </a:cubicBezTo>
                  <a:cubicBezTo>
                    <a:pt x="86" y="213"/>
                    <a:pt x="84" y="213"/>
                    <a:pt x="83" y="212"/>
                  </a:cubicBezTo>
                  <a:cubicBezTo>
                    <a:pt x="47" y="195"/>
                    <a:pt x="6" y="215"/>
                    <a:pt x="3" y="254"/>
                  </a:cubicBezTo>
                  <a:cubicBezTo>
                    <a:pt x="0" y="298"/>
                    <a:pt x="28" y="357"/>
                    <a:pt x="63" y="356"/>
                  </a:cubicBezTo>
                  <a:cubicBezTo>
                    <a:pt x="73" y="355"/>
                    <a:pt x="83" y="356"/>
                    <a:pt x="93" y="359"/>
                  </a:cubicBezTo>
                  <a:cubicBezTo>
                    <a:pt x="127" y="368"/>
                    <a:pt x="167" y="316"/>
                    <a:pt x="174" y="273"/>
                  </a:cubicBezTo>
                  <a:cubicBezTo>
                    <a:pt x="180" y="234"/>
                    <a:pt x="143" y="205"/>
                    <a:pt x="105" y="214"/>
                  </a:cubicBezTo>
                  <a:cubicBezTo>
                    <a:pt x="104" y="214"/>
                    <a:pt x="104" y="214"/>
                    <a:pt x="104" y="214"/>
                  </a:cubicBezTo>
                  <a:cubicBezTo>
                    <a:pt x="111" y="191"/>
                    <a:pt x="132" y="172"/>
                    <a:pt x="157" y="151"/>
                  </a:cubicBezTo>
                  <a:cubicBezTo>
                    <a:pt x="174" y="137"/>
                    <a:pt x="192" y="121"/>
                    <a:pt x="207" y="102"/>
                  </a:cubicBezTo>
                  <a:cubicBezTo>
                    <a:pt x="212" y="121"/>
                    <a:pt x="223" y="131"/>
                    <a:pt x="232" y="140"/>
                  </a:cubicBezTo>
                  <a:cubicBezTo>
                    <a:pt x="242" y="149"/>
                    <a:pt x="250" y="157"/>
                    <a:pt x="254" y="174"/>
                  </a:cubicBezTo>
                  <a:cubicBezTo>
                    <a:pt x="253" y="174"/>
                    <a:pt x="251" y="174"/>
                    <a:pt x="250" y="174"/>
                  </a:cubicBezTo>
                  <a:cubicBezTo>
                    <a:pt x="209" y="173"/>
                    <a:pt x="178" y="208"/>
                    <a:pt x="191" y="245"/>
                  </a:cubicBezTo>
                  <a:cubicBezTo>
                    <a:pt x="206" y="287"/>
                    <a:pt x="255" y="330"/>
                    <a:pt x="288" y="315"/>
                  </a:cubicBezTo>
                  <a:cubicBezTo>
                    <a:pt x="297" y="311"/>
                    <a:pt x="307" y="308"/>
                    <a:pt x="317" y="306"/>
                  </a:cubicBezTo>
                  <a:cubicBezTo>
                    <a:pt x="353" y="301"/>
                    <a:pt x="371" y="238"/>
                    <a:pt x="360" y="195"/>
                  </a:cubicBezTo>
                  <a:cubicBezTo>
                    <a:pt x="351" y="157"/>
                    <a:pt x="305" y="145"/>
                    <a:pt x="272" y="1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80" name="TextBox 279">
            <a:extLst>
              <a:ext uri="{FF2B5EF4-FFF2-40B4-BE49-F238E27FC236}">
                <a16:creationId xmlns:a16="http://schemas.microsoft.com/office/drawing/2014/main" id="{21DD1B35-B1BB-4847-BD1F-0FE6FD349294}"/>
              </a:ext>
            </a:extLst>
          </p:cNvPr>
          <p:cNvSpPr txBox="1"/>
          <p:nvPr/>
        </p:nvSpPr>
        <p:spPr>
          <a:xfrm>
            <a:off x="6400180" y="1984534"/>
            <a:ext cx="365485" cy="215444"/>
          </a:xfrm>
          <a:prstGeom prst="rect">
            <a:avLst/>
          </a:prstGeom>
          <a:noFill/>
          <a:ln w="12700">
            <a:noFill/>
          </a:ln>
        </p:spPr>
        <p:txBody>
          <a:bodyPr wrap="none" lIns="0" tIns="0" rIns="0" bIns="0" rtlCol="0" anchor="t" anchorCtr="0">
            <a:spAutoFit/>
          </a:bodyPr>
          <a:lstStyle/>
          <a:p>
            <a:pPr algn="ctr"/>
            <a:r>
              <a:rPr lang="en-GB" sz="1400" b="1">
                <a:solidFill>
                  <a:schemeClr val="accent2"/>
                </a:solidFill>
                <a:cs typeface="Calibri" panose="020F0502020204030204" pitchFamily="34" charset="0"/>
              </a:rPr>
              <a:t>$105</a:t>
            </a:r>
          </a:p>
        </p:txBody>
      </p:sp>
      <p:cxnSp>
        <p:nvCxnSpPr>
          <p:cNvPr id="282" name="Straight Arrow Connector 281">
            <a:extLst>
              <a:ext uri="{FF2B5EF4-FFF2-40B4-BE49-F238E27FC236}">
                <a16:creationId xmlns:a16="http://schemas.microsoft.com/office/drawing/2014/main" id="{8BCC10A3-F576-EE4E-9909-9957BBF84135}"/>
              </a:ext>
            </a:extLst>
          </p:cNvPr>
          <p:cNvCxnSpPr>
            <a:cxnSpLocks/>
          </p:cNvCxnSpPr>
          <p:nvPr/>
        </p:nvCxnSpPr>
        <p:spPr>
          <a:xfrm>
            <a:off x="6332956" y="1940689"/>
            <a:ext cx="0" cy="529933"/>
          </a:xfrm>
          <a:prstGeom prst="straightConnector1">
            <a:avLst/>
          </a:prstGeom>
          <a:ln w="12700">
            <a:solidFill>
              <a:schemeClr val="accent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grpSp>
        <p:nvGrpSpPr>
          <p:cNvPr id="283" name="Group 282"/>
          <p:cNvGrpSpPr/>
          <p:nvPr/>
        </p:nvGrpSpPr>
        <p:grpSpPr>
          <a:xfrm>
            <a:off x="6061945" y="1497607"/>
            <a:ext cx="544387" cy="437966"/>
            <a:chOff x="538163" y="2776538"/>
            <a:chExt cx="633412" cy="509587"/>
          </a:xfrm>
          <a:solidFill>
            <a:schemeClr val="accent2"/>
          </a:solidFill>
        </p:grpSpPr>
        <p:sp>
          <p:nvSpPr>
            <p:cNvPr id="284" name="Freeform 20"/>
            <p:cNvSpPr>
              <a:spLocks/>
            </p:cNvSpPr>
            <p:nvPr/>
          </p:nvSpPr>
          <p:spPr bwMode="auto">
            <a:xfrm>
              <a:off x="749300" y="2776538"/>
              <a:ext cx="422275" cy="344487"/>
            </a:xfrm>
            <a:custGeom>
              <a:avLst/>
              <a:gdLst>
                <a:gd name="T0" fmla="*/ 108 w 128"/>
                <a:gd name="T1" fmla="*/ 44 h 104"/>
                <a:gd name="T2" fmla="*/ 74 w 128"/>
                <a:gd name="T3" fmla="*/ 14 h 104"/>
                <a:gd name="T4" fmla="*/ 60 w 128"/>
                <a:gd name="T5" fmla="*/ 17 h 104"/>
                <a:gd name="T6" fmla="*/ 29 w 128"/>
                <a:gd name="T7" fmla="*/ 0 h 104"/>
                <a:gd name="T8" fmla="*/ 0 w 128"/>
                <a:gd name="T9" fmla="*/ 15 h 104"/>
                <a:gd name="T10" fmla="*/ 33 w 128"/>
                <a:gd name="T11" fmla="*/ 34 h 104"/>
                <a:gd name="T12" fmla="*/ 47 w 128"/>
                <a:gd name="T13" fmla="*/ 32 h 104"/>
                <a:gd name="T14" fmla="*/ 88 w 128"/>
                <a:gd name="T15" fmla="*/ 67 h 104"/>
                <a:gd name="T16" fmla="*/ 112 w 128"/>
                <a:gd name="T17" fmla="*/ 104 h 104"/>
                <a:gd name="T18" fmla="*/ 128 w 128"/>
                <a:gd name="T19" fmla="*/ 75 h 104"/>
                <a:gd name="T20" fmla="*/ 108 w 128"/>
                <a:gd name="T21" fmla="*/ 4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04">
                  <a:moveTo>
                    <a:pt x="108" y="44"/>
                  </a:moveTo>
                  <a:cubicBezTo>
                    <a:pt x="106" y="27"/>
                    <a:pt x="92" y="14"/>
                    <a:pt x="74" y="14"/>
                  </a:cubicBezTo>
                  <a:cubicBezTo>
                    <a:pt x="69" y="14"/>
                    <a:pt x="64" y="15"/>
                    <a:pt x="60" y="17"/>
                  </a:cubicBezTo>
                  <a:cubicBezTo>
                    <a:pt x="54" y="7"/>
                    <a:pt x="43" y="0"/>
                    <a:pt x="29" y="0"/>
                  </a:cubicBezTo>
                  <a:cubicBezTo>
                    <a:pt x="17" y="0"/>
                    <a:pt x="6" y="6"/>
                    <a:pt x="0" y="15"/>
                  </a:cubicBezTo>
                  <a:cubicBezTo>
                    <a:pt x="13" y="16"/>
                    <a:pt x="25" y="23"/>
                    <a:pt x="33" y="34"/>
                  </a:cubicBezTo>
                  <a:cubicBezTo>
                    <a:pt x="38" y="33"/>
                    <a:pt x="42" y="32"/>
                    <a:pt x="47" y="32"/>
                  </a:cubicBezTo>
                  <a:cubicBezTo>
                    <a:pt x="68" y="32"/>
                    <a:pt x="85" y="47"/>
                    <a:pt x="88" y="67"/>
                  </a:cubicBezTo>
                  <a:cubicBezTo>
                    <a:pt x="102" y="73"/>
                    <a:pt x="112" y="88"/>
                    <a:pt x="112" y="104"/>
                  </a:cubicBezTo>
                  <a:cubicBezTo>
                    <a:pt x="122" y="98"/>
                    <a:pt x="128" y="87"/>
                    <a:pt x="128" y="75"/>
                  </a:cubicBezTo>
                  <a:cubicBezTo>
                    <a:pt x="128" y="61"/>
                    <a:pt x="120" y="49"/>
                    <a:pt x="108"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285" name="Freeform 21"/>
            <p:cNvSpPr>
              <a:spLocks/>
            </p:cNvSpPr>
            <p:nvPr/>
          </p:nvSpPr>
          <p:spPr bwMode="auto">
            <a:xfrm>
              <a:off x="819150" y="3014663"/>
              <a:ext cx="98425" cy="100012"/>
            </a:xfrm>
            <a:custGeom>
              <a:avLst/>
              <a:gdLst>
                <a:gd name="T0" fmla="*/ 15 w 30"/>
                <a:gd name="T1" fmla="*/ 0 h 30"/>
                <a:gd name="T2" fmla="*/ 5 w 30"/>
                <a:gd name="T3" fmla="*/ 4 h 30"/>
                <a:gd name="T4" fmla="*/ 0 w 30"/>
                <a:gd name="T5" fmla="*/ 15 h 30"/>
                <a:gd name="T6" fmla="*/ 5 w 30"/>
                <a:gd name="T7" fmla="*/ 26 h 30"/>
                <a:gd name="T8" fmla="*/ 15 w 30"/>
                <a:gd name="T9" fmla="*/ 30 h 30"/>
                <a:gd name="T10" fmla="*/ 25 w 30"/>
                <a:gd name="T11" fmla="*/ 26 h 30"/>
                <a:gd name="T12" fmla="*/ 30 w 30"/>
                <a:gd name="T13" fmla="*/ 15 h 30"/>
                <a:gd name="T14" fmla="*/ 25 w 30"/>
                <a:gd name="T15" fmla="*/ 4 h 30"/>
                <a:gd name="T16" fmla="*/ 15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5" y="0"/>
                  </a:moveTo>
                  <a:cubicBezTo>
                    <a:pt x="11" y="0"/>
                    <a:pt x="7" y="1"/>
                    <a:pt x="5" y="4"/>
                  </a:cubicBezTo>
                  <a:cubicBezTo>
                    <a:pt x="2" y="7"/>
                    <a:pt x="0" y="11"/>
                    <a:pt x="0" y="15"/>
                  </a:cubicBezTo>
                  <a:cubicBezTo>
                    <a:pt x="0" y="19"/>
                    <a:pt x="2" y="23"/>
                    <a:pt x="5" y="26"/>
                  </a:cubicBezTo>
                  <a:cubicBezTo>
                    <a:pt x="7" y="29"/>
                    <a:pt x="11" y="30"/>
                    <a:pt x="15" y="30"/>
                  </a:cubicBezTo>
                  <a:cubicBezTo>
                    <a:pt x="19" y="30"/>
                    <a:pt x="23" y="29"/>
                    <a:pt x="25" y="26"/>
                  </a:cubicBezTo>
                  <a:cubicBezTo>
                    <a:pt x="28" y="23"/>
                    <a:pt x="30" y="19"/>
                    <a:pt x="30" y="15"/>
                  </a:cubicBezTo>
                  <a:cubicBezTo>
                    <a:pt x="30" y="11"/>
                    <a:pt x="28" y="7"/>
                    <a:pt x="25" y="4"/>
                  </a:cubicBezTo>
                  <a:cubicBezTo>
                    <a:pt x="23" y="1"/>
                    <a:pt x="19" y="0"/>
                    <a:pt x="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sp>
          <p:nvSpPr>
            <p:cNvPr id="286" name="Freeform 22"/>
            <p:cNvSpPr>
              <a:spLocks noEditPoints="1"/>
            </p:cNvSpPr>
            <p:nvPr/>
          </p:nvSpPr>
          <p:spPr bwMode="auto">
            <a:xfrm>
              <a:off x="538163" y="2840038"/>
              <a:ext cx="568325" cy="446087"/>
            </a:xfrm>
            <a:custGeom>
              <a:avLst/>
              <a:gdLst>
                <a:gd name="T0" fmla="*/ 149 w 172"/>
                <a:gd name="T1" fmla="*/ 50 h 135"/>
                <a:gd name="T2" fmla="*/ 112 w 172"/>
                <a:gd name="T3" fmla="*/ 16 h 135"/>
                <a:gd name="T4" fmla="*/ 96 w 172"/>
                <a:gd name="T5" fmla="*/ 20 h 135"/>
                <a:gd name="T6" fmla="*/ 61 w 172"/>
                <a:gd name="T7" fmla="*/ 0 h 135"/>
                <a:gd name="T8" fmla="*/ 20 w 172"/>
                <a:gd name="T9" fmla="*/ 40 h 135"/>
                <a:gd name="T10" fmla="*/ 20 w 172"/>
                <a:gd name="T11" fmla="*/ 44 h 135"/>
                <a:gd name="T12" fmla="*/ 0 w 172"/>
                <a:gd name="T13" fmla="*/ 81 h 135"/>
                <a:gd name="T14" fmla="*/ 44 w 172"/>
                <a:gd name="T15" fmla="*/ 125 h 135"/>
                <a:gd name="T16" fmla="*/ 59 w 172"/>
                <a:gd name="T17" fmla="*/ 122 h 135"/>
                <a:gd name="T18" fmla="*/ 88 w 172"/>
                <a:gd name="T19" fmla="*/ 135 h 135"/>
                <a:gd name="T20" fmla="*/ 119 w 172"/>
                <a:gd name="T21" fmla="*/ 119 h 135"/>
                <a:gd name="T22" fmla="*/ 134 w 172"/>
                <a:gd name="T23" fmla="*/ 122 h 135"/>
                <a:gd name="T24" fmla="*/ 172 w 172"/>
                <a:gd name="T25" fmla="*/ 84 h 135"/>
                <a:gd name="T26" fmla="*/ 149 w 172"/>
                <a:gd name="T27" fmla="*/ 50 h 135"/>
                <a:gd name="T28" fmla="*/ 47 w 172"/>
                <a:gd name="T29" fmla="*/ 78 h 135"/>
                <a:gd name="T30" fmla="*/ 57 w 172"/>
                <a:gd name="T31" fmla="*/ 82 h 135"/>
                <a:gd name="T32" fmla="*/ 63 w 172"/>
                <a:gd name="T33" fmla="*/ 81 h 135"/>
                <a:gd name="T34" fmla="*/ 69 w 172"/>
                <a:gd name="T35" fmla="*/ 77 h 135"/>
                <a:gd name="T36" fmla="*/ 73 w 172"/>
                <a:gd name="T37" fmla="*/ 82 h 135"/>
                <a:gd name="T38" fmla="*/ 57 w 172"/>
                <a:gd name="T39" fmla="*/ 89 h 135"/>
                <a:gd name="T40" fmla="*/ 42 w 172"/>
                <a:gd name="T41" fmla="*/ 83 h 135"/>
                <a:gd name="T42" fmla="*/ 35 w 172"/>
                <a:gd name="T43" fmla="*/ 68 h 135"/>
                <a:gd name="T44" fmla="*/ 42 w 172"/>
                <a:gd name="T45" fmla="*/ 52 h 135"/>
                <a:gd name="T46" fmla="*/ 58 w 172"/>
                <a:gd name="T47" fmla="*/ 46 h 135"/>
                <a:gd name="T48" fmla="*/ 74 w 172"/>
                <a:gd name="T49" fmla="*/ 54 h 135"/>
                <a:gd name="T50" fmla="*/ 69 w 172"/>
                <a:gd name="T51" fmla="*/ 58 h 135"/>
                <a:gd name="T52" fmla="*/ 64 w 172"/>
                <a:gd name="T53" fmla="*/ 54 h 135"/>
                <a:gd name="T54" fmla="*/ 57 w 172"/>
                <a:gd name="T55" fmla="*/ 53 h 135"/>
                <a:gd name="T56" fmla="*/ 47 w 172"/>
                <a:gd name="T57" fmla="*/ 57 h 135"/>
                <a:gd name="T58" fmla="*/ 42 w 172"/>
                <a:gd name="T59" fmla="*/ 68 h 135"/>
                <a:gd name="T60" fmla="*/ 47 w 172"/>
                <a:gd name="T61" fmla="*/ 78 h 135"/>
                <a:gd name="T62" fmla="*/ 116 w 172"/>
                <a:gd name="T63" fmla="*/ 83 h 135"/>
                <a:gd name="T64" fmla="*/ 100 w 172"/>
                <a:gd name="T65" fmla="*/ 89 h 135"/>
                <a:gd name="T66" fmla="*/ 84 w 172"/>
                <a:gd name="T67" fmla="*/ 83 h 135"/>
                <a:gd name="T68" fmla="*/ 78 w 172"/>
                <a:gd name="T69" fmla="*/ 68 h 135"/>
                <a:gd name="T70" fmla="*/ 84 w 172"/>
                <a:gd name="T71" fmla="*/ 53 h 135"/>
                <a:gd name="T72" fmla="*/ 100 w 172"/>
                <a:gd name="T73" fmla="*/ 47 h 135"/>
                <a:gd name="T74" fmla="*/ 116 w 172"/>
                <a:gd name="T75" fmla="*/ 53 h 135"/>
                <a:gd name="T76" fmla="*/ 122 w 172"/>
                <a:gd name="T77" fmla="*/ 68 h 135"/>
                <a:gd name="T78" fmla="*/ 116 w 172"/>
                <a:gd name="T79" fmla="*/ 83 h 135"/>
                <a:gd name="T80" fmla="*/ 138 w 172"/>
                <a:gd name="T81" fmla="*/ 108 h 135"/>
                <a:gd name="T82" fmla="*/ 120 w 172"/>
                <a:gd name="T83" fmla="*/ 108 h 135"/>
                <a:gd name="T84" fmla="*/ 120 w 172"/>
                <a:gd name="T85" fmla="*/ 105 h 135"/>
                <a:gd name="T86" fmla="*/ 128 w 172"/>
                <a:gd name="T87" fmla="*/ 97 h 135"/>
                <a:gd name="T88" fmla="*/ 132 w 172"/>
                <a:gd name="T89" fmla="*/ 93 h 135"/>
                <a:gd name="T90" fmla="*/ 133 w 172"/>
                <a:gd name="T91" fmla="*/ 90 h 135"/>
                <a:gd name="T92" fmla="*/ 132 w 172"/>
                <a:gd name="T93" fmla="*/ 88 h 135"/>
                <a:gd name="T94" fmla="*/ 129 w 172"/>
                <a:gd name="T95" fmla="*/ 87 h 135"/>
                <a:gd name="T96" fmla="*/ 124 w 172"/>
                <a:gd name="T97" fmla="*/ 90 h 135"/>
                <a:gd name="T98" fmla="*/ 120 w 172"/>
                <a:gd name="T99" fmla="*/ 88 h 135"/>
                <a:gd name="T100" fmla="*/ 124 w 172"/>
                <a:gd name="T101" fmla="*/ 84 h 135"/>
                <a:gd name="T102" fmla="*/ 129 w 172"/>
                <a:gd name="T103" fmla="*/ 83 h 135"/>
                <a:gd name="T104" fmla="*/ 135 w 172"/>
                <a:gd name="T105" fmla="*/ 85 h 135"/>
                <a:gd name="T106" fmla="*/ 137 w 172"/>
                <a:gd name="T107" fmla="*/ 90 h 135"/>
                <a:gd name="T108" fmla="*/ 136 w 172"/>
                <a:gd name="T109" fmla="*/ 94 h 135"/>
                <a:gd name="T110" fmla="*/ 133 w 172"/>
                <a:gd name="T111" fmla="*/ 98 h 135"/>
                <a:gd name="T112" fmla="*/ 127 w 172"/>
                <a:gd name="T113" fmla="*/ 104 h 135"/>
                <a:gd name="T114" fmla="*/ 138 w 172"/>
                <a:gd name="T115" fmla="*/ 104 h 135"/>
                <a:gd name="T116" fmla="*/ 138 w 172"/>
                <a:gd name="T117" fmla="*/ 108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35">
                  <a:moveTo>
                    <a:pt x="149" y="50"/>
                  </a:moveTo>
                  <a:cubicBezTo>
                    <a:pt x="147" y="31"/>
                    <a:pt x="131" y="16"/>
                    <a:pt x="112" y="16"/>
                  </a:cubicBezTo>
                  <a:cubicBezTo>
                    <a:pt x="106" y="16"/>
                    <a:pt x="100" y="18"/>
                    <a:pt x="96" y="20"/>
                  </a:cubicBezTo>
                  <a:cubicBezTo>
                    <a:pt x="88" y="8"/>
                    <a:pt x="76" y="0"/>
                    <a:pt x="61" y="0"/>
                  </a:cubicBezTo>
                  <a:cubicBezTo>
                    <a:pt x="38" y="0"/>
                    <a:pt x="20" y="18"/>
                    <a:pt x="20" y="40"/>
                  </a:cubicBezTo>
                  <a:cubicBezTo>
                    <a:pt x="20" y="42"/>
                    <a:pt x="20" y="43"/>
                    <a:pt x="20" y="44"/>
                  </a:cubicBezTo>
                  <a:cubicBezTo>
                    <a:pt x="8" y="52"/>
                    <a:pt x="0" y="66"/>
                    <a:pt x="0" y="81"/>
                  </a:cubicBezTo>
                  <a:cubicBezTo>
                    <a:pt x="0" y="105"/>
                    <a:pt x="20" y="125"/>
                    <a:pt x="44" y="125"/>
                  </a:cubicBezTo>
                  <a:cubicBezTo>
                    <a:pt x="49" y="125"/>
                    <a:pt x="54" y="124"/>
                    <a:pt x="59" y="122"/>
                  </a:cubicBezTo>
                  <a:cubicBezTo>
                    <a:pt x="66" y="130"/>
                    <a:pt x="76" y="135"/>
                    <a:pt x="88" y="135"/>
                  </a:cubicBezTo>
                  <a:cubicBezTo>
                    <a:pt x="100" y="135"/>
                    <a:pt x="112" y="129"/>
                    <a:pt x="119" y="119"/>
                  </a:cubicBezTo>
                  <a:cubicBezTo>
                    <a:pt x="124" y="121"/>
                    <a:pt x="129" y="122"/>
                    <a:pt x="134" y="122"/>
                  </a:cubicBezTo>
                  <a:cubicBezTo>
                    <a:pt x="155" y="122"/>
                    <a:pt x="172" y="105"/>
                    <a:pt x="172" y="84"/>
                  </a:cubicBezTo>
                  <a:cubicBezTo>
                    <a:pt x="172" y="69"/>
                    <a:pt x="162" y="56"/>
                    <a:pt x="149" y="50"/>
                  </a:cubicBezTo>
                  <a:close/>
                  <a:moveTo>
                    <a:pt x="47" y="78"/>
                  </a:moveTo>
                  <a:cubicBezTo>
                    <a:pt x="50" y="81"/>
                    <a:pt x="53" y="82"/>
                    <a:pt x="57" y="82"/>
                  </a:cubicBezTo>
                  <a:cubicBezTo>
                    <a:pt x="59" y="82"/>
                    <a:pt x="61" y="82"/>
                    <a:pt x="63" y="81"/>
                  </a:cubicBezTo>
                  <a:cubicBezTo>
                    <a:pt x="65" y="80"/>
                    <a:pt x="67" y="79"/>
                    <a:pt x="69" y="77"/>
                  </a:cubicBezTo>
                  <a:cubicBezTo>
                    <a:pt x="73" y="82"/>
                    <a:pt x="73" y="82"/>
                    <a:pt x="73" y="82"/>
                  </a:cubicBezTo>
                  <a:cubicBezTo>
                    <a:pt x="69" y="87"/>
                    <a:pt x="64" y="89"/>
                    <a:pt x="57" y="89"/>
                  </a:cubicBezTo>
                  <a:cubicBezTo>
                    <a:pt x="51" y="89"/>
                    <a:pt x="46" y="87"/>
                    <a:pt x="42" y="83"/>
                  </a:cubicBezTo>
                  <a:cubicBezTo>
                    <a:pt x="38" y="79"/>
                    <a:pt x="35" y="74"/>
                    <a:pt x="35" y="68"/>
                  </a:cubicBezTo>
                  <a:cubicBezTo>
                    <a:pt x="35" y="62"/>
                    <a:pt x="37" y="57"/>
                    <a:pt x="42" y="52"/>
                  </a:cubicBezTo>
                  <a:cubicBezTo>
                    <a:pt x="46" y="48"/>
                    <a:pt x="51" y="46"/>
                    <a:pt x="58" y="46"/>
                  </a:cubicBezTo>
                  <a:cubicBezTo>
                    <a:pt x="64" y="46"/>
                    <a:pt x="70" y="49"/>
                    <a:pt x="74" y="54"/>
                  </a:cubicBezTo>
                  <a:cubicBezTo>
                    <a:pt x="69" y="58"/>
                    <a:pt x="69" y="58"/>
                    <a:pt x="69" y="58"/>
                  </a:cubicBezTo>
                  <a:cubicBezTo>
                    <a:pt x="67" y="56"/>
                    <a:pt x="65" y="55"/>
                    <a:pt x="64" y="54"/>
                  </a:cubicBezTo>
                  <a:cubicBezTo>
                    <a:pt x="62" y="54"/>
                    <a:pt x="60" y="53"/>
                    <a:pt x="57" y="53"/>
                  </a:cubicBezTo>
                  <a:cubicBezTo>
                    <a:pt x="53" y="53"/>
                    <a:pt x="50" y="54"/>
                    <a:pt x="47" y="57"/>
                  </a:cubicBezTo>
                  <a:cubicBezTo>
                    <a:pt x="44" y="60"/>
                    <a:pt x="42" y="63"/>
                    <a:pt x="42" y="68"/>
                  </a:cubicBezTo>
                  <a:cubicBezTo>
                    <a:pt x="43" y="72"/>
                    <a:pt x="44" y="75"/>
                    <a:pt x="47" y="78"/>
                  </a:cubicBezTo>
                  <a:close/>
                  <a:moveTo>
                    <a:pt x="116" y="83"/>
                  </a:moveTo>
                  <a:cubicBezTo>
                    <a:pt x="112" y="87"/>
                    <a:pt x="106" y="89"/>
                    <a:pt x="100" y="89"/>
                  </a:cubicBezTo>
                  <a:cubicBezTo>
                    <a:pt x="94" y="89"/>
                    <a:pt x="89" y="87"/>
                    <a:pt x="84" y="83"/>
                  </a:cubicBezTo>
                  <a:cubicBezTo>
                    <a:pt x="80" y="79"/>
                    <a:pt x="78" y="74"/>
                    <a:pt x="78" y="68"/>
                  </a:cubicBezTo>
                  <a:cubicBezTo>
                    <a:pt x="78" y="62"/>
                    <a:pt x="80" y="57"/>
                    <a:pt x="84" y="53"/>
                  </a:cubicBezTo>
                  <a:cubicBezTo>
                    <a:pt x="88" y="49"/>
                    <a:pt x="94" y="47"/>
                    <a:pt x="100" y="47"/>
                  </a:cubicBezTo>
                  <a:cubicBezTo>
                    <a:pt x="106" y="47"/>
                    <a:pt x="111" y="49"/>
                    <a:pt x="116" y="53"/>
                  </a:cubicBezTo>
                  <a:cubicBezTo>
                    <a:pt x="120" y="57"/>
                    <a:pt x="122" y="62"/>
                    <a:pt x="122" y="68"/>
                  </a:cubicBezTo>
                  <a:cubicBezTo>
                    <a:pt x="122" y="74"/>
                    <a:pt x="120" y="79"/>
                    <a:pt x="116" y="83"/>
                  </a:cubicBezTo>
                  <a:close/>
                  <a:moveTo>
                    <a:pt x="138" y="108"/>
                  </a:moveTo>
                  <a:cubicBezTo>
                    <a:pt x="120" y="108"/>
                    <a:pt x="120" y="108"/>
                    <a:pt x="120" y="108"/>
                  </a:cubicBezTo>
                  <a:cubicBezTo>
                    <a:pt x="120" y="105"/>
                    <a:pt x="120" y="105"/>
                    <a:pt x="120" y="105"/>
                  </a:cubicBezTo>
                  <a:cubicBezTo>
                    <a:pt x="128" y="97"/>
                    <a:pt x="128" y="97"/>
                    <a:pt x="128" y="97"/>
                  </a:cubicBezTo>
                  <a:cubicBezTo>
                    <a:pt x="130" y="96"/>
                    <a:pt x="131" y="94"/>
                    <a:pt x="132" y="93"/>
                  </a:cubicBezTo>
                  <a:cubicBezTo>
                    <a:pt x="132" y="92"/>
                    <a:pt x="133" y="91"/>
                    <a:pt x="133" y="90"/>
                  </a:cubicBezTo>
                  <a:cubicBezTo>
                    <a:pt x="133" y="90"/>
                    <a:pt x="132" y="88"/>
                    <a:pt x="132" y="88"/>
                  </a:cubicBezTo>
                  <a:cubicBezTo>
                    <a:pt x="131" y="87"/>
                    <a:pt x="130" y="87"/>
                    <a:pt x="129" y="87"/>
                  </a:cubicBezTo>
                  <a:cubicBezTo>
                    <a:pt x="127" y="87"/>
                    <a:pt x="125" y="88"/>
                    <a:pt x="124" y="90"/>
                  </a:cubicBezTo>
                  <a:cubicBezTo>
                    <a:pt x="120" y="88"/>
                    <a:pt x="120" y="88"/>
                    <a:pt x="120" y="88"/>
                  </a:cubicBezTo>
                  <a:cubicBezTo>
                    <a:pt x="122" y="86"/>
                    <a:pt x="123" y="85"/>
                    <a:pt x="124" y="84"/>
                  </a:cubicBezTo>
                  <a:cubicBezTo>
                    <a:pt x="125" y="84"/>
                    <a:pt x="127" y="83"/>
                    <a:pt x="129" y="83"/>
                  </a:cubicBezTo>
                  <a:cubicBezTo>
                    <a:pt x="131" y="83"/>
                    <a:pt x="133" y="84"/>
                    <a:pt x="135" y="85"/>
                  </a:cubicBezTo>
                  <a:cubicBezTo>
                    <a:pt x="136" y="86"/>
                    <a:pt x="137" y="88"/>
                    <a:pt x="137" y="90"/>
                  </a:cubicBezTo>
                  <a:cubicBezTo>
                    <a:pt x="137" y="92"/>
                    <a:pt x="137" y="93"/>
                    <a:pt x="136" y="94"/>
                  </a:cubicBezTo>
                  <a:cubicBezTo>
                    <a:pt x="136" y="95"/>
                    <a:pt x="134" y="97"/>
                    <a:pt x="133" y="98"/>
                  </a:cubicBezTo>
                  <a:cubicBezTo>
                    <a:pt x="127" y="104"/>
                    <a:pt x="127" y="104"/>
                    <a:pt x="127" y="104"/>
                  </a:cubicBezTo>
                  <a:cubicBezTo>
                    <a:pt x="138" y="104"/>
                    <a:pt x="138" y="104"/>
                    <a:pt x="138" y="104"/>
                  </a:cubicBezTo>
                  <a:cubicBezTo>
                    <a:pt x="138" y="108"/>
                    <a:pt x="138" y="108"/>
                    <a:pt x="138"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45720" numCol="1" anchor="t" anchorCtr="0" compatLnSpc="1">
              <a:prstTxWarp prst="textNoShape">
                <a:avLst/>
              </a:prstTxWarp>
            </a:bodyPr>
            <a:lstStyle/>
            <a:p>
              <a:endParaRPr lang="en-GB"/>
            </a:p>
          </p:txBody>
        </p:sp>
      </p:grpSp>
      <p:sp>
        <p:nvSpPr>
          <p:cNvPr id="310" name="TextBox 309">
            <a:extLst>
              <a:ext uri="{FF2B5EF4-FFF2-40B4-BE49-F238E27FC236}">
                <a16:creationId xmlns:a16="http://schemas.microsoft.com/office/drawing/2014/main" id="{21DD1B35-B1BB-4847-BD1F-0FE6FD349294}"/>
              </a:ext>
            </a:extLst>
          </p:cNvPr>
          <p:cNvSpPr txBox="1"/>
          <p:nvPr/>
        </p:nvSpPr>
        <p:spPr>
          <a:xfrm>
            <a:off x="7489832" y="1984534"/>
            <a:ext cx="365485" cy="215444"/>
          </a:xfrm>
          <a:prstGeom prst="rect">
            <a:avLst/>
          </a:prstGeom>
          <a:noFill/>
          <a:ln w="12700">
            <a:noFill/>
          </a:ln>
        </p:spPr>
        <p:txBody>
          <a:bodyPr wrap="none" lIns="0" tIns="0" rIns="0" bIns="0" rtlCol="0" anchor="t" anchorCtr="0">
            <a:spAutoFit/>
          </a:bodyPr>
          <a:lstStyle/>
          <a:p>
            <a:pPr algn="ctr"/>
            <a:r>
              <a:rPr lang="en-GB" sz="1400" b="1">
                <a:solidFill>
                  <a:schemeClr val="accent2"/>
                </a:solidFill>
                <a:cs typeface="Calibri" panose="020F0502020204030204" pitchFamily="34" charset="0"/>
              </a:rPr>
              <a:t>$126</a:t>
            </a:r>
          </a:p>
        </p:txBody>
      </p:sp>
      <p:cxnSp>
        <p:nvCxnSpPr>
          <p:cNvPr id="311" name="Straight Arrow Connector 310">
            <a:extLst>
              <a:ext uri="{FF2B5EF4-FFF2-40B4-BE49-F238E27FC236}">
                <a16:creationId xmlns:a16="http://schemas.microsoft.com/office/drawing/2014/main" id="{8BCC10A3-F576-EE4E-9909-9957BBF84135}"/>
              </a:ext>
            </a:extLst>
          </p:cNvPr>
          <p:cNvCxnSpPr>
            <a:cxnSpLocks/>
          </p:cNvCxnSpPr>
          <p:nvPr/>
        </p:nvCxnSpPr>
        <p:spPr>
          <a:xfrm>
            <a:off x="7406281" y="1965037"/>
            <a:ext cx="0" cy="529933"/>
          </a:xfrm>
          <a:prstGeom prst="straightConnector1">
            <a:avLst/>
          </a:prstGeom>
          <a:ln w="12700">
            <a:solidFill>
              <a:schemeClr val="accent2"/>
            </a:solidFill>
            <a:headEnd type="triangle" w="med" len="med"/>
            <a:tailEnd type="triangle" w="med" len="med"/>
          </a:ln>
        </p:spPr>
        <p:style>
          <a:lnRef idx="1">
            <a:schemeClr val="accent3"/>
          </a:lnRef>
          <a:fillRef idx="0">
            <a:schemeClr val="accent3"/>
          </a:fillRef>
          <a:effectRef idx="0">
            <a:schemeClr val="accent3"/>
          </a:effectRef>
          <a:fontRef idx="minor">
            <a:schemeClr val="tx1"/>
          </a:fontRef>
        </p:style>
      </p:cxnSp>
      <p:sp>
        <p:nvSpPr>
          <p:cNvPr id="341" name="TextBox 340">
            <a:extLst>
              <a:ext uri="{FF2B5EF4-FFF2-40B4-BE49-F238E27FC236}">
                <a16:creationId xmlns:a16="http://schemas.microsoft.com/office/drawing/2014/main" id="{21DD1B35-B1BB-4847-BD1F-0FE6FD349294}"/>
              </a:ext>
            </a:extLst>
          </p:cNvPr>
          <p:cNvSpPr txBox="1"/>
          <p:nvPr/>
        </p:nvSpPr>
        <p:spPr>
          <a:xfrm>
            <a:off x="2566552" y="1984534"/>
            <a:ext cx="274114" cy="215444"/>
          </a:xfrm>
          <a:prstGeom prst="rect">
            <a:avLst/>
          </a:prstGeom>
          <a:noFill/>
          <a:ln w="12700">
            <a:noFill/>
          </a:ln>
        </p:spPr>
        <p:txBody>
          <a:bodyPr wrap="none" lIns="0" tIns="0" rIns="0" bIns="0" rtlCol="0" anchor="t" anchorCtr="0">
            <a:spAutoFit/>
          </a:bodyPr>
          <a:lstStyle/>
          <a:p>
            <a:pPr algn="ctr"/>
            <a:r>
              <a:rPr lang="en-GB" sz="1400" b="1">
                <a:solidFill>
                  <a:schemeClr val="accent2"/>
                </a:solidFill>
                <a:cs typeface="Calibri" panose="020F0502020204030204" pitchFamily="34" charset="0"/>
              </a:rPr>
              <a:t>$21</a:t>
            </a:r>
          </a:p>
        </p:txBody>
      </p:sp>
      <p:sp>
        <p:nvSpPr>
          <p:cNvPr id="298" name="Oval 297">
            <a:extLst>
              <a:ext uri="{FF2B5EF4-FFF2-40B4-BE49-F238E27FC236}">
                <a16:creationId xmlns:a16="http://schemas.microsoft.com/office/drawing/2014/main" id="{C79FA0E6-D043-4A3B-9BE2-09C3D11644C7}"/>
              </a:ext>
            </a:extLst>
          </p:cNvPr>
          <p:cNvSpPr/>
          <p:nvPr/>
        </p:nvSpPr>
        <p:spPr>
          <a:xfrm>
            <a:off x="8154731" y="1831379"/>
            <a:ext cx="938479" cy="882902"/>
          </a:xfrm>
          <a:prstGeom prst="ellipse">
            <a:avLst/>
          </a:prstGeom>
          <a:solidFill>
            <a:schemeClr val="accent2"/>
          </a:solidFill>
          <a:ln w="12700" cap="rnd"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b="1" dirty="0">
                <a:solidFill>
                  <a:schemeClr val="bg1"/>
                </a:solidFill>
              </a:rPr>
              <a:t>&gt;80% para </a:t>
            </a:r>
            <a:r>
              <a:rPr lang="en-GB" sz="1200" b="1" dirty="0" err="1">
                <a:solidFill>
                  <a:schemeClr val="bg1"/>
                </a:solidFill>
              </a:rPr>
              <a:t>agricultor</a:t>
            </a:r>
            <a:endParaRPr lang="en-GB" sz="1200" b="1" dirty="0">
              <a:solidFill>
                <a:schemeClr val="bg1"/>
              </a:solidFill>
            </a:endParaRPr>
          </a:p>
        </p:txBody>
      </p:sp>
      <p:sp>
        <p:nvSpPr>
          <p:cNvPr id="309" name="Oval 308">
            <a:extLst>
              <a:ext uri="{FF2B5EF4-FFF2-40B4-BE49-F238E27FC236}">
                <a16:creationId xmlns:a16="http://schemas.microsoft.com/office/drawing/2014/main" id="{70A34E75-1A0D-4F94-82AD-04FD43FDCA50}"/>
              </a:ext>
            </a:extLst>
          </p:cNvPr>
          <p:cNvSpPr/>
          <p:nvPr/>
        </p:nvSpPr>
        <p:spPr>
          <a:xfrm>
            <a:off x="8074379" y="1102015"/>
            <a:ext cx="867386" cy="795573"/>
          </a:xfrm>
          <a:prstGeom prst="ellipse">
            <a:avLst/>
          </a:prstGeom>
          <a:solidFill>
            <a:schemeClr val="accent2"/>
          </a:solidFill>
          <a:ln w="12700" cap="rnd"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b="1" dirty="0">
                <a:solidFill>
                  <a:schemeClr val="bg1"/>
                </a:solidFill>
              </a:rPr>
              <a:t>Min. EUR 20/t</a:t>
            </a:r>
            <a:r>
              <a:rPr lang="en-US" sz="1200" b="1" dirty="0">
                <a:solidFill>
                  <a:schemeClr val="bg1"/>
                </a:solidFill>
                <a:latin typeface="Calibri Light" panose="020F0302020204030204" pitchFamily="34" charset="0"/>
                <a:ea typeface="Times New Roman" panose="02020603050405020304" pitchFamily="18" charset="0"/>
                <a:cs typeface="Calibri Light" panose="020F0302020204030204" pitchFamily="34" charset="0"/>
              </a:rPr>
              <a:t>CO₂ </a:t>
            </a:r>
            <a:endParaRPr lang="en-GB" sz="1200" b="1" dirty="0">
              <a:solidFill>
                <a:schemeClr val="bg1"/>
              </a:solidFill>
            </a:endParaRPr>
          </a:p>
        </p:txBody>
      </p:sp>
      <p:sp>
        <p:nvSpPr>
          <p:cNvPr id="312" name="Oval 297">
            <a:extLst>
              <a:ext uri="{FF2B5EF4-FFF2-40B4-BE49-F238E27FC236}">
                <a16:creationId xmlns:a16="http://schemas.microsoft.com/office/drawing/2014/main" id="{9147A90A-A52C-0547-B40F-4FCDE4DC3326}"/>
              </a:ext>
            </a:extLst>
          </p:cNvPr>
          <p:cNvSpPr/>
          <p:nvPr/>
        </p:nvSpPr>
        <p:spPr>
          <a:xfrm>
            <a:off x="8196945" y="2717347"/>
            <a:ext cx="847586" cy="822405"/>
          </a:xfrm>
          <a:prstGeom prst="ellipse">
            <a:avLst/>
          </a:prstGeom>
          <a:solidFill>
            <a:srgbClr val="993300"/>
          </a:solidFill>
          <a:ln w="12700" cap="rnd"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b="1" dirty="0">
                <a:solidFill>
                  <a:schemeClr val="bg1"/>
                </a:solidFill>
              </a:rPr>
              <a:t>Café, Madera</a:t>
            </a:r>
          </a:p>
        </p:txBody>
      </p:sp>
      <p:sp>
        <p:nvSpPr>
          <p:cNvPr id="313" name="Oval 297">
            <a:extLst>
              <a:ext uri="{FF2B5EF4-FFF2-40B4-BE49-F238E27FC236}">
                <a16:creationId xmlns:a16="http://schemas.microsoft.com/office/drawing/2014/main" id="{8C313C73-8565-9D59-5E3E-FA203EE24D5D}"/>
              </a:ext>
            </a:extLst>
          </p:cNvPr>
          <p:cNvSpPr/>
          <p:nvPr/>
        </p:nvSpPr>
        <p:spPr>
          <a:xfrm>
            <a:off x="8092368" y="3597193"/>
            <a:ext cx="1184439" cy="822406"/>
          </a:xfrm>
          <a:prstGeom prst="ellipse">
            <a:avLst/>
          </a:prstGeom>
          <a:solidFill>
            <a:srgbClr val="4E772D"/>
          </a:solidFill>
          <a:ln w="12700" cap="rnd" cmpd="sng" algn="ctr">
            <a:solidFill>
              <a:schemeClr val="bg1"/>
            </a:solidFill>
            <a:prstDash val="solid"/>
          </a:ln>
          <a:effectLst/>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r>
              <a:rPr lang="en-GB" sz="1200" b="1" dirty="0" err="1">
                <a:solidFill>
                  <a:schemeClr val="bg1"/>
                </a:solidFill>
              </a:rPr>
              <a:t>Servicios</a:t>
            </a:r>
            <a:r>
              <a:rPr lang="en-GB" sz="1200" b="1" dirty="0">
                <a:solidFill>
                  <a:schemeClr val="bg1"/>
                </a:solidFill>
              </a:rPr>
              <a:t> </a:t>
            </a:r>
            <a:r>
              <a:rPr lang="en-GB" sz="1200" b="1" dirty="0" err="1">
                <a:solidFill>
                  <a:schemeClr val="bg1"/>
                </a:solidFill>
              </a:rPr>
              <a:t>ambientales</a:t>
            </a:r>
            <a:endParaRPr lang="en-GB" sz="1200" b="1" dirty="0">
              <a:solidFill>
                <a:schemeClr val="bg1"/>
              </a:solidFill>
            </a:endParaRPr>
          </a:p>
        </p:txBody>
      </p:sp>
    </p:spTree>
    <p:extLst>
      <p:ext uri="{BB962C8B-B14F-4D97-AF65-F5344CB8AC3E}">
        <p14:creationId xmlns:p14="http://schemas.microsoft.com/office/powerpoint/2010/main" val="317061785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CuadroTexto 54">
            <a:extLst>
              <a:ext uri="{FF2B5EF4-FFF2-40B4-BE49-F238E27FC236}">
                <a16:creationId xmlns:a16="http://schemas.microsoft.com/office/drawing/2014/main" id="{FFE8B25A-C5D6-8B5C-72A2-9D94519266EB}"/>
              </a:ext>
            </a:extLst>
          </p:cNvPr>
          <p:cNvSpPr txBox="1"/>
          <p:nvPr/>
        </p:nvSpPr>
        <p:spPr>
          <a:xfrm>
            <a:off x="268094" y="1248093"/>
            <a:ext cx="2670227" cy="2585323"/>
          </a:xfrm>
          <a:prstGeom prst="rect">
            <a:avLst/>
          </a:prstGeom>
          <a:noFill/>
          <a:ln w="12700">
            <a:noFill/>
          </a:ln>
        </p:spPr>
        <p:txBody>
          <a:bodyPr wrap="square">
            <a:spAutoFit/>
          </a:bodyPr>
          <a:lstStyle/>
          <a:p>
            <a:r>
              <a:rPr lang="es-MX" b="1" dirty="0">
                <a:latin typeface="+mj-lt"/>
              </a:rPr>
              <a:t>Medición del delta:</a:t>
            </a:r>
            <a:endParaRPr lang="es-MX" sz="1600" dirty="0"/>
          </a:p>
          <a:p>
            <a:r>
              <a:rPr lang="es-MX" sz="1600" dirty="0"/>
              <a:t>Se mide el crecimiento neto de la biomasa de las plantas perennes recién plantadas, corregido por el crecimiento de las plantas perennes ya presentes. Este crecimiento neto de biomasa se mide anualmente y se traduce en CRU negociables.</a:t>
            </a:r>
            <a:endParaRPr lang="es-PE" sz="1600" dirty="0"/>
          </a:p>
        </p:txBody>
      </p:sp>
      <p:pic>
        <p:nvPicPr>
          <p:cNvPr id="2" name="Imagen 1">
            <a:extLst>
              <a:ext uri="{FF2B5EF4-FFF2-40B4-BE49-F238E27FC236}">
                <a16:creationId xmlns:a16="http://schemas.microsoft.com/office/drawing/2014/main" id="{8545E219-E2EA-491D-7C3B-1137078DDCCE}"/>
              </a:ext>
            </a:extLst>
          </p:cNvPr>
          <p:cNvPicPr>
            <a:picLocks noChangeAspect="1"/>
          </p:cNvPicPr>
          <p:nvPr/>
        </p:nvPicPr>
        <p:blipFill>
          <a:blip r:embed="rId2"/>
          <a:stretch>
            <a:fillRect/>
          </a:stretch>
        </p:blipFill>
        <p:spPr>
          <a:xfrm>
            <a:off x="3095469" y="419675"/>
            <a:ext cx="5644457" cy="3266383"/>
          </a:xfrm>
          <a:prstGeom prst="rect">
            <a:avLst/>
          </a:prstGeom>
        </p:spPr>
      </p:pic>
      <p:sp>
        <p:nvSpPr>
          <p:cNvPr id="3" name="Google Shape;258;p31">
            <a:extLst>
              <a:ext uri="{FF2B5EF4-FFF2-40B4-BE49-F238E27FC236}">
                <a16:creationId xmlns:a16="http://schemas.microsoft.com/office/drawing/2014/main" id="{1741BDF0-78CE-0BB2-4A2D-90D35583822F}"/>
              </a:ext>
            </a:extLst>
          </p:cNvPr>
          <p:cNvSpPr txBox="1">
            <a:spLocks/>
          </p:cNvSpPr>
          <p:nvPr/>
        </p:nvSpPr>
        <p:spPr>
          <a:xfrm>
            <a:off x="3342807" y="3889947"/>
            <a:ext cx="5221505" cy="971769"/>
          </a:xfrm>
          <a:prstGeom prst="rect">
            <a:avLst/>
          </a:prstGeom>
          <a:noFill/>
          <a:ln>
            <a:noFill/>
          </a:ln>
        </p:spPr>
        <p:txBody>
          <a:bodyPr spcFirstLastPara="1" wrap="square" lIns="0" tIns="0" rIns="91425" bIns="45700" anchor="t" anchorCtr="0">
            <a:noAutofit/>
          </a:bodyPr>
          <a:lstStyle>
            <a:defPPr marR="0" lvl="0" algn="l" rtl="0">
              <a:lnSpc>
                <a:spcPct val="100000"/>
              </a:lnSpc>
              <a:spcBef>
                <a:spcPts val="0"/>
              </a:spcBef>
              <a:spcAft>
                <a:spcPts val="0"/>
              </a:spcAft>
            </a:defPPr>
            <a:lvl1pPr marL="457200" marR="0" lvl="0" indent="-314325" algn="l" rtl="0">
              <a:lnSpc>
                <a:spcPct val="133333"/>
              </a:lnSpc>
              <a:spcBef>
                <a:spcPts val="0"/>
              </a:spcBef>
              <a:spcAft>
                <a:spcPts val="0"/>
              </a:spcAft>
              <a:buClr>
                <a:schemeClr val="dk1"/>
              </a:buClr>
              <a:buSzPts val="1350"/>
              <a:buFont typeface="Open Sans"/>
              <a:buAutoNum type="arabicPeriod"/>
              <a:defRPr sz="1800" b="0" i="0" u="none" strike="noStrike" cap="none">
                <a:solidFill>
                  <a:schemeClr val="dk2"/>
                </a:solidFill>
                <a:latin typeface="Open Sans"/>
                <a:ea typeface="Open Sans"/>
                <a:cs typeface="Open Sans"/>
                <a:sym typeface="Open Sans"/>
              </a:defRPr>
            </a:lvl1pPr>
            <a:lvl2pPr marL="914400" marR="0" lvl="1" indent="-314325" algn="l" rtl="0">
              <a:lnSpc>
                <a:spcPct val="133333"/>
              </a:lnSpc>
              <a:spcBef>
                <a:spcPts val="1600"/>
              </a:spcBef>
              <a:spcAft>
                <a:spcPts val="0"/>
              </a:spcAft>
              <a:buClr>
                <a:schemeClr val="dk1"/>
              </a:buClr>
              <a:buSzPts val="1350"/>
              <a:buFont typeface="Open Sans"/>
              <a:buChar char="○"/>
              <a:defRPr sz="1400" b="0" i="0" u="none" strike="noStrike" cap="none">
                <a:solidFill>
                  <a:schemeClr val="dk2"/>
                </a:solidFill>
                <a:latin typeface="Open Sans"/>
                <a:ea typeface="Open Sans"/>
                <a:cs typeface="Open Sans"/>
                <a:sym typeface="Open Sans"/>
              </a:defRPr>
            </a:lvl2pPr>
            <a:lvl3pPr marL="1371600" marR="0" lvl="2" indent="-314325" algn="l" rtl="0">
              <a:lnSpc>
                <a:spcPct val="133333"/>
              </a:lnSpc>
              <a:spcBef>
                <a:spcPts val="1600"/>
              </a:spcBef>
              <a:spcAft>
                <a:spcPts val="0"/>
              </a:spcAft>
              <a:buClr>
                <a:schemeClr val="dk1"/>
              </a:buClr>
              <a:buSzPts val="1350"/>
              <a:buFont typeface="Open Sans"/>
              <a:buChar char="■"/>
              <a:defRPr sz="1400" b="0" i="0" u="none" strike="noStrike" cap="none">
                <a:solidFill>
                  <a:schemeClr val="dk2"/>
                </a:solidFill>
                <a:latin typeface="Open Sans"/>
                <a:ea typeface="Open Sans"/>
                <a:cs typeface="Open Sans"/>
                <a:sym typeface="Open Sans"/>
              </a:defRPr>
            </a:lvl3pPr>
            <a:lvl4pPr marL="1828800" marR="0" lvl="3" indent="-314325" algn="l" rtl="0">
              <a:lnSpc>
                <a:spcPct val="133333"/>
              </a:lnSpc>
              <a:spcBef>
                <a:spcPts val="1600"/>
              </a:spcBef>
              <a:spcAft>
                <a:spcPts val="0"/>
              </a:spcAft>
              <a:buClr>
                <a:schemeClr val="dk1"/>
              </a:buClr>
              <a:buSzPts val="1350"/>
              <a:buFont typeface="Open Sans"/>
              <a:buChar char="●"/>
              <a:defRPr sz="1400" b="0" i="0" u="none" strike="noStrike" cap="none">
                <a:solidFill>
                  <a:schemeClr val="dk2"/>
                </a:solidFill>
                <a:latin typeface="Open Sans"/>
                <a:ea typeface="Open Sans"/>
                <a:cs typeface="Open Sans"/>
                <a:sym typeface="Open Sans"/>
              </a:defRPr>
            </a:lvl4pPr>
            <a:lvl5pPr marL="2286000" marR="0" lvl="4" indent="-314325" algn="l" rtl="0">
              <a:lnSpc>
                <a:spcPct val="133333"/>
              </a:lnSpc>
              <a:spcBef>
                <a:spcPts val="1600"/>
              </a:spcBef>
              <a:spcAft>
                <a:spcPts val="0"/>
              </a:spcAft>
              <a:buClr>
                <a:schemeClr val="dk1"/>
              </a:buClr>
              <a:buSzPts val="1350"/>
              <a:buFont typeface="Open Sans"/>
              <a:buChar char="○"/>
              <a:defRPr sz="1400" b="0" i="0" u="none" strike="noStrike" cap="none">
                <a:solidFill>
                  <a:schemeClr val="dk2"/>
                </a:solidFill>
                <a:latin typeface="Open Sans"/>
                <a:ea typeface="Open Sans"/>
                <a:cs typeface="Open Sans"/>
                <a:sym typeface="Open Sans"/>
              </a:defRPr>
            </a:lvl5pPr>
            <a:lvl6pPr marL="2743200" marR="0" lvl="5" indent="-342900" algn="l" rtl="0">
              <a:lnSpc>
                <a:spcPct val="90000"/>
              </a:lnSpc>
              <a:spcBef>
                <a:spcPts val="1600"/>
              </a:spcBef>
              <a:spcAft>
                <a:spcPts val="0"/>
              </a:spcAft>
              <a:buClr>
                <a:schemeClr val="dk1"/>
              </a:buClr>
              <a:buSzPts val="1800"/>
              <a:buFont typeface="Open Sans"/>
              <a:buChar char="■"/>
              <a:defRPr sz="1400" b="0" i="0" u="none" strike="noStrike" cap="none">
                <a:solidFill>
                  <a:schemeClr val="dk2"/>
                </a:solidFill>
                <a:latin typeface="Open Sans"/>
                <a:ea typeface="Open Sans"/>
                <a:cs typeface="Open Sans"/>
                <a:sym typeface="Open Sans"/>
              </a:defRPr>
            </a:lvl6pPr>
            <a:lvl7pPr marL="3200400" marR="0" lvl="6" indent="-342900" algn="l" rtl="0">
              <a:lnSpc>
                <a:spcPct val="90000"/>
              </a:lnSpc>
              <a:spcBef>
                <a:spcPts val="1600"/>
              </a:spcBef>
              <a:spcAft>
                <a:spcPts val="0"/>
              </a:spcAft>
              <a:buClr>
                <a:schemeClr val="dk1"/>
              </a:buClr>
              <a:buSzPts val="1800"/>
              <a:buFont typeface="Open Sans"/>
              <a:buChar char="●"/>
              <a:defRPr sz="1400" b="0" i="0" u="none" strike="noStrike" cap="none">
                <a:solidFill>
                  <a:schemeClr val="dk2"/>
                </a:solidFill>
                <a:latin typeface="Open Sans"/>
                <a:ea typeface="Open Sans"/>
                <a:cs typeface="Open Sans"/>
                <a:sym typeface="Open Sans"/>
              </a:defRPr>
            </a:lvl7pPr>
            <a:lvl8pPr marL="3657600" marR="0" lvl="7" indent="-342900" algn="l" rtl="0">
              <a:lnSpc>
                <a:spcPct val="90000"/>
              </a:lnSpc>
              <a:spcBef>
                <a:spcPts val="1600"/>
              </a:spcBef>
              <a:spcAft>
                <a:spcPts val="0"/>
              </a:spcAft>
              <a:buClr>
                <a:schemeClr val="dk1"/>
              </a:buClr>
              <a:buSzPts val="1800"/>
              <a:buFont typeface="Open Sans"/>
              <a:buChar char="○"/>
              <a:defRPr sz="1400" b="0" i="0" u="none" strike="noStrike" cap="none">
                <a:solidFill>
                  <a:schemeClr val="dk2"/>
                </a:solidFill>
                <a:latin typeface="Open Sans"/>
                <a:ea typeface="Open Sans"/>
                <a:cs typeface="Open Sans"/>
                <a:sym typeface="Open Sans"/>
              </a:defRPr>
            </a:lvl8pPr>
            <a:lvl9pPr marL="4114800" marR="0" lvl="8" indent="-342900" algn="l" rtl="0">
              <a:lnSpc>
                <a:spcPct val="90000"/>
              </a:lnSpc>
              <a:spcBef>
                <a:spcPts val="1600"/>
              </a:spcBef>
              <a:spcAft>
                <a:spcPts val="1600"/>
              </a:spcAft>
              <a:buClr>
                <a:schemeClr val="dk1"/>
              </a:buClr>
              <a:buSzPts val="1800"/>
              <a:buFont typeface="Open Sans"/>
              <a:buChar char="■"/>
              <a:defRPr sz="1400" b="0" i="0" u="none" strike="noStrike" cap="none">
                <a:solidFill>
                  <a:schemeClr val="dk2"/>
                </a:solidFill>
                <a:latin typeface="Open Sans"/>
                <a:ea typeface="Open Sans"/>
                <a:cs typeface="Open Sans"/>
                <a:sym typeface="Open Sans"/>
              </a:defRPr>
            </a:lvl9pPr>
          </a:lstStyle>
          <a:p>
            <a:pPr marL="0" marR="0" lvl="0" indent="0" algn="l" defTabSz="914400" rtl="0" eaLnBrk="1" fontAlgn="auto" latinLnBrk="0" hangingPunct="1">
              <a:lnSpc>
                <a:spcPct val="115000"/>
              </a:lnSpc>
              <a:spcBef>
                <a:spcPts val="0"/>
              </a:spcBef>
              <a:spcAft>
                <a:spcPts val="0"/>
              </a:spcAft>
              <a:buClr>
                <a:srgbClr val="000000"/>
              </a:buClr>
              <a:buSzPts val="1350"/>
              <a:buFont typeface="Open Sans"/>
              <a:buNone/>
              <a:tabLst/>
              <a:defRPr/>
            </a:pP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C-A</a:t>
            </a:r>
            <a:r>
              <a:rPr kumimoji="0" lang="es-MX" sz="1000" b="0" i="0" u="none" strike="noStrike" kern="0" cap="none" spc="0" normalizeH="0" baseline="0" noProof="0" dirty="0">
                <a:ln>
                  <a:noFill/>
                </a:ln>
                <a:solidFill>
                  <a:srgbClr val="2D3338"/>
                </a:solidFill>
                <a:effectLst/>
                <a:highlight>
                  <a:srgbClr val="FFFFFF"/>
                </a:highlight>
                <a:uLnTx/>
                <a:uFillTx/>
                <a:latin typeface="Open Sans Light"/>
                <a:ea typeface="Open Sans Light"/>
                <a:cs typeface="Open Sans Light"/>
                <a:sym typeface="Open Sans Light"/>
              </a:rPr>
              <a:t>: aumento de la </a:t>
            </a: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biomasa</a:t>
            </a:r>
            <a:r>
              <a:rPr kumimoji="0" lang="es-MX" sz="1000" b="0" i="0" u="none" strike="noStrike" kern="0" cap="none" spc="0" normalizeH="0" baseline="0" noProof="0" dirty="0">
                <a:ln>
                  <a:noFill/>
                </a:ln>
                <a:solidFill>
                  <a:srgbClr val="2D3338"/>
                </a:solidFill>
                <a:effectLst/>
                <a:highlight>
                  <a:srgbClr val="FFFFFF"/>
                </a:highlight>
                <a:uLnTx/>
                <a:uFillTx/>
                <a:latin typeface="Open Sans Light"/>
                <a:ea typeface="Open Sans Light"/>
                <a:cs typeface="Open Sans Light"/>
                <a:sym typeface="Open Sans Light"/>
              </a:rPr>
              <a:t> procedente de los </a:t>
            </a: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nuevos árboles</a:t>
            </a:r>
          </a:p>
          <a:p>
            <a:pPr marL="0" marR="0" lvl="0" indent="0" algn="l" defTabSz="914400" rtl="0" eaLnBrk="1" fontAlgn="auto" latinLnBrk="0" hangingPunct="1">
              <a:lnSpc>
                <a:spcPct val="115000"/>
              </a:lnSpc>
              <a:spcBef>
                <a:spcPts val="1000"/>
              </a:spcBef>
              <a:spcAft>
                <a:spcPts val="0"/>
              </a:spcAft>
              <a:buClr>
                <a:srgbClr val="000000"/>
              </a:buClr>
              <a:buSzPts val="1350"/>
              <a:buFont typeface="Open Sans"/>
              <a:buNone/>
              <a:tabLst/>
              <a:defRPr/>
            </a:pP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A-B</a:t>
            </a:r>
            <a:r>
              <a:rPr kumimoji="0" lang="es-MX" sz="1000" b="0" i="0" u="none" strike="noStrike" kern="0" cap="none" spc="0" normalizeH="0" baseline="0" noProof="0" dirty="0">
                <a:ln>
                  <a:noFill/>
                </a:ln>
                <a:solidFill>
                  <a:srgbClr val="2D3338"/>
                </a:solidFill>
                <a:effectLst/>
                <a:highlight>
                  <a:srgbClr val="FFFFFF"/>
                </a:highlight>
                <a:uLnTx/>
                <a:uFillTx/>
                <a:latin typeface="Open Sans Light"/>
                <a:ea typeface="Open Sans Light"/>
                <a:cs typeface="Open Sans Light"/>
                <a:sym typeface="Open Sans Light"/>
              </a:rPr>
              <a:t>: aumento de la </a:t>
            </a: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biomasa</a:t>
            </a:r>
            <a:r>
              <a:rPr kumimoji="0" lang="es-MX" sz="1000" b="0" i="0" u="none" strike="noStrike" kern="0" cap="none" spc="0" normalizeH="0" baseline="0" noProof="0" dirty="0">
                <a:ln>
                  <a:noFill/>
                </a:ln>
                <a:solidFill>
                  <a:srgbClr val="2D3338"/>
                </a:solidFill>
                <a:effectLst/>
                <a:highlight>
                  <a:srgbClr val="FFFFFF"/>
                </a:highlight>
                <a:uLnTx/>
                <a:uFillTx/>
                <a:latin typeface="Open Sans Light"/>
                <a:ea typeface="Open Sans Light"/>
                <a:cs typeface="Open Sans Light"/>
                <a:sym typeface="Open Sans Light"/>
              </a:rPr>
              <a:t> de los </a:t>
            </a: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árboles existentes</a:t>
            </a:r>
          </a:p>
          <a:p>
            <a:pPr marL="0" marR="0" lvl="0" indent="0" algn="l" defTabSz="914400" rtl="0" eaLnBrk="1" fontAlgn="auto" latinLnBrk="0" hangingPunct="1">
              <a:lnSpc>
                <a:spcPct val="115000"/>
              </a:lnSpc>
              <a:spcBef>
                <a:spcPts val="1000"/>
              </a:spcBef>
              <a:spcAft>
                <a:spcPts val="1000"/>
              </a:spcAft>
              <a:buClr>
                <a:srgbClr val="000000"/>
              </a:buClr>
              <a:buSzPts val="1350"/>
              <a:buFont typeface="Open Sans"/>
              <a:buNone/>
              <a:tabLst/>
              <a:defRPr/>
            </a:pP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B</a:t>
            </a:r>
            <a:r>
              <a:rPr kumimoji="0" lang="es-MX" sz="1000" b="0" i="0" u="none" strike="noStrike" kern="0" cap="none" spc="0" normalizeH="0" baseline="0" noProof="0" dirty="0">
                <a:ln>
                  <a:noFill/>
                </a:ln>
                <a:solidFill>
                  <a:srgbClr val="2D3338"/>
                </a:solidFill>
                <a:effectLst/>
                <a:highlight>
                  <a:srgbClr val="FFFFFF"/>
                </a:highlight>
                <a:uLnTx/>
                <a:uFillTx/>
                <a:latin typeface="Open Sans Light"/>
                <a:ea typeface="Open Sans Light"/>
                <a:cs typeface="Open Sans Light"/>
                <a:sym typeface="Open Sans Light"/>
              </a:rPr>
              <a:t>: </a:t>
            </a: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línea de base</a:t>
            </a:r>
            <a:r>
              <a:rPr kumimoji="0" lang="es-MX" sz="1000" b="0" i="0" u="none" strike="noStrike" kern="0" cap="none" spc="0" normalizeH="0" baseline="0" noProof="0" dirty="0">
                <a:ln>
                  <a:noFill/>
                </a:ln>
                <a:solidFill>
                  <a:srgbClr val="2D3338"/>
                </a:solidFill>
                <a:effectLst/>
                <a:highlight>
                  <a:srgbClr val="FFFFFF"/>
                </a:highlight>
                <a:uLnTx/>
                <a:uFillTx/>
                <a:latin typeface="Open Sans Light"/>
                <a:ea typeface="Open Sans Light"/>
                <a:cs typeface="Open Sans Light"/>
                <a:sym typeface="Open Sans Light"/>
              </a:rPr>
              <a:t> para el cálculo de CRU y la parte </a:t>
            </a:r>
            <a:r>
              <a:rPr kumimoji="0" lang="es-MX" sz="1000" b="1" i="0" u="none" strike="noStrike" kern="0" cap="none" spc="0" normalizeH="0" baseline="0" noProof="0" dirty="0">
                <a:ln>
                  <a:noFill/>
                </a:ln>
                <a:solidFill>
                  <a:srgbClr val="2D3338"/>
                </a:solidFill>
                <a:effectLst/>
                <a:highlight>
                  <a:srgbClr val="FFFFFF"/>
                </a:highlight>
                <a:uLnTx/>
                <a:uFillTx/>
                <a:latin typeface="Open Sans"/>
                <a:ea typeface="Open Sans"/>
                <a:cs typeface="Open Sans"/>
                <a:sym typeface="Open Sans"/>
              </a:rPr>
              <a:t>A-B se excluye si tiene más de cinco años</a:t>
            </a:r>
          </a:p>
        </p:txBody>
      </p:sp>
    </p:spTree>
    <p:extLst>
      <p:ext uri="{BB962C8B-B14F-4D97-AF65-F5344CB8AC3E}">
        <p14:creationId xmlns:p14="http://schemas.microsoft.com/office/powerpoint/2010/main" val="258792283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1017885" y="1963964"/>
            <a:ext cx="7227500" cy="1078690"/>
          </a:xfrm>
        </p:spPr>
        <p:txBody>
          <a:bodyPr numCol="1"/>
          <a:lstStyle/>
          <a:p>
            <a:br>
              <a:rPr lang="es-ES" altLang="nl-NL" sz="3200" dirty="0">
                <a:solidFill>
                  <a:schemeClr val="bg1"/>
                </a:solidFill>
              </a:rPr>
            </a:br>
            <a:r>
              <a:rPr lang="es-ES" altLang="nl-NL" sz="3200" dirty="0">
                <a:solidFill>
                  <a:schemeClr val="bg1"/>
                </a:solidFill>
              </a:rPr>
              <a:t>Experiencia Proyecto Café del Futuro ACORN / SOLIDARIDAD – Perú </a:t>
            </a:r>
            <a:endParaRPr lang="nl-NL" altLang="nl-NL" sz="4000" dirty="0"/>
          </a:p>
        </p:txBody>
      </p:sp>
      <p:sp>
        <p:nvSpPr>
          <p:cNvPr id="6" name="CuadroTexto 5">
            <a:extLst>
              <a:ext uri="{FF2B5EF4-FFF2-40B4-BE49-F238E27FC236}">
                <a16:creationId xmlns:a16="http://schemas.microsoft.com/office/drawing/2014/main" id="{4DF02A55-8B03-4DAB-88A6-BF18A5487722}"/>
              </a:ext>
            </a:extLst>
          </p:cNvPr>
          <p:cNvSpPr txBox="1"/>
          <p:nvPr/>
        </p:nvSpPr>
        <p:spPr>
          <a:xfrm>
            <a:off x="900019" y="563543"/>
            <a:ext cx="7345366" cy="461665"/>
          </a:xfrm>
          <a:prstGeom prst="rect">
            <a:avLst/>
          </a:prstGeom>
          <a:noFill/>
        </p:spPr>
        <p:txBody>
          <a:bodyPr wrap="square">
            <a:spAutoFit/>
          </a:bodyPr>
          <a:lstStyle/>
          <a:p>
            <a:pPr algn="ctr"/>
            <a:r>
              <a:rPr lang="es-ES" sz="2400" b="1" dirty="0">
                <a:latin typeface="Arial" panose="020B0604020202020204" pitchFamily="34" charset="0"/>
              </a:rPr>
              <a:t>Alianza: Plataforma ACORN / SOLIDARIDAD</a:t>
            </a:r>
            <a:endParaRPr lang="es-PE" sz="2400" b="1" dirty="0"/>
          </a:p>
        </p:txBody>
      </p:sp>
    </p:spTree>
    <p:extLst>
      <p:ext uri="{BB962C8B-B14F-4D97-AF65-F5344CB8AC3E}">
        <p14:creationId xmlns:p14="http://schemas.microsoft.com/office/powerpoint/2010/main" val="12252312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a:extLst>
              <a:ext uri="{FF2B5EF4-FFF2-40B4-BE49-F238E27FC236}">
                <a16:creationId xmlns:a16="http://schemas.microsoft.com/office/drawing/2014/main" id="{674C9D4B-A1C8-48F6-88DF-598AD8EBF20F}"/>
              </a:ext>
            </a:extLst>
          </p:cNvPr>
          <p:cNvSpPr>
            <a:spLocks noGrp="1"/>
          </p:cNvSpPr>
          <p:nvPr>
            <p:ph type="sldNum" sz="quarter" idx="10"/>
          </p:nvPr>
        </p:nvSpPr>
        <p:spPr/>
        <p:txBody>
          <a:bodyPr/>
          <a:lstStyle/>
          <a:p>
            <a:pPr defTabSz="342900" fontAlgn="base">
              <a:spcBef>
                <a:spcPct val="0"/>
              </a:spcBef>
              <a:spcAft>
                <a:spcPct val="0"/>
              </a:spcAft>
              <a:defRPr/>
            </a:pPr>
            <a:fld id="{5063E88E-3530-40D2-AAD2-16C9E0374B45}" type="slidenum">
              <a:rPr lang="en-GB" smtClean="0">
                <a:solidFill>
                  <a:srgbClr val="000000"/>
                </a:solidFill>
              </a:rPr>
              <a:pPr defTabSz="342900" fontAlgn="base">
                <a:spcBef>
                  <a:spcPct val="0"/>
                </a:spcBef>
                <a:spcAft>
                  <a:spcPct val="0"/>
                </a:spcAft>
                <a:defRPr/>
              </a:pPr>
              <a:t>9</a:t>
            </a:fld>
            <a:endParaRPr lang="en-GB" dirty="0">
              <a:solidFill>
                <a:srgbClr val="000000"/>
              </a:solidFill>
            </a:endParaRPr>
          </a:p>
        </p:txBody>
      </p:sp>
      <p:sp>
        <p:nvSpPr>
          <p:cNvPr id="19" name="CuadroTexto 18">
            <a:extLst>
              <a:ext uri="{FF2B5EF4-FFF2-40B4-BE49-F238E27FC236}">
                <a16:creationId xmlns:a16="http://schemas.microsoft.com/office/drawing/2014/main" id="{B1D54299-5E8B-48CE-800B-B2619EF98FD6}"/>
              </a:ext>
            </a:extLst>
          </p:cNvPr>
          <p:cNvSpPr txBox="1"/>
          <p:nvPr/>
        </p:nvSpPr>
        <p:spPr>
          <a:xfrm>
            <a:off x="1277634" y="195486"/>
            <a:ext cx="5948912" cy="1338828"/>
          </a:xfrm>
          <a:prstGeom prst="rect">
            <a:avLst/>
          </a:prstGeom>
          <a:noFill/>
        </p:spPr>
        <p:txBody>
          <a:bodyPr wrap="square" rtlCol="0">
            <a:spAutoFit/>
          </a:bodyPr>
          <a:lstStyle/>
          <a:p>
            <a:r>
              <a:rPr lang="es-PE" sz="2700" dirty="0">
                <a:solidFill>
                  <a:schemeClr val="tx2"/>
                </a:solidFill>
                <a:latin typeface="Arial Black" panose="020B0A04020102020204" pitchFamily="34" charset="0"/>
              </a:rPr>
              <a:t>Café 2.0 Climáticamente Inteligente es una propuesta para diseñar el café del futuro</a:t>
            </a:r>
          </a:p>
        </p:txBody>
      </p:sp>
      <p:sp>
        <p:nvSpPr>
          <p:cNvPr id="29" name="CuadroTexto 28">
            <a:extLst>
              <a:ext uri="{FF2B5EF4-FFF2-40B4-BE49-F238E27FC236}">
                <a16:creationId xmlns:a16="http://schemas.microsoft.com/office/drawing/2014/main" id="{FA97227C-98BF-4C3A-8156-324CA7246A0A}"/>
              </a:ext>
            </a:extLst>
          </p:cNvPr>
          <p:cNvSpPr txBox="1"/>
          <p:nvPr/>
        </p:nvSpPr>
        <p:spPr>
          <a:xfrm>
            <a:off x="5792078" y="2745017"/>
            <a:ext cx="1890210" cy="300082"/>
          </a:xfrm>
          <a:prstGeom prst="rect">
            <a:avLst/>
          </a:prstGeom>
          <a:noFill/>
        </p:spPr>
        <p:txBody>
          <a:bodyPr wrap="square" rtlCol="0">
            <a:spAutoFit/>
          </a:bodyPr>
          <a:lstStyle/>
          <a:p>
            <a:r>
              <a:rPr lang="es-PE" sz="1350" dirty="0">
                <a:solidFill>
                  <a:schemeClr val="bg1"/>
                </a:solidFill>
                <a:latin typeface="Arial Black" panose="020B0A04020102020204" pitchFamily="34" charset="0"/>
              </a:rPr>
              <a:t>CALIDAD</a:t>
            </a:r>
            <a:endParaRPr lang="es-PE" sz="1350" dirty="0">
              <a:solidFill>
                <a:srgbClr val="F2B01E"/>
              </a:solidFill>
              <a:latin typeface="Arial Black" panose="020B0A04020102020204" pitchFamily="34" charset="0"/>
            </a:endParaRPr>
          </a:p>
        </p:txBody>
      </p:sp>
      <p:pic>
        <p:nvPicPr>
          <p:cNvPr id="2" name="Imagen 1">
            <a:extLst>
              <a:ext uri="{FF2B5EF4-FFF2-40B4-BE49-F238E27FC236}">
                <a16:creationId xmlns:a16="http://schemas.microsoft.com/office/drawing/2014/main" id="{0F6AA486-4C4C-4238-9886-664EAE4AF496}"/>
              </a:ext>
            </a:extLst>
          </p:cNvPr>
          <p:cNvPicPr>
            <a:picLocks noChangeAspect="1"/>
          </p:cNvPicPr>
          <p:nvPr/>
        </p:nvPicPr>
        <p:blipFill>
          <a:blip r:embed="rId2"/>
          <a:stretch>
            <a:fillRect/>
          </a:stretch>
        </p:blipFill>
        <p:spPr>
          <a:xfrm>
            <a:off x="1143000" y="-189981"/>
            <a:ext cx="6858000" cy="3389185"/>
          </a:xfrm>
          <a:prstGeom prst="rect">
            <a:avLst/>
          </a:prstGeom>
        </p:spPr>
      </p:pic>
      <p:sp>
        <p:nvSpPr>
          <p:cNvPr id="4" name="Rectángulo 3">
            <a:extLst>
              <a:ext uri="{FF2B5EF4-FFF2-40B4-BE49-F238E27FC236}">
                <a16:creationId xmlns:a16="http://schemas.microsoft.com/office/drawing/2014/main" id="{8943B678-DFDF-4B18-BB54-5C0AE79964C2}"/>
              </a:ext>
            </a:extLst>
          </p:cNvPr>
          <p:cNvSpPr/>
          <p:nvPr/>
        </p:nvSpPr>
        <p:spPr>
          <a:xfrm>
            <a:off x="1778477" y="3291263"/>
            <a:ext cx="5448068" cy="1708160"/>
          </a:xfrm>
          <a:prstGeom prst="rect">
            <a:avLst/>
          </a:prstGeom>
        </p:spPr>
        <p:txBody>
          <a:bodyPr wrap="square">
            <a:spAutoFit/>
          </a:bodyPr>
          <a:lstStyle/>
          <a:p>
            <a:r>
              <a:rPr lang="es-PE" sz="1500" u="sng" dirty="0"/>
              <a:t>Un modelo de producción regenerativo de café, basado en:</a:t>
            </a:r>
          </a:p>
          <a:p>
            <a:r>
              <a:rPr lang="es-PE" sz="1500" dirty="0"/>
              <a:t> </a:t>
            </a:r>
          </a:p>
          <a:p>
            <a:r>
              <a:rPr lang="es-PE" sz="1500" dirty="0"/>
              <a:t>Bajas emisiones </a:t>
            </a:r>
          </a:p>
          <a:p>
            <a:r>
              <a:rPr lang="es-PE" sz="1500" dirty="0"/>
              <a:t>Alta productividad</a:t>
            </a:r>
          </a:p>
          <a:p>
            <a:r>
              <a:rPr lang="es-PE" sz="1500" dirty="0"/>
              <a:t>Mejora de calidad</a:t>
            </a:r>
          </a:p>
          <a:p>
            <a:r>
              <a:rPr lang="es-PE" sz="1500" dirty="0"/>
              <a:t>Mitigación y Adaptación</a:t>
            </a:r>
          </a:p>
          <a:p>
            <a:r>
              <a:rPr lang="es-PE" sz="1500" dirty="0"/>
              <a:t>Reducción de deforestación</a:t>
            </a:r>
          </a:p>
        </p:txBody>
      </p:sp>
      <p:sp>
        <p:nvSpPr>
          <p:cNvPr id="9" name="CuadroTexto 8">
            <a:extLst>
              <a:ext uri="{FF2B5EF4-FFF2-40B4-BE49-F238E27FC236}">
                <a16:creationId xmlns:a16="http://schemas.microsoft.com/office/drawing/2014/main" id="{B9ADD075-B3FA-0333-ADCE-C29CEB3C0A84}"/>
              </a:ext>
            </a:extLst>
          </p:cNvPr>
          <p:cNvSpPr txBox="1"/>
          <p:nvPr/>
        </p:nvSpPr>
        <p:spPr>
          <a:xfrm>
            <a:off x="1466655" y="743099"/>
            <a:ext cx="6399712" cy="1754326"/>
          </a:xfrm>
          <a:prstGeom prst="rect">
            <a:avLst/>
          </a:prstGeom>
          <a:noFill/>
        </p:spPr>
        <p:txBody>
          <a:bodyPr wrap="square">
            <a:spAutoFit/>
          </a:bodyPr>
          <a:lstStyle/>
          <a:p>
            <a:pPr algn="ctr"/>
            <a:r>
              <a:rPr lang="es-PE" sz="5400" b="1" dirty="0">
                <a:solidFill>
                  <a:srgbClr val="FFFF00"/>
                </a:solidFill>
                <a:latin typeface="Aharoni" panose="02010803020104030203" pitchFamily="2" charset="-79"/>
                <a:cs typeface="Aharoni" panose="02010803020104030203" pitchFamily="2" charset="-79"/>
              </a:rPr>
              <a:t>Modelo de café </a:t>
            </a:r>
          </a:p>
          <a:p>
            <a:pPr algn="ctr"/>
            <a:r>
              <a:rPr lang="es-PE" sz="5400" b="1" dirty="0">
                <a:solidFill>
                  <a:srgbClr val="FFFF00"/>
                </a:solidFill>
                <a:latin typeface="Aharoni" panose="02010803020104030203" pitchFamily="2" charset="-79"/>
                <a:cs typeface="Aharoni" panose="02010803020104030203" pitchFamily="2" charset="-79"/>
              </a:rPr>
              <a:t>del futuro</a:t>
            </a:r>
          </a:p>
        </p:txBody>
      </p:sp>
      <p:pic>
        <p:nvPicPr>
          <p:cNvPr id="7" name="Imagen 6">
            <a:extLst>
              <a:ext uri="{FF2B5EF4-FFF2-40B4-BE49-F238E27FC236}">
                <a16:creationId xmlns:a16="http://schemas.microsoft.com/office/drawing/2014/main" id="{8B452E1F-C932-7D8F-E0AD-0F5E56D4361A}"/>
              </a:ext>
            </a:extLst>
          </p:cNvPr>
          <p:cNvPicPr>
            <a:picLocks noChangeAspect="1"/>
          </p:cNvPicPr>
          <p:nvPr/>
        </p:nvPicPr>
        <p:blipFill>
          <a:blip r:embed="rId3"/>
          <a:stretch>
            <a:fillRect/>
          </a:stretch>
        </p:blipFill>
        <p:spPr>
          <a:xfrm>
            <a:off x="4865378" y="3863199"/>
            <a:ext cx="3049788" cy="1133954"/>
          </a:xfrm>
          <a:prstGeom prst="rect">
            <a:avLst/>
          </a:prstGeom>
        </p:spPr>
      </p:pic>
    </p:spTree>
    <p:extLst>
      <p:ext uri="{BB962C8B-B14F-4D97-AF65-F5344CB8AC3E}">
        <p14:creationId xmlns:p14="http://schemas.microsoft.com/office/powerpoint/2010/main" val="672253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 val="9084321721765c1e78434b475a698ad93964e1a"/>
  <p:tag name="ISPRING_RESOURCE_PATHS_HASH_2" val="c3f317ba7b5e1a6a7f1f4f2869da9f284492f9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MortelJ\AppData\Local\Temp\Templafy\PowerPointVsto\Assets\readimage.p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sK1c8lARbCcfCceN.xr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b5SJkDJSvqrso2sFSUk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MT9YgPBPfEyUBFI.ILDIw"/>
</p:tagLst>
</file>

<file path=ppt/theme/theme1.xml><?xml version="1.0" encoding="utf-8"?>
<a:theme xmlns:a="http://schemas.openxmlformats.org/drawingml/2006/main" name="Rabo PPT template (16x9)">
  <a:themeElements>
    <a:clrScheme name="Rabo 2">
      <a:dk1>
        <a:sysClr val="windowText" lastClr="000000"/>
      </a:dk1>
      <a:lt1>
        <a:sysClr val="window" lastClr="FFFFFF"/>
      </a:lt1>
      <a:dk2>
        <a:srgbClr val="000099"/>
      </a:dk2>
      <a:lt2>
        <a:srgbClr val="EAEAEA"/>
      </a:lt2>
      <a:accent1>
        <a:srgbClr val="000099"/>
      </a:accent1>
      <a:accent2>
        <a:srgbClr val="FD6400"/>
      </a:accent2>
      <a:accent3>
        <a:srgbClr val="90D1E3"/>
      </a:accent3>
      <a:accent4>
        <a:srgbClr val="AB9D70"/>
      </a:accent4>
      <a:accent5>
        <a:srgbClr val="133359"/>
      </a:accent5>
      <a:accent6>
        <a:srgbClr val="80BA27"/>
      </a:accent6>
      <a:hlink>
        <a:srgbClr val="C8009C"/>
      </a:hlink>
      <a:folHlink>
        <a:srgbClr val="5E6A71"/>
      </a:folHlink>
    </a:clrScheme>
    <a:fontScheme name="Rabo screen">
      <a:majorFont>
        <a:latin typeface="Calibri"/>
        <a:ea typeface=""/>
        <a:cs typeface=""/>
      </a:majorFont>
      <a:minorFont>
        <a:latin typeface="Calibri Light"/>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cap="rnd" cmpd="sng" algn="ctr">
          <a:solidFill>
            <a:schemeClr val="tx2"/>
          </a:solidFill>
          <a:prstDash val="solid"/>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600" dirty="0" smtClean="0">
            <a:solidFill>
              <a:srgbClr val="5E6A71"/>
            </a:solidFill>
          </a:defRPr>
        </a:defPPr>
      </a:lstStyle>
    </a:spDef>
    <a:lnDef>
      <a:spPr>
        <a:ln w="12700" cap="rnd">
          <a:solidFill>
            <a:schemeClr val="bg1">
              <a:lumMod val="50000"/>
            </a:schemeClr>
          </a:solidFill>
          <a:tailEnd type="none"/>
        </a:ln>
        <a:effectLst/>
      </a:spPr>
      <a:bodyPr/>
      <a:lstStyle/>
      <a:style>
        <a:lnRef idx="2">
          <a:schemeClr val="accent1"/>
        </a:lnRef>
        <a:fillRef idx="0">
          <a:schemeClr val="accent1"/>
        </a:fillRef>
        <a:effectRef idx="1">
          <a:schemeClr val="accent1"/>
        </a:effectRef>
        <a:fontRef idx="minor">
          <a:schemeClr val="tx1"/>
        </a:fontRef>
      </a:style>
    </a:lnDef>
    <a:txDef>
      <a:spPr>
        <a:noFill/>
        <a:ln w="12700">
          <a:noFill/>
        </a:ln>
      </a:spPr>
      <a:bodyPr wrap="none" lIns="0" tIns="0" rIns="0" bIns="0" rtlCol="0" anchor="t" anchorCtr="0">
        <a:spAutoFit/>
      </a:bodyPr>
      <a:lstStyle>
        <a:defPPr algn="ctr">
          <a:defRPr sz="1600" dirty="0" smtClean="0">
            <a:solidFill>
              <a:srgbClr val="5E6A71"/>
            </a:solidFill>
          </a:defRPr>
        </a:defPPr>
      </a:lstStyle>
    </a:txDef>
  </a:objectDefaults>
  <a:extraClrSchemeLst/>
  <a:custClrLst>
    <a:custClr name="Pioenroze">
      <a:srgbClr val="C8009C"/>
    </a:custClr>
    <a:custClr name="Granietgrijs">
      <a:srgbClr val="5E6A71"/>
    </a:custClr>
    <a:custClr name="Lippenstiftrood">
      <a:srgbClr val="D6083B"/>
    </a:custClr>
    <a:custClr name="Lichtgrijs">
      <a:srgbClr val="DCDDDE"/>
    </a:custClr>
  </a:custClrLst>
  <a:extLst>
    <a:ext uri="{05A4C25C-085E-4340-85A3-A5531E510DB2}">
      <thm15:themeFamily xmlns:thm15="http://schemas.microsoft.com/office/thememl/2012/main" name="Rabo PPT template (16x9) 2.0.potx" id="{62FF6068-6AD1-427A-9C6D-B8FE8B072777}" vid="{C78387A9-12B3-4EDE-A8F1-A2557CE80962}"/>
    </a:ext>
  </a:extLst>
</a:theme>
</file>

<file path=ppt/theme/theme2.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 /></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 /></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5AAB4D25901B4CA76E7EB0C00612E4" ma:contentTypeVersion="13" ma:contentTypeDescription="Create a new document." ma:contentTypeScope="" ma:versionID="fdb76898f3334fee54601ec8b9d17cee">
  <xsd:schema xmlns:xsd="http://www.w3.org/2001/XMLSchema" xmlns:xs="http://www.w3.org/2001/XMLSchema" xmlns:p="http://schemas.microsoft.com/office/2006/metadata/properties" xmlns:ns2="56c3fb47-dc1b-4ccc-a559-396249a49c8a" xmlns:ns3="5b39c0ae-c889-46cb-896e-4bc11e30711c" targetNamespace="http://schemas.microsoft.com/office/2006/metadata/properties" ma:root="true" ma:fieldsID="129022b7e108e21e1438c535d0a65217" ns2:_="" ns3:_="">
    <xsd:import namespace="56c3fb47-dc1b-4ccc-a559-396249a49c8a"/>
    <xsd:import namespace="5b39c0ae-c889-46cb-896e-4bc11e30711c"/>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6c3fb47-dc1b-4ccc-a559-396249a49c8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b39c0ae-c889-46cb-896e-4bc11e30711c"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61B4B46-0BD7-4A6C-AC17-51FE4B9C54B3}">
  <ds:schemaRefs>
    <ds:schemaRef ds:uri="http://schemas.microsoft.com/office/2006/metadata/contentType"/>
    <ds:schemaRef ds:uri="http://schemas.microsoft.com/office/2006/metadata/properties/metaAttributes"/>
    <ds:schemaRef ds:uri="http://www.w3.org/2000/xmlns/"/>
    <ds:schemaRef ds:uri="http://www.w3.org/2001/XMLSchema"/>
    <ds:schemaRef ds:uri="56c3fb47-dc1b-4ccc-a559-396249a49c8a"/>
    <ds:schemaRef ds:uri="5b39c0ae-c889-46cb-896e-4bc11e30711c"/>
  </ds:schemaRefs>
</ds:datastoreItem>
</file>

<file path=customXml/itemProps2.xml><?xml version="1.0" encoding="utf-8"?>
<ds:datastoreItem xmlns:ds="http://schemas.openxmlformats.org/officeDocument/2006/customXml" ds:itemID="{82ABA9AC-A8F6-435B-8833-63E17E123EF8}">
  <ds:schemaRefs>
    <ds:schemaRef ds:uri="http://schemas.microsoft.com/office/2006/metadata/properties"/>
    <ds:schemaRef ds:uri="http://www.w3.org/2000/xmlns/"/>
  </ds:schemaRefs>
</ds:datastoreItem>
</file>

<file path=customXml/itemProps3.xml><?xml version="1.0" encoding="utf-8"?>
<ds:datastoreItem xmlns:ds="http://schemas.openxmlformats.org/officeDocument/2006/customXml" ds:itemID="{6FBDD73C-5423-474F-ADD2-6FA123699B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2944</TotalTime>
  <Words>704</Words>
  <Application>Microsoft Office PowerPoint</Application>
  <PresentationFormat>On-screen Show (16:9)</PresentationFormat>
  <Paragraphs>155</Paragraphs>
  <Slides>15</Slides>
  <Notes>3</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Rabo PPT template (16x9)</vt:lpstr>
      <vt:lpstr>PowerPoint Presentation</vt:lpstr>
      <vt:lpstr> Iniciativa Plataforma ACORN / Rabobank una Solución al Cambio Climático</vt:lpstr>
      <vt:lpstr>Mecanismo del funcionamiento de la Plataforma ACORN / Rabobank</vt:lpstr>
      <vt:lpstr>Acorn se enfoca con pequeños agricultores que producen café y cacao bajo SAF (&lt;10 ha de tierra cultivada) </vt:lpstr>
      <vt:lpstr>PowerPoint Presentation</vt:lpstr>
      <vt:lpstr>Estimación de los beneficios de los SAF con café ; café, CRUs, madera y otros servicios ambientales</vt:lpstr>
      <vt:lpstr>PowerPoint Presentation</vt:lpstr>
      <vt:lpstr> Experiencia Proyecto Café del Futuro ACORN / SOLIDARIDAD – Perú </vt:lpstr>
      <vt:lpstr>PowerPoint Presentation</vt:lpstr>
      <vt:lpstr>PROCESO PROGRAMA DE COMPESACIONES – CAFÉ DEL FUTURO SOLIDARIDAD / ACORN</vt:lpstr>
      <vt:lpstr>PowerPoint Presentation</vt:lpstr>
      <vt:lpstr>Impactos generados CAFÉ DEL FUTURO en su primer año con Acorn</vt:lpstr>
      <vt:lpstr>PowerPoint Presentation</vt:lpstr>
      <vt:lpstr>PowerPoint Presentation</vt:lpstr>
      <vt:lpstr>PowerPoint Presentation</vt:lpstr>
    </vt:vector>
  </TitlesOfParts>
  <Manager/>
  <Company>Rabobank</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Presentation Unit</dc:creator>
  <cp:keywords>template</cp:keywords>
  <dc:description/>
  <cp:lastModifiedBy>Unknown User</cp:lastModifiedBy>
  <cp:revision>34</cp:revision>
  <cp:lastPrinted>2022-06-01T07:01:49Z</cp:lastPrinted>
  <dcterms:created xsi:type="dcterms:W3CDTF">2020-10-14T14:21:02Z</dcterms:created>
  <dcterms:modified xsi:type="dcterms:W3CDTF">2023-07-06T01:48:05Z</dcterms:modified>
  <cp:category>PowerPoint</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mbMenu2">
    <vt:lpwstr>Eerste hoofdstuk</vt:lpwstr>
  </property>
  <property fmtid="{D5CDD505-2E9C-101B-9397-08002B2CF9AE}" pid="3" name="cmbMenu3">
    <vt:lpwstr>Tweede hoofdstuk</vt:lpwstr>
  </property>
  <property fmtid="{D5CDD505-2E9C-101B-9397-08002B2CF9AE}" pid="4" name="cmbMenu4">
    <vt:lpwstr>Derde hoofdstuk</vt:lpwstr>
  </property>
  <property fmtid="{D5CDD505-2E9C-101B-9397-08002B2CF9AE}" pid="5" name="cmbMenu5">
    <vt:lpwstr>Vierde hoofdstuk</vt:lpwstr>
  </property>
  <property fmtid="{D5CDD505-2E9C-101B-9397-08002B2CF9AE}" pid="6" name="cmbMenu6">
    <vt:lpwstr>Vijfde hoofdstuk</vt:lpwstr>
  </property>
  <property fmtid="{D5CDD505-2E9C-101B-9397-08002B2CF9AE}" pid="7" name="cmbMenu7">
    <vt:lpwstr>Samenvatting</vt:lpwstr>
  </property>
  <property fmtid="{D5CDD505-2E9C-101B-9397-08002B2CF9AE}" pid="8" name="txtPag1">
    <vt:lpwstr>12</vt:lpwstr>
  </property>
  <property fmtid="{D5CDD505-2E9C-101B-9397-08002B2CF9AE}" pid="9" name="txtPag2">
    <vt:lpwstr>13</vt:lpwstr>
  </property>
  <property fmtid="{D5CDD505-2E9C-101B-9397-08002B2CF9AE}" pid="10" name="txtPag3">
    <vt:lpwstr>14</vt:lpwstr>
  </property>
  <property fmtid="{D5CDD505-2E9C-101B-9397-08002B2CF9AE}" pid="11" name="txtPag4">
    <vt:lpwstr>15</vt:lpwstr>
  </property>
  <property fmtid="{D5CDD505-2E9C-101B-9397-08002B2CF9AE}" pid="12" name="txtPag6">
    <vt:lpwstr>17</vt:lpwstr>
  </property>
  <property fmtid="{D5CDD505-2E9C-101B-9397-08002B2CF9AE}" pid="13" name="txtPag7">
    <vt:lpwstr>18</vt:lpwstr>
  </property>
  <property fmtid="{D5CDD505-2E9C-101B-9397-08002B2CF9AE}" pid="14" name="txtPag8">
    <vt:lpwstr>19</vt:lpwstr>
  </property>
  <property fmtid="{D5CDD505-2E9C-101B-9397-08002B2CF9AE}" pid="15" name="imgIcoon2">
    <vt:lpwstr>P:\PPTdesign\0pdrachtgevers\Rabobank Nederland\De PPT Templates\Iconen\Icon1.bmp</vt:lpwstr>
  </property>
  <property fmtid="{D5CDD505-2E9C-101B-9397-08002B2CF9AE}" pid="16" name="imgIcoon3">
    <vt:lpwstr>P:\PPTdesign\0pdrachtgevers\Rabobank Nederland\De PPT Templates\Iconen\Icon2.bmp</vt:lpwstr>
  </property>
  <property fmtid="{D5CDD505-2E9C-101B-9397-08002B2CF9AE}" pid="17" name="imgIcoon4">
    <vt:lpwstr>P:\PPTdesign\0pdrachtgevers\Rabobank Nederland\De PPT Templates\Iconen\Icon3.bmp</vt:lpwstr>
  </property>
  <property fmtid="{D5CDD505-2E9C-101B-9397-08002B2CF9AE}" pid="18" name="imgIcoon5">
    <vt:lpwstr>P:\PPTdesign\0pdrachtgevers\Rabobank Nederland\De PPT Templates\Iconen\Icon4.bmp</vt:lpwstr>
  </property>
  <property fmtid="{D5CDD505-2E9C-101B-9397-08002B2CF9AE}" pid="19" name="imgIcoon6">
    <vt:lpwstr>P:\PPTdesign\0pdrachtgevers\Rabobank Nederland\De PPT Templates\Iconen\Icon5.bmp</vt:lpwstr>
  </property>
  <property fmtid="{D5CDD505-2E9C-101B-9397-08002B2CF9AE}" pid="20" name="imgIcoon7">
    <vt:lpwstr>P:\PPTdesign\0pdrachtgevers\Rabobank Nederland\De PPT Templates\Iconen\Icon29.bmp</vt:lpwstr>
  </property>
  <property fmtid="{D5CDD505-2E9C-101B-9397-08002B2CF9AE}" pid="21" name="imgIcoon8">
    <vt:lpwstr>P:\PPTdesign\0pdrachtgevers\Rabobank Nederland\De PPT Templates\Iconen\Icon15.bmp</vt:lpwstr>
  </property>
  <property fmtid="{D5CDD505-2E9C-101B-9397-08002B2CF9AE}" pid="22" name="txtPag5">
    <vt:lpwstr>16</vt:lpwstr>
  </property>
  <property fmtid="{D5CDD505-2E9C-101B-9397-08002B2CF9AE}" pid="23" name="imgIcoon9">
    <vt:lpwstr>P:\PPTdesign\0pdrachtgevers\Rabobank Nederland\De PPT Templates\Iconen\Icon12.bmp</vt:lpwstr>
  </property>
  <property fmtid="{D5CDD505-2E9C-101B-9397-08002B2CF9AE}" pid="24" name="txtPag9">
    <vt:lpwstr>20</vt:lpwstr>
  </property>
  <property fmtid="{D5CDD505-2E9C-101B-9397-08002B2CF9AE}" pid="25" name="cmbMenu8">
    <vt:lpwstr>Afsluiting</vt:lpwstr>
  </property>
  <property fmtid="{D5CDD505-2E9C-101B-9397-08002B2CF9AE}" pid="26" name="cmbMenu1">
    <vt:lpwstr>Inleiding</vt:lpwstr>
  </property>
  <property fmtid="{D5CDD505-2E9C-101B-9397-08002B2CF9AE}" pid="27" name="imgIcoon1">
    <vt:lpwstr>P:\PPTdesign\0pdrachtgevers\Rabobank Nederland\De PPT Templates\Iconen\Icon30.bmp</vt:lpwstr>
  </property>
  <property fmtid="{D5CDD505-2E9C-101B-9397-08002B2CF9AE}" pid="28" name="cmbMenu9">
    <vt:lpwstr>Test</vt:lpwstr>
  </property>
  <property fmtid="{D5CDD505-2E9C-101B-9397-08002B2CF9AE}" pid="29" name="nieuw">
    <vt:lpwstr>nee</vt:lpwstr>
  </property>
  <property fmtid="{D5CDD505-2E9C-101B-9397-08002B2CF9AE}" pid="30" name="ContentTypeId">
    <vt:lpwstr>0x010100115AAB4D25901B4CA76E7EB0C00612E4</vt:lpwstr>
  </property>
</Properties>
</file>